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media/image23.jpg" ContentType="image/jpg"/>
  <Override PartName="/ppt/notesSlides/notesSlide3.xml" ContentType="application/vnd.openxmlformats-officedocument.presentationml.notesSlide+xml"/>
  <Override PartName="/ppt/media/image25.jpg" ContentType="image/jpg"/>
  <Override PartName="/ppt/media/image28.jpg" ContentType="image/jpg"/>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0" r:id="rId5"/>
    <p:sldMasterId id="2147483713" r:id="rId6"/>
    <p:sldMasterId id="2147483751" r:id="rId7"/>
    <p:sldMasterId id="2147483766" r:id="rId8"/>
    <p:sldMasterId id="2147483780" r:id="rId9"/>
    <p:sldMasterId id="2147483803" r:id="rId10"/>
    <p:sldMasterId id="2147483816" r:id="rId11"/>
  </p:sldMasterIdLst>
  <p:notesMasterIdLst>
    <p:notesMasterId r:id="rId70"/>
  </p:notesMasterIdLst>
  <p:sldIdLst>
    <p:sldId id="2147482363" r:id="rId12"/>
    <p:sldId id="267" r:id="rId13"/>
    <p:sldId id="2147483643" r:id="rId14"/>
    <p:sldId id="2147483610" r:id="rId15"/>
    <p:sldId id="2147483644" r:id="rId16"/>
    <p:sldId id="2147482333" r:id="rId17"/>
    <p:sldId id="2147375367" r:id="rId18"/>
    <p:sldId id="325" r:id="rId19"/>
    <p:sldId id="2147472472" r:id="rId20"/>
    <p:sldId id="2147482335" r:id="rId21"/>
    <p:sldId id="2147482337" r:id="rId22"/>
    <p:sldId id="263" r:id="rId23"/>
    <p:sldId id="282" r:id="rId24"/>
    <p:sldId id="2147483646" r:id="rId25"/>
    <p:sldId id="2147471822" r:id="rId26"/>
    <p:sldId id="2147468808" r:id="rId27"/>
    <p:sldId id="1948343889" r:id="rId28"/>
    <p:sldId id="389" r:id="rId29"/>
    <p:sldId id="2147468797" r:id="rId30"/>
    <p:sldId id="2147471824" r:id="rId31"/>
    <p:sldId id="2147471804" r:id="rId32"/>
    <p:sldId id="2147483647" r:id="rId33"/>
    <p:sldId id="2147471690" r:id="rId34"/>
    <p:sldId id="2147483235" r:id="rId35"/>
    <p:sldId id="2147483607" r:id="rId36"/>
    <p:sldId id="2147483613" r:id="rId37"/>
    <p:sldId id="2147483608" r:id="rId38"/>
    <p:sldId id="2147483609" r:id="rId39"/>
    <p:sldId id="261" r:id="rId40"/>
    <p:sldId id="256" r:id="rId41"/>
    <p:sldId id="274" r:id="rId42"/>
    <p:sldId id="259" r:id="rId43"/>
    <p:sldId id="264" r:id="rId44"/>
    <p:sldId id="262" r:id="rId45"/>
    <p:sldId id="2147483641" r:id="rId46"/>
    <p:sldId id="270" r:id="rId47"/>
    <p:sldId id="2147472811" r:id="rId48"/>
    <p:sldId id="2147482330" r:id="rId49"/>
    <p:sldId id="272" r:id="rId50"/>
    <p:sldId id="260" r:id="rId51"/>
    <p:sldId id="609" r:id="rId52"/>
    <p:sldId id="258" r:id="rId53"/>
    <p:sldId id="266" r:id="rId54"/>
    <p:sldId id="268" r:id="rId55"/>
    <p:sldId id="271" r:id="rId56"/>
    <p:sldId id="273" r:id="rId57"/>
    <p:sldId id="2076138145" r:id="rId58"/>
    <p:sldId id="2147471648" r:id="rId59"/>
    <p:sldId id="2147483234" r:id="rId60"/>
    <p:sldId id="2147483232" r:id="rId61"/>
    <p:sldId id="278" r:id="rId62"/>
    <p:sldId id="2147483642" r:id="rId63"/>
    <p:sldId id="2147483230" r:id="rId64"/>
    <p:sldId id="2147483231" r:id="rId65"/>
    <p:sldId id="319" r:id="rId66"/>
    <p:sldId id="2147483645" r:id="rId67"/>
    <p:sldId id="788" r:id="rId68"/>
    <p:sldId id="2147482364"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33CC33"/>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9F330E-D585-4716-9037-34AB91D324E9}" v="30" dt="2025-09-09T11:41:57.352"/>
  </p1510:revLst>
</p1510:revInfo>
</file>

<file path=ppt/tableStyles.xml><?xml version="1.0" encoding="utf-8"?>
<a:tblStyleLst xmlns:a="http://schemas.openxmlformats.org/drawingml/2006/main" def="{5C22544A-7EE6-4342-B048-85BDC9FD1C3A}">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660"/>
  </p:normalViewPr>
  <p:slideViewPr>
    <p:cSldViewPr snapToGrid="0">
      <p:cViewPr varScale="1">
        <p:scale>
          <a:sx n="60" d="100"/>
          <a:sy n="60" d="100"/>
        </p:scale>
        <p:origin x="800" y="44"/>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i, Ngoc" userId="6260b746-f870-404f-826b-042cd7eaef08" providerId="ADAL" clId="{769F330E-D585-4716-9037-34AB91D324E9}"/>
    <pc:docChg chg="undo custSel addSld delSld modSld sldOrd">
      <pc:chgData name="Mai, Ngoc" userId="6260b746-f870-404f-826b-042cd7eaef08" providerId="ADAL" clId="{769F330E-D585-4716-9037-34AB91D324E9}" dt="2025-09-09T11:49:55.674" v="349" actId="207"/>
      <pc:docMkLst>
        <pc:docMk/>
      </pc:docMkLst>
      <pc:sldChg chg="modSp add del mod">
        <pc:chgData name="Mai, Ngoc" userId="6260b746-f870-404f-826b-042cd7eaef08" providerId="ADAL" clId="{769F330E-D585-4716-9037-34AB91D324E9}" dt="2025-09-09T11:28:27.434" v="148" actId="47"/>
        <pc:sldMkLst>
          <pc:docMk/>
          <pc:sldMk cId="1539942436" sldId="259"/>
        </pc:sldMkLst>
        <pc:spChg chg="mod">
          <ac:chgData name="Mai, Ngoc" userId="6260b746-f870-404f-826b-042cd7eaef08" providerId="ADAL" clId="{769F330E-D585-4716-9037-34AB91D324E9}" dt="2025-09-09T11:21:13.552" v="86" actId="113"/>
          <ac:spMkLst>
            <pc:docMk/>
            <pc:sldMk cId="1539942436" sldId="259"/>
            <ac:spMk id="10" creationId="{51F230E8-4EF9-4D3A-8A42-D08DABA91264}"/>
          </ac:spMkLst>
        </pc:spChg>
      </pc:sldChg>
      <pc:sldChg chg="modSp add del mod">
        <pc:chgData name="Mai, Ngoc" userId="6260b746-f870-404f-826b-042cd7eaef08" providerId="ADAL" clId="{769F330E-D585-4716-9037-34AB91D324E9}" dt="2025-09-09T11:22:58.538" v="100" actId="47"/>
        <pc:sldMkLst>
          <pc:docMk/>
          <pc:sldMk cId="4065543644" sldId="264"/>
        </pc:sldMkLst>
        <pc:spChg chg="mod">
          <ac:chgData name="Mai, Ngoc" userId="6260b746-f870-404f-826b-042cd7eaef08" providerId="ADAL" clId="{769F330E-D585-4716-9037-34AB91D324E9}" dt="2025-09-09T11:22:38.036" v="99" actId="207"/>
          <ac:spMkLst>
            <pc:docMk/>
            <pc:sldMk cId="4065543644" sldId="264"/>
            <ac:spMk id="8" creationId="{052D8642-6D64-42F7-A2E4-5BD0718B3DC5}"/>
          </ac:spMkLst>
        </pc:spChg>
      </pc:sldChg>
      <pc:sldChg chg="addSp add del">
        <pc:chgData name="Mai, Ngoc" userId="6260b746-f870-404f-826b-042cd7eaef08" providerId="ADAL" clId="{769F330E-D585-4716-9037-34AB91D324E9}" dt="2025-09-09T11:23:20.121" v="104" actId="47"/>
        <pc:sldMkLst>
          <pc:docMk/>
          <pc:sldMk cId="1221184015" sldId="270"/>
        </pc:sldMkLst>
        <pc:picChg chg="add">
          <ac:chgData name="Mai, Ngoc" userId="6260b746-f870-404f-826b-042cd7eaef08" providerId="ADAL" clId="{769F330E-D585-4716-9037-34AB91D324E9}" dt="2025-09-09T11:23:14.794" v="102"/>
          <ac:picMkLst>
            <pc:docMk/>
            <pc:sldMk cId="1221184015" sldId="270"/>
            <ac:picMk id="2" creationId="{670D319A-F955-D4CF-E2AC-398816818792}"/>
          </ac:picMkLst>
        </pc:picChg>
      </pc:sldChg>
      <pc:sldChg chg="addSp delSp modSp mod">
        <pc:chgData name="Mai, Ngoc" userId="6260b746-f870-404f-826b-042cd7eaef08" providerId="ADAL" clId="{769F330E-D585-4716-9037-34AB91D324E9}" dt="2025-09-09T11:29:48.445" v="158" actId="14100"/>
        <pc:sldMkLst>
          <pc:docMk/>
          <pc:sldMk cId="2456073088" sldId="272"/>
        </pc:sldMkLst>
        <pc:spChg chg="add del">
          <ac:chgData name="Mai, Ngoc" userId="6260b746-f870-404f-826b-042cd7eaef08" providerId="ADAL" clId="{769F330E-D585-4716-9037-34AB91D324E9}" dt="2025-09-09T11:29:00.256" v="150" actId="478"/>
          <ac:spMkLst>
            <pc:docMk/>
            <pc:sldMk cId="2456073088" sldId="272"/>
            <ac:spMk id="2" creationId="{9A1598B7-7BD9-0826-A41F-9ED58BCA3AB8}"/>
          </ac:spMkLst>
        </pc:spChg>
        <pc:spChg chg="add mod">
          <ac:chgData name="Mai, Ngoc" userId="6260b746-f870-404f-826b-042cd7eaef08" providerId="ADAL" clId="{769F330E-D585-4716-9037-34AB91D324E9}" dt="2025-09-09T11:29:48.445" v="158" actId="14100"/>
          <ac:spMkLst>
            <pc:docMk/>
            <pc:sldMk cId="2456073088" sldId="272"/>
            <ac:spMk id="3" creationId="{F6D2F18D-4761-8020-F2C9-B3A4335266D5}"/>
          </ac:spMkLst>
        </pc:spChg>
        <pc:spChg chg="add mod">
          <ac:chgData name="Mai, Ngoc" userId="6260b746-f870-404f-826b-042cd7eaef08" providerId="ADAL" clId="{769F330E-D585-4716-9037-34AB91D324E9}" dt="2025-09-09T11:29:33.521" v="156" actId="1076"/>
          <ac:spMkLst>
            <pc:docMk/>
            <pc:sldMk cId="2456073088" sldId="272"/>
            <ac:spMk id="5" creationId="{EE006001-B7C3-516B-2230-999C51C3B23B}"/>
          </ac:spMkLst>
        </pc:spChg>
      </pc:sldChg>
      <pc:sldChg chg="modSp mod">
        <pc:chgData name="Mai, Ngoc" userId="6260b746-f870-404f-826b-042cd7eaef08" providerId="ADAL" clId="{769F330E-D585-4716-9037-34AB91D324E9}" dt="2025-09-09T11:17:10.614" v="6" actId="113"/>
        <pc:sldMkLst>
          <pc:docMk/>
          <pc:sldMk cId="1283400922" sldId="273"/>
        </pc:sldMkLst>
        <pc:spChg chg="mod">
          <ac:chgData name="Mai, Ngoc" userId="6260b746-f870-404f-826b-042cd7eaef08" providerId="ADAL" clId="{769F330E-D585-4716-9037-34AB91D324E9}" dt="2025-09-09T11:17:10.614" v="6" actId="113"/>
          <ac:spMkLst>
            <pc:docMk/>
            <pc:sldMk cId="1283400922" sldId="273"/>
            <ac:spMk id="11" creationId="{2F7158B2-93A6-9EA0-4372-FBF00DB10330}"/>
          </ac:spMkLst>
        </pc:spChg>
      </pc:sldChg>
      <pc:sldChg chg="del mod modShow">
        <pc:chgData name="Mai, Ngoc" userId="6260b746-f870-404f-826b-042cd7eaef08" providerId="ADAL" clId="{769F330E-D585-4716-9037-34AB91D324E9}" dt="2025-09-09T11:32:36.878" v="160" actId="47"/>
        <pc:sldMkLst>
          <pc:docMk/>
          <pc:sldMk cId="0" sldId="275"/>
        </pc:sldMkLst>
      </pc:sldChg>
      <pc:sldChg chg="addSp modSp">
        <pc:chgData name="Mai, Ngoc" userId="6260b746-f870-404f-826b-042cd7eaef08" providerId="ADAL" clId="{769F330E-D585-4716-9037-34AB91D324E9}" dt="2025-09-09T11:41:51.576" v="300"/>
        <pc:sldMkLst>
          <pc:docMk/>
          <pc:sldMk cId="3779533685" sldId="278"/>
        </pc:sldMkLst>
        <pc:spChg chg="add mod">
          <ac:chgData name="Mai, Ngoc" userId="6260b746-f870-404f-826b-042cd7eaef08" providerId="ADAL" clId="{769F330E-D585-4716-9037-34AB91D324E9}" dt="2025-09-09T11:41:51.576" v="300"/>
          <ac:spMkLst>
            <pc:docMk/>
            <pc:sldMk cId="3779533685" sldId="278"/>
            <ac:spMk id="2" creationId="{0E50B4CE-DCAD-4B7A-42E2-87EA20191C22}"/>
          </ac:spMkLst>
        </pc:spChg>
      </pc:sldChg>
      <pc:sldChg chg="modSp add del mod">
        <pc:chgData name="Mai, Ngoc" userId="6260b746-f870-404f-826b-042cd7eaef08" providerId="ADAL" clId="{769F330E-D585-4716-9037-34AB91D324E9}" dt="2025-09-09T11:21:45.854" v="93" actId="47"/>
        <pc:sldMkLst>
          <pc:docMk/>
          <pc:sldMk cId="1281242884" sldId="283"/>
        </pc:sldMkLst>
        <pc:spChg chg="mod">
          <ac:chgData name="Mai, Ngoc" userId="6260b746-f870-404f-826b-042cd7eaef08" providerId="ADAL" clId="{769F330E-D585-4716-9037-34AB91D324E9}" dt="2025-09-09T11:21:35.978" v="88" actId="27636"/>
          <ac:spMkLst>
            <pc:docMk/>
            <pc:sldMk cId="1281242884" sldId="283"/>
            <ac:spMk id="5" creationId="{95C7BCE7-CE72-A779-EBDE-6E716440DF81}"/>
          </ac:spMkLst>
        </pc:spChg>
      </pc:sldChg>
      <pc:sldChg chg="addSp modSp mod">
        <pc:chgData name="Mai, Ngoc" userId="6260b746-f870-404f-826b-042cd7eaef08" providerId="ADAL" clId="{769F330E-D585-4716-9037-34AB91D324E9}" dt="2025-09-09T11:18:12.876" v="16" actId="14100"/>
        <pc:sldMkLst>
          <pc:docMk/>
          <pc:sldMk cId="0" sldId="319"/>
        </pc:sldMkLst>
        <pc:spChg chg="add mod">
          <ac:chgData name="Mai, Ngoc" userId="6260b746-f870-404f-826b-042cd7eaef08" providerId="ADAL" clId="{769F330E-D585-4716-9037-34AB91D324E9}" dt="2025-09-09T11:18:05.560" v="13" actId="14100"/>
          <ac:spMkLst>
            <pc:docMk/>
            <pc:sldMk cId="0" sldId="319"/>
            <ac:spMk id="4" creationId="{34850650-691E-25B6-F8E4-B85113376D90}"/>
          </ac:spMkLst>
        </pc:spChg>
        <pc:spChg chg="add mod">
          <ac:chgData name="Mai, Ngoc" userId="6260b746-f870-404f-826b-042cd7eaef08" providerId="ADAL" clId="{769F330E-D585-4716-9037-34AB91D324E9}" dt="2025-09-09T11:18:12.876" v="16" actId="14100"/>
          <ac:spMkLst>
            <pc:docMk/>
            <pc:sldMk cId="0" sldId="319"/>
            <ac:spMk id="5" creationId="{1177D845-6CEA-9808-1494-917121283D6F}"/>
          </ac:spMkLst>
        </pc:spChg>
      </pc:sldChg>
      <pc:sldChg chg="mod modShow">
        <pc:chgData name="Mai, Ngoc" userId="6260b746-f870-404f-826b-042cd7eaef08" providerId="ADAL" clId="{769F330E-D585-4716-9037-34AB91D324E9}" dt="2025-09-09T11:16:39.575" v="0" actId="729"/>
        <pc:sldMkLst>
          <pc:docMk/>
          <pc:sldMk cId="936467012" sldId="326"/>
        </pc:sldMkLst>
      </pc:sldChg>
      <pc:sldChg chg="mod modShow">
        <pc:chgData name="Mai, Ngoc" userId="6260b746-f870-404f-826b-042cd7eaef08" providerId="ADAL" clId="{769F330E-D585-4716-9037-34AB91D324E9}" dt="2025-09-09T11:25:23.496" v="108" actId="729"/>
        <pc:sldMkLst>
          <pc:docMk/>
          <pc:sldMk cId="3700224859" sldId="382"/>
        </pc:sldMkLst>
      </pc:sldChg>
      <pc:sldChg chg="modSp mod">
        <pc:chgData name="Mai, Ngoc" userId="6260b746-f870-404f-826b-042cd7eaef08" providerId="ADAL" clId="{769F330E-D585-4716-9037-34AB91D324E9}" dt="2025-09-09T11:49:55.674" v="349" actId="207"/>
        <pc:sldMkLst>
          <pc:docMk/>
          <pc:sldMk cId="3432517028" sldId="2147482330"/>
        </pc:sldMkLst>
        <pc:spChg chg="mod">
          <ac:chgData name="Mai, Ngoc" userId="6260b746-f870-404f-826b-042cd7eaef08" providerId="ADAL" clId="{769F330E-D585-4716-9037-34AB91D324E9}" dt="2025-09-09T11:49:55.674" v="349" actId="207"/>
          <ac:spMkLst>
            <pc:docMk/>
            <pc:sldMk cId="3432517028" sldId="2147482330"/>
            <ac:spMk id="3" creationId="{695CD746-A5B8-FF7F-76C5-F32DE2087265}"/>
          </ac:spMkLst>
        </pc:spChg>
      </pc:sldChg>
      <pc:sldChg chg="mod modShow">
        <pc:chgData name="Mai, Ngoc" userId="6260b746-f870-404f-826b-042cd7eaef08" providerId="ADAL" clId="{769F330E-D585-4716-9037-34AB91D324E9}" dt="2025-09-09T11:25:31.072" v="109" actId="729"/>
        <pc:sldMkLst>
          <pc:docMk/>
          <pc:sldMk cId="2175764181" sldId="2147482336"/>
        </pc:sldMkLst>
      </pc:sldChg>
      <pc:sldChg chg="addSp modSp mod">
        <pc:chgData name="Mai, Ngoc" userId="6260b746-f870-404f-826b-042cd7eaef08" providerId="ADAL" clId="{769F330E-D585-4716-9037-34AB91D324E9}" dt="2025-09-09T11:48:57.138" v="347" actId="404"/>
        <pc:sldMkLst>
          <pc:docMk/>
          <pc:sldMk cId="2156130982" sldId="2147482363"/>
        </pc:sldMkLst>
        <pc:spChg chg="mod">
          <ac:chgData name="Mai, Ngoc" userId="6260b746-f870-404f-826b-042cd7eaef08" providerId="ADAL" clId="{769F330E-D585-4716-9037-34AB91D324E9}" dt="2025-09-09T11:26:27.351" v="112" actId="20577"/>
          <ac:spMkLst>
            <pc:docMk/>
            <pc:sldMk cId="2156130982" sldId="2147482363"/>
            <ac:spMk id="6" creationId="{00000000-0000-0000-0000-000000000000}"/>
          </ac:spMkLst>
        </pc:spChg>
        <pc:spChg chg="add mod">
          <ac:chgData name="Mai, Ngoc" userId="6260b746-f870-404f-826b-042cd7eaef08" providerId="ADAL" clId="{769F330E-D585-4716-9037-34AB91D324E9}" dt="2025-09-09T11:48:57.138" v="347" actId="404"/>
          <ac:spMkLst>
            <pc:docMk/>
            <pc:sldMk cId="2156130982" sldId="2147482363"/>
            <ac:spMk id="9" creationId="{20B14323-BD77-1924-4CC6-1CF454360D41}"/>
          </ac:spMkLst>
        </pc:spChg>
      </pc:sldChg>
      <pc:sldChg chg="addSp modSp mod ord">
        <pc:chgData name="Mai, Ngoc" userId="6260b746-f870-404f-826b-042cd7eaef08" providerId="ADAL" clId="{769F330E-D585-4716-9037-34AB91D324E9}" dt="2025-09-09T11:40:30.137" v="298"/>
        <pc:sldMkLst>
          <pc:docMk/>
          <pc:sldMk cId="3557371003" sldId="2147483230"/>
        </pc:sldMkLst>
        <pc:spChg chg="add mod">
          <ac:chgData name="Mai, Ngoc" userId="6260b746-f870-404f-826b-042cd7eaef08" providerId="ADAL" clId="{769F330E-D585-4716-9037-34AB91D324E9}" dt="2025-09-09T11:38:35.549" v="238" actId="14100"/>
          <ac:spMkLst>
            <pc:docMk/>
            <pc:sldMk cId="3557371003" sldId="2147483230"/>
            <ac:spMk id="2" creationId="{39D148AE-E6DB-FAC0-53DD-920F2272D9F9}"/>
          </ac:spMkLst>
        </pc:spChg>
        <pc:spChg chg="mod">
          <ac:chgData name="Mai, Ngoc" userId="6260b746-f870-404f-826b-042cd7eaef08" providerId="ADAL" clId="{769F330E-D585-4716-9037-34AB91D324E9}" dt="2025-09-09T11:38:29.069" v="236" actId="1076"/>
          <ac:spMkLst>
            <pc:docMk/>
            <pc:sldMk cId="3557371003" sldId="2147483230"/>
            <ac:spMk id="3" creationId="{49CE5326-34D1-D4B6-E641-596B1337340B}"/>
          </ac:spMkLst>
        </pc:spChg>
        <pc:spChg chg="mod">
          <ac:chgData name="Mai, Ngoc" userId="6260b746-f870-404f-826b-042cd7eaef08" providerId="ADAL" clId="{769F330E-D585-4716-9037-34AB91D324E9}" dt="2025-09-09T11:38:17.450" v="233" actId="1076"/>
          <ac:spMkLst>
            <pc:docMk/>
            <pc:sldMk cId="3557371003" sldId="2147483230"/>
            <ac:spMk id="10" creationId="{8C15A097-6A6A-32F1-775A-8C73D1728197}"/>
          </ac:spMkLst>
        </pc:spChg>
        <pc:spChg chg="mod">
          <ac:chgData name="Mai, Ngoc" userId="6260b746-f870-404f-826b-042cd7eaef08" providerId="ADAL" clId="{769F330E-D585-4716-9037-34AB91D324E9}" dt="2025-09-09T11:39:59.707" v="287" actId="1582"/>
          <ac:spMkLst>
            <pc:docMk/>
            <pc:sldMk cId="3557371003" sldId="2147483230"/>
            <ac:spMk id="11" creationId="{7912B112-B958-3F1C-BA7E-199B185193E2}"/>
          </ac:spMkLst>
        </pc:spChg>
        <pc:spChg chg="add mod">
          <ac:chgData name="Mai, Ngoc" userId="6260b746-f870-404f-826b-042cd7eaef08" providerId="ADAL" clId="{769F330E-D585-4716-9037-34AB91D324E9}" dt="2025-09-09T11:40:12.605" v="291" actId="14100"/>
          <ac:spMkLst>
            <pc:docMk/>
            <pc:sldMk cId="3557371003" sldId="2147483230"/>
            <ac:spMk id="12" creationId="{E0893B9C-122F-A1E9-F12A-BB3C2D9AC786}"/>
          </ac:spMkLst>
        </pc:spChg>
        <pc:spChg chg="mod">
          <ac:chgData name="Mai, Ngoc" userId="6260b746-f870-404f-826b-042cd7eaef08" providerId="ADAL" clId="{769F330E-D585-4716-9037-34AB91D324E9}" dt="2025-09-09T11:39:09.333" v="280" actId="1076"/>
          <ac:spMkLst>
            <pc:docMk/>
            <pc:sldMk cId="3557371003" sldId="2147483230"/>
            <ac:spMk id="21" creationId="{687D8700-C8FE-8EDB-FB34-925249799565}"/>
          </ac:spMkLst>
        </pc:spChg>
        <pc:grpChg chg="mod">
          <ac:chgData name="Mai, Ngoc" userId="6260b746-f870-404f-826b-042cd7eaef08" providerId="ADAL" clId="{769F330E-D585-4716-9037-34AB91D324E9}" dt="2025-09-09T11:39:17.212" v="281" actId="14100"/>
          <ac:grpSpMkLst>
            <pc:docMk/>
            <pc:sldMk cId="3557371003" sldId="2147483230"/>
            <ac:grpSpMk id="18" creationId="{43FED38C-25D5-9868-4B21-3BB2BED3D629}"/>
          </ac:grpSpMkLst>
        </pc:grpChg>
        <pc:picChg chg="add mod">
          <ac:chgData name="Mai, Ngoc" userId="6260b746-f870-404f-826b-042cd7eaef08" providerId="ADAL" clId="{769F330E-D585-4716-9037-34AB91D324E9}" dt="2025-09-09T11:39:43.218" v="285" actId="1076"/>
          <ac:picMkLst>
            <pc:docMk/>
            <pc:sldMk cId="3557371003" sldId="2147483230"/>
            <ac:picMk id="4" creationId="{D2EA2365-784F-35FD-8325-2BBCA780F1E6}"/>
          </ac:picMkLst>
        </pc:picChg>
        <pc:picChg chg="add mod">
          <ac:chgData name="Mai, Ngoc" userId="6260b746-f870-404f-826b-042cd7eaef08" providerId="ADAL" clId="{769F330E-D585-4716-9037-34AB91D324E9}" dt="2025-09-09T11:39:46.311" v="286" actId="1076"/>
          <ac:picMkLst>
            <pc:docMk/>
            <pc:sldMk cId="3557371003" sldId="2147483230"/>
            <ac:picMk id="8" creationId="{728FFE43-5EFE-3840-D7EB-FA8A72128155}"/>
          </ac:picMkLst>
        </pc:picChg>
      </pc:sldChg>
      <pc:sldChg chg="addSp modSp mod">
        <pc:chgData name="Mai, Ngoc" userId="6260b746-f870-404f-826b-042cd7eaef08" providerId="ADAL" clId="{769F330E-D585-4716-9037-34AB91D324E9}" dt="2025-09-09T11:17:38.717" v="10" actId="14100"/>
        <pc:sldMkLst>
          <pc:docMk/>
          <pc:sldMk cId="3799883362" sldId="2147483231"/>
        </pc:sldMkLst>
        <pc:spChg chg="add mod">
          <ac:chgData name="Mai, Ngoc" userId="6260b746-f870-404f-826b-042cd7eaef08" providerId="ADAL" clId="{769F330E-D585-4716-9037-34AB91D324E9}" dt="2025-09-09T11:17:34.549" v="9" actId="14100"/>
          <ac:spMkLst>
            <pc:docMk/>
            <pc:sldMk cId="3799883362" sldId="2147483231"/>
            <ac:spMk id="2" creationId="{37073C1A-EC69-2C59-FAF6-4AA8C0EA35C9}"/>
          </ac:spMkLst>
        </pc:spChg>
        <pc:spChg chg="mod">
          <ac:chgData name="Mai, Ngoc" userId="6260b746-f870-404f-826b-042cd7eaef08" providerId="ADAL" clId="{769F330E-D585-4716-9037-34AB91D324E9}" dt="2025-09-09T11:17:38.717" v="10" actId="14100"/>
          <ac:spMkLst>
            <pc:docMk/>
            <pc:sldMk cId="3799883362" sldId="2147483231"/>
            <ac:spMk id="11" creationId="{5C57A498-9E8D-64AD-C81D-3A66ABFB09D5}"/>
          </ac:spMkLst>
        </pc:spChg>
      </pc:sldChg>
      <pc:sldChg chg="modSp add mod">
        <pc:chgData name="Mai, Ngoc" userId="6260b746-f870-404f-826b-042cd7eaef08" providerId="ADAL" clId="{769F330E-D585-4716-9037-34AB91D324E9}" dt="2025-09-09T11:49:19.890" v="348" actId="207"/>
        <pc:sldMkLst>
          <pc:docMk/>
          <pc:sldMk cId="4270788842" sldId="2147483235"/>
        </pc:sldMkLst>
        <pc:spChg chg="mod">
          <ac:chgData name="Mai, Ngoc" userId="6260b746-f870-404f-826b-042cd7eaef08" providerId="ADAL" clId="{769F330E-D585-4716-9037-34AB91D324E9}" dt="2025-09-09T11:49:19.890" v="348" actId="207"/>
          <ac:spMkLst>
            <pc:docMk/>
            <pc:sldMk cId="4270788842" sldId="2147483235"/>
            <ac:spMk id="3" creationId="{39603D8D-1C93-D6CB-8358-39172EA7ACEE}"/>
          </ac:spMkLst>
        </pc:spChg>
        <pc:spChg chg="mod">
          <ac:chgData name="Mai, Ngoc" userId="6260b746-f870-404f-826b-042cd7eaef08" providerId="ADAL" clId="{769F330E-D585-4716-9037-34AB91D324E9}" dt="2025-09-09T11:49:19.890" v="348" actId="207"/>
          <ac:spMkLst>
            <pc:docMk/>
            <pc:sldMk cId="4270788842" sldId="2147483235"/>
            <ac:spMk id="4" creationId="{A95AC34F-508C-55DA-68F0-8F7D8720E58F}"/>
          </ac:spMkLst>
        </pc:spChg>
        <pc:grpChg chg="mod">
          <ac:chgData name="Mai, Ngoc" userId="6260b746-f870-404f-826b-042cd7eaef08" providerId="ADAL" clId="{769F330E-D585-4716-9037-34AB91D324E9}" dt="2025-09-09T11:49:19.890" v="348" actId="207"/>
          <ac:grpSpMkLst>
            <pc:docMk/>
            <pc:sldMk cId="4270788842" sldId="2147483235"/>
            <ac:grpSpMk id="2" creationId="{82DFBA47-7C3F-1255-1421-912976CC8FFE}"/>
          </ac:grpSpMkLst>
        </pc:grpChg>
      </pc:sldChg>
      <pc:sldChg chg="new del">
        <pc:chgData name="Mai, Ngoc" userId="6260b746-f870-404f-826b-042cd7eaef08" providerId="ADAL" clId="{769F330E-D585-4716-9037-34AB91D324E9}" dt="2025-09-09T11:26:05.843" v="111" actId="47"/>
        <pc:sldMkLst>
          <pc:docMk/>
          <pc:sldMk cId="3366588125" sldId="2147483236"/>
        </pc:sldMkLst>
      </pc:sldChg>
      <pc:sldChg chg="modSp add del mod">
        <pc:chgData name="Mai, Ngoc" userId="6260b746-f870-404f-826b-042cd7eaef08" providerId="ADAL" clId="{769F330E-D585-4716-9037-34AB91D324E9}" dt="2025-09-09T11:24:55.143" v="107" actId="47"/>
        <pc:sldMkLst>
          <pc:docMk/>
          <pc:sldMk cId="2687905695" sldId="2147483605"/>
        </pc:sldMkLst>
        <pc:spChg chg="mod">
          <ac:chgData name="Mai, Ngoc" userId="6260b746-f870-404f-826b-042cd7eaef08" providerId="ADAL" clId="{769F330E-D585-4716-9037-34AB91D324E9}" dt="2025-09-09T11:19:57.604" v="80" actId="113"/>
          <ac:spMkLst>
            <pc:docMk/>
            <pc:sldMk cId="2687905695" sldId="2147483605"/>
            <ac:spMk id="30" creationId="{C83521BE-D425-817D-1C6E-4C8276595CD4}"/>
          </ac:spMkLst>
        </pc:spChg>
      </pc:sldChg>
      <pc:sldChg chg="add del">
        <pc:chgData name="Mai, Ngoc" userId="6260b746-f870-404f-826b-042cd7eaef08" providerId="ADAL" clId="{769F330E-D585-4716-9037-34AB91D324E9}" dt="2025-09-09T11:20:34.271" v="83" actId="47"/>
        <pc:sldMkLst>
          <pc:docMk/>
          <pc:sldMk cId="2802869587" sldId="2147483606"/>
        </pc:sldMkLst>
      </pc:sldChg>
      <pc:sldChg chg="modSp add del mod">
        <pc:chgData name="Mai, Ngoc" userId="6260b746-f870-404f-826b-042cd7eaef08" providerId="ADAL" clId="{769F330E-D585-4716-9037-34AB91D324E9}" dt="2025-09-09T11:21:45.288" v="92" actId="47"/>
        <pc:sldMkLst>
          <pc:docMk/>
          <pc:sldMk cId="3358713428" sldId="2147483606"/>
        </pc:sldMkLst>
        <pc:spChg chg="mod">
          <ac:chgData name="Mai, Ngoc" userId="6260b746-f870-404f-826b-042cd7eaef08" providerId="ADAL" clId="{769F330E-D585-4716-9037-34AB91D324E9}" dt="2025-09-09T11:21:39.178" v="90" actId="27636"/>
          <ac:spMkLst>
            <pc:docMk/>
            <pc:sldMk cId="3358713428" sldId="2147483606"/>
            <ac:spMk id="5" creationId="{95C7BCE7-CE72-A779-EBDE-6E716440DF81}"/>
          </ac:spMkLst>
        </pc:spChg>
      </pc:sldChg>
      <pc:sldChg chg="add">
        <pc:chgData name="Mai, Ngoc" userId="6260b746-f870-404f-826b-042cd7eaef08" providerId="ADAL" clId="{769F330E-D585-4716-9037-34AB91D324E9}" dt="2025-09-09T11:21:43.074" v="91"/>
        <pc:sldMkLst>
          <pc:docMk/>
          <pc:sldMk cId="2610398590" sldId="2147483607"/>
        </pc:sldMkLst>
      </pc:sldChg>
      <pc:sldChg chg="add">
        <pc:chgData name="Mai, Ngoc" userId="6260b746-f870-404f-826b-042cd7eaef08" providerId="ADAL" clId="{769F330E-D585-4716-9037-34AB91D324E9}" dt="2025-09-09T11:23:18.032" v="103"/>
        <pc:sldMkLst>
          <pc:docMk/>
          <pc:sldMk cId="1247137695" sldId="2147483608"/>
        </pc:sldMkLst>
      </pc:sldChg>
      <pc:sldChg chg="add">
        <pc:chgData name="Mai, Ngoc" userId="6260b746-f870-404f-826b-042cd7eaef08" providerId="ADAL" clId="{769F330E-D585-4716-9037-34AB91D324E9}" dt="2025-09-09T11:23:35.770" v="105"/>
        <pc:sldMkLst>
          <pc:docMk/>
          <pc:sldMk cId="3632400145" sldId="2147483609"/>
        </pc:sldMkLst>
      </pc:sldChg>
      <pc:sldChg chg="modSp add mod modShow">
        <pc:chgData name="Mai, Ngoc" userId="6260b746-f870-404f-826b-042cd7eaef08" providerId="ADAL" clId="{769F330E-D585-4716-9037-34AB91D324E9}" dt="2025-09-09T11:41:18.441" v="299" actId="729"/>
        <pc:sldMkLst>
          <pc:docMk/>
          <pc:sldMk cId="3404185989" sldId="2147483610"/>
        </pc:sldMkLst>
        <pc:spChg chg="mod">
          <ac:chgData name="Mai, Ngoc" userId="6260b746-f870-404f-826b-042cd7eaef08" providerId="ADAL" clId="{769F330E-D585-4716-9037-34AB91D324E9}" dt="2025-09-09T11:25:49.144" v="110" actId="207"/>
          <ac:spMkLst>
            <pc:docMk/>
            <pc:sldMk cId="3404185989" sldId="2147483610"/>
            <ac:spMk id="7" creationId="{A4AD39D6-9708-FB94-37F0-6F850AFC568D}"/>
          </ac:spMkLst>
        </pc:spChg>
      </pc:sldChg>
      <pc:sldChg chg="add del">
        <pc:chgData name="Mai, Ngoc" userId="6260b746-f870-404f-826b-042cd7eaef08" providerId="ADAL" clId="{769F330E-D585-4716-9037-34AB91D324E9}" dt="2025-09-09T11:27:40.006" v="117" actId="47"/>
        <pc:sldMkLst>
          <pc:docMk/>
          <pc:sldMk cId="2222842203" sldId="2147483611"/>
        </pc:sldMkLst>
      </pc:sldChg>
      <pc:sldChg chg="add del">
        <pc:chgData name="Mai, Ngoc" userId="6260b746-f870-404f-826b-042cd7eaef08" providerId="ADAL" clId="{769F330E-D585-4716-9037-34AB91D324E9}" dt="2025-09-09T11:27:39.046" v="116" actId="47"/>
        <pc:sldMkLst>
          <pc:docMk/>
          <pc:sldMk cId="933080567" sldId="2147483612"/>
        </pc:sldMkLst>
      </pc:sldChg>
      <pc:sldChg chg="modSp add del mod">
        <pc:chgData name="Mai, Ngoc" userId="6260b746-f870-404f-826b-042cd7eaef08" providerId="ADAL" clId="{769F330E-D585-4716-9037-34AB91D324E9}" dt="2025-09-09T11:28:20.585" v="146" actId="2696"/>
        <pc:sldMkLst>
          <pc:docMk/>
          <pc:sldMk cId="2436887626" sldId="2147483613"/>
        </pc:sldMkLst>
        <pc:spChg chg="mod">
          <ac:chgData name="Mai, Ngoc" userId="6260b746-f870-404f-826b-042cd7eaef08" providerId="ADAL" clId="{769F330E-D585-4716-9037-34AB91D324E9}" dt="2025-09-09T11:28:00.366" v="145" actId="20577"/>
          <ac:spMkLst>
            <pc:docMk/>
            <pc:sldMk cId="2436887626" sldId="2147483613"/>
            <ac:spMk id="8" creationId="{BE4A8FE9-2443-33AA-EF63-F525F13E928E}"/>
          </ac:spMkLst>
        </pc:spChg>
      </pc:sldChg>
      <pc:sldChg chg="add">
        <pc:chgData name="Mai, Ngoc" userId="6260b746-f870-404f-826b-042cd7eaef08" providerId="ADAL" clId="{769F330E-D585-4716-9037-34AB91D324E9}" dt="2025-09-09T11:28:25.093" v="147"/>
        <pc:sldMkLst>
          <pc:docMk/>
          <pc:sldMk cId="3577414918" sldId="2147483613"/>
        </pc:sldMkLst>
      </pc:sldChg>
      <pc:sldChg chg="addSp delSp modSp add mod">
        <pc:chgData name="Mai, Ngoc" userId="6260b746-f870-404f-826b-042cd7eaef08" providerId="ADAL" clId="{769F330E-D585-4716-9037-34AB91D324E9}" dt="2025-09-09T11:42:26.546" v="343" actId="207"/>
        <pc:sldMkLst>
          <pc:docMk/>
          <pc:sldMk cId="1977047888" sldId="2147483642"/>
        </pc:sldMkLst>
        <pc:spChg chg="add mod">
          <ac:chgData name="Mai, Ngoc" userId="6260b746-f870-404f-826b-042cd7eaef08" providerId="ADAL" clId="{769F330E-D585-4716-9037-34AB91D324E9}" dt="2025-09-09T11:42:26.546" v="343" actId="207"/>
          <ac:spMkLst>
            <pc:docMk/>
            <pc:sldMk cId="1977047888" sldId="2147483642"/>
            <ac:spMk id="2" creationId="{6C68E004-4A98-35FA-A3E3-680FAC81DB2B}"/>
          </ac:spMkLst>
        </pc:spChg>
        <pc:spChg chg="del mod">
          <ac:chgData name="Mai, Ngoc" userId="6260b746-f870-404f-826b-042cd7eaef08" providerId="ADAL" clId="{769F330E-D585-4716-9037-34AB91D324E9}" dt="2025-09-09T11:42:09.306" v="339" actId="478"/>
          <ac:spMkLst>
            <pc:docMk/>
            <pc:sldMk cId="1977047888" sldId="2147483642"/>
            <ac:spMk id="3" creationId="{AB4C0638-2997-367F-6BEE-A59F54C9FBA0}"/>
          </ac:spMkLst>
        </pc:spChg>
        <pc:spChg chg="add del mod">
          <ac:chgData name="Mai, Ngoc" userId="6260b746-f870-404f-826b-042cd7eaef08" providerId="ADAL" clId="{769F330E-D585-4716-9037-34AB91D324E9}" dt="2025-09-09T11:42:13.609" v="340" actId="478"/>
          <ac:spMkLst>
            <pc:docMk/>
            <pc:sldMk cId="1977047888" sldId="2147483642"/>
            <ac:spMk id="8" creationId="{ED0B3160-560E-1D7D-5B91-A3A00A1ECC13}"/>
          </ac:spMkLst>
        </pc:spChg>
      </pc:sldChg>
      <pc:sldChg chg="addSp delSp modSp new del mod">
        <pc:chgData name="Mai, Ngoc" userId="6260b746-f870-404f-826b-042cd7eaef08" providerId="ADAL" clId="{769F330E-D585-4716-9037-34AB91D324E9}" dt="2025-09-09T11:40:21.656" v="292" actId="47"/>
        <pc:sldMkLst>
          <pc:docMk/>
          <pc:sldMk cId="512518971" sldId="2147483643"/>
        </pc:sldMkLst>
        <pc:spChg chg="add mod">
          <ac:chgData name="Mai, Ngoc" userId="6260b746-f870-404f-826b-042cd7eaef08" providerId="ADAL" clId="{769F330E-D585-4716-9037-34AB91D324E9}" dt="2025-09-09T11:38:21.899" v="234" actId="6549"/>
          <ac:spMkLst>
            <pc:docMk/>
            <pc:sldMk cId="512518971" sldId="2147483643"/>
            <ac:spMk id="3" creationId="{58C1DDF4-4935-D005-C42E-6444F032B38D}"/>
          </ac:spMkLst>
        </pc:spChg>
        <pc:picChg chg="add del mod">
          <ac:chgData name="Mai, Ngoc" userId="6260b746-f870-404f-826b-042cd7eaef08" providerId="ADAL" clId="{769F330E-D585-4716-9037-34AB91D324E9}" dt="2025-09-09T11:38:39.130" v="239" actId="21"/>
          <ac:picMkLst>
            <pc:docMk/>
            <pc:sldMk cId="512518971" sldId="2147483643"/>
            <ac:picMk id="5" creationId="{D2EA2365-784F-35FD-8325-2BBCA780F1E6}"/>
          </ac:picMkLst>
        </pc:picChg>
      </pc:sldChg>
      <pc:sldMasterChg chg="delSldLayout">
        <pc:chgData name="Mai, Ngoc" userId="6260b746-f870-404f-826b-042cd7eaef08" providerId="ADAL" clId="{769F330E-D585-4716-9037-34AB91D324E9}" dt="2025-09-09T11:21:45.854" v="93" actId="47"/>
        <pc:sldMasterMkLst>
          <pc:docMk/>
          <pc:sldMasterMk cId="1308196360" sldId="2147483648"/>
        </pc:sldMasterMkLst>
        <pc:sldLayoutChg chg="del">
          <pc:chgData name="Mai, Ngoc" userId="6260b746-f870-404f-826b-042cd7eaef08" providerId="ADAL" clId="{769F330E-D585-4716-9037-34AB91D324E9}" dt="2025-09-09T11:20:34.271" v="83" actId="47"/>
          <pc:sldLayoutMkLst>
            <pc:docMk/>
            <pc:sldMasterMk cId="1308196360" sldId="2147483648"/>
            <pc:sldLayoutMk cId="2117296519" sldId="2147483838"/>
          </pc:sldLayoutMkLst>
        </pc:sldLayoutChg>
        <pc:sldLayoutChg chg="del">
          <pc:chgData name="Mai, Ngoc" userId="6260b746-f870-404f-826b-042cd7eaef08" providerId="ADAL" clId="{769F330E-D585-4716-9037-34AB91D324E9}" dt="2025-09-09T11:21:45.854" v="93" actId="47"/>
          <pc:sldLayoutMkLst>
            <pc:docMk/>
            <pc:sldMasterMk cId="1308196360" sldId="2147483648"/>
            <pc:sldLayoutMk cId="2841175771" sldId="2147483838"/>
          </pc:sldLayoutMkLst>
        </pc:sldLayoutChg>
      </pc:sldMasterChg>
      <pc:sldMasterChg chg="delSldLayout">
        <pc:chgData name="Mai, Ngoc" userId="6260b746-f870-404f-826b-042cd7eaef08" providerId="ADAL" clId="{769F330E-D585-4716-9037-34AB91D324E9}" dt="2025-09-09T11:27:40.006" v="117" actId="47"/>
        <pc:sldMasterMkLst>
          <pc:docMk/>
          <pc:sldMasterMk cId="2476391763" sldId="2147483751"/>
        </pc:sldMasterMkLst>
        <pc:sldLayoutChg chg="del">
          <pc:chgData name="Mai, Ngoc" userId="6260b746-f870-404f-826b-042cd7eaef08" providerId="ADAL" clId="{769F330E-D585-4716-9037-34AB91D324E9}" dt="2025-09-09T11:27:40.006" v="117" actId="47"/>
          <pc:sldLayoutMkLst>
            <pc:docMk/>
            <pc:sldMasterMk cId="2476391763" sldId="2147483751"/>
            <pc:sldLayoutMk cId="1240715442" sldId="2147483838"/>
          </pc:sldLayoutMkLst>
        </pc:sldLayoutChg>
      </pc:sldMasterChg>
      <pc:sldMasterChg chg="delSldLayout">
        <pc:chgData name="Mai, Ngoc" userId="6260b746-f870-404f-826b-042cd7eaef08" providerId="ADAL" clId="{769F330E-D585-4716-9037-34AB91D324E9}" dt="2025-09-09T11:22:58.538" v="100" actId="47"/>
        <pc:sldMasterMkLst>
          <pc:docMk/>
          <pc:sldMasterMk cId="1076188572" sldId="2147483816"/>
        </pc:sldMasterMkLst>
        <pc:sldLayoutChg chg="del">
          <pc:chgData name="Mai, Ngoc" userId="6260b746-f870-404f-826b-042cd7eaef08" providerId="ADAL" clId="{769F330E-D585-4716-9037-34AB91D324E9}" dt="2025-09-09T11:22:58.538" v="100" actId="47"/>
          <pc:sldLayoutMkLst>
            <pc:docMk/>
            <pc:sldMasterMk cId="1076188572" sldId="2147483816"/>
            <pc:sldLayoutMk cId="1612118675" sldId="214748382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precisionmedicinegroup-my.sharepoint.com/personal/andrea_rodriguez_precisionvh_com/Documents/Desktop/Onboarding%20Reference%20Documents/Blue%20Team/Pfizer/Older%20Adults%20RSV/RSV%20OA%20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CB9E-4F21-9490-44A10F513B3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B$2</c:f>
              <c:strCache>
                <c:ptCount val="2"/>
                <c:pt idx="0">
                  <c:v>Individuals with coinfection</c:v>
                </c:pt>
                <c:pt idx="1">
                  <c:v>Individuals with no coinfection</c:v>
                </c:pt>
              </c:strCache>
            </c:strRef>
          </c:cat>
          <c:val>
            <c:numRef>
              <c:f>Sheet3!$A$3:$B$3</c:f>
              <c:numCache>
                <c:formatCode>0.0%</c:formatCode>
                <c:ptCount val="2"/>
                <c:pt idx="0">
                  <c:v>0.188</c:v>
                </c:pt>
                <c:pt idx="1">
                  <c:v>7.0000000000000007E-2</c:v>
                </c:pt>
              </c:numCache>
            </c:numRef>
          </c:val>
          <c:extLst>
            <c:ext xmlns:c16="http://schemas.microsoft.com/office/drawing/2014/chart" uri="{C3380CC4-5D6E-409C-BE32-E72D297353CC}">
              <c16:uniqueId val="{00000002-CB9E-4F21-9490-44A10F513B3C}"/>
            </c:ext>
          </c:extLst>
        </c:ser>
        <c:dLbls>
          <c:dLblPos val="outEnd"/>
          <c:showLegendKey val="0"/>
          <c:showVal val="1"/>
          <c:showCatName val="0"/>
          <c:showSerName val="0"/>
          <c:showPercent val="0"/>
          <c:showBubbleSize val="0"/>
        </c:dLbls>
        <c:gapWidth val="219"/>
        <c:overlap val="-27"/>
        <c:axId val="1126727440"/>
        <c:axId val="1126738672"/>
      </c:barChart>
      <c:catAx>
        <c:axId val="1126727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26738672"/>
        <c:crosses val="autoZero"/>
        <c:auto val="1"/>
        <c:lblAlgn val="ctr"/>
        <c:lblOffset val="100"/>
        <c:noMultiLvlLbl val="0"/>
      </c:catAx>
      <c:valAx>
        <c:axId val="1126738672"/>
        <c:scaling>
          <c:orientation val="minMax"/>
          <c:max val="0.2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b="0" i="0" u="none" strike="noStrike" baseline="0">
                    <a:effectLst/>
                  </a:rPr>
                  <a:t>Rates of mortality in patients with RSV infection</a:t>
                </a:r>
                <a:r>
                  <a:rPr lang="en-US"/>
                  <a:t>,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2672744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8</c:f>
              <c:strCache>
                <c:ptCount val="7"/>
                <c:pt idx="0">
                  <c:v>Ngủ</c:v>
                </c:pt>
                <c:pt idx="1">
                  <c:v>Tận hưởng cuộc sống</c:v>
                </c:pt>
                <c:pt idx="2">
                  <c:v>Các hoạt động thông thường</c:v>
                </c:pt>
                <c:pt idx="3">
                  <c:v>Tâm trạng</c:v>
                </c:pt>
                <c:pt idx="4">
                  <c:v>Công việc</c:v>
                </c:pt>
                <c:pt idx="5">
                  <c:v>Mối quan hệ với người khác</c:v>
                </c:pt>
                <c:pt idx="6">
                  <c:v>Khả năng đi lại</c:v>
                </c:pt>
              </c:strCache>
            </c:strRef>
          </c:cat>
          <c:val>
            <c:numRef>
              <c:f>Sheet1!$B$2:$B$8</c:f>
              <c:numCache>
                <c:formatCode>General</c:formatCode>
                <c:ptCount val="7"/>
                <c:pt idx="0">
                  <c:v>64</c:v>
                </c:pt>
                <c:pt idx="1">
                  <c:v>58</c:v>
                </c:pt>
                <c:pt idx="2">
                  <c:v>53</c:v>
                </c:pt>
                <c:pt idx="3">
                  <c:v>46</c:v>
                </c:pt>
                <c:pt idx="4">
                  <c:v>45</c:v>
                </c:pt>
                <c:pt idx="5">
                  <c:v>31</c:v>
                </c:pt>
                <c:pt idx="6">
                  <c:v>29</c:v>
                </c:pt>
              </c:numCache>
            </c:numRef>
          </c:val>
          <c:extLst>
            <c:ext xmlns:c16="http://schemas.microsoft.com/office/drawing/2014/chart" uri="{C3380CC4-5D6E-409C-BE32-E72D297353CC}">
              <c16:uniqueId val="{00000000-294D-4960-97AB-6BC053CD9B25}"/>
            </c:ext>
          </c:extLst>
        </c:ser>
        <c:dLbls>
          <c:showLegendKey val="0"/>
          <c:showVal val="0"/>
          <c:showCatName val="0"/>
          <c:showSerName val="0"/>
          <c:showPercent val="0"/>
          <c:showBubbleSize val="0"/>
        </c:dLbls>
        <c:gapWidth val="100"/>
        <c:axId val="97803648"/>
        <c:axId val="97805440"/>
      </c:barChart>
      <c:catAx>
        <c:axId val="97803648"/>
        <c:scaling>
          <c:orientation val="maxMin"/>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97805440"/>
        <c:crosses val="autoZero"/>
        <c:auto val="1"/>
        <c:lblAlgn val="ctr"/>
        <c:lblOffset val="100"/>
        <c:noMultiLvlLbl val="0"/>
      </c:catAx>
      <c:valAx>
        <c:axId val="97805440"/>
        <c:scaling>
          <c:orientation val="minMax"/>
          <c:max val="100"/>
        </c:scaling>
        <c:delete val="0"/>
        <c:axPos val="t"/>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9780364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25C9EB-D133-41E8-A4D7-105FEBDB684F}" type="doc">
      <dgm:prSet loTypeId="urn:microsoft.com/office/officeart/2005/8/layout/pyramid1" loCatId="pyramid" qsTypeId="urn:microsoft.com/office/officeart/2005/8/quickstyle/simple1" qsCatId="simple" csTypeId="urn:microsoft.com/office/officeart/2005/8/colors/accent1_2" csCatId="accent1" phldr="1"/>
      <dgm:spPr/>
      <dgm:t>
        <a:bodyPr/>
        <a:lstStyle/>
        <a:p>
          <a:endParaRPr lang="en-US"/>
        </a:p>
      </dgm:t>
    </dgm:pt>
    <dgm:pt modelId="{6919E855-7087-40EB-BABF-546A12F01ED3}">
      <dgm:prSet phldrT="[Text]"/>
      <dgm:spPr>
        <a:solidFill>
          <a:schemeClr val="accent1">
            <a:lumMod val="75000"/>
          </a:schemeClr>
        </a:solidFill>
      </dgm:spPr>
      <dgm:t>
        <a:bodyPr/>
        <a:lstStyle/>
        <a:p>
          <a:r>
            <a:rPr lang="en-US"/>
            <a:t> </a:t>
          </a:r>
        </a:p>
      </dgm:t>
    </dgm:pt>
    <dgm:pt modelId="{958B322F-61F7-4108-9AD1-B7A198A5D863}" type="parTrans" cxnId="{3C9AF538-F09C-4C80-9230-96063B56FA5E}">
      <dgm:prSet/>
      <dgm:spPr/>
      <dgm:t>
        <a:bodyPr/>
        <a:lstStyle/>
        <a:p>
          <a:endParaRPr lang="en-US"/>
        </a:p>
      </dgm:t>
    </dgm:pt>
    <dgm:pt modelId="{82E2F9DD-0C9D-47E7-9BCF-FCFC8D1ED590}" type="sibTrans" cxnId="{3C9AF538-F09C-4C80-9230-96063B56FA5E}">
      <dgm:prSet/>
      <dgm:spPr/>
      <dgm:t>
        <a:bodyPr/>
        <a:lstStyle/>
        <a:p>
          <a:endParaRPr lang="en-US"/>
        </a:p>
      </dgm:t>
    </dgm:pt>
    <dgm:pt modelId="{7660FA29-7140-40C3-AE0A-B139F56ABF01}">
      <dgm:prSet phldrT="[Text]"/>
      <dgm:spPr/>
      <dgm:t>
        <a:bodyPr/>
        <a:lstStyle/>
        <a:p>
          <a:r>
            <a:rPr lang="en-US"/>
            <a:t>			</a:t>
          </a:r>
        </a:p>
      </dgm:t>
    </dgm:pt>
    <dgm:pt modelId="{B818FD0B-5E2D-4177-92AC-1C1223E1DFAD}" type="parTrans" cxnId="{77AD6984-0963-41D5-A13E-DD0113FB5E45}">
      <dgm:prSet/>
      <dgm:spPr/>
      <dgm:t>
        <a:bodyPr/>
        <a:lstStyle/>
        <a:p>
          <a:endParaRPr lang="en-US"/>
        </a:p>
      </dgm:t>
    </dgm:pt>
    <dgm:pt modelId="{C2170EF8-1D79-4B1B-B0B7-5A0919EB2ABD}" type="sibTrans" cxnId="{77AD6984-0963-41D5-A13E-DD0113FB5E45}">
      <dgm:prSet/>
      <dgm:spPr/>
      <dgm:t>
        <a:bodyPr/>
        <a:lstStyle/>
        <a:p>
          <a:endParaRPr lang="en-US"/>
        </a:p>
      </dgm:t>
    </dgm:pt>
    <dgm:pt modelId="{FFAD64E8-03DC-42B8-B3C6-BBE242E0F759}">
      <dgm:prSet/>
      <dgm:spPr>
        <a:solidFill>
          <a:schemeClr val="accent1">
            <a:lumMod val="60000"/>
            <a:lumOff val="40000"/>
          </a:schemeClr>
        </a:solidFill>
      </dgm:spPr>
      <dgm:t>
        <a:bodyPr/>
        <a:lstStyle/>
        <a:p>
          <a:endParaRPr lang="en-US"/>
        </a:p>
      </dgm:t>
    </dgm:pt>
    <dgm:pt modelId="{26A9BFA0-CA51-4C66-8D85-9377FAA71C6C}" type="parTrans" cxnId="{693646D6-CE99-460B-850E-F4650BEE33B1}">
      <dgm:prSet/>
      <dgm:spPr/>
      <dgm:t>
        <a:bodyPr/>
        <a:lstStyle/>
        <a:p>
          <a:endParaRPr lang="en-US"/>
        </a:p>
      </dgm:t>
    </dgm:pt>
    <dgm:pt modelId="{4C900C0F-65C6-474A-BCB0-384E824DE780}" type="sibTrans" cxnId="{693646D6-CE99-460B-850E-F4650BEE33B1}">
      <dgm:prSet/>
      <dgm:spPr/>
      <dgm:t>
        <a:bodyPr/>
        <a:lstStyle/>
        <a:p>
          <a:endParaRPr lang="en-US"/>
        </a:p>
      </dgm:t>
    </dgm:pt>
    <dgm:pt modelId="{54A96014-6E2C-4195-A0C4-0CCAEB542C88}">
      <dgm:prSet/>
      <dgm:spPr>
        <a:solidFill>
          <a:schemeClr val="accent2">
            <a:lumMod val="20000"/>
            <a:lumOff val="80000"/>
          </a:schemeClr>
        </a:solidFill>
      </dgm:spPr>
      <dgm:t>
        <a:bodyPr/>
        <a:lstStyle/>
        <a:p>
          <a:endParaRPr lang="en-US"/>
        </a:p>
      </dgm:t>
    </dgm:pt>
    <dgm:pt modelId="{8EE7D217-DC6F-4BA1-9DC6-452DA753FF69}" type="parTrans" cxnId="{62CCB442-527C-446C-98B1-A39D77202593}">
      <dgm:prSet/>
      <dgm:spPr/>
      <dgm:t>
        <a:bodyPr/>
        <a:lstStyle/>
        <a:p>
          <a:endParaRPr lang="en-US"/>
        </a:p>
      </dgm:t>
    </dgm:pt>
    <dgm:pt modelId="{89A9A9B4-DADD-4442-BCEF-837C536A314B}" type="sibTrans" cxnId="{62CCB442-527C-446C-98B1-A39D77202593}">
      <dgm:prSet/>
      <dgm:spPr/>
      <dgm:t>
        <a:bodyPr/>
        <a:lstStyle/>
        <a:p>
          <a:endParaRPr lang="en-US"/>
        </a:p>
      </dgm:t>
    </dgm:pt>
    <dgm:pt modelId="{FF672BEF-4E12-491F-A54D-60B670E478E2}">
      <dgm:prSet phldrT="[Text]"/>
      <dgm:spPr>
        <a:solidFill>
          <a:schemeClr val="accent1">
            <a:lumMod val="50000"/>
          </a:schemeClr>
        </a:solidFill>
      </dgm:spPr>
      <dgm:t>
        <a:bodyPr/>
        <a:lstStyle/>
        <a:p>
          <a:r>
            <a:rPr lang="en-US"/>
            <a:t> </a:t>
          </a:r>
        </a:p>
      </dgm:t>
    </dgm:pt>
    <dgm:pt modelId="{551008B9-3C19-4ED1-8FD7-1DD2146DC789}" type="sibTrans" cxnId="{EA0E063D-2D6D-460F-AD8A-A8F3AA585941}">
      <dgm:prSet/>
      <dgm:spPr/>
      <dgm:t>
        <a:bodyPr/>
        <a:lstStyle/>
        <a:p>
          <a:endParaRPr lang="en-US"/>
        </a:p>
      </dgm:t>
    </dgm:pt>
    <dgm:pt modelId="{E1CAFEE4-BAA1-40E3-9281-497D3792116F}" type="parTrans" cxnId="{EA0E063D-2D6D-460F-AD8A-A8F3AA585941}">
      <dgm:prSet/>
      <dgm:spPr/>
      <dgm:t>
        <a:bodyPr/>
        <a:lstStyle/>
        <a:p>
          <a:endParaRPr lang="en-US"/>
        </a:p>
      </dgm:t>
    </dgm:pt>
    <dgm:pt modelId="{06E6BBE4-AB9E-489A-ACB3-16A7B2627CE2}" type="pres">
      <dgm:prSet presAssocID="{A025C9EB-D133-41E8-A4D7-105FEBDB684F}" presName="Name0" presStyleCnt="0">
        <dgm:presLayoutVars>
          <dgm:dir/>
          <dgm:animLvl val="lvl"/>
          <dgm:resizeHandles val="exact"/>
        </dgm:presLayoutVars>
      </dgm:prSet>
      <dgm:spPr/>
    </dgm:pt>
    <dgm:pt modelId="{2DCAC09C-030C-4DE8-B841-207FFE0F1CBF}" type="pres">
      <dgm:prSet presAssocID="{FF672BEF-4E12-491F-A54D-60B670E478E2}" presName="Name8" presStyleCnt="0"/>
      <dgm:spPr/>
    </dgm:pt>
    <dgm:pt modelId="{BFAC90B4-258A-4CA6-B2DC-D7100A8B551F}" type="pres">
      <dgm:prSet presAssocID="{FF672BEF-4E12-491F-A54D-60B670E478E2}" presName="level" presStyleLbl="node1" presStyleIdx="0" presStyleCnt="5">
        <dgm:presLayoutVars>
          <dgm:chMax val="1"/>
          <dgm:bulletEnabled val="1"/>
        </dgm:presLayoutVars>
      </dgm:prSet>
      <dgm:spPr/>
    </dgm:pt>
    <dgm:pt modelId="{4E1983CC-5607-4821-B9AF-3A32C0D9C640}" type="pres">
      <dgm:prSet presAssocID="{FF672BEF-4E12-491F-A54D-60B670E478E2}" presName="levelTx" presStyleLbl="revTx" presStyleIdx="0" presStyleCnt="0">
        <dgm:presLayoutVars>
          <dgm:chMax val="1"/>
          <dgm:bulletEnabled val="1"/>
        </dgm:presLayoutVars>
      </dgm:prSet>
      <dgm:spPr/>
    </dgm:pt>
    <dgm:pt modelId="{D51534F5-B0EE-4020-9B01-93F7503EEBF1}" type="pres">
      <dgm:prSet presAssocID="{6919E855-7087-40EB-BABF-546A12F01ED3}" presName="Name8" presStyleCnt="0"/>
      <dgm:spPr/>
    </dgm:pt>
    <dgm:pt modelId="{CB2B9572-ACF4-4C58-B77E-6F09553F05E4}" type="pres">
      <dgm:prSet presAssocID="{6919E855-7087-40EB-BABF-546A12F01ED3}" presName="level" presStyleLbl="node1" presStyleIdx="1" presStyleCnt="5">
        <dgm:presLayoutVars>
          <dgm:chMax val="1"/>
          <dgm:bulletEnabled val="1"/>
        </dgm:presLayoutVars>
      </dgm:prSet>
      <dgm:spPr/>
    </dgm:pt>
    <dgm:pt modelId="{3BAB1491-465A-4421-847C-E29CE4AD653D}" type="pres">
      <dgm:prSet presAssocID="{6919E855-7087-40EB-BABF-546A12F01ED3}" presName="levelTx" presStyleLbl="revTx" presStyleIdx="0" presStyleCnt="0">
        <dgm:presLayoutVars>
          <dgm:chMax val="1"/>
          <dgm:bulletEnabled val="1"/>
        </dgm:presLayoutVars>
      </dgm:prSet>
      <dgm:spPr/>
    </dgm:pt>
    <dgm:pt modelId="{565158F9-C683-4C7C-B94E-4AB4D72A7C1A}" type="pres">
      <dgm:prSet presAssocID="{7660FA29-7140-40C3-AE0A-B139F56ABF01}" presName="Name8" presStyleCnt="0"/>
      <dgm:spPr/>
    </dgm:pt>
    <dgm:pt modelId="{50B18D6F-D147-46F9-9B99-4EF3AE93EEA9}" type="pres">
      <dgm:prSet presAssocID="{7660FA29-7140-40C3-AE0A-B139F56ABF01}" presName="level" presStyleLbl="node1" presStyleIdx="2" presStyleCnt="5">
        <dgm:presLayoutVars>
          <dgm:chMax val="1"/>
          <dgm:bulletEnabled val="1"/>
        </dgm:presLayoutVars>
      </dgm:prSet>
      <dgm:spPr/>
    </dgm:pt>
    <dgm:pt modelId="{ED8E5624-4F67-4D56-89F6-7805F9F4BC6C}" type="pres">
      <dgm:prSet presAssocID="{7660FA29-7140-40C3-AE0A-B139F56ABF01}" presName="levelTx" presStyleLbl="revTx" presStyleIdx="0" presStyleCnt="0">
        <dgm:presLayoutVars>
          <dgm:chMax val="1"/>
          <dgm:bulletEnabled val="1"/>
        </dgm:presLayoutVars>
      </dgm:prSet>
      <dgm:spPr/>
    </dgm:pt>
    <dgm:pt modelId="{91D85EF9-D96E-413C-9598-F2B4FE6E2953}" type="pres">
      <dgm:prSet presAssocID="{FFAD64E8-03DC-42B8-B3C6-BBE242E0F759}" presName="Name8" presStyleCnt="0"/>
      <dgm:spPr/>
    </dgm:pt>
    <dgm:pt modelId="{8A1D9FB9-9143-465B-B41A-C2E4CBA991ED}" type="pres">
      <dgm:prSet presAssocID="{FFAD64E8-03DC-42B8-B3C6-BBE242E0F759}" presName="level" presStyleLbl="node1" presStyleIdx="3" presStyleCnt="5">
        <dgm:presLayoutVars>
          <dgm:chMax val="1"/>
          <dgm:bulletEnabled val="1"/>
        </dgm:presLayoutVars>
      </dgm:prSet>
      <dgm:spPr/>
    </dgm:pt>
    <dgm:pt modelId="{BF4098E8-A0F1-4688-8DCD-C04C2AAD4EC9}" type="pres">
      <dgm:prSet presAssocID="{FFAD64E8-03DC-42B8-B3C6-BBE242E0F759}" presName="levelTx" presStyleLbl="revTx" presStyleIdx="0" presStyleCnt="0">
        <dgm:presLayoutVars>
          <dgm:chMax val="1"/>
          <dgm:bulletEnabled val="1"/>
        </dgm:presLayoutVars>
      </dgm:prSet>
      <dgm:spPr/>
    </dgm:pt>
    <dgm:pt modelId="{13A2EDE6-963E-4FA7-9713-3EAF849252B6}" type="pres">
      <dgm:prSet presAssocID="{54A96014-6E2C-4195-A0C4-0CCAEB542C88}" presName="Name8" presStyleCnt="0"/>
      <dgm:spPr/>
    </dgm:pt>
    <dgm:pt modelId="{2C5A24AC-03E2-4E38-A39D-593EB23CA900}" type="pres">
      <dgm:prSet presAssocID="{54A96014-6E2C-4195-A0C4-0CCAEB542C88}" presName="level" presStyleLbl="node1" presStyleIdx="4" presStyleCnt="5">
        <dgm:presLayoutVars>
          <dgm:chMax val="1"/>
          <dgm:bulletEnabled val="1"/>
        </dgm:presLayoutVars>
      </dgm:prSet>
      <dgm:spPr/>
    </dgm:pt>
    <dgm:pt modelId="{CDC98A2A-AD38-434A-967C-91C43DE20DE2}" type="pres">
      <dgm:prSet presAssocID="{54A96014-6E2C-4195-A0C4-0CCAEB542C88}" presName="levelTx" presStyleLbl="revTx" presStyleIdx="0" presStyleCnt="0">
        <dgm:presLayoutVars>
          <dgm:chMax val="1"/>
          <dgm:bulletEnabled val="1"/>
        </dgm:presLayoutVars>
      </dgm:prSet>
      <dgm:spPr/>
    </dgm:pt>
  </dgm:ptLst>
  <dgm:cxnLst>
    <dgm:cxn modelId="{0962E401-82E3-4C6B-B15B-CF4962673F8D}" type="presOf" srcId="{7660FA29-7140-40C3-AE0A-B139F56ABF01}" destId="{ED8E5624-4F67-4D56-89F6-7805F9F4BC6C}" srcOrd="1" destOrd="0" presId="urn:microsoft.com/office/officeart/2005/8/layout/pyramid1"/>
    <dgm:cxn modelId="{2E782402-B9B8-4160-827A-50C4D6D03672}" type="presOf" srcId="{FF672BEF-4E12-491F-A54D-60B670E478E2}" destId="{BFAC90B4-258A-4CA6-B2DC-D7100A8B551F}" srcOrd="0" destOrd="0" presId="urn:microsoft.com/office/officeart/2005/8/layout/pyramid1"/>
    <dgm:cxn modelId="{21B8C402-FD16-4D84-8124-DC46D63F868A}" type="presOf" srcId="{7660FA29-7140-40C3-AE0A-B139F56ABF01}" destId="{50B18D6F-D147-46F9-9B99-4EF3AE93EEA9}" srcOrd="0" destOrd="0" presId="urn:microsoft.com/office/officeart/2005/8/layout/pyramid1"/>
    <dgm:cxn modelId="{1CF53511-D84E-4EC8-9700-8281B67A44FE}" type="presOf" srcId="{6919E855-7087-40EB-BABF-546A12F01ED3}" destId="{CB2B9572-ACF4-4C58-B77E-6F09553F05E4}" srcOrd="0" destOrd="0" presId="urn:microsoft.com/office/officeart/2005/8/layout/pyramid1"/>
    <dgm:cxn modelId="{28961722-D1ED-410D-B849-C6CB2A0BFB59}" type="presOf" srcId="{FFAD64E8-03DC-42B8-B3C6-BBE242E0F759}" destId="{BF4098E8-A0F1-4688-8DCD-C04C2AAD4EC9}" srcOrd="1" destOrd="0" presId="urn:microsoft.com/office/officeart/2005/8/layout/pyramid1"/>
    <dgm:cxn modelId="{9F8ED122-6816-47A9-A2FE-5AB9090BD52C}" type="presOf" srcId="{6919E855-7087-40EB-BABF-546A12F01ED3}" destId="{3BAB1491-465A-4421-847C-E29CE4AD653D}" srcOrd="1" destOrd="0" presId="urn:microsoft.com/office/officeart/2005/8/layout/pyramid1"/>
    <dgm:cxn modelId="{3C9AF538-F09C-4C80-9230-96063B56FA5E}" srcId="{A025C9EB-D133-41E8-A4D7-105FEBDB684F}" destId="{6919E855-7087-40EB-BABF-546A12F01ED3}" srcOrd="1" destOrd="0" parTransId="{958B322F-61F7-4108-9AD1-B7A198A5D863}" sibTransId="{82E2F9DD-0C9D-47E7-9BCF-FCFC8D1ED590}"/>
    <dgm:cxn modelId="{EA0E063D-2D6D-460F-AD8A-A8F3AA585941}" srcId="{A025C9EB-D133-41E8-A4D7-105FEBDB684F}" destId="{FF672BEF-4E12-491F-A54D-60B670E478E2}" srcOrd="0" destOrd="0" parTransId="{E1CAFEE4-BAA1-40E3-9281-497D3792116F}" sibTransId="{551008B9-3C19-4ED1-8FD7-1DD2146DC789}"/>
    <dgm:cxn modelId="{9DCD373D-6D75-4FCA-A6C5-467C1D8DC495}" type="presOf" srcId="{FFAD64E8-03DC-42B8-B3C6-BBE242E0F759}" destId="{8A1D9FB9-9143-465B-B41A-C2E4CBA991ED}" srcOrd="0" destOrd="0" presId="urn:microsoft.com/office/officeart/2005/8/layout/pyramid1"/>
    <dgm:cxn modelId="{62CCB442-527C-446C-98B1-A39D77202593}" srcId="{A025C9EB-D133-41E8-A4D7-105FEBDB684F}" destId="{54A96014-6E2C-4195-A0C4-0CCAEB542C88}" srcOrd="4" destOrd="0" parTransId="{8EE7D217-DC6F-4BA1-9DC6-452DA753FF69}" sibTransId="{89A9A9B4-DADD-4442-BCEF-837C536A314B}"/>
    <dgm:cxn modelId="{CBD79867-387B-4AAB-BEA2-72F93DCDF0C4}" type="presOf" srcId="{54A96014-6E2C-4195-A0C4-0CCAEB542C88}" destId="{2C5A24AC-03E2-4E38-A39D-593EB23CA900}" srcOrd="0" destOrd="0" presId="urn:microsoft.com/office/officeart/2005/8/layout/pyramid1"/>
    <dgm:cxn modelId="{D61F3059-C800-4519-BB46-0A6C4B4FCE65}" type="presOf" srcId="{54A96014-6E2C-4195-A0C4-0CCAEB542C88}" destId="{CDC98A2A-AD38-434A-967C-91C43DE20DE2}" srcOrd="1" destOrd="0" presId="urn:microsoft.com/office/officeart/2005/8/layout/pyramid1"/>
    <dgm:cxn modelId="{77AD6984-0963-41D5-A13E-DD0113FB5E45}" srcId="{A025C9EB-D133-41E8-A4D7-105FEBDB684F}" destId="{7660FA29-7140-40C3-AE0A-B139F56ABF01}" srcOrd="2" destOrd="0" parTransId="{B818FD0B-5E2D-4177-92AC-1C1223E1DFAD}" sibTransId="{C2170EF8-1D79-4B1B-B0B7-5A0919EB2ABD}"/>
    <dgm:cxn modelId="{F57F8A91-48F0-4119-9CD6-D683B46A5972}" type="presOf" srcId="{A025C9EB-D133-41E8-A4D7-105FEBDB684F}" destId="{06E6BBE4-AB9E-489A-ACB3-16A7B2627CE2}" srcOrd="0" destOrd="0" presId="urn:microsoft.com/office/officeart/2005/8/layout/pyramid1"/>
    <dgm:cxn modelId="{63E8ACCA-502F-4FAC-AC58-E681A90716FF}" type="presOf" srcId="{FF672BEF-4E12-491F-A54D-60B670E478E2}" destId="{4E1983CC-5607-4821-B9AF-3A32C0D9C640}" srcOrd="1" destOrd="0" presId="urn:microsoft.com/office/officeart/2005/8/layout/pyramid1"/>
    <dgm:cxn modelId="{693646D6-CE99-460B-850E-F4650BEE33B1}" srcId="{A025C9EB-D133-41E8-A4D7-105FEBDB684F}" destId="{FFAD64E8-03DC-42B8-B3C6-BBE242E0F759}" srcOrd="3" destOrd="0" parTransId="{26A9BFA0-CA51-4C66-8D85-9377FAA71C6C}" sibTransId="{4C900C0F-65C6-474A-BCB0-384E824DE780}"/>
    <dgm:cxn modelId="{9EEBC045-6196-4F5A-9011-C5B1CDC6D4B3}" type="presParOf" srcId="{06E6BBE4-AB9E-489A-ACB3-16A7B2627CE2}" destId="{2DCAC09C-030C-4DE8-B841-207FFE0F1CBF}" srcOrd="0" destOrd="0" presId="urn:microsoft.com/office/officeart/2005/8/layout/pyramid1"/>
    <dgm:cxn modelId="{A63C8159-612F-4F0B-A983-E285848ACC4C}" type="presParOf" srcId="{2DCAC09C-030C-4DE8-B841-207FFE0F1CBF}" destId="{BFAC90B4-258A-4CA6-B2DC-D7100A8B551F}" srcOrd="0" destOrd="0" presId="urn:microsoft.com/office/officeart/2005/8/layout/pyramid1"/>
    <dgm:cxn modelId="{A450EE53-8EEB-4051-B1B0-9D81D9B7D3EA}" type="presParOf" srcId="{2DCAC09C-030C-4DE8-B841-207FFE0F1CBF}" destId="{4E1983CC-5607-4821-B9AF-3A32C0D9C640}" srcOrd="1" destOrd="0" presId="urn:microsoft.com/office/officeart/2005/8/layout/pyramid1"/>
    <dgm:cxn modelId="{280C12AD-BF38-4A15-BB68-47DC20043697}" type="presParOf" srcId="{06E6BBE4-AB9E-489A-ACB3-16A7B2627CE2}" destId="{D51534F5-B0EE-4020-9B01-93F7503EEBF1}" srcOrd="1" destOrd="0" presId="urn:microsoft.com/office/officeart/2005/8/layout/pyramid1"/>
    <dgm:cxn modelId="{0F32A955-8C38-4D43-BBB5-C61A1CCFA4C1}" type="presParOf" srcId="{D51534F5-B0EE-4020-9B01-93F7503EEBF1}" destId="{CB2B9572-ACF4-4C58-B77E-6F09553F05E4}" srcOrd="0" destOrd="0" presId="urn:microsoft.com/office/officeart/2005/8/layout/pyramid1"/>
    <dgm:cxn modelId="{D023201C-99BE-442C-9BFF-6A4D5639AA6B}" type="presParOf" srcId="{D51534F5-B0EE-4020-9B01-93F7503EEBF1}" destId="{3BAB1491-465A-4421-847C-E29CE4AD653D}" srcOrd="1" destOrd="0" presId="urn:microsoft.com/office/officeart/2005/8/layout/pyramid1"/>
    <dgm:cxn modelId="{FAA99008-6291-47A2-9E89-BAB6B81C970E}" type="presParOf" srcId="{06E6BBE4-AB9E-489A-ACB3-16A7B2627CE2}" destId="{565158F9-C683-4C7C-B94E-4AB4D72A7C1A}" srcOrd="2" destOrd="0" presId="urn:microsoft.com/office/officeart/2005/8/layout/pyramid1"/>
    <dgm:cxn modelId="{B73D6A1F-A5F0-4D4F-83EA-F3797BBF5039}" type="presParOf" srcId="{565158F9-C683-4C7C-B94E-4AB4D72A7C1A}" destId="{50B18D6F-D147-46F9-9B99-4EF3AE93EEA9}" srcOrd="0" destOrd="0" presId="urn:microsoft.com/office/officeart/2005/8/layout/pyramid1"/>
    <dgm:cxn modelId="{39162AE2-C69A-40C8-9A55-630F501A5B5C}" type="presParOf" srcId="{565158F9-C683-4C7C-B94E-4AB4D72A7C1A}" destId="{ED8E5624-4F67-4D56-89F6-7805F9F4BC6C}" srcOrd="1" destOrd="0" presId="urn:microsoft.com/office/officeart/2005/8/layout/pyramid1"/>
    <dgm:cxn modelId="{63727EEE-4595-4BD0-96D4-BE863B188D9B}" type="presParOf" srcId="{06E6BBE4-AB9E-489A-ACB3-16A7B2627CE2}" destId="{91D85EF9-D96E-413C-9598-F2B4FE6E2953}" srcOrd="3" destOrd="0" presId="urn:microsoft.com/office/officeart/2005/8/layout/pyramid1"/>
    <dgm:cxn modelId="{67530C08-C3EF-4700-8B7F-98484370D496}" type="presParOf" srcId="{91D85EF9-D96E-413C-9598-F2B4FE6E2953}" destId="{8A1D9FB9-9143-465B-B41A-C2E4CBA991ED}" srcOrd="0" destOrd="0" presId="urn:microsoft.com/office/officeart/2005/8/layout/pyramid1"/>
    <dgm:cxn modelId="{CB0C0318-82FC-4B52-A454-81A0EBA44B91}" type="presParOf" srcId="{91D85EF9-D96E-413C-9598-F2B4FE6E2953}" destId="{BF4098E8-A0F1-4688-8DCD-C04C2AAD4EC9}" srcOrd="1" destOrd="0" presId="urn:microsoft.com/office/officeart/2005/8/layout/pyramid1"/>
    <dgm:cxn modelId="{3EEB159C-B55E-4860-A408-EF936F52AC74}" type="presParOf" srcId="{06E6BBE4-AB9E-489A-ACB3-16A7B2627CE2}" destId="{13A2EDE6-963E-4FA7-9713-3EAF849252B6}" srcOrd="4" destOrd="0" presId="urn:microsoft.com/office/officeart/2005/8/layout/pyramid1"/>
    <dgm:cxn modelId="{5F737C4A-BCC7-4698-81EE-4861582C3ED3}" type="presParOf" srcId="{13A2EDE6-963E-4FA7-9713-3EAF849252B6}" destId="{2C5A24AC-03E2-4E38-A39D-593EB23CA900}" srcOrd="0" destOrd="0" presId="urn:microsoft.com/office/officeart/2005/8/layout/pyramid1"/>
    <dgm:cxn modelId="{9D24BA30-2E5A-4068-86CE-79C791F84110}" type="presParOf" srcId="{13A2EDE6-963E-4FA7-9713-3EAF849252B6}" destId="{CDC98A2A-AD38-434A-967C-91C43DE20DE2}"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532711-D629-4CCC-A7FF-5F6D2D6B1917}" type="doc">
      <dgm:prSet loTypeId="urn:microsoft.com/office/officeart/2005/8/layout/default" loCatId="list" qsTypeId="urn:microsoft.com/office/officeart/2005/8/quickstyle/simple2" qsCatId="simple" csTypeId="urn:microsoft.com/office/officeart/2005/8/colors/colorful4" csCatId="colorful" phldr="1"/>
      <dgm:spPr/>
      <dgm:t>
        <a:bodyPr/>
        <a:lstStyle/>
        <a:p>
          <a:endParaRPr lang="en-GB"/>
        </a:p>
      </dgm:t>
    </dgm:pt>
    <dgm:pt modelId="{82521D8E-9E38-41C4-ACF0-951568B726DC}">
      <dgm:prSet phldrT="[Text]" custT="1"/>
      <dgm:spPr/>
      <dgm:t>
        <a:bodyPr anchor="ctr"/>
        <a:lstStyle/>
        <a:p>
          <a:pPr rtl="0"/>
          <a:endParaRPr lang="en-GB" sz="2800" b="1" dirty="0"/>
        </a:p>
        <a:p>
          <a:pPr rtl="0"/>
          <a:r>
            <a:rPr lang="en-GB" sz="2800" b="1" dirty="0" err="1"/>
            <a:t>Miễn</a:t>
          </a:r>
          <a:r>
            <a:rPr lang="en-GB" sz="2800" b="1" dirty="0"/>
            <a:t> </a:t>
          </a:r>
          <a:r>
            <a:rPr lang="en-GB" sz="2800" b="1" dirty="0" err="1"/>
            <a:t>dịch</a:t>
          </a:r>
          <a:r>
            <a:rPr lang="en-GB" sz="2800" b="1" dirty="0"/>
            <a:t> </a:t>
          </a:r>
          <a:r>
            <a:rPr lang="en-GB" sz="2800" b="1" dirty="0" err="1"/>
            <a:t>tư</a:t>
          </a:r>
          <a:r>
            <a:rPr lang="en-GB" sz="2800" b="1" dirty="0"/>
            <a:t>̣ nhiên</a:t>
          </a:r>
          <a:r>
            <a:rPr lang="en-GB" sz="2800" b="1" baseline="30000" dirty="0"/>
            <a:t>1,2</a:t>
          </a:r>
        </a:p>
        <a:p>
          <a:pPr rtl="0"/>
          <a:endParaRPr lang="en-GB" sz="2800" b="1" dirty="0"/>
        </a:p>
      </dgm:t>
    </dgm:pt>
    <dgm:pt modelId="{F154CB02-7AC9-4408-AB41-E52AEB1FA978}" type="parTrans" cxnId="{A5D256F5-A57D-481B-B450-A637216894CC}">
      <dgm:prSet/>
      <dgm:spPr/>
      <dgm:t>
        <a:bodyPr/>
        <a:lstStyle/>
        <a:p>
          <a:endParaRPr lang="en-GB"/>
        </a:p>
      </dgm:t>
    </dgm:pt>
    <dgm:pt modelId="{2C2C9584-FBB3-4D6F-80DA-2820B142F1D9}" type="sibTrans" cxnId="{A5D256F5-A57D-481B-B450-A637216894CC}">
      <dgm:prSet/>
      <dgm:spPr/>
      <dgm:t>
        <a:bodyPr/>
        <a:lstStyle/>
        <a:p>
          <a:endParaRPr lang="en-GB"/>
        </a:p>
      </dgm:t>
    </dgm:pt>
    <dgm:pt modelId="{BD9FEFF6-19BD-45E3-B47F-A7276658D2DC}">
      <dgm:prSet phldrT="[Text]" custT="1"/>
      <dgm:spPr/>
      <dgm:t>
        <a:bodyPr anchor="ctr"/>
        <a:lstStyle/>
        <a:p>
          <a:pPr rtl="0"/>
          <a:r>
            <a:rPr lang="en-GB" sz="2800" b="1" dirty="0"/>
            <a:t>Can </a:t>
          </a:r>
          <a:r>
            <a:rPr lang="en-GB" sz="2800" b="1" dirty="0" err="1"/>
            <a:t>thiệp</a:t>
          </a:r>
          <a:r>
            <a:rPr lang="en-GB" sz="2800" b="1" dirty="0"/>
            <a:t> </a:t>
          </a:r>
          <a:r>
            <a:rPr lang="en-GB" sz="2800" b="1" dirty="0" err="1"/>
            <a:t>không</a:t>
          </a:r>
          <a:r>
            <a:rPr lang="en-GB" sz="2800" b="1" dirty="0"/>
            <a:t> </a:t>
          </a:r>
          <a:r>
            <a:rPr lang="en-GB" sz="2800" b="1" dirty="0" err="1"/>
            <a:t>dùng</a:t>
          </a:r>
          <a:r>
            <a:rPr lang="en-GB" sz="2800" b="1" dirty="0"/>
            <a:t> </a:t>
          </a:r>
          <a:r>
            <a:rPr lang="en-GB" sz="2800" b="1" dirty="0" err="1"/>
            <a:t>thuốc</a:t>
          </a:r>
          <a:endParaRPr lang="en-GB" sz="2800" b="1" dirty="0"/>
        </a:p>
        <a:p>
          <a:pPr rtl="0"/>
          <a:r>
            <a:rPr lang="en-GB" sz="2800" b="1" dirty="0"/>
            <a:t>(NPIs)</a:t>
          </a:r>
          <a:r>
            <a:rPr lang="en-GB" sz="2800" b="1" baseline="30000" dirty="0"/>
            <a:t>3</a:t>
          </a:r>
        </a:p>
      </dgm:t>
    </dgm:pt>
    <dgm:pt modelId="{E060320E-7B86-4389-AD4F-6AE5EFD3BA93}" type="parTrans" cxnId="{53F1F662-A4FA-4415-88E1-64679A81D504}">
      <dgm:prSet/>
      <dgm:spPr/>
      <dgm:t>
        <a:bodyPr/>
        <a:lstStyle/>
        <a:p>
          <a:endParaRPr lang="en-GB"/>
        </a:p>
      </dgm:t>
    </dgm:pt>
    <dgm:pt modelId="{9E2CC76D-8BF2-4A10-913B-B9A779D809B5}" type="sibTrans" cxnId="{53F1F662-A4FA-4415-88E1-64679A81D504}">
      <dgm:prSet/>
      <dgm:spPr/>
      <dgm:t>
        <a:bodyPr/>
        <a:lstStyle/>
        <a:p>
          <a:endParaRPr lang="en-GB"/>
        </a:p>
      </dgm:t>
    </dgm:pt>
    <dgm:pt modelId="{AC0AFFC9-F32A-40D1-A23B-688C147DEFE2}">
      <dgm:prSet phldrT="[Text]" custT="1"/>
      <dgm:spPr/>
      <dgm:t>
        <a:bodyPr anchor="ctr"/>
        <a:lstStyle/>
        <a:p>
          <a:r>
            <a:rPr lang="en-GB" sz="2800" b="1" dirty="0" err="1"/>
            <a:t>Tiêm</a:t>
          </a:r>
          <a:r>
            <a:rPr lang="en-GB" sz="2800" b="1" dirty="0"/>
            <a:t> chủng</a:t>
          </a:r>
          <a:r>
            <a:rPr lang="en-GB" sz="2800" b="1" baseline="30000" dirty="0"/>
            <a:t>3</a:t>
          </a:r>
        </a:p>
      </dgm:t>
    </dgm:pt>
    <dgm:pt modelId="{D1746CBF-3DFB-47FB-9164-DA32C7D91C4A}" type="parTrans" cxnId="{407DDF03-35C0-49EC-A120-5B6744168332}">
      <dgm:prSet/>
      <dgm:spPr/>
      <dgm:t>
        <a:bodyPr/>
        <a:lstStyle/>
        <a:p>
          <a:endParaRPr lang="en-GB"/>
        </a:p>
      </dgm:t>
    </dgm:pt>
    <dgm:pt modelId="{6A8D0E3F-4431-4766-A226-25644DA47B2C}" type="sibTrans" cxnId="{407DDF03-35C0-49EC-A120-5B6744168332}">
      <dgm:prSet/>
      <dgm:spPr/>
      <dgm:t>
        <a:bodyPr/>
        <a:lstStyle/>
        <a:p>
          <a:endParaRPr lang="en-GB"/>
        </a:p>
      </dgm:t>
    </dgm:pt>
    <dgm:pt modelId="{C9D57C25-44C8-4ED3-92DC-2C0780A949D0}" type="pres">
      <dgm:prSet presAssocID="{ED532711-D629-4CCC-A7FF-5F6D2D6B1917}" presName="diagram" presStyleCnt="0">
        <dgm:presLayoutVars>
          <dgm:dir/>
          <dgm:resizeHandles val="exact"/>
        </dgm:presLayoutVars>
      </dgm:prSet>
      <dgm:spPr/>
    </dgm:pt>
    <dgm:pt modelId="{76D9D5AB-896D-4D4D-8F79-9621737AFE88}" type="pres">
      <dgm:prSet presAssocID="{82521D8E-9E38-41C4-ACF0-951568B726DC}" presName="node" presStyleLbl="node1" presStyleIdx="0" presStyleCnt="3" custScaleY="123183" custLinFactNeighborX="557" custLinFactNeighborY="1391">
        <dgm:presLayoutVars>
          <dgm:bulletEnabled val="1"/>
        </dgm:presLayoutVars>
      </dgm:prSet>
      <dgm:spPr/>
    </dgm:pt>
    <dgm:pt modelId="{EA89ED1B-5011-43C7-A199-9B28E91695C3}" type="pres">
      <dgm:prSet presAssocID="{2C2C9584-FBB3-4D6F-80DA-2820B142F1D9}" presName="sibTrans" presStyleCnt="0"/>
      <dgm:spPr/>
    </dgm:pt>
    <dgm:pt modelId="{F5E1A4AE-DDB0-4836-8D39-1195B832AB1A}" type="pres">
      <dgm:prSet presAssocID="{BD9FEFF6-19BD-45E3-B47F-A7276658D2DC}" presName="node" presStyleLbl="node1" presStyleIdx="1" presStyleCnt="3" custScaleY="123183">
        <dgm:presLayoutVars>
          <dgm:bulletEnabled val="1"/>
        </dgm:presLayoutVars>
      </dgm:prSet>
      <dgm:spPr/>
    </dgm:pt>
    <dgm:pt modelId="{170C44AE-DFBF-4E26-86B0-5627503000F8}" type="pres">
      <dgm:prSet presAssocID="{9E2CC76D-8BF2-4A10-913B-B9A779D809B5}" presName="sibTrans" presStyleCnt="0"/>
      <dgm:spPr/>
    </dgm:pt>
    <dgm:pt modelId="{85ABE649-3D9A-46D3-BA81-97A7308449CC}" type="pres">
      <dgm:prSet presAssocID="{AC0AFFC9-F32A-40D1-A23B-688C147DEFE2}" presName="node" presStyleLbl="node1" presStyleIdx="2" presStyleCnt="3" custScaleY="125526" custLinFactNeighborX="-989" custLinFactNeighborY="1099">
        <dgm:presLayoutVars>
          <dgm:bulletEnabled val="1"/>
        </dgm:presLayoutVars>
      </dgm:prSet>
      <dgm:spPr/>
    </dgm:pt>
  </dgm:ptLst>
  <dgm:cxnLst>
    <dgm:cxn modelId="{407DDF03-35C0-49EC-A120-5B6744168332}" srcId="{ED532711-D629-4CCC-A7FF-5F6D2D6B1917}" destId="{AC0AFFC9-F32A-40D1-A23B-688C147DEFE2}" srcOrd="2" destOrd="0" parTransId="{D1746CBF-3DFB-47FB-9164-DA32C7D91C4A}" sibTransId="{6A8D0E3F-4431-4766-A226-25644DA47B2C}"/>
    <dgm:cxn modelId="{53F1F662-A4FA-4415-88E1-64679A81D504}" srcId="{ED532711-D629-4CCC-A7FF-5F6D2D6B1917}" destId="{BD9FEFF6-19BD-45E3-B47F-A7276658D2DC}" srcOrd="1" destOrd="0" parTransId="{E060320E-7B86-4389-AD4F-6AE5EFD3BA93}" sibTransId="{9E2CC76D-8BF2-4A10-913B-B9A779D809B5}"/>
    <dgm:cxn modelId="{1AF6869C-CDAD-4A80-BB2A-9C4531F9E7EB}" type="presOf" srcId="{BD9FEFF6-19BD-45E3-B47F-A7276658D2DC}" destId="{F5E1A4AE-DDB0-4836-8D39-1195B832AB1A}" srcOrd="0" destOrd="0" presId="urn:microsoft.com/office/officeart/2005/8/layout/default"/>
    <dgm:cxn modelId="{7336C7AB-575E-4147-9442-BFECB1DA8250}" type="presOf" srcId="{AC0AFFC9-F32A-40D1-A23B-688C147DEFE2}" destId="{85ABE649-3D9A-46D3-BA81-97A7308449CC}" srcOrd="0" destOrd="0" presId="urn:microsoft.com/office/officeart/2005/8/layout/default"/>
    <dgm:cxn modelId="{E757ACDD-343B-42B1-9103-1DD6A6A8A5E2}" type="presOf" srcId="{82521D8E-9E38-41C4-ACF0-951568B726DC}" destId="{76D9D5AB-896D-4D4D-8F79-9621737AFE88}" srcOrd="0" destOrd="0" presId="urn:microsoft.com/office/officeart/2005/8/layout/default"/>
    <dgm:cxn modelId="{477CC6F1-B87C-4A1D-A8E3-52E7064A1C14}" type="presOf" srcId="{ED532711-D629-4CCC-A7FF-5F6D2D6B1917}" destId="{C9D57C25-44C8-4ED3-92DC-2C0780A949D0}" srcOrd="0" destOrd="0" presId="urn:microsoft.com/office/officeart/2005/8/layout/default"/>
    <dgm:cxn modelId="{A5D256F5-A57D-481B-B450-A637216894CC}" srcId="{ED532711-D629-4CCC-A7FF-5F6D2D6B1917}" destId="{82521D8E-9E38-41C4-ACF0-951568B726DC}" srcOrd="0" destOrd="0" parTransId="{F154CB02-7AC9-4408-AB41-E52AEB1FA978}" sibTransId="{2C2C9584-FBB3-4D6F-80DA-2820B142F1D9}"/>
    <dgm:cxn modelId="{FCCADDE8-874F-4C97-838D-316F3795C2AA}" type="presParOf" srcId="{C9D57C25-44C8-4ED3-92DC-2C0780A949D0}" destId="{76D9D5AB-896D-4D4D-8F79-9621737AFE88}" srcOrd="0" destOrd="0" presId="urn:microsoft.com/office/officeart/2005/8/layout/default"/>
    <dgm:cxn modelId="{91992BA6-F395-4209-AA4B-489B549E146B}" type="presParOf" srcId="{C9D57C25-44C8-4ED3-92DC-2C0780A949D0}" destId="{EA89ED1B-5011-43C7-A199-9B28E91695C3}" srcOrd="1" destOrd="0" presId="urn:microsoft.com/office/officeart/2005/8/layout/default"/>
    <dgm:cxn modelId="{262A6FEB-26DA-4459-9AA7-DA287A17A5DF}" type="presParOf" srcId="{C9D57C25-44C8-4ED3-92DC-2C0780A949D0}" destId="{F5E1A4AE-DDB0-4836-8D39-1195B832AB1A}" srcOrd="2" destOrd="0" presId="urn:microsoft.com/office/officeart/2005/8/layout/default"/>
    <dgm:cxn modelId="{43F3D81B-5BAC-4EC5-8D4E-F020E6729AED}" type="presParOf" srcId="{C9D57C25-44C8-4ED3-92DC-2C0780A949D0}" destId="{170C44AE-DFBF-4E26-86B0-5627503000F8}" srcOrd="3" destOrd="0" presId="urn:microsoft.com/office/officeart/2005/8/layout/default"/>
    <dgm:cxn modelId="{21B4DF97-E067-4BFE-B84B-7FFAEF12DDA0}" type="presParOf" srcId="{C9D57C25-44C8-4ED3-92DC-2C0780A949D0}" destId="{85ABE649-3D9A-46D3-BA81-97A7308449CC}"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C90B4-258A-4CA6-B2DC-D7100A8B551F}">
      <dsp:nvSpPr>
        <dsp:cNvPr id="0" name=""/>
        <dsp:cNvSpPr/>
      </dsp:nvSpPr>
      <dsp:spPr>
        <a:xfrm>
          <a:off x="1699999" y="0"/>
          <a:ext cx="849999" cy="928871"/>
        </a:xfrm>
        <a:prstGeom prst="trapezoid">
          <a:avLst>
            <a:gd name="adj" fmla="val 50000"/>
          </a:avLst>
        </a:prstGeom>
        <a:solidFill>
          <a:schemeClr val="accent1">
            <a:lumMod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 </a:t>
          </a:r>
        </a:p>
      </dsp:txBody>
      <dsp:txXfrm>
        <a:off x="1699999" y="0"/>
        <a:ext cx="849999" cy="928871"/>
      </dsp:txXfrm>
    </dsp:sp>
    <dsp:sp modelId="{CB2B9572-ACF4-4C58-B77E-6F09553F05E4}">
      <dsp:nvSpPr>
        <dsp:cNvPr id="0" name=""/>
        <dsp:cNvSpPr/>
      </dsp:nvSpPr>
      <dsp:spPr>
        <a:xfrm>
          <a:off x="1274999" y="928871"/>
          <a:ext cx="1699999" cy="928871"/>
        </a:xfrm>
        <a:prstGeom prst="trapezoid">
          <a:avLst>
            <a:gd name="adj" fmla="val 45754"/>
          </a:avLst>
        </a:prstGeom>
        <a:solidFill>
          <a:schemeClr val="accent1">
            <a:lumMod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 </a:t>
          </a:r>
        </a:p>
      </dsp:txBody>
      <dsp:txXfrm>
        <a:off x="1572499" y="928871"/>
        <a:ext cx="1104999" cy="928871"/>
      </dsp:txXfrm>
    </dsp:sp>
    <dsp:sp modelId="{50B18D6F-D147-46F9-9B99-4EF3AE93EEA9}">
      <dsp:nvSpPr>
        <dsp:cNvPr id="0" name=""/>
        <dsp:cNvSpPr/>
      </dsp:nvSpPr>
      <dsp:spPr>
        <a:xfrm>
          <a:off x="849999" y="1857743"/>
          <a:ext cx="2549998" cy="928871"/>
        </a:xfrm>
        <a:prstGeom prst="trapezoid">
          <a:avLst>
            <a:gd name="adj" fmla="val 45754"/>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			</a:t>
          </a:r>
        </a:p>
      </dsp:txBody>
      <dsp:txXfrm>
        <a:off x="1296249" y="1857743"/>
        <a:ext cx="1657499" cy="928871"/>
      </dsp:txXfrm>
    </dsp:sp>
    <dsp:sp modelId="{8A1D9FB9-9143-465B-B41A-C2E4CBA991ED}">
      <dsp:nvSpPr>
        <dsp:cNvPr id="0" name=""/>
        <dsp:cNvSpPr/>
      </dsp:nvSpPr>
      <dsp:spPr>
        <a:xfrm>
          <a:off x="424999" y="2786615"/>
          <a:ext cx="3399998" cy="928871"/>
        </a:xfrm>
        <a:prstGeom prst="trapezoid">
          <a:avLst>
            <a:gd name="adj" fmla="val 45754"/>
          </a:avLst>
        </a:prstGeom>
        <a:solidFill>
          <a:schemeClr val="accent1">
            <a:lumMod val="60000"/>
            <a:lumOff val="4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1019999" y="2786615"/>
        <a:ext cx="2209998" cy="928871"/>
      </dsp:txXfrm>
    </dsp:sp>
    <dsp:sp modelId="{2C5A24AC-03E2-4E38-A39D-593EB23CA900}">
      <dsp:nvSpPr>
        <dsp:cNvPr id="0" name=""/>
        <dsp:cNvSpPr/>
      </dsp:nvSpPr>
      <dsp:spPr>
        <a:xfrm>
          <a:off x="0" y="3715487"/>
          <a:ext cx="4249998" cy="928871"/>
        </a:xfrm>
        <a:prstGeom prst="trapezoid">
          <a:avLst>
            <a:gd name="adj" fmla="val 45754"/>
          </a:avLst>
        </a:prstGeom>
        <a:solidFill>
          <a:schemeClr val="accent2">
            <a:lumMod val="20000"/>
            <a:lumOff val="8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743749" y="3715487"/>
        <a:ext cx="2762498" cy="9288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D9D5AB-896D-4D4D-8F79-9621737AFE88}">
      <dsp:nvSpPr>
        <dsp:cNvPr id="0" name=""/>
        <dsp:cNvSpPr/>
      </dsp:nvSpPr>
      <dsp:spPr>
        <a:xfrm>
          <a:off x="19064" y="614988"/>
          <a:ext cx="3422764" cy="2529758"/>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endParaRPr lang="en-GB" sz="2800" b="1" kern="1200" dirty="0"/>
        </a:p>
        <a:p>
          <a:pPr marL="0" lvl="0" indent="0" algn="ctr" defTabSz="1244600" rtl="0">
            <a:lnSpc>
              <a:spcPct val="90000"/>
            </a:lnSpc>
            <a:spcBef>
              <a:spcPct val="0"/>
            </a:spcBef>
            <a:spcAft>
              <a:spcPct val="35000"/>
            </a:spcAft>
            <a:buNone/>
          </a:pPr>
          <a:r>
            <a:rPr lang="en-GB" sz="2800" b="1" kern="1200" dirty="0" err="1"/>
            <a:t>Miễn</a:t>
          </a:r>
          <a:r>
            <a:rPr lang="en-GB" sz="2800" b="1" kern="1200" dirty="0"/>
            <a:t> </a:t>
          </a:r>
          <a:r>
            <a:rPr lang="en-GB" sz="2800" b="1" kern="1200" dirty="0" err="1"/>
            <a:t>dịch</a:t>
          </a:r>
          <a:r>
            <a:rPr lang="en-GB" sz="2800" b="1" kern="1200" dirty="0"/>
            <a:t> </a:t>
          </a:r>
          <a:r>
            <a:rPr lang="en-GB" sz="2800" b="1" kern="1200" dirty="0" err="1"/>
            <a:t>tư</a:t>
          </a:r>
          <a:r>
            <a:rPr lang="en-GB" sz="2800" b="1" kern="1200" dirty="0"/>
            <a:t>̣ nhiên</a:t>
          </a:r>
          <a:r>
            <a:rPr lang="en-GB" sz="2800" b="1" kern="1200" baseline="30000" dirty="0"/>
            <a:t>1,2</a:t>
          </a:r>
        </a:p>
        <a:p>
          <a:pPr marL="0" lvl="0" indent="0" algn="ctr" defTabSz="1244600" rtl="0">
            <a:lnSpc>
              <a:spcPct val="90000"/>
            </a:lnSpc>
            <a:spcBef>
              <a:spcPct val="0"/>
            </a:spcBef>
            <a:spcAft>
              <a:spcPct val="35000"/>
            </a:spcAft>
            <a:buNone/>
          </a:pPr>
          <a:endParaRPr lang="en-GB" sz="2800" b="1" kern="1200" dirty="0"/>
        </a:p>
      </dsp:txBody>
      <dsp:txXfrm>
        <a:off x="19064" y="614988"/>
        <a:ext cx="3422764" cy="2529758"/>
      </dsp:txXfrm>
    </dsp:sp>
    <dsp:sp modelId="{F5E1A4AE-DDB0-4836-8D39-1195B832AB1A}">
      <dsp:nvSpPr>
        <dsp:cNvPr id="0" name=""/>
        <dsp:cNvSpPr/>
      </dsp:nvSpPr>
      <dsp:spPr>
        <a:xfrm>
          <a:off x="3765041" y="586422"/>
          <a:ext cx="3422764" cy="2529758"/>
        </a:xfrm>
        <a:prstGeom prst="rect">
          <a:avLst/>
        </a:prstGeom>
        <a:solidFill>
          <a:schemeClr val="accent4">
            <a:hueOff val="5197846"/>
            <a:satOff val="-23984"/>
            <a:lumOff val="88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GB" sz="2800" b="1" kern="1200" dirty="0"/>
            <a:t>Can </a:t>
          </a:r>
          <a:r>
            <a:rPr lang="en-GB" sz="2800" b="1" kern="1200" dirty="0" err="1"/>
            <a:t>thiệp</a:t>
          </a:r>
          <a:r>
            <a:rPr lang="en-GB" sz="2800" b="1" kern="1200" dirty="0"/>
            <a:t> </a:t>
          </a:r>
          <a:r>
            <a:rPr lang="en-GB" sz="2800" b="1" kern="1200" dirty="0" err="1"/>
            <a:t>không</a:t>
          </a:r>
          <a:r>
            <a:rPr lang="en-GB" sz="2800" b="1" kern="1200" dirty="0"/>
            <a:t> </a:t>
          </a:r>
          <a:r>
            <a:rPr lang="en-GB" sz="2800" b="1" kern="1200" dirty="0" err="1"/>
            <a:t>dùng</a:t>
          </a:r>
          <a:r>
            <a:rPr lang="en-GB" sz="2800" b="1" kern="1200" dirty="0"/>
            <a:t> </a:t>
          </a:r>
          <a:r>
            <a:rPr lang="en-GB" sz="2800" b="1" kern="1200" dirty="0" err="1"/>
            <a:t>thuốc</a:t>
          </a:r>
          <a:endParaRPr lang="en-GB" sz="2800" b="1" kern="1200" dirty="0"/>
        </a:p>
        <a:p>
          <a:pPr marL="0" lvl="0" indent="0" algn="ctr" defTabSz="1244600" rtl="0">
            <a:lnSpc>
              <a:spcPct val="90000"/>
            </a:lnSpc>
            <a:spcBef>
              <a:spcPct val="0"/>
            </a:spcBef>
            <a:spcAft>
              <a:spcPct val="35000"/>
            </a:spcAft>
            <a:buNone/>
          </a:pPr>
          <a:r>
            <a:rPr lang="en-GB" sz="2800" b="1" kern="1200" dirty="0"/>
            <a:t>(NPIs)</a:t>
          </a:r>
          <a:r>
            <a:rPr lang="en-GB" sz="2800" b="1" kern="1200" baseline="30000" dirty="0"/>
            <a:t>3</a:t>
          </a:r>
        </a:p>
      </dsp:txBody>
      <dsp:txXfrm>
        <a:off x="3765041" y="586422"/>
        <a:ext cx="3422764" cy="2529758"/>
      </dsp:txXfrm>
    </dsp:sp>
    <dsp:sp modelId="{85ABE649-3D9A-46D3-BA81-97A7308449CC}">
      <dsp:nvSpPr>
        <dsp:cNvPr id="0" name=""/>
        <dsp:cNvSpPr/>
      </dsp:nvSpPr>
      <dsp:spPr>
        <a:xfrm>
          <a:off x="7496231" y="584933"/>
          <a:ext cx="3422764" cy="2577875"/>
        </a:xfrm>
        <a:prstGeom prst="rect">
          <a:avLst/>
        </a:prstGeom>
        <a:solidFill>
          <a:schemeClr val="accent4">
            <a:hueOff val="10395692"/>
            <a:satOff val="-47968"/>
            <a:lumOff val="176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b="1" kern="1200" dirty="0" err="1"/>
            <a:t>Tiêm</a:t>
          </a:r>
          <a:r>
            <a:rPr lang="en-GB" sz="2800" b="1" kern="1200" dirty="0"/>
            <a:t> chủng</a:t>
          </a:r>
          <a:r>
            <a:rPr lang="en-GB" sz="2800" b="1" kern="1200" baseline="30000" dirty="0"/>
            <a:t>3</a:t>
          </a:r>
        </a:p>
      </dsp:txBody>
      <dsp:txXfrm>
        <a:off x="7496231" y="584933"/>
        <a:ext cx="3422764" cy="257787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0BDEC0-4E2E-4F85-ABB2-91E45BAABAD1}" type="datetimeFigureOut">
              <a:rPr lang="en-US" smtClean="0"/>
              <a:t>9/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C38072-63CE-499E-A1D6-B5DC9EBB5132}" type="slidenum">
              <a:rPr lang="en-US" smtClean="0"/>
              <a:t>‹#›</a:t>
            </a:fld>
            <a:endParaRPr lang="en-US"/>
          </a:p>
        </p:txBody>
      </p:sp>
    </p:spTree>
    <p:extLst>
      <p:ext uri="{BB962C8B-B14F-4D97-AF65-F5344CB8AC3E}">
        <p14:creationId xmlns:p14="http://schemas.microsoft.com/office/powerpoint/2010/main" val="961476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jamanetwork.com/journals/jamacardiology/fullarticle/2728383?appId=scweb#hoi190011t1"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jamanetwork.com/journals/jamacardiology/fullarticle/2728383?appId=scweb#hoi190011f1"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vi-VN"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Nhiễm trùng đường hô hấp dưới </a:t>
            </a:r>
            <a:endParaRPr lang="en-V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D773DF-9DBD-42AA-8047-F15274D56D9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5714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65B707F0-D500-45EE-A7D0-576E59A00A02}" type="slidenum">
              <a:rPr lang="en-US">
                <a:solidFill>
                  <a:prstClr val="black"/>
                </a:solidFill>
                <a:latin typeface="Calibri" panose="020F0502020204030204"/>
              </a:rPr>
              <a:pPr defTabSz="966612">
                <a:defRPr/>
              </a:pPr>
              <a:t>37</a:t>
            </a:fld>
            <a:endParaRPr lang="en-US">
              <a:solidFill>
                <a:prstClr val="black"/>
              </a:solidFill>
              <a:latin typeface="Calibri" panose="020F0502020204030204"/>
            </a:endParaRPr>
          </a:p>
        </p:txBody>
      </p:sp>
    </p:spTree>
    <p:extLst>
      <p:ext uri="{BB962C8B-B14F-4D97-AF65-F5344CB8AC3E}">
        <p14:creationId xmlns:p14="http://schemas.microsoft.com/office/powerpoint/2010/main" val="386341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D14885-EA36-455D-B868-3D55005ED158}" type="slidenum">
              <a:rPr lang="en-US" smtClean="0"/>
              <a:pPr/>
              <a:t>52</a:t>
            </a:fld>
            <a:endParaRPr lang="en-US"/>
          </a:p>
        </p:txBody>
      </p:sp>
    </p:spTree>
    <p:extLst>
      <p:ext uri="{BB962C8B-B14F-4D97-AF65-F5344CB8AC3E}">
        <p14:creationId xmlns:p14="http://schemas.microsoft.com/office/powerpoint/2010/main" val="23251875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B2AA4F-B828-4D7C-AFD3-893933DAFCB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4850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B2AA4F-B828-4D7C-AFD3-893933DAFCB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57667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2E584D-FCF0-6D47-AF40-5B379992327F}" type="slidenum">
              <a:rPr lang="en-US" smtClean="0"/>
              <a:t>7</a:t>
            </a:fld>
            <a:endParaRPr lang="en-US"/>
          </a:p>
        </p:txBody>
      </p:sp>
    </p:spTree>
    <p:extLst>
      <p:ext uri="{BB962C8B-B14F-4D97-AF65-F5344CB8AC3E}">
        <p14:creationId xmlns:p14="http://schemas.microsoft.com/office/powerpoint/2010/main" val="1503345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Influenza activity by season as reported by the CDC for the regions studied is shown in </a:t>
            </a:r>
            <a:r>
              <a:rPr lang="en-US" dirty="0">
                <a:hlinkClick r:id="rId3"/>
              </a:rPr>
              <a:t>Table 1</a:t>
            </a:r>
            <a:r>
              <a:rPr lang="en-US" dirty="0"/>
              <a:t> and ILI activity over these regions by season is shown in </a:t>
            </a:r>
            <a:r>
              <a:rPr lang="en-US" dirty="0">
                <a:hlinkClick r:id="rId4"/>
              </a:rPr>
              <a:t>Figure 1</a:t>
            </a:r>
            <a:r>
              <a:rPr lang="en-US" dirty="0"/>
              <a:t>. Of the seasons studied, peak ILI activity was the highest in the 2012 to 2013 season and the lowest in the 2011 to 2012 season, with a peak of 10.1% vs 6.6% of visits to sentinel clinicians for ILI, respectively (</a:t>
            </a:r>
            <a:r>
              <a:rPr lang="en-US" dirty="0">
                <a:hlinkClick r:id="rId3"/>
              </a:rPr>
              <a:t>Table 1</a:t>
            </a:r>
            <a:r>
              <a:rPr lang="en-US" dirty="0"/>
              <a:t>). Concordant with ILI activity, the most pneumonia and influenza-associated deaths occurred during the 2012 to 2013 season (16 451 [27%]), and the lowest number occurred during the 2011 to 2012 season (14 449 [23%]).</a:t>
            </a:r>
            <a:endParaRPr lang="fr-FR" dirty="0"/>
          </a:p>
        </p:txBody>
      </p:sp>
      <p:sp>
        <p:nvSpPr>
          <p:cNvPr id="4" name="Espace réservé du pied de page 3"/>
          <p:cNvSpPr>
            <a:spLocks noGrp="1"/>
          </p:cNvSpPr>
          <p:nvPr>
            <p:ph type="ftr" sz="quarter" idx="10"/>
          </p:nvPr>
        </p:nvSpPr>
        <p:spPr/>
        <p:txBody>
          <a:bodyPr/>
          <a:lstStyle/>
          <a:p>
            <a:r>
              <a:rPr lang="fr-FR"/>
              <a:t>test</a:t>
            </a:r>
            <a:endParaRPr lang="fr-FR" dirty="0"/>
          </a:p>
        </p:txBody>
      </p:sp>
      <p:sp>
        <p:nvSpPr>
          <p:cNvPr id="5" name="Espace réservé du numéro de diapositive 4"/>
          <p:cNvSpPr>
            <a:spLocks noGrp="1"/>
          </p:cNvSpPr>
          <p:nvPr>
            <p:ph type="sldNum" sz="quarter" idx="11"/>
          </p:nvPr>
        </p:nvSpPr>
        <p:spPr/>
        <p:txBody>
          <a:bodyPr/>
          <a:lstStyle/>
          <a:p>
            <a:fld id="{C5792C17-AD08-4E4C-AB6D-1035F7AC396F}" type="slidenum">
              <a:rPr lang="fr-FR" smtClean="0"/>
              <a:t>18</a:t>
            </a:fld>
            <a:endParaRPr lang="fr-FR" dirty="0"/>
          </a:p>
        </p:txBody>
      </p:sp>
    </p:spTree>
    <p:extLst>
      <p:ext uri="{BB962C8B-B14F-4D97-AF65-F5344CB8AC3E}">
        <p14:creationId xmlns:p14="http://schemas.microsoft.com/office/powerpoint/2010/main" val="819628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5BD06C-2516-41E6-8B6B-133773FD2DF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91687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6F0EA257-BA4F-5088-5E48-4733845742E3}"/>
              </a:ext>
            </a:extLst>
          </p:cNvPr>
          <p:cNvSpPr txBox="1"/>
          <p:nvPr/>
        </p:nvSpPr>
        <p:spPr>
          <a:xfrm>
            <a:off x="6249989" y="2711745"/>
            <a:ext cx="606424"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6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Wildenbeest</a:t>
            </a:r>
            <a:r>
              <a:rPr kumimoji="0" lang="it-IT" sz="6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Lancet 2024/pdf p 3/</a:t>
            </a:r>
            <a:r>
              <a:rPr kumimoji="0" lang="it-IT" sz="6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Fig</a:t>
            </a:r>
            <a:r>
              <a:rPr kumimoji="0" lang="it-IT" sz="6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1; pdf p2/col 1/para 3</a:t>
            </a:r>
            <a:endParaRPr kumimoji="0" lang="en-US" sz="6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9" name="Straight Arrow Connector 8">
            <a:extLst>
              <a:ext uri="{FF2B5EF4-FFF2-40B4-BE49-F238E27FC236}">
                <a16:creationId xmlns:a16="http://schemas.microsoft.com/office/drawing/2014/main" id="{608A32D5-420C-1D16-6D6B-7E1AD73CB8D2}"/>
              </a:ext>
            </a:extLst>
          </p:cNvPr>
          <p:cNvCxnSpPr>
            <a:cxnSpLocks/>
            <a:stCxn id="8" idx="1"/>
          </p:cNvCxnSpPr>
          <p:nvPr/>
        </p:nvCxnSpPr>
        <p:spPr>
          <a:xfrm flipH="1">
            <a:off x="5620871" y="3034911"/>
            <a:ext cx="629118" cy="106322"/>
          </a:xfrm>
          <a:prstGeom prst="straightConnector1">
            <a:avLst/>
          </a:prstGeom>
          <a:ln w="6350">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672925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50D8E-F307-0F47-4B2B-F32C89CC1F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4D37E-3353-DB48-83C9-28A221DEC5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33F87-8DA2-6F8E-D62D-6AE85C9C702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73A0049-395E-D891-489F-545BEB7A417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2372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3770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69656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58014-F0A5-9FAA-0986-1F81AB8126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76E45-EB40-6D15-E840-6AB22EBF2A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143BF8-4167-6325-2BD1-25D803DD471E}"/>
              </a:ext>
            </a:extLst>
          </p:cNvPr>
          <p:cNvSpPr>
            <a:spLocks noGrp="1"/>
          </p:cNvSpPr>
          <p:nvPr>
            <p:ph type="body" idx="1"/>
          </p:nvPr>
        </p:nvSpPr>
        <p:spPr/>
        <p:txBody>
          <a:bodyPr/>
          <a:lstStyle/>
          <a:p>
            <a:pPr defTabSz="1288785">
              <a:defRPr/>
            </a:pPr>
            <a:r>
              <a:rPr lang="en-US"/>
              <a:t>The same diagram was first published in Simon AK et al, 2015. The artwork has been independently created by GSK from the original data</a:t>
            </a:r>
          </a:p>
          <a:p>
            <a:r>
              <a:rPr lang="en-US" b="0" i="0">
                <a:solidFill>
                  <a:srgbClr val="303030"/>
                </a:solidFill>
                <a:effectLst/>
                <a:latin typeface="Arial" panose="020B0604020202020204" pitchFamily="34" charset="0"/>
              </a:rPr>
              <a:t>ASSET-2108529</a:t>
            </a:r>
            <a:endParaRPr lang="en-US"/>
          </a:p>
        </p:txBody>
      </p:sp>
      <p:sp>
        <p:nvSpPr>
          <p:cNvPr id="4" name="Slide Number Placeholder 3">
            <a:extLst>
              <a:ext uri="{FF2B5EF4-FFF2-40B4-BE49-F238E27FC236}">
                <a16:creationId xmlns:a16="http://schemas.microsoft.com/office/drawing/2014/main" id="{80C5A7DD-BF17-25D3-CA4B-B4E20259B90B}"/>
              </a:ext>
            </a:extLst>
          </p:cNvPr>
          <p:cNvSpPr>
            <a:spLocks noGrp="1"/>
          </p:cNvSpPr>
          <p:nvPr>
            <p:ph type="sldNum" sz="quarter" idx="5"/>
          </p:nvPr>
        </p:nvSpPr>
        <p:spPr/>
        <p:txBody>
          <a:bodyPr/>
          <a:lstStyle/>
          <a:p>
            <a:pPr defTabSz="966612">
              <a:defRPr/>
            </a:pPr>
            <a:fld id="{026B53C8-14E4-49A7-A1A5-3BF810B81EBE}" type="slidenum">
              <a:rPr lang="en-GB">
                <a:solidFill>
                  <a:prstClr val="black"/>
                </a:solidFill>
                <a:latin typeface="Calibri" panose="020F0502020204030204"/>
              </a:rPr>
              <a:pPr defTabSz="966612">
                <a:defRPr/>
              </a:pPr>
              <a:t>34</a:t>
            </a:fld>
            <a:endParaRPr lang="en-GB">
              <a:solidFill>
                <a:prstClr val="black"/>
              </a:solidFill>
              <a:latin typeface="Calibri" panose="020F0502020204030204"/>
            </a:endParaRPr>
          </a:p>
        </p:txBody>
      </p:sp>
    </p:spTree>
    <p:extLst>
      <p:ext uri="{BB962C8B-B14F-4D97-AF65-F5344CB8AC3E}">
        <p14:creationId xmlns:p14="http://schemas.microsoft.com/office/powerpoint/2010/main" val="3767862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4.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1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65F7C-A868-7C98-2186-E83D63AC08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AE410C-B631-8A15-C20F-D5C2D7DBA3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0450E6-7BB6-3A2B-9B05-D4A9D3BADBDB}"/>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2748D65B-487C-660A-99FE-4351423F2B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BC6487-DC64-2419-FB23-6E8779D328D6}"/>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842091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3378C-8D92-7981-F5CB-00ED24DA2FD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A163E2B-9804-8DA8-BB29-755F2888B6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7759BB-2C21-CC08-993C-7DA568AF118A}"/>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26B7160F-8D36-014D-AA9D-8F6FB0783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1C3443-261A-8685-7EAB-FCC2D986CDE0}"/>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240294245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357" y="1219200"/>
            <a:ext cx="11464236" cy="48006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5" name="Rectangle 18"/>
          <p:cNvSpPr>
            <a:spLocks noGrp="1" noChangeArrowheads="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6" name="Rectangle 19"/>
          <p:cNvSpPr>
            <a:spLocks noGrp="1" noChangeArrowheads="1"/>
          </p:cNvSpPr>
          <p:nvPr>
            <p:ph type="sldNum" sz="quarter" idx="12"/>
          </p:nvPr>
        </p:nvSpPr>
        <p:spPr>
          <a:xfrm>
            <a:off x="11681884" y="6323013"/>
            <a:ext cx="508000" cy="457200"/>
          </a:xfrm>
        </p:spPr>
        <p:txBody>
          <a:bodyPr/>
          <a:lstStyle>
            <a:lvl1pPr>
              <a:defRPr>
                <a:latin typeface="Arial" panose="020B0604020202020204" pitchFamily="34" charset="0"/>
                <a:cs typeface="Arial" panose="020B0604020202020204" pitchFamily="34" charset="0"/>
              </a:defRPr>
            </a:lvl1pPr>
          </a:lstStyle>
          <a:p>
            <a:fld id="{9D52B317-28EE-4691-9FD6-C50785A5CA4D}" type="slidenum">
              <a:rPr lang="en-US" altLang="en-US" smtClean="0"/>
              <a:t>‹#›</a:t>
            </a:fld>
            <a:endParaRPr lang="en-US" altLang="en-US"/>
          </a:p>
        </p:txBody>
      </p:sp>
      <p:sp>
        <p:nvSpPr>
          <p:cNvPr id="8" name="Rectangle 8"/>
          <p:cNvSpPr>
            <a:spLocks noChangeArrowheads="1"/>
          </p:cNvSpPr>
          <p:nvPr/>
        </p:nvSpPr>
        <p:spPr bwMode="auto">
          <a:xfrm>
            <a:off x="397358" y="241953"/>
            <a:ext cx="11464236" cy="820918"/>
          </a:xfrm>
          <a:prstGeom prst="rect">
            <a:avLst/>
          </a:prstGeom>
          <a:solidFill>
            <a:srgbClr val="EAEAEA">
              <a:alpha val="50195"/>
            </a:srgbClr>
          </a:solidFill>
          <a:ln w="12700">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9282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9CA8-5327-9B31-F2A6-21DF468C4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DCFC00-A411-C569-A600-02AFF838F58C}"/>
              </a:ext>
            </a:extLst>
          </p:cNvPr>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284E8A-3465-37CB-EA11-674EA74F7FB6}"/>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A96FC60F-8616-4517-F567-0B43412747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C770F9-0148-E750-DE34-3088BC083310}"/>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25990018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F49B5-EFD0-CDB8-FB61-C9B93DA723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60E840-4F5F-E262-F1E4-07BE9AFCD5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F1CA4D-C704-6888-AC89-E083A5CB2EB7}"/>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9C9B682B-9297-A9AD-3F38-8FA81EF5B8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81C768-7822-5F6D-B2F3-76668338A112}"/>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10214083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8F05E-C1C4-4085-9F11-7AF33052CACC}"/>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F19CC6-BE9B-19EA-1FAE-301085C9532B}"/>
              </a:ext>
            </a:extLst>
          </p:cNvPr>
          <p:cNvSpPr>
            <a:spLocks noGrp="1"/>
          </p:cNvSpPr>
          <p:nvPr>
            <p:ph type="body" idx="1"/>
          </p:nvPr>
        </p:nvSpPr>
        <p:spPr>
          <a:xfrm>
            <a:off x="831850" y="4589464"/>
            <a:ext cx="10515600" cy="1500187"/>
          </a:xfrm>
        </p:spPr>
        <p:txBody>
          <a:bodyPr/>
          <a:lstStyle>
            <a:lvl1pPr marL="0" indent="0">
              <a:buNone/>
              <a:defRPr sz="2400">
                <a:solidFill>
                  <a:schemeClr val="tx1">
                    <a:tint val="82000"/>
                  </a:schemeClr>
                </a:solidFill>
              </a:defRPr>
            </a:lvl1pPr>
            <a:lvl2pPr marL="457223" indent="0">
              <a:buNone/>
              <a:defRPr sz="2000">
                <a:solidFill>
                  <a:schemeClr val="tx1">
                    <a:tint val="82000"/>
                  </a:schemeClr>
                </a:solidFill>
              </a:defRPr>
            </a:lvl2pPr>
            <a:lvl3pPr marL="914446" indent="0">
              <a:buNone/>
              <a:defRPr sz="1800">
                <a:solidFill>
                  <a:schemeClr val="tx1">
                    <a:tint val="82000"/>
                  </a:schemeClr>
                </a:solidFill>
              </a:defRPr>
            </a:lvl3pPr>
            <a:lvl4pPr marL="1371669" indent="0">
              <a:buNone/>
              <a:defRPr sz="1600">
                <a:solidFill>
                  <a:schemeClr val="tx1">
                    <a:tint val="82000"/>
                  </a:schemeClr>
                </a:solidFill>
              </a:defRPr>
            </a:lvl4pPr>
            <a:lvl5pPr marL="1828891" indent="0">
              <a:buNone/>
              <a:defRPr sz="1600">
                <a:solidFill>
                  <a:schemeClr val="tx1">
                    <a:tint val="82000"/>
                  </a:schemeClr>
                </a:solidFill>
              </a:defRPr>
            </a:lvl5pPr>
            <a:lvl6pPr marL="2286114" indent="0">
              <a:buNone/>
              <a:defRPr sz="1600">
                <a:solidFill>
                  <a:schemeClr val="tx1">
                    <a:tint val="82000"/>
                  </a:schemeClr>
                </a:solidFill>
              </a:defRPr>
            </a:lvl6pPr>
            <a:lvl7pPr marL="2743337" indent="0">
              <a:buNone/>
              <a:defRPr sz="1600">
                <a:solidFill>
                  <a:schemeClr val="tx1">
                    <a:tint val="82000"/>
                  </a:schemeClr>
                </a:solidFill>
              </a:defRPr>
            </a:lvl7pPr>
            <a:lvl8pPr marL="3200560" indent="0">
              <a:buNone/>
              <a:defRPr sz="1600">
                <a:solidFill>
                  <a:schemeClr val="tx1">
                    <a:tint val="82000"/>
                  </a:schemeClr>
                </a:solidFill>
              </a:defRPr>
            </a:lvl8pPr>
            <a:lvl9pPr marL="3657783"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2F66B7-7690-2EED-A3A3-76CA41CF6FC6}"/>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E28D4053-036E-3EFD-D231-4B81774531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DFF37B-7A1E-372A-751B-3E026A70EC08}"/>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35766354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DC815-A6F3-252E-AC3A-03D749B86F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5D758E-E98A-DC45-D2E0-788839B1ED9C}"/>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AFB3D8-57E8-C78C-7847-8D5CECD00AF8}"/>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6900BE-5C41-F430-277D-FB1F167A3B47}"/>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6" name="Footer Placeholder 5">
            <a:extLst>
              <a:ext uri="{FF2B5EF4-FFF2-40B4-BE49-F238E27FC236}">
                <a16:creationId xmlns:a16="http://schemas.microsoft.com/office/drawing/2014/main" id="{3D08C050-880D-E8E7-881B-6395C8EDF5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A489C8-B0BB-6EE6-682A-9517AF435B6A}"/>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7680764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F39D3-0CBA-4004-D163-912299FB669D}"/>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D87AFA5-28FB-7F30-A8C6-9B24314B4736}"/>
              </a:ext>
            </a:extLst>
          </p:cNvPr>
          <p:cNvSpPr>
            <a:spLocks noGrp="1"/>
          </p:cNvSpPr>
          <p:nvPr>
            <p:ph type="body" idx="1"/>
          </p:nvPr>
        </p:nvSpPr>
        <p:spPr>
          <a:xfrm>
            <a:off x="839789" y="1681163"/>
            <a:ext cx="5157787"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3DEE4-1066-AB93-A374-A09A5D2F9AE1}"/>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15EA8-A828-E598-F82B-4F4673B981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CF4D0DC-EEB3-4C75-71A8-6122A30DE7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4D226B-3138-09A6-0810-497DC299CB3D}"/>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8" name="Footer Placeholder 7">
            <a:extLst>
              <a:ext uri="{FF2B5EF4-FFF2-40B4-BE49-F238E27FC236}">
                <a16:creationId xmlns:a16="http://schemas.microsoft.com/office/drawing/2014/main" id="{C4EDB92F-59D9-E1FB-C39B-4A3C8A24CB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28F2B7-CCD8-5D42-629B-0979FF156C4B}"/>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22232340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51200-29BD-941B-0682-07C671C69B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128233-FB5D-F493-6A51-75BAC6213120}"/>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4" name="Footer Placeholder 3">
            <a:extLst>
              <a:ext uri="{FF2B5EF4-FFF2-40B4-BE49-F238E27FC236}">
                <a16:creationId xmlns:a16="http://schemas.microsoft.com/office/drawing/2014/main" id="{C34DEC86-F849-C72A-E8C6-05ED75D7F0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0454E2-1E43-BF00-31A5-6EEB757BC769}"/>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18674414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8F16A5-14A2-7202-483C-5ADF0B68750F}"/>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3" name="Footer Placeholder 2">
            <a:extLst>
              <a:ext uri="{FF2B5EF4-FFF2-40B4-BE49-F238E27FC236}">
                <a16:creationId xmlns:a16="http://schemas.microsoft.com/office/drawing/2014/main" id="{3F2B299F-7314-79AB-928E-C332B50B2E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5A470E3-CE60-4474-D3BE-1954C872A25B}"/>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33776954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B93BC-5426-5C85-2C33-3BE11A22D255}"/>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08086C-0F1B-C8C4-76DA-A9DF7D4EF715}"/>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152B45-3C01-5BE9-8F81-75FF335069AE}"/>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6DA6FE-A960-14EC-2A0C-A61EAED19206}"/>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6" name="Footer Placeholder 5">
            <a:extLst>
              <a:ext uri="{FF2B5EF4-FFF2-40B4-BE49-F238E27FC236}">
                <a16:creationId xmlns:a16="http://schemas.microsoft.com/office/drawing/2014/main" id="{CDD45EE9-76E9-E19C-B7AC-B6D48DABCA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D8264D-7DB2-957D-8B7B-DBB6C5DBF816}"/>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37798887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38F2E-617A-FC5E-BD0C-9E719A564776}"/>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DFC7D0-6CB0-62F8-F4C1-AE68A1CF5200}"/>
              </a:ext>
            </a:extLst>
          </p:cNvPr>
          <p:cNvSpPr>
            <a:spLocks noGrp="1"/>
          </p:cNvSpPr>
          <p:nvPr>
            <p:ph type="pic" idx="1"/>
          </p:nvPr>
        </p:nvSpPr>
        <p:spPr>
          <a:xfrm>
            <a:off x="5183188" y="987426"/>
            <a:ext cx="6172200" cy="4873625"/>
          </a:xfrm>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en-US"/>
          </a:p>
        </p:txBody>
      </p:sp>
      <p:sp>
        <p:nvSpPr>
          <p:cNvPr id="4" name="Text Placeholder 3">
            <a:extLst>
              <a:ext uri="{FF2B5EF4-FFF2-40B4-BE49-F238E27FC236}">
                <a16:creationId xmlns:a16="http://schemas.microsoft.com/office/drawing/2014/main" id="{F40D2842-7C5F-7FEC-8DE5-FBA874FA3516}"/>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5FC2C0-C076-EC45-57B9-3D51B8793D87}"/>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6" name="Footer Placeholder 5">
            <a:extLst>
              <a:ext uri="{FF2B5EF4-FFF2-40B4-BE49-F238E27FC236}">
                <a16:creationId xmlns:a16="http://schemas.microsoft.com/office/drawing/2014/main" id="{974FB494-A303-3692-5980-A16F24F11A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37DFE3-F502-8B21-4026-FED869D95FE3}"/>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973293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9F34A3-1853-EDC3-4465-B5EEA7199A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657A3A-70A8-A222-68C4-0B4DE339190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B64678-D9FA-B8EC-0C67-4C70EB54DD36}"/>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0324E437-7516-0C69-2549-7541E97499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73C053-A46E-768B-67F3-D3B39F67EC04}"/>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39511225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E44AE-6AC1-5BF3-00B7-9B18CEF6DC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B04EAB2-F7B5-798B-6B31-1F16EEBAB00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4F087-6C24-BDE7-84EA-25416B0601BB}"/>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27C310D1-080C-D30A-6144-284734F5C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A44E3D-ADFC-B880-C449-DB88E16B2E16}"/>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7844382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52C196-1D15-B08C-B253-BF892BDC6DC4}"/>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94FCBF-C8C2-69B2-0960-85FFF954703F}"/>
              </a:ext>
            </a:extLst>
          </p:cNvPr>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F3D720-0253-EA2A-05A3-917144E07E85}"/>
              </a:ext>
            </a:extLst>
          </p:cNvPr>
          <p:cNvSpPr>
            <a:spLocks noGrp="1"/>
          </p:cNvSpPr>
          <p:nvPr>
            <p:ph type="dt" sz="half" idx="10"/>
          </p:nvPr>
        </p:nvSpPr>
        <p:spPr/>
        <p:txBody>
          <a:body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A8BB748A-2CE6-3C95-7586-CA6D10FC64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EEB2D4-EC82-A0B9-6B66-D9931719358F}"/>
              </a:ext>
            </a:extLst>
          </p:cNvPr>
          <p:cNvSpPr>
            <a:spLocks noGrp="1"/>
          </p:cNvSpPr>
          <p:nvPr>
            <p:ph type="sldNum" sz="quarter" idx="12"/>
          </p:nvPr>
        </p:nvSpPr>
        <p:spPr/>
        <p:txBody>
          <a:bodyPr/>
          <a:lstStyle/>
          <a:p>
            <a:fld id="{D9D820E6-3470-400D-9241-64EEDC9DC5EA}" type="slidenum">
              <a:rPr lang="en-US" smtClean="0"/>
              <a:t>‹#›</a:t>
            </a:fld>
            <a:endParaRPr lang="en-US"/>
          </a:p>
        </p:txBody>
      </p:sp>
    </p:spTree>
    <p:extLst>
      <p:ext uri="{BB962C8B-B14F-4D97-AF65-F5344CB8AC3E}">
        <p14:creationId xmlns:p14="http://schemas.microsoft.com/office/powerpoint/2010/main" val="6391562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stStyle>
          <a:p>
            <a:pPr lvl="0"/>
            <a:endParaRPr lang="th-TH" dirty="0"/>
          </a:p>
        </p:txBody>
      </p:sp>
      <p:sp>
        <p:nvSpPr>
          <p:cNvPr id="8" name="Picture Placeholder 7">
            <a:extLst>
              <a:ext uri="{FF2B5EF4-FFF2-40B4-BE49-F238E27FC236}">
                <a16:creationId xmlns:a16="http://schemas.microsoft.com/office/drawing/2014/main" id="{8F837A20-ED01-62D8-08AB-CFE524716D6D}"/>
              </a:ext>
            </a:extLst>
          </p:cNvPr>
          <p:cNvSpPr>
            <a:spLocks noGrp="1"/>
          </p:cNvSpPr>
          <p:nvPr>
            <p:ph type="pic" sz="quarter" idx="10"/>
          </p:nvPr>
        </p:nvSpPr>
        <p:spPr>
          <a:xfrm>
            <a:off x="1135063" y="2184400"/>
            <a:ext cx="9906000" cy="2717800"/>
          </a:xfrm>
          <a:prstGeom prst="rect">
            <a:avLst/>
          </a:prstGeom>
        </p:spPr>
        <p:txBody>
          <a:bodyPr/>
          <a:lstStyle/>
          <a:p>
            <a:endParaRPr lang="en-US"/>
          </a:p>
        </p:txBody>
      </p:sp>
      <p:sp>
        <p:nvSpPr>
          <p:cNvPr id="10" name="Title 9">
            <a:extLst>
              <a:ext uri="{FF2B5EF4-FFF2-40B4-BE49-F238E27FC236}">
                <a16:creationId xmlns:a16="http://schemas.microsoft.com/office/drawing/2014/main" id="{8C9D2F42-8431-37B2-9DC0-3D7183A57524}"/>
              </a:ext>
            </a:extLst>
          </p:cNvPr>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941151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bwMode="gray">
          <a:xfrm>
            <a:off x="448174" y="4215384"/>
            <a:ext cx="4234775" cy="905256"/>
          </a:xfrm>
          <a:prstGeom prst="rect">
            <a:avLst/>
          </a:prstGeom>
        </p:spPr>
        <p:txBody>
          <a:bodyPr lIns="0" tIns="0" rIns="0" bIns="0"/>
          <a:lstStyle>
            <a:lvl1pPr marL="0" indent="0">
              <a:spcBef>
                <a:spcPts val="600"/>
              </a:spcBef>
              <a:buNone/>
              <a:defRPr sz="1800">
                <a:solidFill>
                  <a:schemeClr val="tx1"/>
                </a:solidFill>
                <a:latin typeface="+mn-lt"/>
              </a:defRPr>
            </a:lvl1pPr>
            <a:lvl2pPr marL="400070" indent="0">
              <a:buNone/>
              <a:defRPr/>
            </a:lvl2pPr>
            <a:lvl3pPr marL="742987" indent="0">
              <a:buNone/>
              <a:defRPr/>
            </a:lvl3pPr>
            <a:lvl4pPr marL="1095430" indent="0">
              <a:buNone/>
              <a:defRPr/>
            </a:lvl4pPr>
            <a:lvl5pPr marL="1370081" indent="0">
              <a:buNone/>
              <a:defRPr/>
            </a:lvl5pPr>
          </a:lstStyle>
          <a:p>
            <a:pPr lvl="0"/>
            <a:r>
              <a:rPr lang="en-US"/>
              <a:t>Click to edit Master text styles</a:t>
            </a:r>
          </a:p>
        </p:txBody>
      </p:sp>
      <p:sp>
        <p:nvSpPr>
          <p:cNvPr id="2" name="Title 1"/>
          <p:cNvSpPr>
            <a:spLocks noGrp="1"/>
          </p:cNvSpPr>
          <p:nvPr>
            <p:ph type="ctrTitle"/>
          </p:nvPr>
        </p:nvSpPr>
        <p:spPr bwMode="gray">
          <a:xfrm>
            <a:off x="448174" y="2560320"/>
            <a:ext cx="4234775" cy="1508760"/>
          </a:xfrm>
          <a:prstGeom prst="rect">
            <a:avLst/>
          </a:prstGeom>
        </p:spPr>
        <p:txBody>
          <a:bodyPr vert="horz" lIns="0" tIns="0" rIns="0" bIns="0" rtlCol="0" anchor="b" anchorCtr="0">
            <a:noAutofit/>
          </a:bodyPr>
          <a:lstStyle>
            <a:lvl1pPr>
              <a:defRPr lang="en-US" sz="2800" b="1" dirty="0">
                <a:solidFill>
                  <a:schemeClr val="tx1"/>
                </a:solidFill>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26861753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903272-BA4E-2901-9F69-A2B70A9096B1}"/>
              </a:ext>
            </a:extLst>
          </p:cNvPr>
          <p:cNvSpPr>
            <a:spLocks noGrp="1"/>
          </p:cNvSpPr>
          <p:nvPr>
            <p:ph type="ftr" sz="quarter" idx="10"/>
          </p:nvPr>
        </p:nvSpPr>
        <p:spPr>
          <a:xfrm>
            <a:off x="446913" y="5919423"/>
            <a:ext cx="11295781" cy="365125"/>
          </a:xfrm>
          <a:prstGeom prst="rect">
            <a:avLst/>
          </a:prstGeom>
        </p:spPr>
        <p:txBody>
          <a:bodyPr/>
          <a:lstStyle/>
          <a:p>
            <a:endParaRPr lang="en-US"/>
          </a:p>
        </p:txBody>
      </p:sp>
    </p:spTree>
    <p:custDataLst>
      <p:tags r:id="rId1"/>
    </p:custDataLst>
    <p:extLst>
      <p:ext uri="{BB962C8B-B14F-4D97-AF65-F5344CB8AC3E}">
        <p14:creationId xmlns:p14="http://schemas.microsoft.com/office/powerpoint/2010/main" val="27870106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Text Placeholder 2">
            <a:extLst>
              <a:ext uri="{FF2B5EF4-FFF2-40B4-BE49-F238E27FC236}">
                <a16:creationId xmlns:a16="http://schemas.microsoft.com/office/drawing/2014/main" id="{4404F931-4B8C-E197-A56B-B15F07425301}"/>
              </a:ext>
            </a:extLst>
          </p:cNvPr>
          <p:cNvSpPr>
            <a:spLocks noGrp="1"/>
          </p:cNvSpPr>
          <p:nvPr>
            <p:ph type="body" sz="quarter" idx="16" hasCustomPrompt="1"/>
          </p:nvPr>
        </p:nvSpPr>
        <p:spPr bwMode="gray">
          <a:xfrm>
            <a:off x="1691347" y="6268777"/>
            <a:ext cx="9805437" cy="347472"/>
          </a:xfrm>
        </p:spPr>
        <p:txBody>
          <a:bodyPr lIns="0" tIns="0" rIns="0" bIns="0" anchor="b"/>
          <a:lstStyle>
            <a:lvl1pPr marL="228543" indent="-228543" algn="l" defTabSz="914172" rtl="0" eaLnBrk="1" latinLnBrk="0" hangingPunct="1">
              <a:lnSpc>
                <a:spcPct val="85000"/>
              </a:lnSpc>
              <a:spcBef>
                <a:spcPts val="200"/>
              </a:spcBef>
              <a:buClr>
                <a:schemeClr val="accent2"/>
              </a:buClr>
              <a:buSzPct val="85000"/>
              <a:buFont typeface="Arial" pitchFamily="34" charset="0"/>
              <a:buNone/>
              <a:tabLst>
                <a:tab pos="174582" algn="r"/>
                <a:tab pos="228543" algn="l"/>
              </a:tabLst>
              <a:defRPr lang="en-US" sz="800" kern="1200" dirty="0">
                <a:solidFill>
                  <a:schemeClr val="tx1"/>
                </a:solidFill>
                <a:latin typeface="+mn-lt"/>
                <a:ea typeface="+mn-ea"/>
                <a:cs typeface="Arial" pitchFamily="34" charset="0"/>
              </a:defRPr>
            </a:lvl1pPr>
          </a:lstStyle>
          <a:p>
            <a:pPr lvl="0"/>
            <a:r>
              <a:rPr lang="en-US"/>
              <a:t>Click to edit source</a:t>
            </a:r>
          </a:p>
        </p:txBody>
      </p:sp>
    </p:spTree>
    <p:custDataLst>
      <p:tags r:id="rId1"/>
    </p:custDataLst>
    <p:extLst>
      <p:ext uri="{BB962C8B-B14F-4D97-AF65-F5344CB8AC3E}">
        <p14:creationId xmlns:p14="http://schemas.microsoft.com/office/powerpoint/2010/main" val="1820348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80" y="1624016"/>
            <a:ext cx="11521900" cy="43719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p:cNvSpPr>
            <a:spLocks noGrp="1"/>
          </p:cNvSpPr>
          <p:nvPr>
            <p:ph type="body" sz="quarter" idx="15" hasCustomPrompt="1"/>
          </p:nvPr>
        </p:nvSpPr>
        <p:spPr bwMode="gray">
          <a:xfrm>
            <a:off x="304880" y="1043809"/>
            <a:ext cx="11521900" cy="388425"/>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accent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5" name="Title 4">
            <a:extLst>
              <a:ext uri="{FF2B5EF4-FFF2-40B4-BE49-F238E27FC236}">
                <a16:creationId xmlns:a16="http://schemas.microsoft.com/office/drawing/2014/main" id="{49E5B539-65AC-4AB5-959C-7971D248EB68}"/>
              </a:ext>
            </a:extLst>
          </p:cNvPr>
          <p:cNvSpPr>
            <a:spLocks noGrp="1"/>
          </p:cNvSpPr>
          <p:nvPr>
            <p:ph type="title"/>
          </p:nvPr>
        </p:nvSpPr>
        <p:spPr/>
        <p:txBody>
          <a:bodyPr/>
          <a:lstStyle/>
          <a:p>
            <a:r>
              <a:rPr lang="en-US"/>
              <a:t>Click to edit Master title style</a:t>
            </a:r>
          </a:p>
        </p:txBody>
      </p:sp>
      <p:sp>
        <p:nvSpPr>
          <p:cNvPr id="8" name="Text Placeholder 2">
            <a:extLst>
              <a:ext uri="{FF2B5EF4-FFF2-40B4-BE49-F238E27FC236}">
                <a16:creationId xmlns:a16="http://schemas.microsoft.com/office/drawing/2014/main" id="{0907590C-6163-4447-B061-81144A22C0E1}"/>
              </a:ext>
            </a:extLst>
          </p:cNvPr>
          <p:cNvSpPr>
            <a:spLocks noGrp="1"/>
          </p:cNvSpPr>
          <p:nvPr>
            <p:ph type="body" sz="quarter" idx="16" hasCustomPrompt="1"/>
          </p:nvPr>
        </p:nvSpPr>
        <p:spPr>
          <a:xfrm>
            <a:off x="369986" y="6624269"/>
            <a:ext cx="9492862" cy="203133"/>
          </a:xfrm>
          <a:prstGeom prst="rect">
            <a:avLst/>
          </a:prstGeom>
        </p:spPr>
        <p:txBody>
          <a:bodyPr tIns="0" bIns="0" anchor="b"/>
          <a:lstStyle>
            <a:lvl1pPr marL="0" indent="0" algn="l" defTabSz="914446" rtl="0" eaLnBrk="1" latinLnBrk="0" hangingPunct="1">
              <a:lnSpc>
                <a:spcPct val="85000"/>
              </a:lnSpc>
              <a:spcBef>
                <a:spcPts val="200"/>
              </a:spcBef>
              <a:buClr>
                <a:schemeClr val="accent2"/>
              </a:buClr>
              <a:buSzPct val="85000"/>
              <a:buFont typeface="Arial" pitchFamily="34" charset="0"/>
              <a:buNone/>
              <a:tabLst/>
              <a:defRPr lang="en-US" sz="800" kern="1200" dirty="0">
                <a:solidFill>
                  <a:schemeClr val="tx1"/>
                </a:solidFill>
                <a:latin typeface="+mn-lt"/>
                <a:ea typeface="+mn-ea"/>
                <a:cs typeface="Arial" pitchFamily="34" charset="0"/>
              </a:defRPr>
            </a:lvl1pPr>
          </a:lstStyle>
          <a:p>
            <a:pPr lvl="0"/>
            <a:r>
              <a:rPr lang="en-US"/>
              <a:t>Click to edit source</a:t>
            </a:r>
          </a:p>
        </p:txBody>
      </p:sp>
    </p:spTree>
    <p:custDataLst>
      <p:tags r:id="rId1"/>
    </p:custDataLst>
    <p:extLst>
      <p:ext uri="{BB962C8B-B14F-4D97-AF65-F5344CB8AC3E}">
        <p14:creationId xmlns:p14="http://schemas.microsoft.com/office/powerpoint/2010/main" val="9540146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02E6-9E64-AB89-9525-B47D6188BE33}"/>
              </a:ext>
            </a:extLst>
          </p:cNvPr>
          <p:cNvSpPr>
            <a:spLocks noGrp="1"/>
          </p:cNvSpPr>
          <p:nvPr>
            <p:ph type="title"/>
          </p:nvPr>
        </p:nvSpPr>
        <p:spPr/>
        <p:txBody>
          <a:bodyPr>
            <a:normAutofit/>
          </a:bodyPr>
          <a:lstStyle>
            <a:lvl1pPr>
              <a:defRPr sz="2800"/>
            </a:lvl1pPr>
          </a:lstStyle>
          <a:p>
            <a:endParaRPr lang="en-US" dirty="0"/>
          </a:p>
        </p:txBody>
      </p:sp>
      <p:sp>
        <p:nvSpPr>
          <p:cNvPr id="5" name="Footer Placeholder 4">
            <a:extLst>
              <a:ext uri="{FF2B5EF4-FFF2-40B4-BE49-F238E27FC236}">
                <a16:creationId xmlns:a16="http://schemas.microsoft.com/office/drawing/2014/main" id="{A45645FD-B5DF-336A-2F01-A659C65F88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B2BA5A-08DC-0CE8-6457-CB799C9F2204}"/>
              </a:ext>
            </a:extLst>
          </p:cNvPr>
          <p:cNvSpPr>
            <a:spLocks noGrp="1"/>
          </p:cNvSpPr>
          <p:nvPr>
            <p:ph type="sldNum" sz="quarter" idx="12"/>
          </p:nvPr>
        </p:nvSpPr>
        <p:spPr/>
        <p:txBody>
          <a:bodyPr/>
          <a:lstStyle/>
          <a:p>
            <a:fld id="{C77526E2-3F67-436B-A51B-28E0A25B97EF}" type="slidenum">
              <a:rPr lang="en-US" smtClean="0"/>
              <a:t>‹#›</a:t>
            </a:fld>
            <a:endParaRPr lang="en-US" dirty="0"/>
          </a:p>
        </p:txBody>
      </p:sp>
      <p:sp>
        <p:nvSpPr>
          <p:cNvPr id="9" name="Content Placeholder 8">
            <a:extLst>
              <a:ext uri="{FF2B5EF4-FFF2-40B4-BE49-F238E27FC236}">
                <a16:creationId xmlns:a16="http://schemas.microsoft.com/office/drawing/2014/main" id="{0ECBA794-D5E4-9271-92CC-E3E93CB55670}"/>
              </a:ext>
            </a:extLst>
          </p:cNvPr>
          <p:cNvSpPr>
            <a:spLocks noGrp="1"/>
          </p:cNvSpPr>
          <p:nvPr>
            <p:ph sz="quarter" idx="13"/>
          </p:nvPr>
        </p:nvSpPr>
        <p:spPr>
          <a:xfrm>
            <a:off x="587375" y="1520826"/>
            <a:ext cx="11053764" cy="4429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214970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02E6-9E64-AB89-9525-B47D6188BE33}"/>
              </a:ext>
            </a:extLst>
          </p:cNvPr>
          <p:cNvSpPr>
            <a:spLocks noGrp="1"/>
          </p:cNvSpPr>
          <p:nvPr>
            <p:ph type="title"/>
          </p:nvPr>
        </p:nvSpPr>
        <p:spPr/>
        <p:txBody>
          <a:bodyPr>
            <a:normAutofit/>
          </a:bodyPr>
          <a:lstStyle>
            <a:lvl1pPr>
              <a:defRPr sz="2800"/>
            </a:lvl1pPr>
          </a:lstStyle>
          <a:p>
            <a:endParaRPr lang="en-US" dirty="0"/>
          </a:p>
        </p:txBody>
      </p:sp>
      <p:sp>
        <p:nvSpPr>
          <p:cNvPr id="5" name="Footer Placeholder 4">
            <a:extLst>
              <a:ext uri="{FF2B5EF4-FFF2-40B4-BE49-F238E27FC236}">
                <a16:creationId xmlns:a16="http://schemas.microsoft.com/office/drawing/2014/main" id="{A45645FD-B5DF-336A-2F01-A659C65F88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B2BA5A-08DC-0CE8-6457-CB799C9F2204}"/>
              </a:ext>
            </a:extLst>
          </p:cNvPr>
          <p:cNvSpPr>
            <a:spLocks noGrp="1"/>
          </p:cNvSpPr>
          <p:nvPr>
            <p:ph type="sldNum" sz="quarter" idx="12"/>
          </p:nvPr>
        </p:nvSpPr>
        <p:spPr/>
        <p:txBody>
          <a:bodyPr/>
          <a:lstStyle/>
          <a:p>
            <a:fld id="{C77526E2-3F67-436B-A51B-28E0A25B97EF}" type="slidenum">
              <a:rPr lang="en-US" smtClean="0"/>
              <a:t>‹#›</a:t>
            </a:fld>
            <a:endParaRPr lang="en-US" dirty="0"/>
          </a:p>
        </p:txBody>
      </p:sp>
      <p:sp>
        <p:nvSpPr>
          <p:cNvPr id="9" name="Content Placeholder 8">
            <a:extLst>
              <a:ext uri="{FF2B5EF4-FFF2-40B4-BE49-F238E27FC236}">
                <a16:creationId xmlns:a16="http://schemas.microsoft.com/office/drawing/2014/main" id="{0ECBA794-D5E4-9271-92CC-E3E93CB55670}"/>
              </a:ext>
            </a:extLst>
          </p:cNvPr>
          <p:cNvSpPr>
            <a:spLocks noGrp="1"/>
          </p:cNvSpPr>
          <p:nvPr>
            <p:ph sz="quarter" idx="13"/>
          </p:nvPr>
        </p:nvSpPr>
        <p:spPr>
          <a:xfrm>
            <a:off x="587375" y="1520826"/>
            <a:ext cx="11053764" cy="4429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411766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02E6-9E64-AB89-9525-B47D6188BE33}"/>
              </a:ext>
            </a:extLst>
          </p:cNvPr>
          <p:cNvSpPr>
            <a:spLocks noGrp="1"/>
          </p:cNvSpPr>
          <p:nvPr>
            <p:ph type="title"/>
          </p:nvPr>
        </p:nvSpPr>
        <p:spPr/>
        <p:txBody>
          <a:bodyPr>
            <a:normAutofit/>
          </a:bodyPr>
          <a:lstStyle>
            <a:lvl1pPr>
              <a:defRPr sz="2800"/>
            </a:lvl1pPr>
          </a:lstStyle>
          <a:p>
            <a:endParaRPr lang="en-US" dirty="0"/>
          </a:p>
        </p:txBody>
      </p:sp>
      <p:sp>
        <p:nvSpPr>
          <p:cNvPr id="5" name="Footer Placeholder 4">
            <a:extLst>
              <a:ext uri="{FF2B5EF4-FFF2-40B4-BE49-F238E27FC236}">
                <a16:creationId xmlns:a16="http://schemas.microsoft.com/office/drawing/2014/main" id="{A45645FD-B5DF-336A-2F01-A659C65F88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B2BA5A-08DC-0CE8-6457-CB799C9F2204}"/>
              </a:ext>
            </a:extLst>
          </p:cNvPr>
          <p:cNvSpPr>
            <a:spLocks noGrp="1"/>
          </p:cNvSpPr>
          <p:nvPr>
            <p:ph type="sldNum" sz="quarter" idx="12"/>
          </p:nvPr>
        </p:nvSpPr>
        <p:spPr/>
        <p:txBody>
          <a:bodyPr/>
          <a:lstStyle/>
          <a:p>
            <a:fld id="{C77526E2-3F67-436B-A51B-28E0A25B97EF}" type="slidenum">
              <a:rPr lang="en-US" smtClean="0"/>
              <a:t>‹#›</a:t>
            </a:fld>
            <a:endParaRPr lang="en-US" dirty="0"/>
          </a:p>
        </p:txBody>
      </p:sp>
      <p:sp>
        <p:nvSpPr>
          <p:cNvPr id="9" name="Content Placeholder 8">
            <a:extLst>
              <a:ext uri="{FF2B5EF4-FFF2-40B4-BE49-F238E27FC236}">
                <a16:creationId xmlns:a16="http://schemas.microsoft.com/office/drawing/2014/main" id="{0ECBA794-D5E4-9271-92CC-E3E93CB55670}"/>
              </a:ext>
            </a:extLst>
          </p:cNvPr>
          <p:cNvSpPr>
            <a:spLocks noGrp="1"/>
          </p:cNvSpPr>
          <p:nvPr>
            <p:ph sz="quarter" idx="13"/>
          </p:nvPr>
        </p:nvSpPr>
        <p:spPr>
          <a:xfrm>
            <a:off x="587375" y="1520826"/>
            <a:ext cx="11053764" cy="4429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852938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3A1C593-65D0-4073-BCC9-577B9352EA9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0/202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618960-8005-486C-9A75-10CB2AAC16F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6773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02E6-9E64-AB89-9525-B47D6188BE33}"/>
              </a:ext>
            </a:extLst>
          </p:cNvPr>
          <p:cNvSpPr>
            <a:spLocks noGrp="1"/>
          </p:cNvSpPr>
          <p:nvPr>
            <p:ph type="title"/>
          </p:nvPr>
        </p:nvSpPr>
        <p:spPr/>
        <p:txBody>
          <a:bodyPr>
            <a:normAutofit/>
          </a:bodyPr>
          <a:lstStyle>
            <a:lvl1pPr>
              <a:defRPr sz="2800"/>
            </a:lvl1pPr>
          </a:lstStyle>
          <a:p>
            <a:endParaRPr lang="en-US" dirty="0"/>
          </a:p>
        </p:txBody>
      </p:sp>
      <p:sp>
        <p:nvSpPr>
          <p:cNvPr id="5" name="Footer Placeholder 4">
            <a:extLst>
              <a:ext uri="{FF2B5EF4-FFF2-40B4-BE49-F238E27FC236}">
                <a16:creationId xmlns:a16="http://schemas.microsoft.com/office/drawing/2014/main" id="{A45645FD-B5DF-336A-2F01-A659C65F88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B2BA5A-08DC-0CE8-6457-CB799C9F2204}"/>
              </a:ext>
            </a:extLst>
          </p:cNvPr>
          <p:cNvSpPr>
            <a:spLocks noGrp="1"/>
          </p:cNvSpPr>
          <p:nvPr>
            <p:ph type="sldNum" sz="quarter" idx="12"/>
          </p:nvPr>
        </p:nvSpPr>
        <p:spPr/>
        <p:txBody>
          <a:bodyPr/>
          <a:lstStyle/>
          <a:p>
            <a:fld id="{C77526E2-3F67-436B-A51B-28E0A25B97EF}" type="slidenum">
              <a:rPr lang="en-US" smtClean="0"/>
              <a:t>‹#›</a:t>
            </a:fld>
            <a:endParaRPr lang="en-US" dirty="0"/>
          </a:p>
        </p:txBody>
      </p:sp>
      <p:sp>
        <p:nvSpPr>
          <p:cNvPr id="9" name="Content Placeholder 8">
            <a:extLst>
              <a:ext uri="{FF2B5EF4-FFF2-40B4-BE49-F238E27FC236}">
                <a16:creationId xmlns:a16="http://schemas.microsoft.com/office/drawing/2014/main" id="{0ECBA794-D5E4-9271-92CC-E3E93CB55670}"/>
              </a:ext>
            </a:extLst>
          </p:cNvPr>
          <p:cNvSpPr>
            <a:spLocks noGrp="1"/>
          </p:cNvSpPr>
          <p:nvPr>
            <p:ph sz="quarter" idx="13"/>
          </p:nvPr>
        </p:nvSpPr>
        <p:spPr>
          <a:xfrm>
            <a:off x="587375" y="1520826"/>
            <a:ext cx="11053764" cy="4429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596490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EEFB51-F5C7-1186-F798-A8D2B726882C}"/>
              </a:ext>
            </a:extLst>
          </p:cNvPr>
          <p:cNvPicPr>
            <a:picLocks noChangeAspect="1"/>
          </p:cNvPicPr>
          <p:nvPr userDrawn="1"/>
        </p:nvPicPr>
        <p:blipFill>
          <a:blip r:embed="rId2"/>
          <a:srcRect t="25809" b="60262"/>
          <a:stretch/>
        </p:blipFill>
        <p:spPr>
          <a:xfrm>
            <a:off x="0" y="-4224"/>
            <a:ext cx="12192000" cy="259586"/>
          </a:xfrm>
          <a:prstGeom prst="rect">
            <a:avLst/>
          </a:prstGeom>
        </p:spPr>
      </p:pic>
      <p:sp>
        <p:nvSpPr>
          <p:cNvPr id="2" name="Title 1">
            <a:extLst>
              <a:ext uri="{FF2B5EF4-FFF2-40B4-BE49-F238E27FC236}">
                <a16:creationId xmlns:a16="http://schemas.microsoft.com/office/drawing/2014/main" id="{ED0EFBA8-F9A5-8AC1-7D1A-6461EC21F5A2}"/>
              </a:ext>
            </a:extLst>
          </p:cNvPr>
          <p:cNvSpPr>
            <a:spLocks noGrp="1"/>
          </p:cNvSpPr>
          <p:nvPr>
            <p:ph type="title" hasCustomPrompt="1"/>
          </p:nvPr>
        </p:nvSpPr>
        <p:spPr>
          <a:xfrm>
            <a:off x="838200" y="255362"/>
            <a:ext cx="10515600" cy="962030"/>
          </a:xfrm>
        </p:spPr>
        <p:txBody>
          <a:bodyPr anchor="t">
            <a:noAutofit/>
          </a:bodyPr>
          <a:lstStyle>
            <a:lvl1pPr algn="ctr">
              <a:lnSpc>
                <a:spcPct val="114000"/>
              </a:lnSpc>
              <a:spcBef>
                <a:spcPts val="600"/>
              </a:spcBef>
              <a:spcAft>
                <a:spcPts val="600"/>
              </a:spcAft>
              <a:defRPr sz="2800">
                <a:solidFill>
                  <a:srgbClr val="F37022"/>
                </a:solidFill>
              </a:defRPr>
            </a:lvl1pPr>
          </a:lstStyle>
          <a:p>
            <a:r>
              <a:rPr lang="en-US"/>
              <a:t>CLICK TO EDIT MASTER TITLE STYLE</a:t>
            </a:r>
            <a:br>
              <a:rPr lang="en-US"/>
            </a:br>
            <a:endParaRPr lang="vi-VN"/>
          </a:p>
        </p:txBody>
      </p:sp>
      <p:sp>
        <p:nvSpPr>
          <p:cNvPr id="3" name="Content Placeholder 2">
            <a:extLst>
              <a:ext uri="{FF2B5EF4-FFF2-40B4-BE49-F238E27FC236}">
                <a16:creationId xmlns:a16="http://schemas.microsoft.com/office/drawing/2014/main" id="{117C054B-50E4-523F-62BC-2BBD838B6997}"/>
              </a:ext>
            </a:extLst>
          </p:cNvPr>
          <p:cNvSpPr>
            <a:spLocks noGrp="1"/>
          </p:cNvSpPr>
          <p:nvPr>
            <p:ph idx="1"/>
          </p:nvPr>
        </p:nvSpPr>
        <p:spPr>
          <a:xfrm>
            <a:off x="838200" y="1500581"/>
            <a:ext cx="10515600" cy="4676383"/>
          </a:xfrm>
        </p:spPr>
        <p:txBody>
          <a:bodyPr/>
          <a:lstStyle>
            <a:lvl1pPr>
              <a:lnSpc>
                <a:spcPct val="114000"/>
              </a:lnSpc>
              <a:spcBef>
                <a:spcPts val="600"/>
              </a:spcBef>
              <a:spcAft>
                <a:spcPts val="600"/>
              </a:spcAft>
              <a:defRPr>
                <a:solidFill>
                  <a:schemeClr val="tx1"/>
                </a:solidFill>
              </a:defRPr>
            </a:lvl1pPr>
            <a:lvl2pPr>
              <a:lnSpc>
                <a:spcPct val="114000"/>
              </a:lnSpc>
              <a:spcBef>
                <a:spcPts val="600"/>
              </a:spcBef>
              <a:spcAft>
                <a:spcPts val="600"/>
              </a:spcAft>
              <a:defRPr>
                <a:solidFill>
                  <a:schemeClr val="tx1"/>
                </a:solidFill>
              </a:defRPr>
            </a:lvl2pPr>
            <a:lvl3pPr>
              <a:lnSpc>
                <a:spcPct val="114000"/>
              </a:lnSpc>
              <a:spcBef>
                <a:spcPts val="600"/>
              </a:spcBef>
              <a:spcAft>
                <a:spcPts val="600"/>
              </a:spcAft>
              <a:defRPr>
                <a:solidFill>
                  <a:schemeClr val="tx1"/>
                </a:solidFill>
              </a:defRPr>
            </a:lvl3pPr>
            <a:lvl4pPr>
              <a:lnSpc>
                <a:spcPct val="114000"/>
              </a:lnSpc>
              <a:spcBef>
                <a:spcPts val="600"/>
              </a:spcBef>
              <a:spcAft>
                <a:spcPts val="600"/>
              </a:spcAft>
              <a:defRPr>
                <a:solidFill>
                  <a:schemeClr val="tx1"/>
                </a:solidFill>
              </a:defRPr>
            </a:lvl4pPr>
            <a:lvl5pPr>
              <a:lnSpc>
                <a:spcPct val="114000"/>
              </a:lnSpc>
              <a:spcBef>
                <a:spcPts val="600"/>
              </a:spcBef>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vi-VN"/>
          </a:p>
        </p:txBody>
      </p:sp>
      <p:sp>
        <p:nvSpPr>
          <p:cNvPr id="8" name="Text Placeholder 7">
            <a:extLst>
              <a:ext uri="{FF2B5EF4-FFF2-40B4-BE49-F238E27FC236}">
                <a16:creationId xmlns:a16="http://schemas.microsoft.com/office/drawing/2014/main" id="{E61E0FBC-6A0F-E38B-F5C7-79EEDEE8E176}"/>
              </a:ext>
            </a:extLst>
          </p:cNvPr>
          <p:cNvSpPr>
            <a:spLocks noGrp="1"/>
          </p:cNvSpPr>
          <p:nvPr>
            <p:ph type="body" sz="quarter" idx="10"/>
          </p:nvPr>
        </p:nvSpPr>
        <p:spPr>
          <a:xfrm>
            <a:off x="838200" y="6381496"/>
            <a:ext cx="10515600" cy="476504"/>
          </a:xfrm>
        </p:spPr>
        <p:txBody>
          <a:bodyPr anchor="b">
            <a:normAutofit/>
          </a:bodyPr>
          <a:lstStyle>
            <a:lvl1pPr marL="0" indent="0" algn="r">
              <a:buNone/>
              <a:defRPr sz="1000">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2589205D-B6C9-B4FA-D4E9-82038E34E7A2}"/>
              </a:ext>
            </a:extLst>
          </p:cNvPr>
          <p:cNvCxnSpPr/>
          <p:nvPr userDrawn="1"/>
        </p:nvCxnSpPr>
        <p:spPr>
          <a:xfrm>
            <a:off x="838200" y="1241546"/>
            <a:ext cx="10515600" cy="0"/>
          </a:xfrm>
          <a:prstGeom prst="line">
            <a:avLst/>
          </a:prstGeom>
          <a:ln w="38100">
            <a:gradFill>
              <a:gsLst>
                <a:gs pos="0">
                  <a:srgbClr val="F78E1B"/>
                </a:gs>
                <a:gs pos="100000">
                  <a:srgbClr val="F37022"/>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4589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6D1D99-FE82-77C2-1DEA-93A4DCFC12A5}"/>
              </a:ext>
            </a:extLst>
          </p:cNvPr>
          <p:cNvSpPr>
            <a:spLocks noGrp="1"/>
          </p:cNvSpPr>
          <p:nvPr>
            <p:ph type="title"/>
          </p:nvPr>
        </p:nvSpPr>
        <p:spPr/>
        <p:txBody>
          <a:bodyPr/>
          <a:lstStyle/>
          <a:p>
            <a:r>
              <a:rPr lang="en-US"/>
              <a:t>Click to edit Master title style</a:t>
            </a:r>
            <a:endParaRPr lang="vi-VN"/>
          </a:p>
        </p:txBody>
      </p:sp>
    </p:spTree>
    <p:extLst>
      <p:ext uri="{BB962C8B-B14F-4D97-AF65-F5344CB8AC3E}">
        <p14:creationId xmlns:p14="http://schemas.microsoft.com/office/powerpoint/2010/main" val="14800979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13624-9AD4-4B61-B3D1-7B21213507C0}"/>
              </a:ext>
            </a:extLst>
          </p:cNvPr>
          <p:cNvSpPr>
            <a:spLocks noGrp="1"/>
          </p:cNvSpPr>
          <p:nvPr>
            <p:ph type="title" hasCustomPrompt="1"/>
          </p:nvPr>
        </p:nvSpPr>
        <p:spPr>
          <a:xfrm>
            <a:off x="762000" y="715964"/>
            <a:ext cx="10591800" cy="646332"/>
          </a:xfrm>
          <a:prstGeom prst="rect">
            <a:avLst/>
          </a:prstGeom>
        </p:spPr>
        <p:txBody>
          <a:bodyPr>
            <a:noAutofit/>
          </a:bodyPr>
          <a:lstStyle>
            <a:lvl1pPr>
              <a:spcBef>
                <a:spcPts val="1000"/>
              </a:spcBef>
              <a:defRPr sz="4000" b="1">
                <a:solidFill>
                  <a:srgbClr val="0070C0"/>
                </a:solidFill>
              </a:defRPr>
            </a:lvl1pPr>
          </a:lstStyle>
          <a:p>
            <a:r>
              <a:rPr lang="en-US" dirty="0"/>
              <a:t>Insert title here</a:t>
            </a:r>
          </a:p>
        </p:txBody>
      </p:sp>
      <p:sp>
        <p:nvSpPr>
          <p:cNvPr id="8" name="SmartArt Placeholder 7">
            <a:extLst>
              <a:ext uri="{FF2B5EF4-FFF2-40B4-BE49-F238E27FC236}">
                <a16:creationId xmlns:a16="http://schemas.microsoft.com/office/drawing/2014/main" id="{9FD563C5-3DFB-47DD-8A9E-30D8084590F6}"/>
              </a:ext>
            </a:extLst>
          </p:cNvPr>
          <p:cNvSpPr>
            <a:spLocks noGrp="1"/>
          </p:cNvSpPr>
          <p:nvPr>
            <p:ph type="dgm" sz="quarter" idx="14" hasCustomPrompt="1"/>
          </p:nvPr>
        </p:nvSpPr>
        <p:spPr>
          <a:xfrm>
            <a:off x="762001" y="1475509"/>
            <a:ext cx="10667998" cy="4237277"/>
          </a:xfrm>
          <a:prstGeom prst="rect">
            <a:avLst/>
          </a:prstGeom>
        </p:spPr>
        <p:txBody>
          <a:bodyPr/>
          <a:lstStyle>
            <a:lvl1pPr marL="0" indent="0">
              <a:buNone/>
              <a:defRPr sz="1800" b="0"/>
            </a:lvl1pPr>
          </a:lstStyle>
          <a:p>
            <a:r>
              <a:rPr lang="en-US" dirty="0"/>
              <a:t>Insert Content here</a:t>
            </a:r>
          </a:p>
        </p:txBody>
      </p:sp>
      <p:sp>
        <p:nvSpPr>
          <p:cNvPr id="3" name="Rectangle 2">
            <a:extLst>
              <a:ext uri="{FF2B5EF4-FFF2-40B4-BE49-F238E27FC236}">
                <a16:creationId xmlns:a16="http://schemas.microsoft.com/office/drawing/2014/main" id="{29122328-FC52-4814-B0C8-85E52A561EE0}"/>
              </a:ext>
            </a:extLst>
          </p:cNvPr>
          <p:cNvSpPr/>
          <p:nvPr userDrawn="1"/>
        </p:nvSpPr>
        <p:spPr>
          <a:xfrm>
            <a:off x="0" y="6350000"/>
            <a:ext cx="12192000"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4811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5BDAB0-6A13-B2AB-668D-B35D1738282B}"/>
              </a:ext>
            </a:extLst>
          </p:cNvPr>
          <p:cNvGraphicFramePr>
            <a:graphicFrameLocks noChangeAspect="1"/>
          </p:cNvGraphicFramePr>
          <p:nvPr userDrawn="1">
            <p:custDataLst>
              <p:tags r:id="rId1"/>
            </p:custDataLst>
            <p:extLst>
              <p:ext uri="{D42A27DB-BD31-4B8C-83A1-F6EECF244321}">
                <p14:modId xmlns:p14="http://schemas.microsoft.com/office/powerpoint/2010/main" val="424693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155BDAB0-6A13-B2AB-668D-B35D17382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214B7B-F956-55AA-39B9-C10865A6A6CD}"/>
              </a:ext>
            </a:extLst>
          </p:cNvPr>
          <p:cNvSpPr>
            <a:spLocks noGrp="1"/>
          </p:cNvSpPr>
          <p:nvPr>
            <p:ph type="ctrTitle"/>
          </p:nvPr>
        </p:nvSpPr>
        <p:spPr>
          <a:xfrm>
            <a:off x="0" y="136525"/>
            <a:ext cx="12192000" cy="1292225"/>
          </a:xfrm>
          <a:prstGeom prst="rect">
            <a:avLst/>
          </a:prstGeom>
          <a:solidFill>
            <a:srgbClr val="0070C0"/>
          </a:solidFill>
          <a:ln>
            <a:noFill/>
          </a:ln>
        </p:spPr>
        <p:txBody>
          <a:bodyPr vert="horz" anchor="b"/>
          <a:lstStyle>
            <a:lvl1pPr algn="ctr">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CCA9A115-7FD0-FEA0-9645-7A9229E82FE7}"/>
              </a:ext>
            </a:extLst>
          </p:cNvPr>
          <p:cNvSpPr>
            <a:spLocks noGrp="1"/>
          </p:cNvSpPr>
          <p:nvPr>
            <p:ph type="subTitle" idx="1"/>
          </p:nvPr>
        </p:nvSpPr>
        <p:spPr>
          <a:xfrm>
            <a:off x="0" y="1419225"/>
            <a:ext cx="12192000" cy="4514850"/>
          </a:xfrm>
          <a:solidFill>
            <a:schemeClr val="accent1">
              <a:lumMod val="50000"/>
            </a:schemeClr>
          </a:solidFill>
          <a:ln>
            <a:noFill/>
          </a:ln>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3D62E2-1B3F-A1AA-9E01-F078A13318CD}"/>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80B71FA1-A1BB-2A0A-9754-98D4356294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4164FB-FB5C-998D-4AA2-1277A70B5D0E}"/>
              </a:ext>
            </a:extLst>
          </p:cNvPr>
          <p:cNvSpPr>
            <a:spLocks noGrp="1"/>
          </p:cNvSpPr>
          <p:nvPr>
            <p:ph type="sldNum" sz="quarter" idx="12"/>
          </p:nvPr>
        </p:nvSpPr>
        <p:spPr/>
        <p:txBody>
          <a:bodyPr/>
          <a:lstStyle/>
          <a:p>
            <a:fld id="{CD281537-5AEB-47DB-8D1A-CAB7E4943BE8}" type="slidenum">
              <a:rPr lang="en-US" smtClean="0"/>
              <a:t>‹#›</a:t>
            </a:fld>
            <a:endParaRPr lang="en-US"/>
          </a:p>
        </p:txBody>
      </p:sp>
      <p:pic>
        <p:nvPicPr>
          <p:cNvPr id="16" name="Picture 15">
            <a:extLst>
              <a:ext uri="{FF2B5EF4-FFF2-40B4-BE49-F238E27FC236}">
                <a16:creationId xmlns:a16="http://schemas.microsoft.com/office/drawing/2014/main" id="{C2831F16-B798-A33A-33CE-8C5CD9055B6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98009"/>
          <a:stretch/>
        </p:blipFill>
        <p:spPr>
          <a:xfrm>
            <a:off x="0" y="0"/>
            <a:ext cx="12193995" cy="136649"/>
          </a:xfrm>
          <a:prstGeom prst="rect">
            <a:avLst/>
          </a:prstGeom>
        </p:spPr>
      </p:pic>
    </p:spTree>
    <p:extLst>
      <p:ext uri="{BB962C8B-B14F-4D97-AF65-F5344CB8AC3E}">
        <p14:creationId xmlns:p14="http://schemas.microsoft.com/office/powerpoint/2010/main" val="15140775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426F14-837D-756C-DDC3-E4EFC294BD9C}"/>
              </a:ext>
            </a:extLst>
          </p:cNvPr>
          <p:cNvGraphicFramePr>
            <a:graphicFrameLocks noChangeAspect="1"/>
          </p:cNvGraphicFramePr>
          <p:nvPr userDrawn="1">
            <p:custDataLst>
              <p:tags r:id="rId1"/>
            </p:custDataLst>
            <p:extLst>
              <p:ext uri="{D42A27DB-BD31-4B8C-83A1-F6EECF244321}">
                <p14:modId xmlns:p14="http://schemas.microsoft.com/office/powerpoint/2010/main" val="417526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8426F14-837D-756C-DDC3-E4EFC294B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3D1ED4E-FB99-C4CF-13B6-7C6C30AFB7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0067BB-8AB5-CEE0-389B-243872A33F01}"/>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971BE4E8-A2FD-987C-64FA-E614281A84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8267CC-2479-1D5B-F15B-EC4FBFE22943}"/>
              </a:ext>
            </a:extLst>
          </p:cNvPr>
          <p:cNvSpPr>
            <a:spLocks noGrp="1"/>
          </p:cNvSpPr>
          <p:nvPr>
            <p:ph type="sldNum" sz="quarter" idx="12"/>
          </p:nvPr>
        </p:nvSpPr>
        <p:spPr/>
        <p:txBody>
          <a:bodyPr/>
          <a:lstStyle/>
          <a:p>
            <a:fld id="{CD281537-5AEB-47DB-8D1A-CAB7E4943BE8}" type="slidenum">
              <a:rPr lang="en-US" smtClean="0"/>
              <a:t>‹#›</a:t>
            </a:fld>
            <a:endParaRPr lang="en-US"/>
          </a:p>
        </p:txBody>
      </p:sp>
      <p:sp>
        <p:nvSpPr>
          <p:cNvPr id="2" name="Title 1">
            <a:extLst>
              <a:ext uri="{FF2B5EF4-FFF2-40B4-BE49-F238E27FC236}">
                <a16:creationId xmlns:a16="http://schemas.microsoft.com/office/drawing/2014/main" id="{983EDEEA-8285-A2D1-05C2-103AD75F5F18}"/>
              </a:ext>
            </a:extLst>
          </p:cNvPr>
          <p:cNvSpPr>
            <a:spLocks noGrp="1"/>
          </p:cNvSpPr>
          <p:nvPr>
            <p:ph type="title" hasCustomPrompt="1"/>
          </p:nvPr>
        </p:nvSpPr>
        <p:spPr>
          <a:xfrm>
            <a:off x="-9525" y="103868"/>
            <a:ext cx="12201525" cy="1111250"/>
          </a:xfrm>
          <a:prstGeom prst="rect">
            <a:avLst/>
          </a:prstGeom>
          <a:solidFill>
            <a:srgbClr val="1E376D"/>
          </a:solidFill>
        </p:spPr>
        <p:txBody>
          <a:bodyPr vert="horz" anchor="ctr"/>
          <a:lstStyle>
            <a:lvl1pPr>
              <a:defRPr>
                <a:solidFill>
                  <a:schemeClr val="bg1"/>
                </a:solidFill>
              </a:defRPr>
            </a:lvl1pPr>
          </a:lstStyle>
          <a:p>
            <a:r>
              <a:rPr lang="en-US"/>
              <a:t> Click to edit Master title style</a:t>
            </a:r>
          </a:p>
        </p:txBody>
      </p:sp>
    </p:spTree>
    <p:extLst>
      <p:ext uri="{BB962C8B-B14F-4D97-AF65-F5344CB8AC3E}">
        <p14:creationId xmlns:p14="http://schemas.microsoft.com/office/powerpoint/2010/main" val="6206103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E3A525-433C-5A54-1C48-715445A579F1}"/>
              </a:ext>
            </a:extLst>
          </p:cNvPr>
          <p:cNvGraphicFramePr>
            <a:graphicFrameLocks noChangeAspect="1"/>
          </p:cNvGraphicFramePr>
          <p:nvPr userDrawn="1">
            <p:custDataLst>
              <p:tags r:id="rId1"/>
            </p:custDataLst>
            <p:extLst>
              <p:ext uri="{D42A27DB-BD31-4B8C-83A1-F6EECF244321}">
                <p14:modId xmlns:p14="http://schemas.microsoft.com/office/powerpoint/2010/main" val="97912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34E3A525-433C-5A54-1C48-715445A57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29AEC5-EFD1-AC5B-A931-24F8D5F4E6D9}"/>
              </a:ext>
            </a:extLst>
          </p:cNvPr>
          <p:cNvSpPr>
            <a:spLocks noGrp="1"/>
          </p:cNvSpPr>
          <p:nvPr>
            <p:ph type="title"/>
          </p:nvPr>
        </p:nvSpPr>
        <p:spPr>
          <a:xfrm>
            <a:off x="831850" y="1709738"/>
            <a:ext cx="10515600" cy="2852737"/>
          </a:xfrm>
          <a:prstGeom prst="rect">
            <a:avLst/>
          </a:prstGeo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6396C0E-33C6-4BE1-2EA9-147D01CD10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ABDDC8-C13E-96FC-D37B-C8C8DF4AA7FF}"/>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5F69A8B9-29C6-B85D-BA5C-58BA8BE722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7DB40F-5C9D-2D87-0B88-61D07A9BC0A0}"/>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485649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FC1B14-AA68-D2BA-CDF1-AB73117B6B27}"/>
              </a:ext>
            </a:extLst>
          </p:cNvPr>
          <p:cNvGraphicFramePr>
            <a:graphicFrameLocks noChangeAspect="1"/>
          </p:cNvGraphicFramePr>
          <p:nvPr userDrawn="1">
            <p:custDataLst>
              <p:tags r:id="rId1"/>
            </p:custDataLst>
            <p:extLst>
              <p:ext uri="{D42A27DB-BD31-4B8C-83A1-F6EECF244321}">
                <p14:modId xmlns:p14="http://schemas.microsoft.com/office/powerpoint/2010/main" val="183145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34FC1B14-AA68-D2BA-CDF1-AB73117B6B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4FB744D-97F8-1FEF-ED75-5FAD86922E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9C6B57-524D-CEE1-2204-8CE3EEAE04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084EFB-A612-7686-7CAF-BC3D106B3629}"/>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6" name="Footer Placeholder 5">
            <a:extLst>
              <a:ext uri="{FF2B5EF4-FFF2-40B4-BE49-F238E27FC236}">
                <a16:creationId xmlns:a16="http://schemas.microsoft.com/office/drawing/2014/main" id="{4B24FAB0-A9C1-B187-3C5F-C40A335474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17D16C-3E22-7129-D0ED-C7219080F82B}"/>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304051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C83A0E-7828-3666-3F49-93C0CA6A0BCD}"/>
              </a:ext>
            </a:extLst>
          </p:cNvPr>
          <p:cNvGraphicFramePr>
            <a:graphicFrameLocks noChangeAspect="1"/>
          </p:cNvGraphicFramePr>
          <p:nvPr userDrawn="1">
            <p:custDataLst>
              <p:tags r:id="rId1"/>
            </p:custDataLst>
            <p:extLst>
              <p:ext uri="{D42A27DB-BD31-4B8C-83A1-F6EECF244321}">
                <p14:modId xmlns:p14="http://schemas.microsoft.com/office/powerpoint/2010/main" val="23483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19C83A0E-7828-3666-3F49-93C0CA6A0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0923F9C-38F8-9A0C-814B-BADD2F933F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04F55C-1355-016A-EB04-282A090CC48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379FDAA-2CC6-76FB-0648-B484C7C319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C848CD-B178-875F-A860-875AD075386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EA6DD89-89FD-9671-02B5-8A20172531D9}"/>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8" name="Footer Placeholder 7">
            <a:extLst>
              <a:ext uri="{FF2B5EF4-FFF2-40B4-BE49-F238E27FC236}">
                <a16:creationId xmlns:a16="http://schemas.microsoft.com/office/drawing/2014/main" id="{9EE2850D-847D-4D54-2DEB-C2CE098C7A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704A25-77CF-8263-5C8D-8873265FAE44}"/>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316822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79578-A4D1-5327-1BD3-270EE09E3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212E82-933E-9EF9-6457-A66FFA1B39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32F299-303B-DA82-41FC-E37296A77224}"/>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2BD5D7CB-17DD-8AE0-79D4-2D7CD5F46B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4350B8-8408-B62E-1E53-845FBB071AEC}"/>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1501235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83A9EC-667E-A90E-3F98-11BB48635749}"/>
              </a:ext>
            </a:extLst>
          </p:cNvPr>
          <p:cNvGraphicFramePr>
            <a:graphicFrameLocks noChangeAspect="1"/>
          </p:cNvGraphicFramePr>
          <p:nvPr userDrawn="1">
            <p:custDataLst>
              <p:tags r:id="rId1"/>
            </p:custDataLst>
            <p:extLst>
              <p:ext uri="{D42A27DB-BD31-4B8C-83A1-F6EECF244321}">
                <p14:modId xmlns:p14="http://schemas.microsoft.com/office/powerpoint/2010/main" val="116154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B783A9EC-667E-A90E-3F98-11BB486357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D8428248-2325-40BC-E19D-0D63E5230105}"/>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4" name="Footer Placeholder 3">
            <a:extLst>
              <a:ext uri="{FF2B5EF4-FFF2-40B4-BE49-F238E27FC236}">
                <a16:creationId xmlns:a16="http://schemas.microsoft.com/office/drawing/2014/main" id="{9E34023D-304C-E01A-B039-C94B08F981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AC7A7B-91E9-C32F-A26C-0DE966220DB3}"/>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61078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0E046-454D-FD08-5E49-D3C84389BB72}"/>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3" name="Footer Placeholder 2">
            <a:extLst>
              <a:ext uri="{FF2B5EF4-FFF2-40B4-BE49-F238E27FC236}">
                <a16:creationId xmlns:a16="http://schemas.microsoft.com/office/drawing/2014/main" id="{C827F52C-825C-95A5-07CB-FF973C5D9AC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E9AA6E6-C898-F49A-FEB8-60208A7DAEC6}"/>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438905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5FA383-3B36-17F0-A2AD-18092349DE2A}"/>
              </a:ext>
            </a:extLst>
          </p:cNvPr>
          <p:cNvGraphicFramePr>
            <a:graphicFrameLocks noChangeAspect="1"/>
          </p:cNvGraphicFramePr>
          <p:nvPr userDrawn="1">
            <p:custDataLst>
              <p:tags r:id="rId1"/>
            </p:custDataLst>
            <p:extLst>
              <p:ext uri="{D42A27DB-BD31-4B8C-83A1-F6EECF244321}">
                <p14:modId xmlns:p14="http://schemas.microsoft.com/office/powerpoint/2010/main" val="3991727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3E5FA383-3B36-17F0-A2AD-18092349D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60C1315-C56A-4D47-74F6-21AC84502865}"/>
              </a:ext>
            </a:extLst>
          </p:cNvPr>
          <p:cNvSpPr>
            <a:spLocks noGrp="1"/>
          </p:cNvSpPr>
          <p:nvPr>
            <p:ph type="title"/>
          </p:nvPr>
        </p:nvSpPr>
        <p:spPr>
          <a:xfrm>
            <a:off x="839788" y="457200"/>
            <a:ext cx="3932237" cy="1600200"/>
          </a:xfrm>
          <a:prstGeom prst="rect">
            <a:avLst/>
          </a:prstGeom>
        </p:spPr>
        <p:txBody>
          <a:bodyPr vert="horz"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3A82E8F-4EF3-CA23-7C2C-176F5FD2969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757B22-4E77-5930-6F46-53713BB287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8EF589-B63A-D883-9BF4-A73EA3712B7A}"/>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6" name="Footer Placeholder 5">
            <a:extLst>
              <a:ext uri="{FF2B5EF4-FFF2-40B4-BE49-F238E27FC236}">
                <a16:creationId xmlns:a16="http://schemas.microsoft.com/office/drawing/2014/main" id="{A66E098C-9281-29C9-A0DA-D9311121F8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427C85-DDF9-117C-45A8-14E4ED0799A6}"/>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4703016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CBCF9C-774B-4BA8-C232-D6BF63ECE51C}"/>
              </a:ext>
            </a:extLst>
          </p:cNvPr>
          <p:cNvGraphicFramePr>
            <a:graphicFrameLocks noChangeAspect="1"/>
          </p:cNvGraphicFramePr>
          <p:nvPr userDrawn="1">
            <p:custDataLst>
              <p:tags r:id="rId1"/>
            </p:custDataLst>
            <p:extLst>
              <p:ext uri="{D42A27DB-BD31-4B8C-83A1-F6EECF244321}">
                <p14:modId xmlns:p14="http://schemas.microsoft.com/office/powerpoint/2010/main" val="31806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6DCBCF9C-774B-4BA8-C232-D6BF63ECE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C32A03-D8E2-9BBB-DE3F-86C401B7DCD0}"/>
              </a:ext>
            </a:extLst>
          </p:cNvPr>
          <p:cNvSpPr>
            <a:spLocks noGrp="1"/>
          </p:cNvSpPr>
          <p:nvPr>
            <p:ph type="title"/>
          </p:nvPr>
        </p:nvSpPr>
        <p:spPr>
          <a:xfrm>
            <a:off x="839788" y="457200"/>
            <a:ext cx="3932237" cy="1600200"/>
          </a:xfrm>
          <a:prstGeom prst="rect">
            <a:avLst/>
          </a:prstGeom>
        </p:spPr>
        <p:txBody>
          <a:bodyPr vert="horz"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A077B3-D24B-4582-608A-29E9B23777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90D6BB4-B524-76B8-875C-DE3D037858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11AF55-BCF8-4130-ECB5-7072B71660DA}"/>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6" name="Footer Placeholder 5">
            <a:extLst>
              <a:ext uri="{FF2B5EF4-FFF2-40B4-BE49-F238E27FC236}">
                <a16:creationId xmlns:a16="http://schemas.microsoft.com/office/drawing/2014/main" id="{E9ED16F7-CF60-8F3F-16FF-6F485AE008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6A0C75-A6D1-137A-872B-5F0A37039E84}"/>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779495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233A65B-D02C-D75A-4EFA-77D0D00547D2}"/>
              </a:ext>
            </a:extLst>
          </p:cNvPr>
          <p:cNvGraphicFramePr>
            <a:graphicFrameLocks noChangeAspect="1"/>
          </p:cNvGraphicFramePr>
          <p:nvPr userDrawn="1">
            <p:custDataLst>
              <p:tags r:id="rId1"/>
            </p:custDataLst>
            <p:extLst>
              <p:ext uri="{D42A27DB-BD31-4B8C-83A1-F6EECF244321}">
                <p14:modId xmlns:p14="http://schemas.microsoft.com/office/powerpoint/2010/main" val="120502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233A65B-D02C-D75A-4EFA-77D0D00547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28F53B-B960-CB07-5355-0287B5AF8024}"/>
              </a:ext>
            </a:extLst>
          </p:cNvPr>
          <p:cNvSpPr>
            <a:spLocks noGrp="1"/>
          </p:cNvSpPr>
          <p:nvPr>
            <p:ph type="title"/>
          </p:nvPr>
        </p:nvSpPr>
        <p:spPr>
          <a:xfrm>
            <a:off x="838200" y="365125"/>
            <a:ext cx="10515600" cy="1325563"/>
          </a:xfrm>
          <a:prstGeom prst="rect">
            <a:avLst/>
          </a:prstGeom>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B1CD0CA5-D580-33E4-5D04-FB34FF38F17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7E25A4-4CB9-743B-9086-BB96E61C0639}"/>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C68A397E-0E01-0FD5-5AFE-642DF7A2B4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06F6D8-4150-BBEE-26CE-6E05BBC449E6}"/>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348257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4BE0F3-4C67-902B-C892-EAFEC44D50D6}"/>
              </a:ext>
            </a:extLst>
          </p:cNvPr>
          <p:cNvGraphicFramePr>
            <a:graphicFrameLocks noChangeAspect="1"/>
          </p:cNvGraphicFramePr>
          <p:nvPr userDrawn="1">
            <p:custDataLst>
              <p:tags r:id="rId1"/>
            </p:custDataLst>
            <p:extLst>
              <p:ext uri="{D42A27DB-BD31-4B8C-83A1-F6EECF244321}">
                <p14:modId xmlns:p14="http://schemas.microsoft.com/office/powerpoint/2010/main" val="1073896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DA4BE0F3-4C67-902B-C892-EAFEC44D50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E28DD3B9-C3D1-D787-C59F-680A0737BEA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A7CC9BE-F9B6-5A13-F723-29FD4CE1128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D68EBE-6C31-6DD2-8BFD-84AF9BAD2085}"/>
              </a:ext>
            </a:extLst>
          </p:cNvPr>
          <p:cNvSpPr>
            <a:spLocks noGrp="1"/>
          </p:cNvSpPr>
          <p:nvPr>
            <p:ph type="dt" sz="half" idx="10"/>
          </p:nvPr>
        </p:nvSpPr>
        <p:spPr/>
        <p:txBody>
          <a:body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D2A040C8-3DAE-8C5B-37E4-63C21C8408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CB380F-AB7D-5224-5592-DFD4795A0C33}"/>
              </a:ext>
            </a:extLst>
          </p:cNvPr>
          <p:cNvSpPr>
            <a:spLocks noGrp="1"/>
          </p:cNvSpPr>
          <p:nvPr>
            <p:ph type="sldNum" sz="quarter" idx="12"/>
          </p:nvPr>
        </p:nvSpPr>
        <p:spPr/>
        <p:txBody>
          <a:bodyPr/>
          <a:lstStyle/>
          <a:p>
            <a:fld id="{CD281537-5AEB-47DB-8D1A-CAB7E4943BE8}" type="slidenum">
              <a:rPr lang="en-US" smtClean="0"/>
              <a:t>‹#›</a:t>
            </a:fld>
            <a:endParaRPr lang="en-US"/>
          </a:p>
        </p:txBody>
      </p:sp>
    </p:spTree>
    <p:extLst>
      <p:ext uri="{BB962C8B-B14F-4D97-AF65-F5344CB8AC3E}">
        <p14:creationId xmlns:p14="http://schemas.microsoft.com/office/powerpoint/2010/main" val="2156380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978552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8241962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8024317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866544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E884B-3F7E-7F2D-9E1E-C22F0E54B7C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C31553-7CDC-8A08-46B1-0E5E38546B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E3E59-597B-AA8B-B4B9-0E78990F46EF}"/>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23A19BB7-CD56-277A-B4CA-6143680C36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93DFF-BDA1-74F1-2616-088167D4A309}"/>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2550654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3A1C593-65D0-4073-BCC9-577B9352EA97}" type="datetimeFigureOut">
              <a:rPr lang="en-US" smtClean="0"/>
              <a:t>9/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6409218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3A1C593-65D0-4073-BCC9-577B9352EA97}" type="datetimeFigureOut">
              <a:rPr lang="en-US" smtClean="0"/>
              <a:t>9/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16597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A1C593-65D0-4073-BCC9-577B9352EA97}" type="datetimeFigureOut">
              <a:rPr lang="en-US" smtClean="0"/>
              <a:t>9/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032715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7582051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921397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612975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4158221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8282874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mj-lt"/>
                <a:cs typeface="Arial" panose="020B0604020202020204" pitchFamily="34" charset="0"/>
              </a:defRPr>
            </a:lvl1pPr>
          </a:lstStyle>
          <a:p>
            <a:r>
              <a:rPr lang="en-US"/>
              <a:t> </a:t>
            </a:r>
            <a:r>
              <a:rPr lang="en-US" altLang="ko-KR"/>
              <a:t>Free PPT _ Click to add title</a:t>
            </a:r>
            <a:endParaRPr lang="en-US"/>
          </a:p>
        </p:txBody>
      </p:sp>
    </p:spTree>
    <p:extLst>
      <p:ext uri="{BB962C8B-B14F-4D97-AF65-F5344CB8AC3E}">
        <p14:creationId xmlns:p14="http://schemas.microsoft.com/office/powerpoint/2010/main" val="17378088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797977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65652-3B6C-1AD8-9595-76352D2272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20922F-55F6-B3DF-D6AE-DF7AD08A55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15E473-E4C3-20BC-33F5-C022E737154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0B2F7C8-F6AD-B5E5-A535-47BFBAB4C11C}"/>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6" name="Footer Placeholder 5">
            <a:extLst>
              <a:ext uri="{FF2B5EF4-FFF2-40B4-BE49-F238E27FC236}">
                <a16:creationId xmlns:a16="http://schemas.microsoft.com/office/drawing/2014/main" id="{D3660F89-C45F-34C5-801E-CA056FC54C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907AA9-C3F8-6C07-2AED-C246AA3E3646}"/>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19420772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9303782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1633883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7871974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3A1C593-65D0-4073-BCC9-577B9352EA97}" type="datetimeFigureOut">
              <a:rPr lang="en-US" smtClean="0"/>
              <a:t>9/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8603380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3A1C593-65D0-4073-BCC9-577B9352EA97}" type="datetimeFigureOut">
              <a:rPr lang="en-US" smtClean="0"/>
              <a:t>9/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79730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A1C593-65D0-4073-BCC9-577B9352EA97}" type="datetimeFigureOut">
              <a:rPr lang="en-US" smtClean="0"/>
              <a:t>9/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701586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3917753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791220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594969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084447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F8EA2-D406-2E5A-1DE2-E614619D01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6D4452-402B-BC21-FE85-69FD04FB104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E6F2DD-3025-FFC1-1365-84EC7E27B05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3627A4-415B-FE69-C2CD-EB9178F7C03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DEFA40-50BD-7E54-75FD-B57D1BDCF7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B41893-CB0C-F46A-B947-1CCE86E084C3}"/>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8" name="Footer Placeholder 7">
            <a:extLst>
              <a:ext uri="{FF2B5EF4-FFF2-40B4-BE49-F238E27FC236}">
                <a16:creationId xmlns:a16="http://schemas.microsoft.com/office/drawing/2014/main" id="{9353C074-BEC9-7275-BDCC-8B411D9276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8BB8C94-90BC-E34F-EC80-959CBF930208}"/>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2558087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9450116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 </a:t>
            </a:r>
            <a:r>
              <a:rPr lang="en-US" altLang="ko-KR" dirty="0"/>
              <a:t>Free PPT _ Click to add title</a:t>
            </a:r>
            <a:endParaRPr lang="en-US" dirty="0"/>
          </a:p>
        </p:txBody>
      </p:sp>
    </p:spTree>
    <p:extLst>
      <p:ext uri="{BB962C8B-B14F-4D97-AF65-F5344CB8AC3E}">
        <p14:creationId xmlns:p14="http://schemas.microsoft.com/office/powerpoint/2010/main" val="387586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00125" y="47969"/>
            <a:ext cx="11191875" cy="973873"/>
          </a:xfrm>
        </p:spPr>
        <p:txBody>
          <a:bodyPr anchor="b">
            <a:noAutofit/>
          </a:bodyPr>
          <a:lstStyle>
            <a:lvl1pPr>
              <a:defRPr b="0">
                <a:solidFill>
                  <a:srgbClr val="071D49"/>
                </a:solidFill>
              </a:defRPr>
            </a:lvl1pPr>
          </a:lstStyle>
          <a:p>
            <a:r>
              <a:rPr lang="en-US"/>
              <a:t>Click to edit Master title style</a:t>
            </a:r>
          </a:p>
        </p:txBody>
      </p:sp>
      <p:sp>
        <p:nvSpPr>
          <p:cNvPr id="5" name="Rectangle 4"/>
          <p:cNvSpPr/>
          <p:nvPr userDrawn="1"/>
        </p:nvSpPr>
        <p:spPr>
          <a:xfrm>
            <a:off x="10937290" y="5788243"/>
            <a:ext cx="1047565" cy="896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Tree>
    <p:extLst>
      <p:ext uri="{BB962C8B-B14F-4D97-AF65-F5344CB8AC3E}">
        <p14:creationId xmlns:p14="http://schemas.microsoft.com/office/powerpoint/2010/main" val="465597978"/>
      </p:ext>
    </p:extLst>
  </p:cSld>
  <p:clrMapOvr>
    <a:masterClrMapping/>
  </p:clrMapOvr>
  <mc:AlternateContent xmlns:mc="http://schemas.openxmlformats.org/markup-compatibility/2006" xmlns:p14="http://schemas.microsoft.com/office/powerpoint/2010/main">
    <mc:Choice Requires="p14">
      <p:transition/>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8549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4185653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7723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4134936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3A1C593-65D0-4073-BCC9-577B9352EA97}" type="datetimeFigureOut">
              <a:rPr lang="en-US" smtClean="0"/>
              <a:t>9/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5142137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3A1C593-65D0-4073-BCC9-577B9352EA97}" type="datetimeFigureOut">
              <a:rPr lang="en-US" smtClean="0"/>
              <a:t>9/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5005663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084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74F24-EB04-32A9-F458-EBEAA5D2EA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452624A-42F1-7568-FAF8-154B0D6EE06F}"/>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4" name="Footer Placeholder 3">
            <a:extLst>
              <a:ext uri="{FF2B5EF4-FFF2-40B4-BE49-F238E27FC236}">
                <a16:creationId xmlns:a16="http://schemas.microsoft.com/office/drawing/2014/main" id="{A9DF9DA5-51D4-D28C-5659-EDA5C422F71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AD7149F-FC05-82B3-B47F-24FFDF2BB412}"/>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41385258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1224327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068295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6511448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441994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 </a:t>
            </a:r>
            <a:r>
              <a:rPr lang="en-US" altLang="ko-KR" dirty="0"/>
              <a:t>Free PPT _ Click to add title</a:t>
            </a:r>
            <a:endParaRPr lang="en-US" dirty="0"/>
          </a:p>
        </p:txBody>
      </p:sp>
    </p:spTree>
    <p:extLst>
      <p:ext uri="{BB962C8B-B14F-4D97-AF65-F5344CB8AC3E}">
        <p14:creationId xmlns:p14="http://schemas.microsoft.com/office/powerpoint/2010/main" val="644542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00125" y="47969"/>
            <a:ext cx="11191875" cy="973873"/>
          </a:xfrm>
        </p:spPr>
        <p:txBody>
          <a:bodyPr anchor="b">
            <a:noAutofit/>
          </a:bodyPr>
          <a:lstStyle>
            <a:lvl1pPr>
              <a:defRPr b="0">
                <a:solidFill>
                  <a:srgbClr val="071D49"/>
                </a:solidFill>
              </a:defRPr>
            </a:lvl1pPr>
          </a:lstStyle>
          <a:p>
            <a:r>
              <a:rPr lang="en-US"/>
              <a:t>Click to edit Master title style</a:t>
            </a:r>
          </a:p>
        </p:txBody>
      </p:sp>
    </p:spTree>
    <p:extLst>
      <p:ext uri="{BB962C8B-B14F-4D97-AF65-F5344CB8AC3E}">
        <p14:creationId xmlns:p14="http://schemas.microsoft.com/office/powerpoint/2010/main" val="616853187"/>
      </p:ext>
    </p:extLst>
  </p:cSld>
  <p:clrMapOvr>
    <a:masterClrMapping/>
  </p:clrMapOvr>
  <mc:AlternateContent xmlns:mc="http://schemas.openxmlformats.org/markup-compatibility/2006" xmlns:p14="http://schemas.microsoft.com/office/powerpoint/2010/main">
    <mc:Choice Requires="p14">
      <p:transition/>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95400" y="1122363"/>
            <a:ext cx="10094843"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2166643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42084919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4841997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9099091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DB60111-A166-CA57-8BF4-A0CE11E382CA}"/>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3" name="Footer Placeholder 2">
            <a:extLst>
              <a:ext uri="{FF2B5EF4-FFF2-40B4-BE49-F238E27FC236}">
                <a16:creationId xmlns:a16="http://schemas.microsoft.com/office/drawing/2014/main" id="{34752BCE-0E06-A56E-46AB-CBA35948BB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579445C-DA5C-9DFE-EC67-83C30E69E225}"/>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23156580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378186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194776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793259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275336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0940226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4399973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241464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3A1C593-65D0-4073-BCC9-577B9352EA97}" type="datetimeFigureOut">
              <a:rPr lang="en-US" smtClean="0"/>
              <a:t>9/10/202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7270964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 </a:t>
            </a:r>
            <a:r>
              <a:rPr lang="en-US" altLang="ko-KR" dirty="0"/>
              <a:t>Free PPT _ Click to add title</a:t>
            </a:r>
            <a:endParaRPr lang="en-US" dirty="0"/>
          </a:p>
        </p:txBody>
      </p:sp>
    </p:spTree>
    <p:extLst>
      <p:ext uri="{BB962C8B-B14F-4D97-AF65-F5344CB8AC3E}">
        <p14:creationId xmlns:p14="http://schemas.microsoft.com/office/powerpoint/2010/main" val="38919981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00125" y="47969"/>
            <a:ext cx="11191875" cy="973873"/>
          </a:xfrm>
          <a:prstGeom prst="rect">
            <a:avLst/>
          </a:prstGeom>
        </p:spPr>
        <p:txBody>
          <a:bodyPr anchor="b">
            <a:noAutofit/>
          </a:bodyPr>
          <a:lstStyle>
            <a:lvl1pPr>
              <a:defRPr b="0">
                <a:solidFill>
                  <a:srgbClr val="071D49"/>
                </a:solidFill>
              </a:defRPr>
            </a:lvl1pPr>
          </a:lstStyle>
          <a:p>
            <a:r>
              <a:rPr lang="en-US"/>
              <a:t>Click to edit Master title style</a:t>
            </a:r>
          </a:p>
        </p:txBody>
      </p:sp>
      <p:sp>
        <p:nvSpPr>
          <p:cNvPr id="5" name="Rectangle 4"/>
          <p:cNvSpPr/>
          <p:nvPr userDrawn="1"/>
        </p:nvSpPr>
        <p:spPr>
          <a:xfrm>
            <a:off x="10937290" y="5788243"/>
            <a:ext cx="1047565" cy="896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Tree>
    <p:extLst>
      <p:ext uri="{BB962C8B-B14F-4D97-AF65-F5344CB8AC3E}">
        <p14:creationId xmlns:p14="http://schemas.microsoft.com/office/powerpoint/2010/main" val="2831367349"/>
      </p:ext>
    </p:extLst>
  </p:cSld>
  <p:clrMapOvr>
    <a:masterClrMapping/>
  </p:clrMapOvr>
  <mc:AlternateContent xmlns:mc="http://schemas.openxmlformats.org/markup-compatibility/2006" xmlns:p14="http://schemas.microsoft.com/office/powerpoint/2010/main">
    <mc:Choice Requires="p14">
      <p:transition/>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8F550-81E0-EBB5-E366-E0026E3238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30D8269-3031-1371-E0D0-677A8CFE5D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111D43-1BE0-270A-8328-198C2919BA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093741-A5CC-21FB-AEBC-014CCD5F0E5F}"/>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6" name="Footer Placeholder 5">
            <a:extLst>
              <a:ext uri="{FF2B5EF4-FFF2-40B4-BE49-F238E27FC236}">
                <a16:creationId xmlns:a16="http://schemas.microsoft.com/office/drawing/2014/main" id="{D984E043-A3BC-DA8A-7D4E-2ED5D1D08B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346AE9-539D-E99C-D8F3-F7F16C7EA96A}"/>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22626090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0864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609600" y="371690"/>
            <a:ext cx="11034184" cy="817022"/>
          </a:xfrm>
          <a:prstGeom prst="rect">
            <a:avLst/>
          </a:prstGeom>
        </p:spPr>
        <p:txBody>
          <a:bodyPr lIns="0" tIns="0" rIns="0" bIns="0"/>
          <a:lstStyle>
            <a:lvl1pPr>
              <a:lnSpc>
                <a:spcPct val="90000"/>
              </a:lnSpc>
              <a:defRPr sz="2600" b="1" i="0">
                <a:solidFill>
                  <a:srgbClr val="1961AB"/>
                </a:solidFill>
                <a:latin typeface="Tahoma" pitchFamily="34" charset="0"/>
                <a:ea typeface="Tahoma" pitchFamily="34" charset="0"/>
                <a:cs typeface="Tahoma" pitchFamily="34" charset="0"/>
              </a:defRPr>
            </a:lvl1pPr>
          </a:lstStyle>
          <a:p>
            <a:r>
              <a:rPr lang="nl-BE"/>
              <a:t>Titelstijl van model bewerken</a:t>
            </a:r>
            <a:endParaRPr lang="nl-NL"/>
          </a:p>
        </p:txBody>
      </p:sp>
    </p:spTree>
    <p:extLst>
      <p:ext uri="{BB962C8B-B14F-4D97-AF65-F5344CB8AC3E}">
        <p14:creationId xmlns:p14="http://schemas.microsoft.com/office/powerpoint/2010/main" val="19259985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C88D3801-C65F-4E16-869B-2E53723FF17C}"/>
              </a:ext>
            </a:extLst>
          </p:cNvPr>
          <p:cNvSpPr>
            <a:spLocks noGrp="1"/>
          </p:cNvSpPr>
          <p:nvPr>
            <p:ph type="body" sz="quarter" idx="11"/>
          </p:nvPr>
        </p:nvSpPr>
        <p:spPr>
          <a:xfrm>
            <a:off x="815413" y="6126164"/>
            <a:ext cx="10766987" cy="596900"/>
          </a:xfrm>
          <a:prstGeom prst="rect">
            <a:avLst/>
          </a:prstGeom>
        </p:spPr>
        <p:txBody>
          <a:bodyPr anchor="b"/>
          <a:lstStyle>
            <a:lvl1pPr>
              <a:spcBef>
                <a:spcPts val="225"/>
              </a:spcBef>
              <a:defRPr sz="750" b="0">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42408124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0560" y="302481"/>
            <a:ext cx="10924032" cy="819178"/>
          </a:xfrm>
          <a:prstGeom prst="rect">
            <a:avLst/>
          </a:prstGeom>
          <a:ln w="12700">
            <a:noFill/>
          </a:ln>
        </p:spPr>
        <p:txBody>
          <a:bodyPr>
            <a:normAutofit/>
          </a:bodyPr>
          <a:lstStyle>
            <a:lvl1pPr>
              <a:defRPr sz="360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670560" y="1312104"/>
            <a:ext cx="10924032" cy="5149656"/>
          </a:xfrm>
          <a:prstGeom prst="rect">
            <a:avLst/>
          </a:prstGeom>
          <a:ln w="12700">
            <a:solidFill>
              <a:schemeClr val="accent1"/>
            </a:solidFill>
          </a:ln>
        </p:spPr>
        <p:txBody>
          <a:bodyPr>
            <a:normAutofit/>
          </a:bodyPr>
          <a:lstStyle>
            <a:lvl1pPr>
              <a:defRPr sz="2800">
                <a:solidFill>
                  <a:srgbClr val="0000FF"/>
                </a:solidFill>
                <a:latin typeface="Arial" panose="020B0604020202020204" pitchFamily="34" charset="0"/>
                <a:cs typeface="Arial" panose="020B0604020202020204" pitchFamily="34" charset="0"/>
              </a:defRPr>
            </a:lvl1pPr>
            <a:lvl2pPr>
              <a:defRPr sz="2400">
                <a:solidFill>
                  <a:srgbClr val="0000FF"/>
                </a:solidFill>
                <a:latin typeface="Arial" panose="020B0604020202020204" pitchFamily="34" charset="0"/>
                <a:cs typeface="Arial" panose="020B0604020202020204" pitchFamily="34" charset="0"/>
              </a:defRPr>
            </a:lvl2pPr>
            <a:lvl3pPr>
              <a:defRPr sz="2400">
                <a:solidFill>
                  <a:srgbClr val="0000FF"/>
                </a:solidFill>
                <a:latin typeface="Arial" panose="020B0604020202020204" pitchFamily="34" charset="0"/>
                <a:cs typeface="Arial" panose="020B0604020202020204" pitchFamily="34" charset="0"/>
              </a:defRPr>
            </a:lvl3pPr>
            <a:lvl4pPr>
              <a:defRPr sz="2400">
                <a:solidFill>
                  <a:srgbClr val="0000FF"/>
                </a:solidFill>
                <a:latin typeface="Arial" panose="020B0604020202020204" pitchFamily="34" charset="0"/>
                <a:cs typeface="Arial" panose="020B0604020202020204" pitchFamily="34" charset="0"/>
              </a:defRPr>
            </a:lvl4pPr>
            <a:lvl5pPr>
              <a:defRPr sz="2400">
                <a:solidFill>
                  <a:srgbClr val="0000FF"/>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a:extLst>
              <a:ext uri="{FF2B5EF4-FFF2-40B4-BE49-F238E27FC236}">
                <a16:creationId xmlns:a16="http://schemas.microsoft.com/office/drawing/2014/main" id="{F89AFE8E-098B-7BD3-6D0E-76325BB21DF4}"/>
              </a:ext>
            </a:extLst>
          </p:cNvPr>
          <p:cNvGraphicFramePr>
            <a:graphicFrameLocks noChangeAspect="1"/>
          </p:cNvGraphicFramePr>
          <p:nvPr userDrawn="1">
            <p:custDataLst>
              <p:tags r:id="rId1"/>
            </p:custDataLst>
            <p:extLst>
              <p:ext uri="{D42A27DB-BD31-4B8C-83A1-F6EECF244321}">
                <p14:modId xmlns:p14="http://schemas.microsoft.com/office/powerpoint/2010/main" val="2199797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89AFE8E-098B-7BD3-6D0E-76325BB21D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1A9EE362-D665-3EC1-39F4-C0AB514BFB5B}"/>
              </a:ext>
            </a:extLst>
          </p:cNvPr>
          <p:cNvCxnSpPr>
            <a:cxnSpLocks/>
          </p:cNvCxnSpPr>
          <p:nvPr userDrawn="1"/>
        </p:nvCxnSpPr>
        <p:spPr>
          <a:xfrm>
            <a:off x="670560" y="1216881"/>
            <a:ext cx="1092403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47809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Quot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A418CE-9FFD-BC69-9E33-47D597E72D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9091"/>
          <a:stretch/>
        </p:blipFill>
        <p:spPr>
          <a:xfrm>
            <a:off x="8868690" y="2931494"/>
            <a:ext cx="3181347" cy="3846142"/>
          </a:xfrm>
          <a:prstGeom prst="rect">
            <a:avLst/>
          </a:prstGeom>
        </p:spPr>
      </p:pic>
      <p:sp>
        <p:nvSpPr>
          <p:cNvPr id="4" name="Rectangle 3">
            <a:extLst>
              <a:ext uri="{FF2B5EF4-FFF2-40B4-BE49-F238E27FC236}">
                <a16:creationId xmlns:a16="http://schemas.microsoft.com/office/drawing/2014/main" id="{AAFC458C-6F82-8D72-6BAB-9C364821F57F}"/>
              </a:ext>
            </a:extLst>
          </p:cNvPr>
          <p:cNvSpPr/>
          <p:nvPr userDrawn="1"/>
        </p:nvSpPr>
        <p:spPr>
          <a:xfrm>
            <a:off x="635" y="3571"/>
            <a:ext cx="12191365" cy="6854429"/>
          </a:xfrm>
          <a:prstGeom prst="rect">
            <a:avLst/>
          </a:prstGeom>
          <a:solidFill>
            <a:srgbClr val="EC367E">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a:extLst>
              <a:ext uri="{FF2B5EF4-FFF2-40B4-BE49-F238E27FC236}">
                <a16:creationId xmlns:a16="http://schemas.microsoft.com/office/drawing/2014/main" id="{2DC7DBAD-BA5E-39B2-8288-A248D773DE3A}"/>
              </a:ext>
            </a:extLst>
          </p:cNvPr>
          <p:cNvSpPr>
            <a:spLocks noGrp="1"/>
          </p:cNvSpPr>
          <p:nvPr>
            <p:ph idx="1"/>
          </p:nvPr>
        </p:nvSpPr>
        <p:spPr>
          <a:xfrm>
            <a:off x="0" y="1853936"/>
            <a:ext cx="12192634" cy="2899611"/>
          </a:xfrm>
          <a:prstGeom prst="rect">
            <a:avLst/>
          </a:prstGeom>
          <a:solidFill>
            <a:srgbClr val="EC367E">
              <a:alpha val="76863"/>
            </a:srgbClr>
          </a:solidFill>
        </p:spPr>
        <p:txBody>
          <a:bodyPr anchor="ctr" anchorCtr="0">
            <a:noAutofit/>
          </a:bodyPr>
          <a:lstStyle>
            <a:lvl1pPr marL="0" indent="0" algn="ctr">
              <a:buNone/>
              <a:defRPr sz="3600">
                <a:solidFill>
                  <a:schemeClr val="bg1"/>
                </a:solidFill>
              </a:defRPr>
            </a:lvl1pPr>
            <a:lvl2pPr marL="457200" indent="0" algn="ctr">
              <a:buNone/>
              <a:defRPr sz="3600">
                <a:solidFill>
                  <a:schemeClr val="bg1"/>
                </a:solidFill>
              </a:defRPr>
            </a:lvl2pPr>
            <a:lvl3pPr marL="914400" indent="0" algn="ctr">
              <a:buNone/>
              <a:defRPr sz="3600">
                <a:solidFill>
                  <a:schemeClr val="bg1"/>
                </a:solidFill>
              </a:defRPr>
            </a:lvl3pPr>
            <a:lvl4pPr marL="1371600" indent="0" algn="ctr">
              <a:buNone/>
              <a:defRPr sz="3600">
                <a:solidFill>
                  <a:schemeClr val="bg1"/>
                </a:solidFill>
              </a:defRPr>
            </a:lvl4pPr>
            <a:lvl5pPr marL="1828800" indent="0" algn="ctr">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BC13D7EF-4037-0223-EB02-5DD86CFDB921}"/>
              </a:ext>
            </a:extLst>
          </p:cNvPr>
          <p:cNvSpPr>
            <a:spLocks noGrp="1"/>
          </p:cNvSpPr>
          <p:nvPr>
            <p:ph type="sldNum" sz="quarter" idx="11"/>
          </p:nvPr>
        </p:nvSpPr>
        <p:spPr>
          <a:xfrm>
            <a:off x="8610600" y="6356350"/>
            <a:ext cx="2743200" cy="365125"/>
          </a:xfrm>
          <a:prstGeom prst="rect">
            <a:avLst/>
          </a:prstGeom>
        </p:spPr>
        <p:txBody>
          <a:bodyPr/>
          <a:lstStyle>
            <a:lvl1pPr>
              <a:defRPr>
                <a:solidFill>
                  <a:schemeClr val="bg1"/>
                </a:solidFill>
              </a:defRPr>
            </a:lvl1pPr>
          </a:lstStyle>
          <a:p>
            <a:r>
              <a:rPr lang="en-US" dirty="0"/>
              <a:t> </a:t>
            </a:r>
          </a:p>
        </p:txBody>
      </p:sp>
    </p:spTree>
    <p:extLst>
      <p:ext uri="{BB962C8B-B14F-4D97-AF65-F5344CB8AC3E}">
        <p14:creationId xmlns:p14="http://schemas.microsoft.com/office/powerpoint/2010/main" val="30073463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mj-lt"/>
                <a:cs typeface="Arial" panose="020B0604020202020204" pitchFamily="34" charset="0"/>
              </a:defRPr>
            </a:lvl1pPr>
          </a:lstStyle>
          <a:p>
            <a:r>
              <a:rPr lang="en-US"/>
              <a:t> </a:t>
            </a:r>
            <a:r>
              <a:rPr lang="en-US" altLang="ko-KR"/>
              <a:t>Free PPT _ Click to add title</a:t>
            </a:r>
            <a:endParaRPr lang="en-US"/>
          </a:p>
        </p:txBody>
      </p:sp>
    </p:spTree>
    <p:extLst>
      <p:ext uri="{BB962C8B-B14F-4D97-AF65-F5344CB8AC3E}">
        <p14:creationId xmlns:p14="http://schemas.microsoft.com/office/powerpoint/2010/main" val="29421722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357" y="1219200"/>
            <a:ext cx="11464236" cy="480060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a:xfrm>
            <a:off x="838200" y="6356350"/>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5" name="Rectangle 18"/>
          <p:cNvSpPr>
            <a:spLocks noGrp="1" noChangeArrowheads="1"/>
          </p:cNvSpPr>
          <p:nvPr>
            <p:ph type="ftr" sz="quarter" idx="11"/>
          </p:nvPr>
        </p:nvSpPr>
        <p:spPr>
          <a:xfrm>
            <a:off x="4038600" y="6356350"/>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6" name="Rectangle 19"/>
          <p:cNvSpPr>
            <a:spLocks noGrp="1" noChangeArrowheads="1"/>
          </p:cNvSpPr>
          <p:nvPr>
            <p:ph type="sldNum" sz="quarter" idx="12"/>
          </p:nvPr>
        </p:nvSpPr>
        <p:spPr>
          <a:xfrm>
            <a:off x="11681884" y="6323013"/>
            <a:ext cx="508000" cy="457200"/>
          </a:xfrm>
          <a:prstGeom prst="rect">
            <a:avLst/>
          </a:prstGeom>
        </p:spPr>
        <p:txBody>
          <a:bodyPr/>
          <a:lstStyle>
            <a:lvl1pPr>
              <a:defRPr>
                <a:latin typeface="Arial" panose="020B0604020202020204" pitchFamily="34" charset="0"/>
                <a:cs typeface="Arial" panose="020B0604020202020204" pitchFamily="34" charset="0"/>
              </a:defRPr>
            </a:lvl1pPr>
          </a:lstStyle>
          <a:p>
            <a:fld id="{9D52B317-28EE-4691-9FD6-C50785A5CA4D}" type="slidenum">
              <a:rPr lang="en-US" altLang="en-US" smtClean="0"/>
              <a:t>‹#›</a:t>
            </a:fld>
            <a:endParaRPr lang="en-US" altLang="en-US"/>
          </a:p>
        </p:txBody>
      </p:sp>
      <p:sp>
        <p:nvSpPr>
          <p:cNvPr id="8" name="Rectangle 8"/>
          <p:cNvSpPr>
            <a:spLocks noChangeArrowheads="1"/>
          </p:cNvSpPr>
          <p:nvPr/>
        </p:nvSpPr>
        <p:spPr bwMode="auto">
          <a:xfrm>
            <a:off x="397358" y="241953"/>
            <a:ext cx="11464236" cy="820918"/>
          </a:xfrm>
          <a:prstGeom prst="rect">
            <a:avLst/>
          </a:prstGeom>
          <a:solidFill>
            <a:srgbClr val="EAEAEA">
              <a:alpha val="50195"/>
            </a:srgbClr>
          </a:solidFill>
          <a:ln w="12700">
            <a:solidFill>
              <a:srgbClr val="000000"/>
            </a:solidFill>
            <a:miter lim="800000"/>
            <a:headEnd/>
            <a:tailEnd/>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88568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5F0A2C5-BD72-7C65-1191-B17CE88FBC57}"/>
              </a:ext>
            </a:extLst>
          </p:cNvPr>
          <p:cNvSpPr>
            <a:spLocks noGrp="1"/>
          </p:cNvSpPr>
          <p:nvPr>
            <p:ph type="title"/>
          </p:nvPr>
        </p:nvSpPr>
        <p:spPr>
          <a:xfrm>
            <a:off x="1" y="0"/>
            <a:ext cx="12191999" cy="1074057"/>
          </a:xfrm>
          <a:prstGeom prst="rect">
            <a:avLst/>
          </a:prstGeom>
          <a:solidFill>
            <a:schemeClr val="accent1">
              <a:lumMod val="20000"/>
              <a:lumOff val="80000"/>
            </a:schemeClr>
          </a:solidFill>
          <a:ln w="19050">
            <a:noFill/>
            <a:extLst>
              <a:ext uri="{C807C97D-BFC1-408E-A445-0C87EB9F89A2}">
                <ask:lineSketchStyleProps xmlns:ask="http://schemas.microsoft.com/office/drawing/2018/sketchyshapes">
                  <ask:type>
                    <ask:lineSketchNone/>
                  </ask:type>
                </ask:lineSketchStyleProps>
              </a:ext>
            </a:extLst>
          </a:ln>
        </p:spPr>
        <p:txBody>
          <a:bodyPr>
            <a:normAutofit/>
          </a:bodyPr>
          <a:lstStyle>
            <a:lvl1pPr algn="ctr">
              <a:defRPr sz="3200" b="1">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6211550"/>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C57ED62D-C7F7-EC4E-AE11-D4067E9581DD}"/>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a16="http://schemas.microsoft.com/office/drawing/2014/main" id="{6D3AD719-8ED9-B68E-A55B-F51CFDD439A1}"/>
              </a:ext>
            </a:extLst>
          </p:cNvPr>
          <p:cNvSpPr>
            <a:spLocks noGrp="1"/>
          </p:cNvSpPr>
          <p:nvPr>
            <p:ph type="sldNum" sz="quarter" idx="11"/>
          </p:nvPr>
        </p:nvSpPr>
        <p:spPr/>
        <p:txBody>
          <a:bodyPr/>
          <a:lstStyle/>
          <a:p>
            <a:fld id="{8C13A29A-185B-4182-9583-7B13F1AC164D}" type="slidenum">
              <a:rPr lang="en-US" smtClean="0"/>
              <a:pPr/>
              <a:t>‹#›</a:t>
            </a:fld>
            <a:endParaRPr lang="en-US"/>
          </a:p>
        </p:txBody>
      </p:sp>
      <p:sp>
        <p:nvSpPr>
          <p:cNvPr id="8" name="Text Placeholder 6">
            <a:extLst>
              <a:ext uri="{FF2B5EF4-FFF2-40B4-BE49-F238E27FC236}">
                <a16:creationId xmlns:a16="http://schemas.microsoft.com/office/drawing/2014/main" id="{F64E01BC-7F5B-BD7E-12A8-BB6E89DCFADC}"/>
              </a:ext>
            </a:extLst>
          </p:cNvPr>
          <p:cNvSpPr>
            <a:spLocks noGrp="1"/>
          </p:cNvSpPr>
          <p:nvPr>
            <p:ph type="body" sz="quarter" idx="13" hasCustomPrompt="1"/>
          </p:nvPr>
        </p:nvSpPr>
        <p:spPr>
          <a:xfrm>
            <a:off x="304800" y="6308725"/>
            <a:ext cx="10215880" cy="358775"/>
          </a:xfrm>
        </p:spPr>
        <p:txBody>
          <a:bodyPr anchor="b">
            <a:noAutofit/>
          </a:bodyPr>
          <a:lstStyle>
            <a:lvl1pPr marL="0" indent="0">
              <a:spcBef>
                <a:spcPts val="0"/>
              </a:spcBef>
              <a:buNone/>
              <a:defRPr sz="900">
                <a:solidFill>
                  <a:schemeClr val="tx1"/>
                </a:solidFill>
              </a:defRPr>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footnotes/references</a:t>
            </a:r>
          </a:p>
        </p:txBody>
      </p:sp>
      <p:sp>
        <p:nvSpPr>
          <p:cNvPr id="4" name="Title 3">
            <a:extLst>
              <a:ext uri="{FF2B5EF4-FFF2-40B4-BE49-F238E27FC236}">
                <a16:creationId xmlns:a16="http://schemas.microsoft.com/office/drawing/2014/main" id="{B2D751C3-EB04-C705-2B0F-D3A1BC7772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49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720332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8DE87-F2D0-0580-914E-27B41AF449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0E3C085-AFBD-7F23-9618-8BB491058E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60CD3BF-CB0E-1085-FB33-0E015C3375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F9B17C-90CB-AF75-6BEB-CB464957C4B8}"/>
              </a:ext>
            </a:extLst>
          </p:cNvPr>
          <p:cNvSpPr>
            <a:spLocks noGrp="1"/>
          </p:cNvSpPr>
          <p:nvPr>
            <p:ph type="dt" sz="half" idx="10"/>
          </p:nvPr>
        </p:nvSpPr>
        <p:spPr/>
        <p:txBody>
          <a:bodyPr/>
          <a:lstStyle/>
          <a:p>
            <a:fld id="{5E9BEFC1-9BFA-4B86-9016-21A6B7805386}" type="datetimeFigureOut">
              <a:rPr lang="en-US" smtClean="0"/>
              <a:t>9/10/2025</a:t>
            </a:fld>
            <a:endParaRPr lang="en-US"/>
          </a:p>
        </p:txBody>
      </p:sp>
      <p:sp>
        <p:nvSpPr>
          <p:cNvPr id="6" name="Footer Placeholder 5">
            <a:extLst>
              <a:ext uri="{FF2B5EF4-FFF2-40B4-BE49-F238E27FC236}">
                <a16:creationId xmlns:a16="http://schemas.microsoft.com/office/drawing/2014/main" id="{55A233AD-96E8-DDFC-54B3-9F145997E3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76E28B-4B22-8594-CA6C-CE7F0699BE95}"/>
              </a:ext>
            </a:extLst>
          </p:cNvPr>
          <p:cNvSpPr>
            <a:spLocks noGrp="1"/>
          </p:cNvSpPr>
          <p:nvPr>
            <p:ph type="sldNum" sz="quarter" idx="12"/>
          </p:nvPr>
        </p:nvSpPr>
        <p:spPr/>
        <p:txBody>
          <a:bodyPr/>
          <a:lstStyle/>
          <a:p>
            <a:fld id="{AB6B7C74-5C7F-4599-BC04-932C7A4965ED}" type="slidenum">
              <a:rPr lang="en-US" smtClean="0"/>
              <a:t>‹#›</a:t>
            </a:fld>
            <a:endParaRPr lang="en-US"/>
          </a:p>
        </p:txBody>
      </p:sp>
    </p:spTree>
    <p:extLst>
      <p:ext uri="{BB962C8B-B14F-4D97-AF65-F5344CB8AC3E}">
        <p14:creationId xmlns:p14="http://schemas.microsoft.com/office/powerpoint/2010/main" val="3329112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07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DC13-C1A4-0B53-494D-7731E9989091}"/>
              </a:ext>
            </a:extLst>
          </p:cNvPr>
          <p:cNvSpPr>
            <a:spLocks noGrp="1"/>
          </p:cNvSpPr>
          <p:nvPr>
            <p:ph type="title"/>
          </p:nvPr>
        </p:nvSpPr>
        <p:spPr>
          <a:xfrm>
            <a:off x="1238191" y="138906"/>
            <a:ext cx="10401035" cy="916973"/>
          </a:xfrm>
        </p:spPr>
        <p:txBody>
          <a:bodyPr/>
          <a:lstStyle>
            <a:lvl1pPr>
              <a:defRPr b="1">
                <a:solidFill>
                  <a:srgbClr val="0A60B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BB87B1E-F7C1-F673-CA9B-58AAB720C9B4}"/>
              </a:ext>
            </a:extLst>
          </p:cNvPr>
          <p:cNvSpPr>
            <a:spLocks noGrp="1"/>
          </p:cNvSpPr>
          <p:nvPr>
            <p:ph idx="1"/>
          </p:nvPr>
        </p:nvSpPr>
        <p:spPr>
          <a:xfrm>
            <a:off x="511443" y="1410346"/>
            <a:ext cx="11148289" cy="4766617"/>
          </a:xfrm>
        </p:spPr>
        <p:txBody>
          <a:bodyPr/>
          <a:lstStyle>
            <a:lvl1pPr>
              <a:lnSpc>
                <a:spcPts val="3260"/>
              </a:lnSpc>
              <a:defRPr/>
            </a:lvl1pPr>
            <a:lvl2pPr>
              <a:lnSpc>
                <a:spcPts val="3260"/>
              </a:lnSpc>
              <a:defRPr/>
            </a:lvl2pPr>
            <a:lvl3pPr>
              <a:lnSpc>
                <a:spcPts val="3260"/>
              </a:lnSpc>
              <a:defRPr/>
            </a:lvl3pPr>
            <a:lvl4pPr>
              <a:lnSpc>
                <a:spcPts val="3260"/>
              </a:lnSpc>
              <a:defRPr/>
            </a:lvl4pPr>
            <a:lvl5pPr>
              <a:lnSpc>
                <a:spcPts val="326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2A8CC5-9C92-FB60-1C46-8066D656380F}"/>
              </a:ext>
            </a:extLst>
          </p:cNvPr>
          <p:cNvSpPr>
            <a:spLocks noGrp="1"/>
          </p:cNvSpPr>
          <p:nvPr>
            <p:ph type="dt" sz="half" idx="10"/>
          </p:nvPr>
        </p:nvSpPr>
        <p:spPr/>
        <p:txBody>
          <a:bodyPr/>
          <a:lstStyle/>
          <a:p>
            <a:fld id="{DF0F1FF6-634D-1640-A19A-B219979DEFE8}" type="datetime1">
              <a:t>9/10/2025</a:t>
            </a:fld>
            <a:endParaRPr lang="en-US"/>
          </a:p>
        </p:txBody>
      </p:sp>
      <p:sp>
        <p:nvSpPr>
          <p:cNvPr id="5" name="Footer Placeholder 4">
            <a:extLst>
              <a:ext uri="{FF2B5EF4-FFF2-40B4-BE49-F238E27FC236}">
                <a16:creationId xmlns:a16="http://schemas.microsoft.com/office/drawing/2014/main" id="{DB71F1EA-902F-9147-2F8D-DCA5273CAC7A}"/>
              </a:ext>
            </a:extLst>
          </p:cNvPr>
          <p:cNvSpPr>
            <a:spLocks noGrp="1"/>
          </p:cNvSpPr>
          <p:nvPr>
            <p:ph type="ftr" sz="quarter" idx="11"/>
          </p:nvPr>
        </p:nvSpPr>
        <p:spPr/>
        <p:txBody>
          <a:bodyPr/>
          <a:lstStyle/>
          <a:p>
            <a:endParaRPr lang="en-US"/>
          </a:p>
        </p:txBody>
      </p:sp>
      <p:sp>
        <p:nvSpPr>
          <p:cNvPr id="11" name="Slide Number Placeholder 5">
            <a:extLst>
              <a:ext uri="{FF2B5EF4-FFF2-40B4-BE49-F238E27FC236}">
                <a16:creationId xmlns:a16="http://schemas.microsoft.com/office/drawing/2014/main" id="{50B94DE3-59DA-1BDF-6460-7D608E97694E}"/>
              </a:ext>
            </a:extLst>
          </p:cNvPr>
          <p:cNvSpPr>
            <a:spLocks noGrp="1"/>
          </p:cNvSpPr>
          <p:nvPr>
            <p:ph type="sldNum" sz="quarter" idx="12"/>
          </p:nvPr>
        </p:nvSpPr>
        <p:spPr>
          <a:xfrm>
            <a:off x="9417804" y="6485664"/>
            <a:ext cx="2743200" cy="365125"/>
          </a:xfrm>
        </p:spPr>
        <p:txBody>
          <a:bodyPr/>
          <a:lstStyle>
            <a:lvl1pPr>
              <a:defRPr b="1">
                <a:solidFill>
                  <a:schemeClr val="bg1"/>
                </a:solidFill>
                <a:latin typeface="Arial" panose="020B0604020202020204" pitchFamily="34" charset="0"/>
                <a:cs typeface="Arial" panose="020B0604020202020204" pitchFamily="34" charset="0"/>
              </a:defRPr>
            </a:lvl1pPr>
          </a:lstStyle>
          <a:p>
            <a:fld id="{4FAB73BC-B049-4115-A692-8D63A059BFB8}" type="slidenum">
              <a:rPr lang="en-US" dirty="0"/>
              <a:pPr/>
              <a:t>‹#›</a:t>
            </a:fld>
            <a:endParaRPr lang="en-US"/>
          </a:p>
        </p:txBody>
      </p:sp>
    </p:spTree>
    <p:extLst>
      <p:ext uri="{BB962C8B-B14F-4D97-AF65-F5344CB8AC3E}">
        <p14:creationId xmlns:p14="http://schemas.microsoft.com/office/powerpoint/2010/main" val="24553444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609600" y="371690"/>
            <a:ext cx="11034184" cy="817022"/>
          </a:xfrm>
          <a:prstGeom prst="rect">
            <a:avLst/>
          </a:prstGeom>
        </p:spPr>
        <p:txBody>
          <a:bodyPr lIns="0" tIns="0" rIns="0" bIns="0"/>
          <a:lstStyle>
            <a:lvl1pPr>
              <a:lnSpc>
                <a:spcPct val="90000"/>
              </a:lnSpc>
              <a:defRPr sz="2600" b="1" i="0">
                <a:solidFill>
                  <a:srgbClr val="1961AB"/>
                </a:solidFill>
                <a:latin typeface="Arial" panose="020B0604020202020204" pitchFamily="34" charset="0"/>
                <a:ea typeface="Tahoma" pitchFamily="34" charset="0"/>
                <a:cs typeface="Arial" panose="020B0604020202020204" pitchFamily="34" charset="0"/>
              </a:defRPr>
            </a:lvl1pPr>
          </a:lstStyle>
          <a:p>
            <a:r>
              <a:rPr lang="nl-BE" dirty="0"/>
              <a:t>Titelstijl van model bewerken</a:t>
            </a:r>
            <a:endParaRPr lang="nl-NL" dirty="0"/>
          </a:p>
        </p:txBody>
      </p:sp>
    </p:spTree>
    <p:extLst>
      <p:ext uri="{BB962C8B-B14F-4D97-AF65-F5344CB8AC3E}">
        <p14:creationId xmlns:p14="http://schemas.microsoft.com/office/powerpoint/2010/main" val="28650778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C88D3801-C65F-4E16-869B-2E53723FF17C}"/>
              </a:ext>
            </a:extLst>
          </p:cNvPr>
          <p:cNvSpPr>
            <a:spLocks noGrp="1"/>
          </p:cNvSpPr>
          <p:nvPr>
            <p:ph type="body" sz="quarter" idx="11"/>
          </p:nvPr>
        </p:nvSpPr>
        <p:spPr>
          <a:xfrm>
            <a:off x="815413" y="6126164"/>
            <a:ext cx="10766987" cy="596900"/>
          </a:xfrm>
        </p:spPr>
        <p:txBody>
          <a:bodyPr anchor="b"/>
          <a:lstStyle>
            <a:lvl1pPr>
              <a:spcBef>
                <a:spcPts val="225"/>
              </a:spcBef>
              <a:defRPr sz="750" b="0">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9248392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2A3145-FD29-13A1-2885-09326984EE52}"/>
              </a:ext>
            </a:extLst>
          </p:cNvPr>
          <p:cNvSpPr>
            <a:spLocks noGrp="1"/>
          </p:cNvSpPr>
          <p:nvPr>
            <p:ph type="dt" sz="half" idx="10"/>
          </p:nvPr>
        </p:nvSpPr>
        <p:spPr/>
        <p:txBody>
          <a:bodyPr/>
          <a:lstStyle/>
          <a:p>
            <a:fld id="{BC53A694-C403-4AF9-A6DE-3EC4AD975939}" type="datetimeFigureOut">
              <a:rPr lang="en-US" smtClean="0"/>
              <a:t>9/10/2025</a:t>
            </a:fld>
            <a:endParaRPr lang="en-US"/>
          </a:p>
        </p:txBody>
      </p:sp>
      <p:sp>
        <p:nvSpPr>
          <p:cNvPr id="3" name="Footer Placeholder 2">
            <a:extLst>
              <a:ext uri="{FF2B5EF4-FFF2-40B4-BE49-F238E27FC236}">
                <a16:creationId xmlns:a16="http://schemas.microsoft.com/office/drawing/2014/main" id="{E6863E36-CC51-232A-419F-5C69179F17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A6ACF4E-AFAB-4343-9818-DD446DCC43E0}"/>
              </a:ext>
            </a:extLst>
          </p:cNvPr>
          <p:cNvSpPr>
            <a:spLocks noGrp="1"/>
          </p:cNvSpPr>
          <p:nvPr>
            <p:ph type="sldNum" sz="quarter" idx="12"/>
          </p:nvPr>
        </p:nvSpPr>
        <p:spPr/>
        <p:txBody>
          <a:bodyPr/>
          <a:lstStyle/>
          <a:p>
            <a:fld id="{81E715F1-1B03-467A-AD76-CEBF9177A4F7}" type="slidenum">
              <a:rPr lang="en-US" smtClean="0"/>
              <a:t>‹#›</a:t>
            </a:fld>
            <a:endParaRPr lang="en-US"/>
          </a:p>
        </p:txBody>
      </p:sp>
    </p:spTree>
    <p:extLst>
      <p:ext uri="{BB962C8B-B14F-4D97-AF65-F5344CB8AC3E}">
        <p14:creationId xmlns:p14="http://schemas.microsoft.com/office/powerpoint/2010/main" val="42913835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3A1C593-65D0-4073-BCC9-577B9352EA97}" type="datetimeFigureOut">
              <a:rPr lang="en-US" smtClean="0"/>
              <a:t>9/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4442564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0560" y="302481"/>
            <a:ext cx="10924032" cy="819178"/>
          </a:xfrm>
          <a:ln w="12700">
            <a:noFill/>
          </a:ln>
        </p:spPr>
        <p:txBody>
          <a:bodyPr>
            <a:normAutofit/>
          </a:bodyPr>
          <a:lstStyle>
            <a:lvl1pPr>
              <a:defRPr sz="360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670560" y="1312104"/>
            <a:ext cx="10924032" cy="5149656"/>
          </a:xfrm>
          <a:ln w="12700">
            <a:solidFill>
              <a:schemeClr val="accent1"/>
            </a:solidFill>
          </a:ln>
        </p:spPr>
        <p:txBody>
          <a:bodyPr>
            <a:normAutofit/>
          </a:bodyPr>
          <a:lstStyle>
            <a:lvl1pPr>
              <a:defRPr sz="2800">
                <a:solidFill>
                  <a:srgbClr val="0000FF"/>
                </a:solidFill>
                <a:latin typeface="Arial" panose="020B0604020202020204" pitchFamily="34" charset="0"/>
                <a:cs typeface="Arial" panose="020B0604020202020204" pitchFamily="34" charset="0"/>
              </a:defRPr>
            </a:lvl1pPr>
            <a:lvl2pPr>
              <a:defRPr sz="2400">
                <a:solidFill>
                  <a:srgbClr val="0000FF"/>
                </a:solidFill>
                <a:latin typeface="Arial" panose="020B0604020202020204" pitchFamily="34" charset="0"/>
                <a:cs typeface="Arial" panose="020B0604020202020204" pitchFamily="34" charset="0"/>
              </a:defRPr>
            </a:lvl2pPr>
            <a:lvl3pPr>
              <a:defRPr sz="2400">
                <a:solidFill>
                  <a:srgbClr val="0000FF"/>
                </a:solidFill>
                <a:latin typeface="Arial" panose="020B0604020202020204" pitchFamily="34" charset="0"/>
                <a:cs typeface="Arial" panose="020B0604020202020204" pitchFamily="34" charset="0"/>
              </a:defRPr>
            </a:lvl3pPr>
            <a:lvl4pPr>
              <a:defRPr sz="2400">
                <a:solidFill>
                  <a:srgbClr val="0000FF"/>
                </a:solidFill>
                <a:latin typeface="Arial" panose="020B0604020202020204" pitchFamily="34" charset="0"/>
                <a:cs typeface="Arial" panose="020B0604020202020204" pitchFamily="34" charset="0"/>
              </a:defRPr>
            </a:lvl4pPr>
            <a:lvl5pPr>
              <a:defRPr sz="2400">
                <a:solidFill>
                  <a:srgbClr val="0000FF"/>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a:extLst>
              <a:ext uri="{FF2B5EF4-FFF2-40B4-BE49-F238E27FC236}">
                <a16:creationId xmlns:a16="http://schemas.microsoft.com/office/drawing/2014/main" id="{F89AFE8E-098B-7BD3-6D0E-76325BB21DF4}"/>
              </a:ext>
            </a:extLst>
          </p:cNvPr>
          <p:cNvGraphicFramePr>
            <a:graphicFrameLocks noChangeAspect="1"/>
          </p:cNvGraphicFramePr>
          <p:nvPr userDrawn="1">
            <p:custDataLst>
              <p:tags r:id="rId1"/>
            </p:custDataLst>
            <p:extLst>
              <p:ext uri="{D42A27DB-BD31-4B8C-83A1-F6EECF244321}">
                <p14:modId xmlns:p14="http://schemas.microsoft.com/office/powerpoint/2010/main" val="2199797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89AFE8E-098B-7BD3-6D0E-76325BB21D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1A9EE362-D665-3EC1-39F4-C0AB514BFB5B}"/>
              </a:ext>
            </a:extLst>
          </p:cNvPr>
          <p:cNvCxnSpPr>
            <a:cxnSpLocks/>
          </p:cNvCxnSpPr>
          <p:nvPr userDrawn="1"/>
        </p:nvCxnSpPr>
        <p:spPr>
          <a:xfrm>
            <a:off x="670560" y="1216881"/>
            <a:ext cx="1092403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87904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Quot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A418CE-9FFD-BC69-9E33-47D597E72D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9091"/>
          <a:stretch/>
        </p:blipFill>
        <p:spPr>
          <a:xfrm>
            <a:off x="8868690" y="2931494"/>
            <a:ext cx="3181347" cy="3846142"/>
          </a:xfrm>
          <a:prstGeom prst="rect">
            <a:avLst/>
          </a:prstGeom>
        </p:spPr>
      </p:pic>
      <p:sp>
        <p:nvSpPr>
          <p:cNvPr id="4" name="Rectangle 3">
            <a:extLst>
              <a:ext uri="{FF2B5EF4-FFF2-40B4-BE49-F238E27FC236}">
                <a16:creationId xmlns:a16="http://schemas.microsoft.com/office/drawing/2014/main" id="{AAFC458C-6F82-8D72-6BAB-9C364821F57F}"/>
              </a:ext>
            </a:extLst>
          </p:cNvPr>
          <p:cNvSpPr/>
          <p:nvPr userDrawn="1"/>
        </p:nvSpPr>
        <p:spPr>
          <a:xfrm>
            <a:off x="635" y="3571"/>
            <a:ext cx="12191365" cy="6854429"/>
          </a:xfrm>
          <a:prstGeom prst="rect">
            <a:avLst/>
          </a:prstGeom>
          <a:solidFill>
            <a:srgbClr val="EC367E">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a:extLst>
              <a:ext uri="{FF2B5EF4-FFF2-40B4-BE49-F238E27FC236}">
                <a16:creationId xmlns:a16="http://schemas.microsoft.com/office/drawing/2014/main" id="{2DC7DBAD-BA5E-39B2-8288-A248D773DE3A}"/>
              </a:ext>
            </a:extLst>
          </p:cNvPr>
          <p:cNvSpPr>
            <a:spLocks noGrp="1"/>
          </p:cNvSpPr>
          <p:nvPr>
            <p:ph idx="1"/>
          </p:nvPr>
        </p:nvSpPr>
        <p:spPr>
          <a:xfrm>
            <a:off x="0" y="1853936"/>
            <a:ext cx="12192634" cy="2899611"/>
          </a:xfrm>
          <a:solidFill>
            <a:srgbClr val="EC367E">
              <a:alpha val="76863"/>
            </a:srgbClr>
          </a:solidFill>
        </p:spPr>
        <p:txBody>
          <a:bodyPr anchor="ctr" anchorCtr="0">
            <a:noAutofit/>
          </a:bodyPr>
          <a:lstStyle>
            <a:lvl1pPr marL="0" indent="0" algn="ctr">
              <a:buNone/>
              <a:defRPr sz="3600">
                <a:solidFill>
                  <a:schemeClr val="bg1"/>
                </a:solidFill>
              </a:defRPr>
            </a:lvl1pPr>
            <a:lvl2pPr marL="457200" indent="0" algn="ctr">
              <a:buNone/>
              <a:defRPr sz="3600">
                <a:solidFill>
                  <a:schemeClr val="bg1"/>
                </a:solidFill>
              </a:defRPr>
            </a:lvl2pPr>
            <a:lvl3pPr marL="914400" indent="0" algn="ctr">
              <a:buNone/>
              <a:defRPr sz="3600">
                <a:solidFill>
                  <a:schemeClr val="bg1"/>
                </a:solidFill>
              </a:defRPr>
            </a:lvl3pPr>
            <a:lvl4pPr marL="1371600" indent="0" algn="ctr">
              <a:buNone/>
              <a:defRPr sz="3600">
                <a:solidFill>
                  <a:schemeClr val="bg1"/>
                </a:solidFill>
              </a:defRPr>
            </a:lvl4pPr>
            <a:lvl5pPr marL="1828800" indent="0" algn="ctr">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BC13D7EF-4037-0223-EB02-5DD86CFDB921}"/>
              </a:ext>
            </a:extLst>
          </p:cNvPr>
          <p:cNvSpPr>
            <a:spLocks noGrp="1"/>
          </p:cNvSpPr>
          <p:nvPr>
            <p:ph type="sldNum" sz="quarter" idx="11"/>
          </p:nvPr>
        </p:nvSpPr>
        <p:spPr/>
        <p:txBody>
          <a:bodyPr/>
          <a:lstStyle>
            <a:lvl1pPr>
              <a:defRPr>
                <a:solidFill>
                  <a:schemeClr val="bg1"/>
                </a:solidFill>
              </a:defRPr>
            </a:lvl1pPr>
          </a:lstStyle>
          <a:p>
            <a:r>
              <a:rPr lang="en-US" dirty="0"/>
              <a:t> </a:t>
            </a:r>
          </a:p>
        </p:txBody>
      </p:sp>
    </p:spTree>
    <p:extLst>
      <p:ext uri="{BB962C8B-B14F-4D97-AF65-F5344CB8AC3E}">
        <p14:creationId xmlns:p14="http://schemas.microsoft.com/office/powerpoint/2010/main" val="14478931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3A1C593-65D0-4073-BCC9-577B9352EA97}"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1114016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mj-lt"/>
                <a:cs typeface="Arial" panose="020B0604020202020204" pitchFamily="34" charset="0"/>
              </a:defRPr>
            </a:lvl1pPr>
          </a:lstStyle>
          <a:p>
            <a:r>
              <a:rPr lang="en-US"/>
              <a:t> </a:t>
            </a:r>
            <a:r>
              <a:rPr lang="en-US" altLang="ko-KR"/>
              <a:t>Free PPT _ Click to add title</a:t>
            </a:r>
            <a:endParaRPr lang="en-US"/>
          </a:p>
        </p:txBody>
      </p:sp>
    </p:spTree>
    <p:extLst>
      <p:ext uri="{BB962C8B-B14F-4D97-AF65-F5344CB8AC3E}">
        <p14:creationId xmlns:p14="http://schemas.microsoft.com/office/powerpoint/2010/main" val="1427640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1.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4.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theme" Target="../theme/theme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3BCA55-DD3A-FCFA-0EA9-D19245990F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C0AFF1-45A7-BD1E-4715-06907D7896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8A5363-F1E4-BEFF-E717-75C6D5CD0A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9BEFC1-9BFA-4B86-9016-21A6B7805386}" type="datetimeFigureOut">
              <a:rPr lang="en-US" smtClean="0"/>
              <a:t>9/10/2025</a:t>
            </a:fld>
            <a:endParaRPr lang="en-US"/>
          </a:p>
        </p:txBody>
      </p:sp>
      <p:sp>
        <p:nvSpPr>
          <p:cNvPr id="5" name="Footer Placeholder 4">
            <a:extLst>
              <a:ext uri="{FF2B5EF4-FFF2-40B4-BE49-F238E27FC236}">
                <a16:creationId xmlns:a16="http://schemas.microsoft.com/office/drawing/2014/main" id="{6D1519D5-D3C9-4E8D-69EE-9E5FCEF6BD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E5ADDC-0E24-6EE5-8928-99D7512F3C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6B7C74-5C7F-4599-BC04-932C7A4965ED}" type="slidenum">
              <a:rPr lang="en-US" smtClean="0"/>
              <a:t>‹#›</a:t>
            </a:fld>
            <a:endParaRPr lang="en-US"/>
          </a:p>
        </p:txBody>
      </p:sp>
    </p:spTree>
    <p:extLst>
      <p:ext uri="{BB962C8B-B14F-4D97-AF65-F5344CB8AC3E}">
        <p14:creationId xmlns:p14="http://schemas.microsoft.com/office/powerpoint/2010/main" val="13081963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2" r:id="rId12"/>
    <p:sldLayoutId id="2147483750" r:id="rId13"/>
    <p:sldLayoutId id="214748383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7078A3-1EC4-E995-5C3B-2F7D0C310343}"/>
              </a:ext>
            </a:extLst>
          </p:cNvPr>
          <p:cNvGraphicFramePr>
            <a:graphicFrameLocks noChangeAspect="1"/>
          </p:cNvGraphicFramePr>
          <p:nvPr userDrawn="1">
            <p:custDataLst>
              <p:tags r:id="rId13"/>
            </p:custDataLst>
            <p:extLst>
              <p:ext uri="{D42A27DB-BD31-4B8C-83A1-F6EECF244321}">
                <p14:modId xmlns:p14="http://schemas.microsoft.com/office/powerpoint/2010/main" val="2489918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0B7078A3-1EC4-E995-5C3B-2F7D0C3103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C5CDEB2-4F7B-5131-0758-5865CFC4EEE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069DE6-E361-CE4B-E590-A77214BFB2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A4F27D-18E7-49EC-B16E-62057D2D2E2E}" type="datetimeFigureOut">
              <a:rPr lang="en-US" smtClean="0"/>
              <a:t>9/10/2025</a:t>
            </a:fld>
            <a:endParaRPr lang="en-US"/>
          </a:p>
        </p:txBody>
      </p:sp>
      <p:sp>
        <p:nvSpPr>
          <p:cNvPr id="5" name="Footer Placeholder 4">
            <a:extLst>
              <a:ext uri="{FF2B5EF4-FFF2-40B4-BE49-F238E27FC236}">
                <a16:creationId xmlns:a16="http://schemas.microsoft.com/office/drawing/2014/main" id="{5541D60B-CE7D-3BB3-D241-B2FDA94490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683126A-E1EB-7C30-BB1D-0696FBFBA7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81537-5AEB-47DB-8D1A-CAB7E4943BE8}" type="slidenum">
              <a:rPr lang="en-US" smtClean="0"/>
              <a:t>‹#›</a:t>
            </a:fld>
            <a:endParaRPr lang="en-US"/>
          </a:p>
        </p:txBody>
      </p:sp>
      <p:sp>
        <p:nvSpPr>
          <p:cNvPr id="7" name="Title 1">
            <a:extLst>
              <a:ext uri="{FF2B5EF4-FFF2-40B4-BE49-F238E27FC236}">
                <a16:creationId xmlns:a16="http://schemas.microsoft.com/office/drawing/2014/main" id="{8F779CF6-EC6F-DFBF-38D9-2642E0A917DC}"/>
              </a:ext>
            </a:extLst>
          </p:cNvPr>
          <p:cNvSpPr txBox="1">
            <a:spLocks/>
          </p:cNvSpPr>
          <p:nvPr userDrawn="1"/>
        </p:nvSpPr>
        <p:spPr>
          <a:xfrm>
            <a:off x="-9525" y="136525"/>
            <a:ext cx="12201525" cy="1111250"/>
          </a:xfrm>
          <a:prstGeom prst="rect">
            <a:avLst/>
          </a:prstGeom>
          <a:solidFill>
            <a:srgbClr val="1E376D"/>
          </a:solidFill>
        </p:spPr>
        <p:txBody>
          <a:bodyPr vert="horz" anchor="ct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a:t> Click to edit Master title style</a:t>
            </a:r>
          </a:p>
        </p:txBody>
      </p:sp>
    </p:spTree>
    <p:extLst>
      <p:ext uri="{BB962C8B-B14F-4D97-AF65-F5344CB8AC3E}">
        <p14:creationId xmlns:p14="http://schemas.microsoft.com/office/powerpoint/2010/main" val="331750584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A1C593-65D0-4073-BCC9-577B9352EA97}" type="datetimeFigureOut">
              <a:rPr lang="en-US" smtClean="0"/>
              <a:t>9/1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52465034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63A1C593-65D0-4073-BCC9-577B9352EA97}" type="datetimeFigureOut">
              <a:rPr lang="en-US" smtClean="0"/>
              <a:pPr/>
              <a:t>9/10/20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defRPr>
            </a:lvl1pPr>
          </a:lstStyle>
          <a:p>
            <a:fld id="{9B618960-8005-486C-9A75-10CB2AAC16F9}" type="slidenum">
              <a:rPr lang="en-US" smtClean="0"/>
              <a:pPr/>
              <a:t>‹#›</a:t>
            </a:fld>
            <a:endParaRPr lang="en-US" dirty="0"/>
          </a:p>
        </p:txBody>
      </p:sp>
    </p:spTree>
    <p:extLst>
      <p:ext uri="{BB962C8B-B14F-4D97-AF65-F5344CB8AC3E}">
        <p14:creationId xmlns:p14="http://schemas.microsoft.com/office/powerpoint/2010/main" val="247639176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97280" y="6459785"/>
            <a:ext cx="2472271" cy="365125"/>
          </a:xfrm>
          <a:prstGeom prst="rect">
            <a:avLst/>
          </a:prstGeom>
          <a:solidFill>
            <a:srgbClr val="336699"/>
          </a:solidFill>
        </p:spPr>
        <p:txBody>
          <a:bodyPr vert="horz" lIns="91440" tIns="45720" rIns="91440" bIns="45720" rtlCol="0" anchor="ctr"/>
          <a:lstStyle>
            <a:lvl1pPr algn="l">
              <a:defRPr sz="900">
                <a:solidFill>
                  <a:srgbClr val="FFFFFF"/>
                </a:solidFill>
                <a:latin typeface="Arial" panose="020B0604020202020204" pitchFamily="34" charset="0"/>
              </a:defRPr>
            </a:lvl1pPr>
          </a:lstStyle>
          <a:p>
            <a:fld id="{63A1C593-65D0-4073-BCC9-577B9352EA97}" type="datetimeFigureOut">
              <a:rPr lang="en-US" smtClean="0"/>
              <a:pPr/>
              <a:t>9/10/2025</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a:solidFill>
            <a:srgbClr val="336699"/>
          </a:solidFill>
        </p:spPr>
        <p:txBody>
          <a:bodyPr vert="horz" lIns="91440" tIns="45720" rIns="91440" bIns="45720" rtlCol="0" anchor="ctr"/>
          <a:lstStyle>
            <a:lvl1pPr algn="ctr">
              <a:defRPr sz="900" cap="all" baseline="0">
                <a:solidFill>
                  <a:srgbClr val="FFFFFF"/>
                </a:solidFill>
                <a:latin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a:solidFill>
            <a:srgbClr val="336699"/>
          </a:solidFill>
        </p:spPr>
        <p:txBody>
          <a:bodyPr vert="horz" lIns="91440" tIns="45720" rIns="91440" bIns="45720" rtlCol="0" anchor="ctr"/>
          <a:lstStyle>
            <a:lvl1pPr algn="r">
              <a:defRPr sz="1050">
                <a:solidFill>
                  <a:srgbClr val="FFFFFF"/>
                </a:solidFill>
                <a:latin typeface="Arial" panose="020B0604020202020204" pitchFamily="34" charset="0"/>
              </a:defRPr>
            </a:lvl1pPr>
          </a:lstStyle>
          <a:p>
            <a:fld id="{9B618960-8005-486C-9A75-10CB2AAC16F9}"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139576"/>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Arial" panose="020B0604020202020204" pitchFamily="34" charset="0"/>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Arial" panose="020B0604020202020204" pitchFamily="34" charset="0"/>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Arial" panose="020B0604020202020204" pitchFamily="34" charset="0"/>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Arial" panose="020B0604020202020204" pitchFamily="34" charset="0"/>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Arial" panose="020B0604020202020204" pitchFamily="34" charset="0"/>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Arial" panose="020B0604020202020204" pitchFamily="34" charset="0"/>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0011355-E525-F640-CAFB-E51884BF55E0}"/>
              </a:ext>
            </a:extLst>
          </p:cNvPr>
          <p:cNvCxnSpPr>
            <a:cxnSpLocks/>
          </p:cNvCxnSpPr>
          <p:nvPr userDrawn="1"/>
        </p:nvCxnSpPr>
        <p:spPr>
          <a:xfrm>
            <a:off x="792480" y="1172816"/>
            <a:ext cx="106070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Placeholder 8">
            <a:extLst>
              <a:ext uri="{FF2B5EF4-FFF2-40B4-BE49-F238E27FC236}">
                <a16:creationId xmlns:a16="http://schemas.microsoft.com/office/drawing/2014/main" id="{D040D894-D013-699C-E422-A1EB5E2BD225}"/>
              </a:ext>
            </a:extLst>
          </p:cNvPr>
          <p:cNvSpPr>
            <a:spLocks noGrp="1"/>
          </p:cNvSpPr>
          <p:nvPr>
            <p:ph type="title"/>
          </p:nvPr>
        </p:nvSpPr>
        <p:spPr>
          <a:xfrm>
            <a:off x="649359" y="136528"/>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62369312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38" r:id="rId23"/>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8C7B2B-694F-F648-AED3-B48E416983FD}" type="datetimeFigureOut">
              <a:rPr lang="en-VN" smtClean="0"/>
              <a:t>09/10/2025</a:t>
            </a:fld>
            <a:endParaRPr lang="en-V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V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3B47FB-5194-7543-963E-CBFE3F84A0BD}" type="slidenum">
              <a:rPr lang="en-VN" smtClean="0"/>
              <a:t>‹#›</a:t>
            </a:fld>
            <a:endParaRPr lang="en-VN"/>
          </a:p>
        </p:txBody>
      </p:sp>
    </p:spTree>
    <p:extLst>
      <p:ext uri="{BB962C8B-B14F-4D97-AF65-F5344CB8AC3E}">
        <p14:creationId xmlns:p14="http://schemas.microsoft.com/office/powerpoint/2010/main" val="2863670398"/>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A02848-0D1A-6440-6F42-0091E3F1A3C5}"/>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B4CE7B-0786-75D7-8576-CEF34EE26DD6}"/>
              </a:ext>
            </a:extLst>
          </p:cNvPr>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73E3CB-8722-9182-D0F1-8F22B9B7FE6D}"/>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912B747-2153-458C-8B5D-2E43E8D09DB7}" type="datetimeFigureOut">
              <a:rPr lang="en-US" smtClean="0"/>
              <a:t>9/10/2025</a:t>
            </a:fld>
            <a:endParaRPr lang="en-US"/>
          </a:p>
        </p:txBody>
      </p:sp>
      <p:sp>
        <p:nvSpPr>
          <p:cNvPr id="5" name="Footer Placeholder 4">
            <a:extLst>
              <a:ext uri="{FF2B5EF4-FFF2-40B4-BE49-F238E27FC236}">
                <a16:creationId xmlns:a16="http://schemas.microsoft.com/office/drawing/2014/main" id="{22970426-9102-6D6F-C008-B1C0CDAE7AC8}"/>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D0F075E-9558-170B-9CCA-A2B96B2BE83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9D820E6-3470-400D-9241-64EEDC9DC5EA}" type="slidenum">
              <a:rPr lang="en-US" smtClean="0"/>
              <a:t>‹#›</a:t>
            </a:fld>
            <a:endParaRPr lang="en-US"/>
          </a:p>
        </p:txBody>
      </p:sp>
    </p:spTree>
    <p:extLst>
      <p:ext uri="{BB962C8B-B14F-4D97-AF65-F5344CB8AC3E}">
        <p14:creationId xmlns:p14="http://schemas.microsoft.com/office/powerpoint/2010/main" val="1076188572"/>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40" r:id="rId21"/>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hyperlink" Target="https://journals.viamedica.pl/polish_heart_journal/issue/view/6191" TargetMode="External"/><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hyperlink" Target="https://www.lung.org/lung-health-diseases/lung-disease-lookup/pneumonia/pneumococcal" TargetMode="Externa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hyperlink" Target="https://www.thelancet.com/journals/lancet/article/PIIS0140-6736%2812%2961266-5/fulltext" TargetMode="External"/><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hyperlink" Target="https://www.ncbi.nlm.nih.gov/pubmed/?term=Kyt%C3%B6maa+S,JAMA+Cardiol.+2019+Mar+27"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29.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hyperlink" Target="https://www.cdc.gov/flu/about/disease/65over.htm" TargetMode="External"/><Relationship Id="rId7"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hyperlink" Target="http://www.cdc.gov/flu/keyfacts.htm" TargetMode="External"/><Relationship Id="rId4" Type="http://schemas.openxmlformats.org/officeDocument/2006/relationships/hyperlink" Target="http://www.cdc.gov/flu/about/disease/us_flu-related_deaths.ht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4.svg"/></Relationships>
</file>

<file path=ppt/slides/_rels/slide26.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1.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hyperlink" Target="https://immunityageing.biomedcentral.com/articles/10.1186/s12979-019-0164-9" TargetMode="External"/><Relationship Id="rId2" Type="http://schemas.openxmlformats.org/officeDocument/2006/relationships/notesSlide" Target="../notesSlides/notesSlide6.xml"/><Relationship Id="rId1" Type="http://schemas.openxmlformats.org/officeDocument/2006/relationships/slideLayout" Target="../slideLayouts/slideLayout113.xml"/><Relationship Id="rId6" Type="http://schemas.openxmlformats.org/officeDocument/2006/relationships/image" Target="../media/image38.svg"/><Relationship Id="rId11" Type="http://schemas.openxmlformats.org/officeDocument/2006/relationships/hyperlink" Target="https://pubmed.ncbi.nlm.nih.gov/18046878/" TargetMode="External"/><Relationship Id="rId5" Type="http://schemas.openxmlformats.org/officeDocument/2006/relationships/image" Target="../media/image37.png"/><Relationship Id="rId10" Type="http://schemas.openxmlformats.org/officeDocument/2006/relationships/hyperlink" Target="https://journals.lww.com/infectdis/pages/articleviewer.aspx?year=2016&amp;issue=11000&amp;article=00002&amp;type=Fulltext" TargetMode="External"/><Relationship Id="rId4" Type="http://schemas.openxmlformats.org/officeDocument/2006/relationships/image" Target="../media/image36.svg"/><Relationship Id="rId9" Type="http://schemas.openxmlformats.org/officeDocument/2006/relationships/hyperlink" Target="https://www.mdpi.com/2076-393X/9/6/624"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link.springer.com/article/10.1007/s40121-020-00383-6" TargetMode="External"/><Relationship Id="rId2" Type="http://schemas.openxmlformats.org/officeDocument/2006/relationships/notesSlide" Target="../notesSlides/notesSlide7.xml"/><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8" Type="http://schemas.openxmlformats.org/officeDocument/2006/relationships/hyperlink" Target="https://link.springer.com/article/10.1007/s40266-015-0258-9" TargetMode="External"/><Relationship Id="rId3" Type="http://schemas.openxmlformats.org/officeDocument/2006/relationships/image" Target="../media/image42.png"/><Relationship Id="rId7" Type="http://schemas.openxmlformats.org/officeDocument/2006/relationships/hyperlink" Target="https://journals.lww.com/infectdis/pages/articleviewer.aspx?year=2016&amp;issue=11000&amp;article=00002&amp;type=Fulltext" TargetMode="External"/><Relationship Id="rId12"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14.xml"/><Relationship Id="rId6" Type="http://schemas.openxmlformats.org/officeDocument/2006/relationships/image" Target="../media/image45.svg"/><Relationship Id="rId11" Type="http://schemas.openxmlformats.org/officeDocument/2006/relationships/hyperlink" Target="https://www.ncbi.nlm.nih.gov/pmc/articles/PMC7173590/" TargetMode="External"/><Relationship Id="rId5" Type="http://schemas.openxmlformats.org/officeDocument/2006/relationships/image" Target="../media/image44.png"/><Relationship Id="rId10" Type="http://schemas.openxmlformats.org/officeDocument/2006/relationships/hyperlink" Target="https://academic.oup.com/ofid/article/7/12/ofaa546/5976985?login=false" TargetMode="External"/><Relationship Id="rId4" Type="http://schemas.openxmlformats.org/officeDocument/2006/relationships/image" Target="../media/image43.svg"/><Relationship Id="rId9" Type="http://schemas.openxmlformats.org/officeDocument/2006/relationships/hyperlink" Target="https://www.ncbi.nlm.nih.gov/books/NBK2479/"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2.xml"/></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2.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21.xml"/><Relationship Id="rId4" Type="http://schemas.openxmlformats.org/officeDocument/2006/relationships/image" Target="../media/image50.svg"/></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121.xml"/></Relationships>
</file>

<file path=ppt/slides/_rels/slide3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121.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55.sv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svg"/></Relationships>
</file>

<file path=ppt/slides/_rels/slide3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image" Target="../media/image62.png"/><Relationship Id="rId1" Type="http://schemas.openxmlformats.org/officeDocument/2006/relationships/slideLayout" Target="../slideLayouts/slideLayout6.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3" Type="http://schemas.openxmlformats.org/officeDocument/2006/relationships/image" Target="../media/image74.svg"/><Relationship Id="rId7" Type="http://schemas.openxmlformats.org/officeDocument/2006/relationships/image" Target="../media/image78.svg"/><Relationship Id="rId12" Type="http://schemas.openxmlformats.org/officeDocument/2006/relationships/image" Target="../media/image83.png"/><Relationship Id="rId2" Type="http://schemas.openxmlformats.org/officeDocument/2006/relationships/image" Target="../media/image73.png"/><Relationship Id="rId1" Type="http://schemas.openxmlformats.org/officeDocument/2006/relationships/slideLayout" Target="../slideLayouts/slideLayout44.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5.png"/></Relationships>
</file>

<file path=ppt/slides/_rels/slide42.xml.rels><?xml version="1.0" encoding="UTF-8" standalone="yes"?>
<Relationships xmlns="http://schemas.openxmlformats.org/package/2006/relationships"><Relationship Id="rId8" Type="http://schemas.openxmlformats.org/officeDocument/2006/relationships/hyperlink" Target="https://ilcuk.org.uk/preventionindex/top-index-findings/" TargetMode="External"/><Relationship Id="rId3" Type="http://schemas.openxmlformats.org/officeDocument/2006/relationships/image" Target="../media/image87.svg"/><Relationship Id="rId7" Type="http://schemas.openxmlformats.org/officeDocument/2006/relationships/image" Target="../media/image91.svg"/><Relationship Id="rId2" Type="http://schemas.openxmlformats.org/officeDocument/2006/relationships/image" Target="../media/image86.png"/><Relationship Id="rId1" Type="http://schemas.openxmlformats.org/officeDocument/2006/relationships/slideLayout" Target="../slideLayouts/slideLayout44.xml"/><Relationship Id="rId6" Type="http://schemas.openxmlformats.org/officeDocument/2006/relationships/image" Target="../media/image90.png"/><Relationship Id="rId5" Type="http://schemas.openxmlformats.org/officeDocument/2006/relationships/image" Target="../media/image89.svg"/><Relationship Id="rId4" Type="http://schemas.openxmlformats.org/officeDocument/2006/relationships/image" Target="../media/image88.png"/></Relationships>
</file>

<file path=ppt/slides/_rels/slide4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image" Target="../media/image92.png"/><Relationship Id="rId1" Type="http://schemas.openxmlformats.org/officeDocument/2006/relationships/slideLayout" Target="../slideLayouts/slideLayout44.xml"/><Relationship Id="rId6" Type="http://schemas.microsoft.com/office/2007/relationships/hdphoto" Target="../media/hdphoto2.wdp"/><Relationship Id="rId5" Type="http://schemas.openxmlformats.org/officeDocument/2006/relationships/image" Target="../media/image94.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96.png"/></Relationships>
</file>

<file path=ppt/slides/_rels/slide44.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diagramLayout" Target="../diagrams/layout2.xml"/><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diagramData" Target="../diagrams/data2.xml"/><Relationship Id="rId1" Type="http://schemas.openxmlformats.org/officeDocument/2006/relationships/slideLayout" Target="../slideLayouts/slideLayout44.xml"/><Relationship Id="rId6" Type="http://schemas.microsoft.com/office/2007/relationships/diagramDrawing" Target="../diagrams/drawing2.xml"/><Relationship Id="rId11" Type="http://schemas.openxmlformats.org/officeDocument/2006/relationships/image" Target="../media/image101.png"/><Relationship Id="rId5" Type="http://schemas.openxmlformats.org/officeDocument/2006/relationships/diagramColors" Target="../diagrams/colors2.xml"/><Relationship Id="rId10" Type="http://schemas.openxmlformats.org/officeDocument/2006/relationships/image" Target="../media/image100.svg"/><Relationship Id="rId4" Type="http://schemas.openxmlformats.org/officeDocument/2006/relationships/diagramQuickStyle" Target="../diagrams/quickStyle2.xml"/><Relationship Id="rId9" Type="http://schemas.openxmlformats.org/officeDocument/2006/relationships/image" Target="../media/image99.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45.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45.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49.xml.rels><?xml version="1.0" encoding="UTF-8" standalone="yes"?>
<Relationships xmlns="http://schemas.openxmlformats.org/package/2006/relationships"><Relationship Id="rId3" Type="http://schemas.openxmlformats.org/officeDocument/2006/relationships/hyperlink" Target="https://www.cdc.gov/mmwr/volumes/72/rr/pdfs/rr7203a1-H.pdf" TargetMode="External"/><Relationship Id="rId2" Type="http://schemas.openxmlformats.org/officeDocument/2006/relationships/image" Target="../media/image113.png"/><Relationship Id="rId1" Type="http://schemas.openxmlformats.org/officeDocument/2006/relationships/slideLayout" Target="../slideLayouts/slideLayout67.xml"/><Relationship Id="rId5" Type="http://schemas.openxmlformats.org/officeDocument/2006/relationships/image" Target="../media/image114.png"/><Relationship Id="rId4" Type="http://schemas.openxmlformats.org/officeDocument/2006/relationships/hyperlink" Target="https://www.cdc.gov/mmwr/volumes/74/wr/pdfs/mm7401a1-H.pdf"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hyperlink" Target="https://www.cdc.gov/pneumococcal/hcp/vaccine-recommendations/index.html" TargetMode="Externa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67.xml"/><Relationship Id="rId4" Type="http://schemas.openxmlformats.org/officeDocument/2006/relationships/hyperlink" Target="https://www.cdc.gov/mmwr/volumes/74/wr/pdfs/mm7401a1-H.pdf" TargetMode="External"/></Relationships>
</file>

<file path=ppt/slides/_rels/slide52.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18.png"/><Relationship Id="rId7"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88.xml"/><Relationship Id="rId6" Type="http://schemas.openxmlformats.org/officeDocument/2006/relationships/image" Target="../media/image120.png"/><Relationship Id="rId5" Type="http://schemas.microsoft.com/office/2007/relationships/hdphoto" Target="../media/hdphoto5.wdp"/><Relationship Id="rId10" Type="http://schemas.openxmlformats.org/officeDocument/2006/relationships/image" Target="../media/image123.png"/><Relationship Id="rId4" Type="http://schemas.openxmlformats.org/officeDocument/2006/relationships/image" Target="../media/image119.png"/><Relationship Id="rId9" Type="http://schemas.openxmlformats.org/officeDocument/2006/relationships/image" Target="../media/image122.png"/></Relationships>
</file>

<file path=ppt/slides/_rels/slide53.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12.xml"/><Relationship Id="rId1" Type="http://schemas.openxmlformats.org/officeDocument/2006/relationships/slideLayout" Target="../slideLayouts/slideLayout94.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3.xml"/><Relationship Id="rId1" Type="http://schemas.openxmlformats.org/officeDocument/2006/relationships/slideLayout" Target="../slideLayouts/slideLayout91.xml"/><Relationship Id="rId4" Type="http://schemas.openxmlformats.org/officeDocument/2006/relationships/image" Target="../media/image130.png"/></Relationships>
</file>

<file path=ppt/slides/_rels/slide5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54.xml"/></Relationships>
</file>

<file path=ppt/slides/_rels/slide5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hyperlink" Target="http://www.who.int/immunization/sage/meetings/2014/april/1_Pertussis_background_FINAL4_web.pdf" TargetMode="External"/><Relationship Id="rId1" Type="http://schemas.openxmlformats.org/officeDocument/2006/relationships/slideLayout" Target="../slideLayouts/slideLayout54.xml"/><Relationship Id="rId5" Type="http://schemas.openxmlformats.org/officeDocument/2006/relationships/image" Target="../media/image137.jpeg"/><Relationship Id="rId4" Type="http://schemas.openxmlformats.org/officeDocument/2006/relationships/image" Target="../media/image136.png"/></Relationships>
</file>

<file path=ppt/slides/_rels/slide5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7.xml"/><Relationship Id="rId4" Type="http://schemas.openxmlformats.org/officeDocument/2006/relationships/image" Target="../media/image140.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hyperlink" Target="https://www.who.int/news-room/fact-sheets/detail/the-top-10-causes-of-death#:~:text=Leading%20causes%20of%20death%20globally,of%20deaths%20globally%20in%202019" TargetMode="External"/><Relationship Id="rId3" Type="http://schemas.openxmlformats.org/officeDocument/2006/relationships/notesSlide" Target="../notesSlides/notesSlide2.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8" Type="http://schemas.openxmlformats.org/officeDocument/2006/relationships/hyperlink" Target="https://www.excel-medical.com/1-million-people-in-the-u-s-hospitalized-each-year-with-community-acquired-pneumonia/" TargetMode="External"/><Relationship Id="rId3" Type="http://schemas.openxmlformats.org/officeDocument/2006/relationships/oleObject" Target="../embeddings/oleObject14.bin"/><Relationship Id="rId7" Type="http://schemas.openxmlformats.org/officeDocument/2006/relationships/image" Target="../media/image16.png"/><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hyperlink" Target="https://www.theayurveda.org/ayurveda/respiratory-tract-infection-symptoms-and-treatment" TargetMode="Externa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8"/>
          <p:cNvSpPr txBox="1"/>
          <p:nvPr/>
        </p:nvSpPr>
        <p:spPr>
          <a:xfrm>
            <a:off x="412897" y="788132"/>
            <a:ext cx="11068493" cy="1949856"/>
          </a:xfrm>
          <a:prstGeom prst="rect">
            <a:avLst/>
          </a:prstGeom>
        </p:spPr>
        <p:txBody>
          <a:bodyPr lIns="28402" tIns="28402" rIns="28402" bIns="28402" rtlCol="0" anchor="ctr"/>
          <a:lstStyle/>
          <a:p>
            <a:pPr algn="ctr"/>
            <a:r>
              <a:rPr lang="vi-VN" sz="3800" b="1" dirty="0">
                <a:solidFill>
                  <a:srgbClr val="002060"/>
                </a:solidFill>
                <a:latin typeface="Calibri" panose="020F0502020204030204" pitchFamily="34" charset="0"/>
                <a:ea typeface="Calibri" panose="020F0502020204030204" pitchFamily="34" charset="0"/>
                <a:cs typeface="Calibri" panose="020F0502020204030204" pitchFamily="34" charset="0"/>
              </a:rPr>
              <a:t>Vai trò của vắc-xin trong phòng ngừa bệnh lý </a:t>
            </a:r>
            <a:endParaRPr lang="en-US" sz="3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a:r>
              <a:rPr lang="vi-VN" sz="3800" b="1" dirty="0">
                <a:solidFill>
                  <a:srgbClr val="002060"/>
                </a:solidFill>
                <a:latin typeface="Calibri" panose="020F0502020204030204" pitchFamily="34" charset="0"/>
                <a:ea typeface="Calibri" panose="020F0502020204030204" pitchFamily="34" charset="0"/>
                <a:cs typeface="Calibri" panose="020F0502020204030204" pitchFamily="34" charset="0"/>
              </a:rPr>
              <a:t>tim mạch ở người cao tuổi</a:t>
            </a:r>
            <a:r>
              <a:rPr lang="en-US" sz="3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p>
          <a:p>
            <a:pPr algn="ctr"/>
            <a:r>
              <a:rPr lang="vi-VN" sz="3800" b="1" dirty="0">
                <a:solidFill>
                  <a:srgbClr val="FF0000"/>
                </a:solidFill>
                <a:latin typeface="Calibri" panose="020F0502020204030204" pitchFamily="34" charset="0"/>
                <a:ea typeface="Calibri" panose="020F0502020204030204" pitchFamily="34" charset="0"/>
                <a:cs typeface="Calibri" panose="020F0502020204030204" pitchFamily="34" charset="0"/>
              </a:rPr>
              <a:t>Cập nhật và chiến lược phòng ngừa</a:t>
            </a:r>
          </a:p>
        </p:txBody>
      </p:sp>
      <p:sp>
        <p:nvSpPr>
          <p:cNvPr id="2" name="Text Placeholder 5">
            <a:extLst>
              <a:ext uri="{FF2B5EF4-FFF2-40B4-BE49-F238E27FC236}">
                <a16:creationId xmlns:a16="http://schemas.microsoft.com/office/drawing/2014/main" id="{B83F641D-AE30-CC85-4799-982A84DED74E}"/>
              </a:ext>
            </a:extLst>
          </p:cNvPr>
          <p:cNvSpPr txBox="1">
            <a:spLocks/>
          </p:cNvSpPr>
          <p:nvPr/>
        </p:nvSpPr>
        <p:spPr>
          <a:xfrm>
            <a:off x="1520456" y="3812558"/>
            <a:ext cx="8623003" cy="2110343"/>
          </a:xfrm>
          <a:prstGeom prst="rect">
            <a:avLst/>
          </a:prstGeom>
        </p:spPr>
        <p:txBody>
          <a:bodyPr/>
          <a:lstStyle>
            <a:lvl1pPr marL="0" indent="0" algn="l" defTabSz="914377" rtl="0" eaLnBrk="1" latinLnBrk="0" hangingPunct="1">
              <a:lnSpc>
                <a:spcPct val="125000"/>
              </a:lnSpc>
              <a:spcBef>
                <a:spcPts val="0"/>
              </a:spcBef>
              <a:buFont typeface="Arial" panose="020B0604020202020204" pitchFamily="34" charset="0"/>
              <a:buNone/>
              <a:defRPr sz="1867" b="0" i="0" kern="120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302252" indent="-302252" algn="l" defTabSz="914377" rtl="0" eaLnBrk="1" latinLnBrk="0" hangingPunct="1">
              <a:lnSpc>
                <a:spcPct val="125000"/>
              </a:lnSpc>
              <a:spcBef>
                <a:spcPts val="0"/>
              </a:spcBef>
              <a:buClr>
                <a:schemeClr val="accent2"/>
              </a:buClr>
              <a:buFontTx/>
              <a:buBlip>
                <a:blip r:embed="rId2"/>
              </a:buBlip>
              <a:defRPr sz="1867" b="0" i="0" kern="1200">
                <a:solidFill>
                  <a:schemeClr val="tx1"/>
                </a:solidFill>
                <a:latin typeface="Calibri" panose="020F0502020204030204" pitchFamily="34" charset="0"/>
                <a:ea typeface="Verdana" panose="020B0604030504040204" pitchFamily="34" charset="0"/>
                <a:cs typeface="Calibri" panose="020F0502020204030204" pitchFamily="34" charset="0"/>
              </a:defRPr>
            </a:lvl2pPr>
            <a:lvl3pPr marL="609585" indent="-302252" algn="l" defTabSz="914377" rtl="0" eaLnBrk="1" latinLnBrk="0" hangingPunct="1">
              <a:lnSpc>
                <a:spcPct val="125000"/>
              </a:lnSpc>
              <a:spcBef>
                <a:spcPts val="0"/>
              </a:spcBef>
              <a:buFontTx/>
              <a:buBlip>
                <a:blip r:embed="rId2"/>
              </a:buBlip>
              <a:defRPr sz="1867" b="0" i="0" kern="1200">
                <a:solidFill>
                  <a:schemeClr val="tx1"/>
                </a:solidFill>
                <a:latin typeface="Calibri" panose="020F0502020204030204" pitchFamily="34" charset="0"/>
                <a:ea typeface="Verdana" panose="020B0604030504040204" pitchFamily="34" charset="0"/>
                <a:cs typeface="Calibri" panose="020F0502020204030204" pitchFamily="34" charset="0"/>
              </a:defRPr>
            </a:lvl3pPr>
            <a:lvl4pPr marL="911837" indent="-302252" algn="l" defTabSz="914377" rtl="0" eaLnBrk="1" latinLnBrk="0" hangingPunct="1">
              <a:lnSpc>
                <a:spcPct val="125000"/>
              </a:lnSpc>
              <a:spcBef>
                <a:spcPts val="0"/>
              </a:spcBef>
              <a:buFontTx/>
              <a:buBlip>
                <a:blip r:embed="rId2"/>
              </a:buBlip>
              <a:defRPr sz="1867" b="0" i="0" kern="1200">
                <a:solidFill>
                  <a:schemeClr val="tx1"/>
                </a:solidFill>
                <a:latin typeface="Calibri" panose="020F0502020204030204" pitchFamily="34" charset="0"/>
                <a:ea typeface="Verdana" panose="020B0604030504040204" pitchFamily="34" charset="0"/>
                <a:cs typeface="Calibri" panose="020F050202020403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867" b="1" i="0" kern="1200">
                <a:solidFill>
                  <a:schemeClr val="accent1"/>
                </a:solidFill>
                <a:latin typeface="Calibri" panose="020F0502020204030204" pitchFamily="34" charset="0"/>
                <a:ea typeface="Verdana" panose="020B0604030504040204" pitchFamily="34" charset="0"/>
                <a:cs typeface="Calibri" panose="020F050202020403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vi-VN" sz="2800" b="1" dirty="0">
                <a:solidFill>
                  <a:srgbClr val="002060"/>
                </a:solidFill>
              </a:rPr>
              <a:t>PGS.TS.BS. </a:t>
            </a:r>
            <a:r>
              <a:rPr lang="en-US" sz="2800" b="1" dirty="0">
                <a:solidFill>
                  <a:srgbClr val="002060"/>
                </a:solidFill>
              </a:rPr>
              <a:t>Nguyễn Văn </a:t>
            </a:r>
            <a:r>
              <a:rPr lang="vi-VN" sz="2800" b="1" dirty="0">
                <a:solidFill>
                  <a:srgbClr val="002060"/>
                </a:solidFill>
              </a:rPr>
              <a:t>Tân</a:t>
            </a:r>
          </a:p>
          <a:p>
            <a:pPr algn="ctr"/>
            <a:r>
              <a:rPr lang="vi-VN" sz="2800" dirty="0">
                <a:solidFill>
                  <a:srgbClr val="002060"/>
                </a:solidFill>
              </a:rPr>
              <a:t>FASCC, FAPSIC, FSCAI, FESC</a:t>
            </a:r>
            <a:endParaRPr lang="en-US" sz="2800" dirty="0">
              <a:solidFill>
                <a:srgbClr val="002060"/>
              </a:solidFill>
            </a:endParaRPr>
          </a:p>
          <a:p>
            <a:pPr algn="ctr"/>
            <a:r>
              <a:rPr lang="vi-VN" sz="2200" dirty="0">
                <a:solidFill>
                  <a:srgbClr val="002060"/>
                </a:solidFill>
              </a:rPr>
              <a:t>Trưởng Bộ môn Lão khoa, Đại Học Y Dược TP HCM</a:t>
            </a:r>
            <a:endParaRPr lang="en-US" sz="2200" dirty="0">
              <a:solidFill>
                <a:srgbClr val="002060"/>
              </a:solidFill>
            </a:endParaRPr>
          </a:p>
          <a:p>
            <a:pPr algn="ctr"/>
            <a:r>
              <a:rPr lang="vi-VN" sz="2200" dirty="0">
                <a:solidFill>
                  <a:srgbClr val="002060"/>
                </a:solidFill>
              </a:rPr>
              <a:t>Trưởng khoa Tim Mạch Can Thiệp, Bệnh viện Thống Nhất</a:t>
            </a:r>
            <a:endParaRPr lang="en-US" sz="2200" dirty="0">
              <a:solidFill>
                <a:srgbClr val="002060"/>
              </a:solidFill>
            </a:endParaRPr>
          </a:p>
          <a:p>
            <a:pPr algn="ctr"/>
            <a:endParaRPr lang="en-US" sz="2100" b="1" dirty="0">
              <a:solidFill>
                <a:srgbClr val="002060"/>
              </a:solidFill>
            </a:endParaRPr>
          </a:p>
        </p:txBody>
      </p:sp>
      <p:sp>
        <p:nvSpPr>
          <p:cNvPr id="9" name="TextBox 8">
            <a:extLst>
              <a:ext uri="{FF2B5EF4-FFF2-40B4-BE49-F238E27FC236}">
                <a16:creationId xmlns:a16="http://schemas.microsoft.com/office/drawing/2014/main" id="{20B14323-BD77-1924-4CC6-1CF454360D41}"/>
              </a:ext>
            </a:extLst>
          </p:cNvPr>
          <p:cNvSpPr txBox="1"/>
          <p:nvPr/>
        </p:nvSpPr>
        <p:spPr>
          <a:xfrm>
            <a:off x="4630687" y="6392974"/>
            <a:ext cx="2865266" cy="307777"/>
          </a:xfrm>
          <a:prstGeom prst="rect">
            <a:avLst/>
          </a:prstGeom>
          <a:noFill/>
        </p:spPr>
        <p:txBody>
          <a:bodyPr wrap="square">
            <a:spAutoFit/>
          </a:bodyPr>
          <a:lstStyle/>
          <a:p>
            <a:r>
              <a:rPr lang="en-US" sz="1400" b="0" i="0" dirty="0">
                <a:solidFill>
                  <a:srgbClr val="1D1D1D"/>
                </a:solidFill>
                <a:effectLst/>
                <a:latin typeface="Arial" panose="020B0604020202020204" pitchFamily="34" charset="0"/>
              </a:rPr>
              <a:t>PP-A1G-VNM-0087</a:t>
            </a:r>
            <a:endParaRPr lang="en-US" sz="1400" dirty="0"/>
          </a:p>
        </p:txBody>
      </p:sp>
    </p:spTree>
    <p:extLst>
      <p:ext uri="{BB962C8B-B14F-4D97-AF65-F5344CB8AC3E}">
        <p14:creationId xmlns:p14="http://schemas.microsoft.com/office/powerpoint/2010/main" val="2156130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855;p119">
            <a:extLst>
              <a:ext uri="{FF2B5EF4-FFF2-40B4-BE49-F238E27FC236}">
                <a16:creationId xmlns:a16="http://schemas.microsoft.com/office/drawing/2014/main" id="{36150494-A2AA-0BBA-6EE5-B4C673ADCFF3}"/>
              </a:ext>
            </a:extLst>
          </p:cNvPr>
          <p:cNvSpPr txBox="1">
            <a:spLocks/>
          </p:cNvSpPr>
          <p:nvPr/>
        </p:nvSpPr>
        <p:spPr>
          <a:xfrm>
            <a:off x="627322" y="199505"/>
            <a:ext cx="10568762" cy="830210"/>
          </a:xfrm>
          <a:prstGeom prst="rect">
            <a:avLst/>
          </a:prstGeom>
          <a:noFill/>
          <a:ln>
            <a:noFill/>
          </a:ln>
        </p:spPr>
        <p:txBody>
          <a:bodyPr spcFirstLastPara="1" wrap="square" lIns="91425" tIns="45700" rIns="91425" bIns="45700" anchor="ctr" anchorCtr="0">
            <a:noAutofit/>
          </a:bodyPr>
          <a:lstStyle>
            <a:lvl1pPr algn="l" defTabSz="914400" rtl="0" eaLnBrk="1" latinLnBrk="0" hangingPunct="1">
              <a:lnSpc>
                <a:spcPct val="85000"/>
              </a:lnSpc>
              <a:spcBef>
                <a:spcPts val="0"/>
              </a:spcBef>
              <a:buNone/>
              <a:defRPr lang="en-US" sz="2700" b="1" kern="1200" dirty="0">
                <a:solidFill>
                  <a:schemeClr val="accent1">
                    <a:lumMod val="75000"/>
                  </a:schemeClr>
                </a:solidFill>
                <a:latin typeface="Noto Sans" panose="020B0502040504020204" pitchFamily="34"/>
                <a:ea typeface="Noto Sans" panose="020B0502040504020204" pitchFamily="34"/>
                <a:cs typeface="Noto Sans" panose="020B0502040504020204" pitchFamily="34"/>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lang="vi-VN" sz="3200" dirty="0">
                <a:solidFill>
                  <a:srgbClr val="002060"/>
                </a:solidFill>
                <a:latin typeface="Calibri" panose="020F0502020204030204" pitchFamily="34" charset="0"/>
                <a:ea typeface="Calibri" panose="020F0502020204030204" pitchFamily="34" charset="0"/>
                <a:cs typeface="Calibri" panose="020F0502020204030204" pitchFamily="34" charset="0"/>
              </a:rPr>
              <a:t>Các yếu tố làm gia tăng bệnh phế cầu xâm lấn (IPD) nặng</a:t>
            </a:r>
            <a:endParaRPr kumimoji="0" lang="en-GB"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384D45A8-0A88-F5BD-5E25-4A2036CD6822}"/>
              </a:ext>
            </a:extLst>
          </p:cNvPr>
          <p:cNvPicPr>
            <a:picLocks noChangeAspect="1"/>
          </p:cNvPicPr>
          <p:nvPr/>
        </p:nvPicPr>
        <p:blipFill>
          <a:blip r:embed="rId2"/>
          <a:stretch>
            <a:fillRect/>
          </a:stretch>
        </p:blipFill>
        <p:spPr>
          <a:xfrm>
            <a:off x="435934" y="1221349"/>
            <a:ext cx="11536325" cy="4669087"/>
          </a:xfrm>
          <a:prstGeom prst="rect">
            <a:avLst/>
          </a:prstGeom>
        </p:spPr>
      </p:pic>
      <p:sp>
        <p:nvSpPr>
          <p:cNvPr id="5" name="TextBox 4">
            <a:extLst>
              <a:ext uri="{FF2B5EF4-FFF2-40B4-BE49-F238E27FC236}">
                <a16:creationId xmlns:a16="http://schemas.microsoft.com/office/drawing/2014/main" id="{E950C780-722D-AAD5-E9D7-0FA5F9A2FB47}"/>
              </a:ext>
            </a:extLst>
          </p:cNvPr>
          <p:cNvSpPr txBox="1"/>
          <p:nvPr/>
        </p:nvSpPr>
        <p:spPr>
          <a:xfrm>
            <a:off x="141288" y="6443051"/>
            <a:ext cx="10394905" cy="430887"/>
          </a:xfrm>
          <a:prstGeom prst="rect">
            <a:avLst/>
          </a:prstGeom>
          <a:noFill/>
        </p:spPr>
        <p:txBody>
          <a:bodyPr wrap="square" rtlCol="0">
            <a:spAutoFit/>
          </a:bodyPr>
          <a:lstStyle/>
          <a:p>
            <a:r>
              <a:rPr lang="en-US" sz="1100" dirty="0">
                <a:hlinkClick r:id="rId3"/>
              </a:rPr>
              <a:t>https://journals.viamedica.pl/polish_heart_journal/issue/view/6191</a:t>
            </a:r>
            <a:r>
              <a:rPr lang="en-US" sz="1100" dirty="0"/>
              <a:t> Accessed: September 15 2024</a:t>
            </a:r>
          </a:p>
          <a:p>
            <a:endParaRPr lang="en-US" sz="1100" dirty="0"/>
          </a:p>
        </p:txBody>
      </p:sp>
    </p:spTree>
    <p:extLst>
      <p:ext uri="{BB962C8B-B14F-4D97-AF65-F5344CB8AC3E}">
        <p14:creationId xmlns:p14="http://schemas.microsoft.com/office/powerpoint/2010/main" val="2752911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4810F-8A48-4A76-DDFC-F1EF079B3EDB}"/>
              </a:ext>
            </a:extLst>
          </p:cNvPr>
          <p:cNvSpPr>
            <a:spLocks noGrp="1"/>
          </p:cNvSpPr>
          <p:nvPr>
            <p:ph type="title"/>
          </p:nvPr>
        </p:nvSpPr>
        <p:spPr>
          <a:xfrm>
            <a:off x="838200" y="191386"/>
            <a:ext cx="10515600" cy="1134177"/>
          </a:xfrm>
        </p:spPr>
        <p:txBody>
          <a:bodyPr>
            <a:normAutofit/>
          </a:bodyPr>
          <a:lstStyle/>
          <a:p>
            <a:pPr algn="ctr"/>
            <a:r>
              <a:rPr lang="vi-VN" sz="3600" b="1" dirty="0">
                <a:solidFill>
                  <a:srgbClr val="002060"/>
                </a:solidFill>
                <a:latin typeface="Calibri" panose="020F0502020204030204" pitchFamily="34" charset="0"/>
                <a:ea typeface="Calibri" panose="020F0502020204030204" pitchFamily="34" charset="0"/>
                <a:cs typeface="Calibri" panose="020F0502020204030204" pitchFamily="34" charset="0"/>
              </a:rPr>
              <a:t>Tỉ lệ tử vong liên quan IPD theo nhóm tuổi</a:t>
            </a:r>
            <a:endPar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FCC4E28-C710-6BE8-CCC1-9809BB5521C1}"/>
              </a:ext>
            </a:extLst>
          </p:cNvPr>
          <p:cNvPicPr>
            <a:picLocks noChangeAspect="1"/>
          </p:cNvPicPr>
          <p:nvPr/>
        </p:nvPicPr>
        <p:blipFill>
          <a:blip r:embed="rId2"/>
          <a:stretch>
            <a:fillRect/>
          </a:stretch>
        </p:blipFill>
        <p:spPr>
          <a:xfrm>
            <a:off x="838200" y="1222744"/>
            <a:ext cx="10421679" cy="5026049"/>
          </a:xfrm>
          <a:prstGeom prst="rect">
            <a:avLst/>
          </a:prstGeom>
        </p:spPr>
      </p:pic>
      <p:sp>
        <p:nvSpPr>
          <p:cNvPr id="6" name="TextBox 5">
            <a:extLst>
              <a:ext uri="{FF2B5EF4-FFF2-40B4-BE49-F238E27FC236}">
                <a16:creationId xmlns:a16="http://schemas.microsoft.com/office/drawing/2014/main" id="{E762D228-F0C0-579D-EE97-AD8C4BBFDBEF}"/>
              </a:ext>
            </a:extLst>
          </p:cNvPr>
          <p:cNvSpPr txBox="1"/>
          <p:nvPr/>
        </p:nvSpPr>
        <p:spPr>
          <a:xfrm>
            <a:off x="218900" y="6443224"/>
            <a:ext cx="10628129" cy="307777"/>
          </a:xfrm>
          <a:prstGeom prst="rect">
            <a:avLst/>
          </a:prstGeom>
          <a:noFill/>
        </p:spPr>
        <p:txBody>
          <a:bodyPr wrap="square" rtlCol="0">
            <a:spAutoFit/>
          </a:bodyPr>
          <a:lstStyle/>
          <a:p>
            <a:pPr algn="l"/>
            <a:r>
              <a:rPr lang="en-US" sz="1400" b="0" i="0" u="none" strike="noStrike" baseline="0" dirty="0" err="1">
                <a:latin typeface="Calibri" panose="020F0502020204030204" pitchFamily="34" charset="0"/>
                <a:ea typeface="Calibri" panose="020F0502020204030204" pitchFamily="34" charset="0"/>
                <a:cs typeface="Calibri" panose="020F0502020204030204" pitchFamily="34" charset="0"/>
              </a:rPr>
              <a:t>Skoczyńska</a:t>
            </a:r>
            <a:r>
              <a:rPr lang="en-US" sz="1400" b="0" i="0" u="none" strike="noStrike" baseline="0" dirty="0">
                <a:latin typeface="Calibri" panose="020F0502020204030204" pitchFamily="34" charset="0"/>
                <a:ea typeface="Calibri" panose="020F0502020204030204" pitchFamily="34" charset="0"/>
                <a:cs typeface="Calibri" panose="020F0502020204030204" pitchFamily="34" charset="0"/>
              </a:rPr>
              <a:t> A, </a:t>
            </a:r>
            <a:r>
              <a:rPr lang="en-US" sz="1400" b="0" i="0" u="none" strike="noStrike" baseline="0" dirty="0" err="1">
                <a:latin typeface="Calibri" panose="020F0502020204030204" pitchFamily="34" charset="0"/>
                <a:ea typeface="Calibri" panose="020F0502020204030204" pitchFamily="34" charset="0"/>
                <a:cs typeface="Calibri" panose="020F0502020204030204" pitchFamily="34" charset="0"/>
              </a:rPr>
              <a:t>Gołębiewska</a:t>
            </a:r>
            <a:r>
              <a:rPr lang="en-US" sz="1400" b="0" i="0" u="none" strike="noStrike" baseline="0" dirty="0">
                <a:latin typeface="Calibri" panose="020F0502020204030204" pitchFamily="34" charset="0"/>
                <a:ea typeface="Calibri" panose="020F0502020204030204" pitchFamily="34" charset="0"/>
                <a:cs typeface="Calibri" panose="020F0502020204030204" pitchFamily="34" charset="0"/>
              </a:rPr>
              <a:t> A, </a:t>
            </a:r>
            <a:r>
              <a:rPr lang="en-US" sz="1400" b="0" i="0" u="none" strike="noStrike" baseline="0" dirty="0" err="1">
                <a:latin typeface="Calibri" panose="020F0502020204030204" pitchFamily="34" charset="0"/>
                <a:ea typeface="Calibri" panose="020F0502020204030204" pitchFamily="34" charset="0"/>
                <a:cs typeface="Calibri" panose="020F0502020204030204" pitchFamily="34" charset="0"/>
              </a:rPr>
              <a:t>Wróbel-Pawelczyk</a:t>
            </a:r>
            <a:r>
              <a:rPr lang="en-US" sz="1400" b="0" i="0" u="none" strike="noStrike" baseline="0" dirty="0">
                <a:latin typeface="Calibri" panose="020F0502020204030204" pitchFamily="34" charset="0"/>
                <a:ea typeface="Calibri" panose="020F0502020204030204" pitchFamily="34" charset="0"/>
                <a:cs typeface="Calibri" panose="020F0502020204030204" pitchFamily="34" charset="0"/>
              </a:rPr>
              <a:t> I, et al. Invasive pneumococcal</a:t>
            </a:r>
            <a:r>
              <a:rPr lang="vi-VN" sz="1400" b="0" i="0" u="none" strike="noStrike" baseline="0" dirty="0">
                <a:latin typeface="Calibri" panose="020F0502020204030204" pitchFamily="34" charset="0"/>
                <a:ea typeface="Calibri" panose="020F0502020204030204" pitchFamily="34" charset="0"/>
                <a:cs typeface="Calibri" panose="020F0502020204030204" pitchFamily="34" charset="0"/>
              </a:rPr>
              <a:t> </a:t>
            </a:r>
            <a:r>
              <a:rPr lang="en-US" sz="1400" b="0" i="0" u="none" strike="noStrike" baseline="0" dirty="0">
                <a:latin typeface="Calibri" panose="020F0502020204030204" pitchFamily="34" charset="0"/>
                <a:ea typeface="Calibri" panose="020F0502020204030204" pitchFamily="34" charset="0"/>
                <a:cs typeface="Calibri" panose="020F0502020204030204" pitchFamily="34" charset="0"/>
              </a:rPr>
              <a:t>disease in Poland in 2021 [in Polish]. KOROUN. 2022</a:t>
            </a:r>
            <a:endParaRPr lang="en-US" sz="1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0108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Mức</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tăng</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nguy</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cơ</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mắc</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viêm</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phổi</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a:t>
            </a:r>
            <a:r>
              <a:rPr lang="en-US" sz="36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phế</a:t>
            </a:r>
            <a:r>
              <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sym typeface="+mn-ea"/>
              </a:rPr>
              <a:t> cầu</a:t>
            </a:r>
            <a:endParaRPr lang="en-US" sz="36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475544801"/>
              </p:ext>
            </p:extLst>
          </p:nvPr>
        </p:nvGraphicFramePr>
        <p:xfrm>
          <a:off x="838200" y="2082800"/>
          <a:ext cx="10518987" cy="3324860"/>
        </p:xfrm>
        <a:graphic>
          <a:graphicData uri="http://schemas.openxmlformats.org/drawingml/2006/table">
            <a:tbl>
              <a:tblPr lastRow="1">
                <a:tableStyleId>{8FD4443E-F989-4FC4-A0C8-D5A2AF1F390B}</a:tableStyleId>
              </a:tblPr>
              <a:tblGrid>
                <a:gridCol w="3268345">
                  <a:extLst>
                    <a:ext uri="{9D8B030D-6E8A-4147-A177-3AD203B41FA5}">
                      <a16:colId xmlns:a16="http://schemas.microsoft.com/office/drawing/2014/main" val="20000"/>
                    </a:ext>
                  </a:extLst>
                </a:gridCol>
                <a:gridCol w="2337012">
                  <a:extLst>
                    <a:ext uri="{9D8B030D-6E8A-4147-A177-3AD203B41FA5}">
                      <a16:colId xmlns:a16="http://schemas.microsoft.com/office/drawing/2014/main" val="20001"/>
                    </a:ext>
                  </a:extLst>
                </a:gridCol>
                <a:gridCol w="2327275">
                  <a:extLst>
                    <a:ext uri="{9D8B030D-6E8A-4147-A177-3AD203B41FA5}">
                      <a16:colId xmlns:a16="http://schemas.microsoft.com/office/drawing/2014/main" val="20002"/>
                    </a:ext>
                  </a:extLst>
                </a:gridCol>
                <a:gridCol w="2586355">
                  <a:extLst>
                    <a:ext uri="{9D8B030D-6E8A-4147-A177-3AD203B41FA5}">
                      <a16:colId xmlns:a16="http://schemas.microsoft.com/office/drawing/2014/main" val="20003"/>
                    </a:ext>
                  </a:extLst>
                </a:gridCol>
              </a:tblGrid>
              <a:tr h="640080">
                <a:tc>
                  <a:txBody>
                    <a:bodyPr/>
                    <a:lstStyle/>
                    <a:p>
                      <a:pPr algn="ctr" fontAlgn="auto">
                        <a:lnSpc>
                          <a:spcPct val="125000"/>
                        </a:lnSpc>
                        <a:buNone/>
                      </a:pPr>
                      <a:r>
                        <a:rPr lang="en-US" sz="3200"/>
                        <a:t>Tuổi</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18 - 49</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50 - 64</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 65</a:t>
                      </a:r>
                      <a:endParaRPr lang="en-US" sz="3200">
                        <a:latin typeface="Calibri Light" panose="020F0302020204030204" charset="0"/>
                        <a:cs typeface="Calibri Light" panose="020F0302020204030204" charset="0"/>
                      </a:endParaRPr>
                    </a:p>
                  </a:txBody>
                  <a:tcPr/>
                </a:tc>
                <a:extLst>
                  <a:ext uri="{0D108BD9-81ED-4DB2-BD59-A6C34878D82A}">
                    <a16:rowId xmlns:a16="http://schemas.microsoft.com/office/drawing/2014/main" val="10000"/>
                  </a:ext>
                </a:extLst>
              </a:tr>
              <a:tr h="640080">
                <a:tc>
                  <a:txBody>
                    <a:bodyPr/>
                    <a:lstStyle/>
                    <a:p>
                      <a:pPr fontAlgn="auto">
                        <a:lnSpc>
                          <a:spcPct val="125000"/>
                        </a:lnSpc>
                        <a:buNone/>
                      </a:pPr>
                      <a:r>
                        <a:rPr lang="en-US" sz="3200"/>
                        <a:t>Bệnh phổi mạn</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19.1 x</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16.3 x</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9.2 x</a:t>
                      </a:r>
                      <a:endParaRPr lang="en-US" sz="3200">
                        <a:latin typeface="Calibri Light" panose="020F0302020204030204" charset="0"/>
                        <a:cs typeface="Calibri Light" panose="020F0302020204030204" charset="0"/>
                      </a:endParaRPr>
                    </a:p>
                  </a:txBody>
                  <a:tcPr/>
                </a:tc>
                <a:extLst>
                  <a:ext uri="{0D108BD9-81ED-4DB2-BD59-A6C34878D82A}">
                    <a16:rowId xmlns:a16="http://schemas.microsoft.com/office/drawing/2014/main" val="10001"/>
                  </a:ext>
                </a:extLst>
              </a:tr>
              <a:tr h="640080">
                <a:tc>
                  <a:txBody>
                    <a:bodyPr/>
                    <a:lstStyle/>
                    <a:p>
                      <a:pPr fontAlgn="auto">
                        <a:lnSpc>
                          <a:spcPct val="125000"/>
                        </a:lnSpc>
                        <a:buNone/>
                      </a:pPr>
                      <a:r>
                        <a:rPr lang="en-US" sz="3200"/>
                        <a:t>Bệnh tim mạn</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dirty="0"/>
                        <a:t>6.9 x</a:t>
                      </a:r>
                      <a:endParaRPr lang="en-US" sz="3200" dirty="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7.1 x</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4.4 x</a:t>
                      </a:r>
                      <a:endParaRPr lang="en-US" sz="3200">
                        <a:latin typeface="Calibri Light" panose="020F0302020204030204" charset="0"/>
                        <a:cs typeface="Calibri Light" panose="020F0302020204030204" charset="0"/>
                      </a:endParaRPr>
                    </a:p>
                  </a:txBody>
                  <a:tcPr/>
                </a:tc>
                <a:extLst>
                  <a:ext uri="{0D108BD9-81ED-4DB2-BD59-A6C34878D82A}">
                    <a16:rowId xmlns:a16="http://schemas.microsoft.com/office/drawing/2014/main" val="10002"/>
                  </a:ext>
                </a:extLst>
              </a:tr>
              <a:tr h="640080">
                <a:tc>
                  <a:txBody>
                    <a:bodyPr/>
                    <a:lstStyle/>
                    <a:p>
                      <a:pPr fontAlgn="auto">
                        <a:lnSpc>
                          <a:spcPct val="125000"/>
                        </a:lnSpc>
                        <a:buNone/>
                      </a:pPr>
                      <a:r>
                        <a:rPr lang="en-US" sz="3200"/>
                        <a:t>Đái tháo đường</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4.7 x</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4.4 x</a:t>
                      </a:r>
                      <a:endParaRPr lang="en-US" sz="3200">
                        <a:latin typeface="Calibri Light" panose="020F0302020204030204" charset="0"/>
                        <a:cs typeface="Calibri Light" panose="020F0302020204030204" charset="0"/>
                      </a:endParaRPr>
                    </a:p>
                  </a:txBody>
                  <a:tcPr/>
                </a:tc>
                <a:tc>
                  <a:txBody>
                    <a:bodyPr/>
                    <a:lstStyle/>
                    <a:p>
                      <a:pPr algn="ctr" fontAlgn="auto">
                        <a:lnSpc>
                          <a:spcPct val="125000"/>
                        </a:lnSpc>
                        <a:buNone/>
                      </a:pPr>
                      <a:r>
                        <a:rPr lang="en-US" sz="3200"/>
                        <a:t>3.3 x</a:t>
                      </a:r>
                      <a:endParaRPr lang="en-US" sz="3200">
                        <a:latin typeface="Calibri Light" panose="020F0302020204030204" charset="0"/>
                        <a:cs typeface="Calibri Light" panose="020F0302020204030204" charset="0"/>
                      </a:endParaRPr>
                    </a:p>
                  </a:txBody>
                  <a:tcPr/>
                </a:tc>
                <a:extLst>
                  <a:ext uri="{0D108BD9-81ED-4DB2-BD59-A6C34878D82A}">
                    <a16:rowId xmlns:a16="http://schemas.microsoft.com/office/drawing/2014/main" val="10003"/>
                  </a:ext>
                </a:extLst>
              </a:tr>
              <a:tr h="701040">
                <a:tc gridSpan="4">
                  <a:txBody>
                    <a:bodyPr/>
                    <a:lstStyle/>
                    <a:p>
                      <a:pPr algn="ctr" fontAlgn="auto">
                        <a:lnSpc>
                          <a:spcPct val="125000"/>
                        </a:lnSpc>
                        <a:buNone/>
                      </a:pPr>
                      <a:r>
                        <a:rPr lang="en-US" sz="2800" dirty="0" err="1"/>
                        <a:t>Người</a:t>
                      </a:r>
                      <a:r>
                        <a:rPr lang="en-US" sz="2800" dirty="0"/>
                        <a:t> </a:t>
                      </a:r>
                      <a:r>
                        <a:rPr lang="en-US" sz="2800" dirty="0" err="1">
                          <a:sym typeface="+mn-ea"/>
                        </a:rPr>
                        <a:t>tuổi</a:t>
                      </a:r>
                      <a:r>
                        <a:rPr lang="en-US" sz="2800" dirty="0">
                          <a:sym typeface="+mn-ea"/>
                        </a:rPr>
                        <a:t> </a:t>
                      </a:r>
                      <a:r>
                        <a:rPr lang="en-US" sz="2800" dirty="0"/>
                        <a:t>&gt; 18 </a:t>
                      </a:r>
                      <a:r>
                        <a:rPr lang="en-US" sz="2800" dirty="0" err="1"/>
                        <a:t>có</a:t>
                      </a:r>
                      <a:r>
                        <a:rPr lang="en-US" sz="2800" dirty="0"/>
                        <a:t> </a:t>
                      </a:r>
                      <a:r>
                        <a:rPr lang="en-US" sz="2800" dirty="0" err="1"/>
                        <a:t>bệnh</a:t>
                      </a:r>
                      <a:r>
                        <a:rPr lang="en-US" sz="2800" dirty="0"/>
                        <a:t> </a:t>
                      </a:r>
                      <a:r>
                        <a:rPr lang="en-US" sz="2800" dirty="0" err="1"/>
                        <a:t>nền</a:t>
                      </a:r>
                      <a:r>
                        <a:rPr lang="en-US" sz="2800" dirty="0"/>
                        <a:t> so </a:t>
                      </a:r>
                      <a:r>
                        <a:rPr lang="en-US" sz="2800" dirty="0" err="1"/>
                        <a:t>với</a:t>
                      </a:r>
                      <a:r>
                        <a:rPr lang="en-US" sz="2800" dirty="0"/>
                        <a:t> </a:t>
                      </a:r>
                      <a:r>
                        <a:rPr lang="en-US" sz="2800" dirty="0" err="1"/>
                        <a:t>người</a:t>
                      </a:r>
                      <a:r>
                        <a:rPr lang="en-US" sz="2800" dirty="0"/>
                        <a:t> </a:t>
                      </a:r>
                      <a:r>
                        <a:rPr lang="en-US" sz="2800" dirty="0" err="1"/>
                        <a:t>khỏe</a:t>
                      </a:r>
                      <a:r>
                        <a:rPr lang="en-US" sz="2800" dirty="0"/>
                        <a:t> </a:t>
                      </a:r>
                      <a:r>
                        <a:rPr lang="en-US" sz="2800" dirty="0" err="1"/>
                        <a:t>mạnh</a:t>
                      </a:r>
                      <a:r>
                        <a:rPr lang="en-US" sz="2800" dirty="0"/>
                        <a:t> </a:t>
                      </a:r>
                      <a:r>
                        <a:rPr lang="en-US" sz="2800" dirty="0" err="1"/>
                        <a:t>cùng</a:t>
                      </a:r>
                      <a:r>
                        <a:rPr lang="en-US" sz="2800" dirty="0"/>
                        <a:t> </a:t>
                      </a:r>
                      <a:r>
                        <a:rPr lang="en-US" sz="2800" dirty="0" err="1"/>
                        <a:t>tuổi</a:t>
                      </a:r>
                      <a:endParaRPr lang="en-US" sz="2800" dirty="0">
                        <a:latin typeface="Calibri Light" panose="020F0302020204030204" charset="0"/>
                        <a:cs typeface="Calibri Light" panose="020F030202020403020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sp>
        <p:nvSpPr>
          <p:cNvPr id="7" name="Text Box 6"/>
          <p:cNvSpPr txBox="1"/>
          <p:nvPr/>
        </p:nvSpPr>
        <p:spPr>
          <a:xfrm>
            <a:off x="-1396553" y="6484282"/>
            <a:ext cx="11681455" cy="584775"/>
          </a:xfrm>
          <a:prstGeom prst="rect">
            <a:avLst/>
          </a:prstGeom>
          <a:noFill/>
        </p:spPr>
        <p:txBody>
          <a:bodyPr wrap="square" rtlCol="0" anchor="t">
            <a:spAutoFit/>
          </a:bodyPr>
          <a:lstStyle/>
          <a:p>
            <a:pPr algn="r">
              <a:defRPr/>
            </a:pPr>
            <a:r>
              <a:rPr kumimoji="0" lang="en-US" sz="1600" b="0" i="0" u="none" strike="noStrike" kern="1200" cap="none" spc="0" normalizeH="0" baseline="0" noProof="0" dirty="0">
                <a:ln>
                  <a:noFill/>
                </a:ln>
                <a:solidFill>
                  <a:prstClr val="black"/>
                </a:solidFill>
                <a:effectLst/>
                <a:uLnTx/>
                <a:uFillTx/>
                <a:latin typeface="Calibri"/>
                <a:ea typeface="+mn-ea"/>
                <a:cs typeface="+mn-cs"/>
                <a:hlinkClick r:id="rId2"/>
              </a:rPr>
              <a:t>https://www.lung.org/lung-health-diseases/lung-disease-lookup/pneumonia/pneumococcal</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lang="en-US" sz="1600" dirty="0"/>
              <a:t>Accessed: September 15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2" name="Rectangle 1">
            <a:extLst>
              <a:ext uri="{FF2B5EF4-FFF2-40B4-BE49-F238E27FC236}">
                <a16:creationId xmlns:a16="http://schemas.microsoft.com/office/drawing/2014/main" id="{E7C6BC50-EBE9-65BB-712F-682432BAD054}"/>
              </a:ext>
            </a:extLst>
          </p:cNvPr>
          <p:cNvSpPr/>
          <p:nvPr/>
        </p:nvSpPr>
        <p:spPr>
          <a:xfrm>
            <a:off x="623455" y="3429000"/>
            <a:ext cx="10939549" cy="677487"/>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7778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3736" y="102050"/>
            <a:ext cx="11284527" cy="783426"/>
          </a:xfrm>
        </p:spPr>
        <p:txBody>
          <a:bodyPr>
            <a:normAutofit fontScale="90000"/>
          </a:bodyPr>
          <a:lstStyle/>
          <a:p>
            <a:pPr algn="ctr"/>
            <a:br>
              <a:rPr lang="en-US" sz="4000" b="1"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Viêm</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phổi</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ấp</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mp;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ảnh</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hưởng</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hệ</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tim</a:t>
            </a:r>
            <a:r>
              <a:rPr lang="en-US" sz="4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4000" b="1" dirty="0" err="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mạch</a:t>
            </a:r>
            <a:br>
              <a:rPr lang="en-US" dirty="0">
                <a:latin typeface="Times New Roman" panose="02020603050405020304" pitchFamily="18" charset="0"/>
                <a:cs typeface="Times New Roman" panose="02020603050405020304" pitchFamily="18" charset="0"/>
              </a:rPr>
            </a:br>
            <a:endParaRPr lang="en-US" sz="31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7263245" y="1059874"/>
            <a:ext cx="4686299" cy="5479150"/>
          </a:xfrm>
        </p:spPr>
        <p:txBody>
          <a:bodyPr>
            <a:normAutofit fontScale="55000" lnSpcReduction="20000"/>
          </a:bodyPr>
          <a:lstStyle/>
          <a:p>
            <a:pPr>
              <a:lnSpc>
                <a:spcPts val="2640"/>
              </a:lnSpc>
              <a:spcBef>
                <a:spcPts val="600"/>
              </a:spcBef>
              <a:spcAft>
                <a:spcPts val="600"/>
              </a:spcAft>
              <a:buFont typeface="Wingdings" panose="05000000000000000000" pitchFamily="2" charset="2"/>
              <a:buChar char="q"/>
            </a:pP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Viêm</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phổi</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cấp</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đặc</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biệt</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phế</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cầu</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hườ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xảy</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ra</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rên</a:t>
            </a:r>
            <a:r>
              <a:rPr lang="en-US" sz="3500" dirty="0">
                <a:latin typeface="Calibri" panose="020F0502020204030204" pitchFamily="34" charset="0"/>
                <a:ea typeface="Calibri" panose="020F0502020204030204" pitchFamily="34" charset="0"/>
                <a:cs typeface="Calibri" panose="020F0502020204030204" pitchFamily="34" charset="0"/>
              </a:rPr>
              <a:t> BN </a:t>
            </a:r>
            <a:r>
              <a:rPr lang="en-US" sz="3500" dirty="0" err="1">
                <a:latin typeface="Calibri" panose="020F0502020204030204" pitchFamily="34" charset="0"/>
                <a:ea typeface="Calibri" panose="020F0502020204030204" pitchFamily="34" charset="0"/>
                <a:cs typeface="Calibri" panose="020F0502020204030204" pitchFamily="34" charset="0"/>
              </a:rPr>
              <a:t>ti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ạch</a:t>
            </a:r>
            <a:r>
              <a:rPr lang="en-US" sz="3500" dirty="0">
                <a:latin typeface="Calibri" panose="020F0502020204030204" pitchFamily="34" charset="0"/>
                <a:ea typeface="Calibri" panose="020F0502020204030204" pitchFamily="34" charset="0"/>
                <a:cs typeface="Calibri" panose="020F0502020204030204" pitchFamily="34" charset="0"/>
              </a:rPr>
              <a:t>;</a:t>
            </a:r>
          </a:p>
          <a:p>
            <a:pPr>
              <a:lnSpc>
                <a:spcPts val="2640"/>
              </a:lnSpc>
              <a:spcBef>
                <a:spcPts val="600"/>
              </a:spcBef>
              <a:spcAft>
                <a:spcPts val="600"/>
              </a:spcAft>
              <a:buFont typeface="Wingdings" panose="05000000000000000000" pitchFamily="2" charset="2"/>
              <a:buChar char="q"/>
            </a:pP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25%</a:t>
            </a:r>
            <a:r>
              <a:rPr lang="en-US" sz="3500" dirty="0">
                <a:latin typeface="Calibri" panose="020F0502020204030204" pitchFamily="34" charset="0"/>
                <a:ea typeface="Calibri" panose="020F0502020204030204" pitchFamily="34" charset="0"/>
                <a:cs typeface="Calibri" panose="020F0502020204030204" pitchFamily="34" charset="0"/>
              </a:rPr>
              <a:t> BN </a:t>
            </a:r>
            <a:r>
              <a:rPr lang="en-US" sz="3500" dirty="0" err="1">
                <a:latin typeface="Calibri" panose="020F0502020204030204" pitchFamily="34" charset="0"/>
                <a:ea typeface="Calibri" panose="020F0502020204030204" pitchFamily="34" charset="0"/>
                <a:cs typeface="Calibri" panose="020F0502020204030204" pitchFamily="34" charset="0"/>
              </a:rPr>
              <a:t>trưởng</a:t>
            </a:r>
            <a:r>
              <a:rPr lang="en-US" sz="3500" dirty="0">
                <a:latin typeface="Calibri" panose="020F0502020204030204" pitchFamily="34" charset="0"/>
                <a:ea typeface="Calibri" panose="020F0502020204030204" pitchFamily="34" charset="0"/>
                <a:cs typeface="Calibri" panose="020F0502020204030204" pitchFamily="34" charset="0"/>
              </a:rPr>
              <a:t> thành </a:t>
            </a:r>
            <a:r>
              <a:rPr lang="en-US" sz="3500" dirty="0" err="1">
                <a:latin typeface="Calibri" panose="020F0502020204030204" pitchFamily="34" charset="0"/>
                <a:ea typeface="Calibri" panose="020F0502020204030204" pitchFamily="34" charset="0"/>
                <a:cs typeface="Calibri" panose="020F0502020204030204" pitchFamily="34" charset="0"/>
              </a:rPr>
              <a:t>nhập</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việ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ắc</a:t>
            </a:r>
            <a:r>
              <a:rPr lang="en-US" sz="3500" dirty="0">
                <a:latin typeface="Calibri" panose="020F0502020204030204" pitchFamily="34" charset="0"/>
                <a:ea typeface="Calibri" panose="020F0502020204030204" pitchFamily="34" charset="0"/>
                <a:cs typeface="Calibri" panose="020F0502020204030204" pitchFamily="34" charset="0"/>
              </a:rPr>
              <a:t> các BIẾN CHỨNG TIM MẠCH </a:t>
            </a:r>
            <a:r>
              <a:rPr lang="en-US" sz="3500" dirty="0" err="1">
                <a:latin typeface="Calibri" panose="020F0502020204030204" pitchFamily="34" charset="0"/>
                <a:ea typeface="Calibri" panose="020F0502020204030204" pitchFamily="34" charset="0"/>
                <a:cs typeface="Calibri" panose="020F0502020204030204" pitchFamily="34" charset="0"/>
              </a:rPr>
              <a:t>nặ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ro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hời</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gia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nằ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việ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g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tăng</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gt; 60%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tử</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vo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nội</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viện</a:t>
            </a:r>
            <a:endParaRPr lang="en-US" sz="3500" dirty="0">
              <a:latin typeface="Calibri" panose="020F0502020204030204" pitchFamily="34" charset="0"/>
              <a:ea typeface="Calibri" panose="020F0502020204030204" pitchFamily="34" charset="0"/>
              <a:cs typeface="Calibri" panose="020F0502020204030204" pitchFamily="34" charset="0"/>
            </a:endParaRPr>
          </a:p>
          <a:p>
            <a:pPr>
              <a:lnSpc>
                <a:spcPts val="2640"/>
              </a:lnSpc>
              <a:spcBef>
                <a:spcPts val="600"/>
              </a:spcBef>
              <a:spcAft>
                <a:spcPts val="600"/>
              </a:spcAft>
              <a:buFont typeface="Wingdings" panose="05000000000000000000" pitchFamily="2" charset="2"/>
              <a:buChar char="q"/>
            </a:pPr>
            <a:r>
              <a:rPr lang="en-US" sz="3500" dirty="0" err="1">
                <a:latin typeface="Calibri" panose="020F0502020204030204" pitchFamily="34" charset="0"/>
                <a:ea typeface="Calibri" panose="020F0502020204030204" pitchFamily="34" charset="0"/>
                <a:cs typeface="Calibri" panose="020F0502020204030204" pitchFamily="34" charset="0"/>
              </a:rPr>
              <a:t>Phò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ngừa</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biế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hứ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i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ạch</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ầ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DỰ PHÒNG CHỦ ĐỘNG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nhiễm</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PHẾ CẦU</a:t>
            </a:r>
            <a:endParaRPr lang="en-US" sz="3500" dirty="0">
              <a:latin typeface="Calibri" panose="020F0502020204030204" pitchFamily="34" charset="0"/>
              <a:ea typeface="Calibri" panose="020F0502020204030204" pitchFamily="34" charset="0"/>
              <a:cs typeface="Calibri" panose="020F0502020204030204" pitchFamily="34" charset="0"/>
            </a:endParaRPr>
          </a:p>
          <a:p>
            <a:pPr>
              <a:lnSpc>
                <a:spcPts val="2640"/>
              </a:lnSpc>
              <a:spcBef>
                <a:spcPts val="600"/>
              </a:spcBef>
              <a:spcAft>
                <a:spcPts val="600"/>
              </a:spcAft>
              <a:buFont typeface="Wingdings" panose="05000000000000000000" pitchFamily="2" charset="2"/>
              <a:buChar char="q"/>
            </a:pPr>
            <a:r>
              <a:rPr lang="en-US" sz="3500" dirty="0" err="1">
                <a:latin typeface="Calibri" panose="020F0502020204030204" pitchFamily="34" charset="0"/>
                <a:ea typeface="Calibri" panose="020F0502020204030204" pitchFamily="34" charset="0"/>
                <a:cs typeface="Calibri" panose="020F0502020204030204" pitchFamily="34" charset="0"/>
              </a:rPr>
              <a:t>Về</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huyết</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động</a:t>
            </a:r>
            <a:r>
              <a:rPr lang="en-US" sz="3500" b="1"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US" sz="3500" b="1" dirty="0" err="1">
                <a:solidFill>
                  <a:srgbClr val="0000FF"/>
                </a:solidFill>
                <a:latin typeface="Calibri" panose="020F0502020204030204" pitchFamily="34" charset="0"/>
                <a:ea typeface="Calibri" panose="020F0502020204030204" pitchFamily="34" charset="0"/>
                <a:cs typeface="Calibri" panose="020F0502020204030204" pitchFamily="34" charset="0"/>
              </a:rPr>
              <a:t>học</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hệ</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i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ạch</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ó</a:t>
            </a:r>
            <a:r>
              <a:rPr lang="en-US" sz="3500" dirty="0">
                <a:latin typeface="Calibri" panose="020F0502020204030204" pitchFamily="34" charset="0"/>
                <a:ea typeface="Calibri" panose="020F0502020204030204" pitchFamily="34" charset="0"/>
                <a:cs typeface="Calibri" panose="020F0502020204030204" pitchFamily="34" charset="0"/>
              </a:rPr>
              <a:t> nhiều </a:t>
            </a:r>
            <a:r>
              <a:rPr lang="en-US" sz="3500" dirty="0" err="1">
                <a:latin typeface="Calibri" panose="020F0502020204030204" pitchFamily="34" charset="0"/>
                <a:ea typeface="Calibri" panose="020F0502020204030204" pitchFamily="34" charset="0"/>
                <a:cs typeface="Calibri" panose="020F0502020204030204" pitchFamily="34" charset="0"/>
              </a:rPr>
              <a:t>thay</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đổi</a:t>
            </a:r>
            <a:r>
              <a:rPr lang="en-US" sz="3500" dirty="0">
                <a:latin typeface="Calibri" panose="020F0502020204030204" pitchFamily="34" charset="0"/>
                <a:ea typeface="Calibri" panose="020F0502020204030204" pitchFamily="34" charset="0"/>
                <a:cs typeface="Calibri" panose="020F0502020204030204" pitchFamily="34" charset="0"/>
              </a:rPr>
              <a:t> KHI NHIỄM PHẾ CẦU =&gt; </a:t>
            </a:r>
            <a:r>
              <a:rPr lang="en-US" sz="3500" dirty="0" err="1">
                <a:latin typeface="Calibri" panose="020F0502020204030204" pitchFamily="34" charset="0"/>
                <a:ea typeface="Calibri" panose="020F0502020204030204" pitchFamily="34" charset="0"/>
                <a:cs typeface="Calibri" panose="020F0502020204030204" pitchFamily="34" charset="0"/>
              </a:rPr>
              <a:t>dễ</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xảy</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ra</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biế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hứng</a:t>
            </a:r>
            <a:endParaRPr lang="en-US" sz="3500" dirty="0">
              <a:latin typeface="Calibri" panose="020F0502020204030204" pitchFamily="34" charset="0"/>
              <a:ea typeface="Calibri" panose="020F0502020204030204" pitchFamily="34" charset="0"/>
              <a:cs typeface="Calibri" panose="020F0502020204030204" pitchFamily="34" charset="0"/>
            </a:endParaRPr>
          </a:p>
          <a:p>
            <a:pPr>
              <a:lnSpc>
                <a:spcPts val="2640"/>
              </a:lnSpc>
              <a:spcBef>
                <a:spcPts val="600"/>
              </a:spcBef>
              <a:spcAft>
                <a:spcPts val="600"/>
              </a:spcAft>
              <a:buFont typeface="Wingdings" panose="05000000000000000000" pitchFamily="2" charset="2"/>
              <a:buChar char="q"/>
            </a:pPr>
            <a:r>
              <a:rPr lang="en-US" sz="3500" dirty="0">
                <a:latin typeface="Calibri" panose="020F0502020204030204" pitchFamily="34" charset="0"/>
                <a:ea typeface="Calibri" panose="020F0502020204030204" pitchFamily="34" charset="0"/>
                <a:cs typeface="Calibri" panose="020F0502020204030204" pitchFamily="34" charset="0"/>
              </a:rPr>
              <a:t>CẦN: </a:t>
            </a:r>
            <a:r>
              <a:rPr lang="en-US" sz="3500" dirty="0" err="1">
                <a:latin typeface="Calibri" panose="020F0502020204030204" pitchFamily="34" charset="0"/>
                <a:ea typeface="Calibri" panose="020F0502020204030204" pitchFamily="34" charset="0"/>
                <a:cs typeface="Calibri" panose="020F0502020204030204" pitchFamily="34" charset="0"/>
              </a:rPr>
              <a:t>đánh</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giá</a:t>
            </a:r>
            <a:r>
              <a:rPr lang="en-US" sz="3500" dirty="0">
                <a:latin typeface="Calibri" panose="020F0502020204030204" pitchFamily="34" charset="0"/>
                <a:ea typeface="Calibri" panose="020F0502020204030204" pitchFamily="34" charset="0"/>
                <a:cs typeface="Calibri" panose="020F0502020204030204" pitchFamily="34" charset="0"/>
              </a:rPr>
              <a:t> lại </a:t>
            </a:r>
            <a:r>
              <a:rPr lang="en-US" sz="3500" dirty="0" err="1">
                <a:latin typeface="Calibri" panose="020F0502020204030204" pitchFamily="34" charset="0"/>
                <a:ea typeface="Calibri" panose="020F0502020204030204" pitchFamily="34" charset="0"/>
                <a:cs typeface="Calibri" panose="020F0502020204030204" pitchFamily="34" charset="0"/>
              </a:rPr>
              <a:t>biế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hứng</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i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ạch</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huốc</a:t>
            </a:r>
            <a:r>
              <a:rPr lang="en-US" sz="3500" dirty="0">
                <a:latin typeface="Calibri" panose="020F0502020204030204" pitchFamily="34" charset="0"/>
                <a:ea typeface="Calibri" panose="020F0502020204030204" pitchFamily="34" charset="0"/>
                <a:cs typeface="Calibri" panose="020F0502020204030204" pitchFamily="34" charset="0"/>
              </a:rPr>
              <a:t> không </a:t>
            </a:r>
            <a:r>
              <a:rPr lang="en-US" sz="3500" dirty="0" err="1">
                <a:latin typeface="Calibri" panose="020F0502020204030204" pitchFamily="34" charset="0"/>
                <a:ea typeface="Calibri" panose="020F0502020204030204" pitchFamily="34" charset="0"/>
                <a:cs typeface="Calibri" panose="020F0502020204030204" pitchFamily="34" charset="0"/>
              </a:rPr>
              <a:t>cần</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thiết</a:t>
            </a:r>
            <a:r>
              <a:rPr lang="en-US" sz="3500" dirty="0">
                <a:latin typeface="Calibri" panose="020F0502020204030204" pitchFamily="34" charset="0"/>
                <a:ea typeface="Calibri" panose="020F0502020204030204" pitchFamily="34" charset="0"/>
                <a:cs typeface="Calibri" panose="020F0502020204030204" pitchFamily="34" charset="0"/>
              </a:rPr>
              <a:t> … </a:t>
            </a:r>
            <a:r>
              <a:rPr lang="en-US" sz="3500" dirty="0" err="1">
                <a:latin typeface="Calibri" panose="020F0502020204030204" pitchFamily="34" charset="0"/>
                <a:ea typeface="Calibri" panose="020F0502020204030204" pitchFamily="34" charset="0"/>
                <a:cs typeface="Calibri" panose="020F0502020204030204" pitchFamily="34" charset="0"/>
              </a:rPr>
              <a:t>khi</a:t>
            </a:r>
            <a:r>
              <a:rPr lang="en-US" sz="3500" dirty="0">
                <a:latin typeface="Calibri" panose="020F0502020204030204" pitchFamily="34" charset="0"/>
                <a:ea typeface="Calibri" panose="020F0502020204030204" pitchFamily="34" charset="0"/>
                <a:cs typeface="Calibri" panose="020F0502020204030204" pitchFamily="34" charset="0"/>
              </a:rPr>
              <a:t> BN </a:t>
            </a:r>
            <a:r>
              <a:rPr lang="en-US" sz="3500" dirty="0" err="1">
                <a:latin typeface="Calibri" panose="020F0502020204030204" pitchFamily="34" charset="0"/>
                <a:ea typeface="Calibri" panose="020F0502020204030204" pitchFamily="34" charset="0"/>
                <a:cs typeface="Calibri" panose="020F0502020204030204" pitchFamily="34" charset="0"/>
              </a:rPr>
              <a:t>ti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mạch</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ó</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kết</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hợp</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Viêm</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phổi</a:t>
            </a:r>
            <a:r>
              <a:rPr lang="en-US" sz="3500" dirty="0">
                <a:latin typeface="Calibri" panose="020F0502020204030204" pitchFamily="34" charset="0"/>
                <a:ea typeface="Calibri" panose="020F0502020204030204" pitchFamily="34" charset="0"/>
                <a:cs typeface="Calibri" panose="020F0502020204030204" pitchFamily="34" charset="0"/>
              </a:rPr>
              <a:t> </a:t>
            </a:r>
            <a:r>
              <a:rPr lang="en-US" sz="3500" dirty="0" err="1">
                <a:latin typeface="Calibri" panose="020F0502020204030204" pitchFamily="34" charset="0"/>
                <a:ea typeface="Calibri" panose="020F0502020204030204" pitchFamily="34" charset="0"/>
                <a:cs typeface="Calibri" panose="020F0502020204030204" pitchFamily="34" charset="0"/>
              </a:rPr>
              <a:t>cấp</a:t>
            </a:r>
            <a:r>
              <a:rPr lang="en-US" sz="3500" dirty="0">
                <a:latin typeface="Calibri" panose="020F0502020204030204" pitchFamily="34" charset="0"/>
                <a:ea typeface="Calibri" panose="020F0502020204030204" pitchFamily="34" charset="0"/>
                <a:cs typeface="Calibri" panose="020F0502020204030204" pitchFamily="34" charset="0"/>
              </a:rPr>
              <a:t> </a:t>
            </a:r>
            <a:endParaRPr lang="en-US"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stretch>
            <a:fillRect/>
          </a:stretch>
        </p:blipFill>
        <p:spPr>
          <a:xfrm>
            <a:off x="259772" y="1153391"/>
            <a:ext cx="7003473" cy="4634345"/>
          </a:xfrm>
          <a:prstGeom prst="rect">
            <a:avLst/>
          </a:prstGeom>
        </p:spPr>
      </p:pic>
      <p:sp>
        <p:nvSpPr>
          <p:cNvPr id="5" name="Rectangle 4"/>
          <p:cNvSpPr/>
          <p:nvPr/>
        </p:nvSpPr>
        <p:spPr>
          <a:xfrm>
            <a:off x="259772" y="5890595"/>
            <a:ext cx="7284029" cy="523220"/>
          </a:xfrm>
          <a:prstGeom prst="rect">
            <a:avLst/>
          </a:prstGeom>
        </p:spPr>
        <p:txBody>
          <a:bodyPr wrap="square">
            <a:spAutoFit/>
          </a:bodyPr>
          <a:lstStyle/>
          <a:p>
            <a:r>
              <a:rPr lang="en-US" sz="1400" dirty="0">
                <a:latin typeface="Times New Roman" panose="02020603050405020304" pitchFamily="18" charset="0"/>
                <a:cs typeface="Times New Roman" panose="02020603050405020304" pitchFamily="18" charset="0"/>
                <a:hlinkClick r:id="rId3"/>
              </a:rPr>
              <a:t>https://www.thelancet.com/journals/lancet/article/PIIS0140-6736%2812%2961266-5/fulltext</a:t>
            </a:r>
            <a:r>
              <a:rPr lang="en-US" sz="1400" dirty="0">
                <a:latin typeface="Times New Roman" panose="02020603050405020304" pitchFamily="18" charset="0"/>
                <a:cs typeface="Times New Roman" panose="02020603050405020304" pitchFamily="18" charset="0"/>
              </a:rPr>
              <a:t> </a:t>
            </a:r>
            <a:r>
              <a:rPr lang="en-US" sz="1400" dirty="0"/>
              <a:t>Accessed: September 15 2024</a:t>
            </a:r>
          </a:p>
        </p:txBody>
      </p:sp>
    </p:spTree>
    <p:extLst>
      <p:ext uri="{BB962C8B-B14F-4D97-AF65-F5344CB8AC3E}">
        <p14:creationId xmlns:p14="http://schemas.microsoft.com/office/powerpoint/2010/main" val="750219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F61D7-2A3B-A2BD-3711-EAB804692089}"/>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DA03716D-BB97-13F9-8583-9FF77EFEB381}"/>
              </a:ext>
            </a:extLst>
          </p:cNvPr>
          <p:cNvGrpSpPr/>
          <p:nvPr/>
        </p:nvGrpSpPr>
        <p:grpSpPr>
          <a:xfrm>
            <a:off x="0" y="2585253"/>
            <a:ext cx="12192000" cy="1347759"/>
            <a:chOff x="0" y="2585256"/>
            <a:chExt cx="12192000" cy="1047404"/>
          </a:xfrm>
          <a:solidFill>
            <a:srgbClr val="00B050"/>
          </a:solidFill>
        </p:grpSpPr>
        <p:sp>
          <p:nvSpPr>
            <p:cNvPr id="3" name="Rectangle 2">
              <a:extLst>
                <a:ext uri="{FF2B5EF4-FFF2-40B4-BE49-F238E27FC236}">
                  <a16:creationId xmlns:a16="http://schemas.microsoft.com/office/drawing/2014/main" id="{C7EB47E5-0E46-742B-E537-61C6F71A8E92}"/>
                </a:ext>
              </a:extLst>
            </p:cNvPr>
            <p:cNvSpPr/>
            <p:nvPr/>
          </p:nvSpPr>
          <p:spPr>
            <a:xfrm>
              <a:off x="0" y="2585256"/>
              <a:ext cx="12191999" cy="1047404"/>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F210915-381E-0CF2-A992-194E219E44EF}"/>
                </a:ext>
              </a:extLst>
            </p:cNvPr>
            <p:cNvSpPr txBox="1"/>
            <p:nvPr/>
          </p:nvSpPr>
          <p:spPr>
            <a:xfrm>
              <a:off x="1" y="2869770"/>
              <a:ext cx="12191999" cy="478374"/>
            </a:xfrm>
            <a:prstGeom prst="rect">
              <a:avLst/>
            </a:prstGeom>
            <a:solidFill>
              <a:srgbClr val="0070C0"/>
            </a:solidFill>
          </p:spPr>
          <p:txBody>
            <a:bodyPr wrap="square" rtlCol="0">
              <a:spAutoFit/>
            </a:bodyPr>
            <a:lstStyle/>
            <a:p>
              <a:pPr algn="ctr"/>
              <a:r>
                <a:rPr lang="en-US" sz="3400" b="1" dirty="0">
                  <a:solidFill>
                    <a:schemeClr val="bg1"/>
                  </a:solidFill>
                  <a:latin typeface="Arial" panose="020B0604020202020204" pitchFamily="34" charset="0"/>
                  <a:cs typeface="Arial" panose="020B0604020202020204" pitchFamily="34" charset="0"/>
                </a:rPr>
                <a:t>GÁNH NẶNG CỦA VI RÚT </a:t>
              </a:r>
              <a:r>
                <a:rPr lang="vi-VN" sz="3400" b="1" dirty="0">
                  <a:solidFill>
                    <a:schemeClr val="bg1"/>
                  </a:solidFill>
                  <a:latin typeface="Arial" panose="020B0604020202020204" pitchFamily="34" charset="0"/>
                  <a:cs typeface="Arial" panose="020B0604020202020204" pitchFamily="34" charset="0"/>
                </a:rPr>
                <a:t>CÚM</a:t>
              </a:r>
              <a:endParaRPr lang="en-US" sz="3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90796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39A7AAE-6C5D-B0C1-3631-96933214BF72}"/>
              </a:ext>
            </a:extLst>
          </p:cNvPr>
          <p:cNvSpPr>
            <a:spLocks noGrp="1"/>
          </p:cNvSpPr>
          <p:nvPr>
            <p:ph type="title"/>
          </p:nvPr>
        </p:nvSpPr>
        <p:spPr>
          <a:xfrm>
            <a:off x="7126470" y="663182"/>
            <a:ext cx="4766892" cy="1752600"/>
          </a:xfrm>
        </p:spPr>
        <p:txBody>
          <a:bodyPr>
            <a:normAutofit/>
          </a:bodyPr>
          <a:lstStyle/>
          <a:p>
            <a:pPr algn="ctr">
              <a:lnSpc>
                <a:spcPct val="150000"/>
              </a:lnSpc>
            </a:pP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Các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đại</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dịch</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úm</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diễn</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ra</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ừ</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sau</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đại</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dịch</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úm</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1918</a:t>
            </a:r>
          </a:p>
        </p:txBody>
      </p:sp>
      <p:pic>
        <p:nvPicPr>
          <p:cNvPr id="5" name="Picture 4" descr="A diagram of a timeline of the spread of the virus&#10;&#10;Description automatically generated">
            <a:extLst>
              <a:ext uri="{FF2B5EF4-FFF2-40B4-BE49-F238E27FC236}">
                <a16:creationId xmlns:a16="http://schemas.microsoft.com/office/drawing/2014/main" id="{3B269AAB-ED2E-8992-BB42-0EC43D87E81B}"/>
              </a:ext>
            </a:extLst>
          </p:cNvPr>
          <p:cNvPicPr>
            <a:picLocks noChangeAspect="1"/>
          </p:cNvPicPr>
          <p:nvPr/>
        </p:nvPicPr>
        <p:blipFill>
          <a:blip r:embed="rId2"/>
          <a:stretch>
            <a:fillRect/>
          </a:stretch>
        </p:blipFill>
        <p:spPr>
          <a:xfrm>
            <a:off x="1" y="161142"/>
            <a:ext cx="7008810" cy="6535715"/>
          </a:xfrm>
          <a:prstGeom prst="rect">
            <a:avLst/>
          </a:prstGeom>
          <a:noFill/>
        </p:spPr>
      </p:pic>
      <p:sp>
        <p:nvSpPr>
          <p:cNvPr id="12" name="Text Placeholder 3">
            <a:extLst>
              <a:ext uri="{FF2B5EF4-FFF2-40B4-BE49-F238E27FC236}">
                <a16:creationId xmlns:a16="http://schemas.microsoft.com/office/drawing/2014/main" id="{6CDF71B6-B53C-30C3-79F6-74A2A9D340A2}"/>
              </a:ext>
            </a:extLst>
          </p:cNvPr>
          <p:cNvSpPr>
            <a:spLocks noGrp="1"/>
          </p:cNvSpPr>
          <p:nvPr>
            <p:ph type="body" sz="half" idx="2"/>
          </p:nvPr>
        </p:nvSpPr>
        <p:spPr>
          <a:xfrm>
            <a:off x="7126470" y="2881423"/>
            <a:ext cx="4537446" cy="3062177"/>
          </a:xfrm>
        </p:spPr>
        <p:txBody>
          <a:bodyPr>
            <a:noAutofit/>
          </a:bodyPr>
          <a:lstStyle/>
          <a:p>
            <a:pPr marL="285750" indent="-285750">
              <a:lnSpc>
                <a:spcPct val="120000"/>
              </a:lnSpc>
              <a:buFont typeface="Arial" panose="020B0604020202020204" pitchFamily="34" charset="0"/>
              <a:buChar char="•"/>
            </a:pPr>
            <a:r>
              <a:rPr lang="en-US" sz="2000" dirty="0">
                <a:latin typeface="Arial" panose="020B0604020202020204" pitchFamily="34" charset="0"/>
                <a:cs typeface="Arial" panose="020B0604020202020204" pitchFamily="34" charset="0"/>
              </a:rPr>
              <a:t>Trong </a:t>
            </a:r>
            <a:r>
              <a:rPr lang="en-US" sz="2000" dirty="0" err="1">
                <a:latin typeface="Arial" panose="020B0604020202020204" pitchFamily="34" charset="0"/>
                <a:cs typeface="Arial" panose="020B0604020202020204" pitchFamily="34" charset="0"/>
              </a:rPr>
              <a:t>đó</a:t>
            </a:r>
            <a:r>
              <a:rPr lang="en-US" sz="2000" dirty="0">
                <a:latin typeface="Arial" panose="020B0604020202020204" pitchFamily="34" charset="0"/>
                <a:cs typeface="Arial" panose="020B0604020202020204" pitchFamily="34" charset="0"/>
              </a:rPr>
              <a:t> </a:t>
            </a:r>
            <a:r>
              <a:rPr lang="en-US" sz="2000" dirty="0" err="1">
                <a:highlight>
                  <a:srgbClr val="FFFF00"/>
                </a:highlight>
                <a:latin typeface="Arial" panose="020B0604020202020204" pitchFamily="34" charset="0"/>
                <a:cs typeface="Arial" panose="020B0604020202020204" pitchFamily="34" charset="0"/>
              </a:rPr>
              <a:t>cúm</a:t>
            </a:r>
            <a:r>
              <a:rPr lang="en-US" sz="2000" dirty="0">
                <a:highlight>
                  <a:srgbClr val="FFFF00"/>
                </a:highlight>
                <a:latin typeface="Arial" panose="020B0604020202020204" pitchFamily="34" charset="0"/>
                <a:cs typeface="Arial" panose="020B0604020202020204" pitchFamily="34" charset="0"/>
              </a:rPr>
              <a:t> A/H1N1 </a:t>
            </a:r>
            <a:r>
              <a:rPr lang="en-US" sz="2000" dirty="0" err="1">
                <a:latin typeface="Arial" panose="020B0604020202020204" pitchFamily="34" charset="0"/>
                <a:cs typeface="Arial" panose="020B0604020202020204" pitchFamily="34" charset="0"/>
              </a:rPr>
              <a:t>gâ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ạ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ịch</a:t>
            </a:r>
            <a:r>
              <a:rPr lang="en-US" sz="2000" dirty="0">
                <a:latin typeface="Arial" panose="020B0604020202020204" pitchFamily="34" charset="0"/>
                <a:cs typeface="Arial" panose="020B0604020202020204" pitchFamily="34" charset="0"/>
              </a:rPr>
              <a:t> nhiều </a:t>
            </a:r>
            <a:r>
              <a:rPr lang="en-US" sz="2000" dirty="0" err="1">
                <a:latin typeface="Arial" panose="020B0604020202020204" pitchFamily="34" charset="0"/>
                <a:cs typeface="Arial" panose="020B0604020202020204" pitchFamily="34" charset="0"/>
              </a:rPr>
              <a:t>lầ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rong</a:t>
            </a:r>
            <a:r>
              <a:rPr lang="en-US" sz="2000" dirty="0">
                <a:latin typeface="Arial" panose="020B0604020202020204" pitchFamily="34" charset="0"/>
                <a:cs typeface="Arial" panose="020B0604020202020204" pitchFamily="34" charset="0"/>
              </a:rPr>
              <a:t> các </a:t>
            </a:r>
            <a:r>
              <a:rPr lang="en-US" sz="2000" dirty="0" err="1">
                <a:latin typeface="Arial" panose="020B0604020202020204" pitchFamily="34" charset="0"/>
                <a:cs typeface="Arial" panose="020B0604020202020204" pitchFamily="34" charset="0"/>
              </a:rPr>
              <a:t>thờ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iểm</a:t>
            </a:r>
            <a:r>
              <a:rPr lang="en-US" sz="2000" dirty="0">
                <a:latin typeface="Arial" panose="020B0604020202020204" pitchFamily="34" charset="0"/>
                <a:cs typeface="Arial" panose="020B0604020202020204" pitchFamily="34" charset="0"/>
              </a:rPr>
              <a:t> 1918, 1977 và 2009</a:t>
            </a:r>
          </a:p>
          <a:p>
            <a:pPr marL="285750" indent="-285750">
              <a:lnSpc>
                <a:spcPct val="120000"/>
              </a:lnSpc>
              <a:buFont typeface="Arial" panose="020B0604020202020204" pitchFamily="34" charset="0"/>
              <a:buChar char="•"/>
            </a:pPr>
            <a:r>
              <a:rPr lang="en-US" sz="2000" dirty="0">
                <a:latin typeface="Arial" panose="020B0604020202020204" pitchFamily="34" charset="0"/>
                <a:cs typeface="Arial" panose="020B0604020202020204" pitchFamily="34" charset="0"/>
              </a:rPr>
              <a:t>Giai </a:t>
            </a:r>
            <a:r>
              <a:rPr lang="en-US" sz="2000" dirty="0" err="1">
                <a:latin typeface="Arial" panose="020B0604020202020204" pitchFamily="34" charset="0"/>
                <a:cs typeface="Arial" panose="020B0604020202020204" pitchFamily="34" charset="0"/>
              </a:rPr>
              <a:t>đo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iữ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á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ạ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ị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uô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ó</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ư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h</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đồ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ư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a:t>
            </a:r>
            <a:r>
              <a:rPr lang="en-US" sz="2000" dirty="0" err="1">
                <a:highlight>
                  <a:srgbClr val="FFFF00"/>
                </a:highlight>
                <a:latin typeface="Arial" panose="020B0604020202020204" pitchFamily="34" charset="0"/>
                <a:cs typeface="Arial" panose="020B0604020202020204" pitchFamily="34" charset="0"/>
              </a:rPr>
              <a:t>cúm</a:t>
            </a:r>
            <a:r>
              <a:rPr lang="en-US" sz="2000" dirty="0">
                <a:highlight>
                  <a:srgbClr val="FFFF00"/>
                </a:highlight>
                <a:latin typeface="Arial" panose="020B0604020202020204" pitchFamily="34" charset="0"/>
                <a:cs typeface="Arial" panose="020B0604020202020204" pitchFamily="34" charset="0"/>
              </a:rPr>
              <a:t> A/H1N1 </a:t>
            </a:r>
            <a:r>
              <a:rPr lang="en-US" sz="2000" dirty="0" err="1">
                <a:highlight>
                  <a:srgbClr val="FFFF00"/>
                </a:highlight>
                <a:latin typeface="Arial" panose="020B0604020202020204" pitchFamily="34" charset="0"/>
                <a:cs typeface="Arial" panose="020B0604020202020204" pitchFamily="34" charset="0"/>
              </a:rPr>
              <a:t>và</a:t>
            </a:r>
            <a:r>
              <a:rPr lang="en-US" sz="2000" dirty="0">
                <a:highlight>
                  <a:srgbClr val="FFFF00"/>
                </a:highlight>
                <a:latin typeface="Arial" panose="020B0604020202020204" pitchFamily="34" charset="0"/>
                <a:cs typeface="Arial" panose="020B0604020202020204" pitchFamily="34" charset="0"/>
              </a:rPr>
              <a:t> A/H3N2</a:t>
            </a:r>
          </a:p>
        </p:txBody>
      </p:sp>
      <p:sp>
        <p:nvSpPr>
          <p:cNvPr id="7" name="TextBox 6">
            <a:extLst>
              <a:ext uri="{FF2B5EF4-FFF2-40B4-BE49-F238E27FC236}">
                <a16:creationId xmlns:a16="http://schemas.microsoft.com/office/drawing/2014/main" id="{CA6ED592-C9E4-7C63-DE49-7018F3580510}"/>
              </a:ext>
            </a:extLst>
          </p:cNvPr>
          <p:cNvSpPr txBox="1"/>
          <p:nvPr/>
        </p:nvSpPr>
        <p:spPr>
          <a:xfrm>
            <a:off x="7239000" y="6353889"/>
            <a:ext cx="3932237" cy="246221"/>
          </a:xfrm>
          <a:prstGeom prst="rect">
            <a:avLst/>
          </a:prstGeom>
          <a:noFill/>
        </p:spPr>
        <p:txBody>
          <a:bodyPr wrap="square">
            <a:spAutoFit/>
          </a:bodyPr>
          <a:lstStyle/>
          <a:p>
            <a:r>
              <a:rPr lang="en-US" sz="1000" dirty="0" err="1">
                <a:latin typeface="Arial" panose="020B0604020202020204" pitchFamily="34" charset="0"/>
                <a:cs typeface="Arial" panose="020B0604020202020204" pitchFamily="34" charset="0"/>
              </a:rPr>
              <a:t>Nickol</a:t>
            </a:r>
            <a:r>
              <a:rPr lang="en-US" sz="1000" dirty="0">
                <a:latin typeface="Arial" panose="020B0604020202020204" pitchFamily="34" charset="0"/>
                <a:cs typeface="Arial" panose="020B0604020202020204" pitchFamily="34" charset="0"/>
              </a:rPr>
              <a:t> and </a:t>
            </a:r>
            <a:r>
              <a:rPr lang="en-US" sz="1000" dirty="0" err="1">
                <a:latin typeface="Arial" panose="020B0604020202020204" pitchFamily="34" charset="0"/>
                <a:cs typeface="Arial" panose="020B0604020202020204" pitchFamily="34" charset="0"/>
              </a:rPr>
              <a:t>Kindrachuk</a:t>
            </a:r>
            <a:r>
              <a:rPr lang="en-US" sz="1000" dirty="0">
                <a:latin typeface="Arial" panose="020B0604020202020204" pitchFamily="34" charset="0"/>
                <a:cs typeface="Arial" panose="020B0604020202020204" pitchFamily="34" charset="0"/>
              </a:rPr>
              <a:t> BMC Infectious Diseases (2019) 19:117</a:t>
            </a:r>
          </a:p>
        </p:txBody>
      </p:sp>
    </p:spTree>
    <p:extLst>
      <p:ext uri="{BB962C8B-B14F-4D97-AF65-F5344CB8AC3E}">
        <p14:creationId xmlns:p14="http://schemas.microsoft.com/office/powerpoint/2010/main" val="368551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2F84A-645B-4C28-9CB6-68695B3847C1}"/>
              </a:ext>
            </a:extLst>
          </p:cNvPr>
          <p:cNvSpPr>
            <a:spLocks noGrp="1"/>
          </p:cNvSpPr>
          <p:nvPr>
            <p:ph type="title"/>
          </p:nvPr>
        </p:nvSpPr>
        <p:spPr>
          <a:xfrm>
            <a:off x="899331" y="361507"/>
            <a:ext cx="10553846" cy="1041990"/>
          </a:xfrm>
        </p:spPr>
        <p:txBody>
          <a:bodyPr anchor="ctr">
            <a:normAutofit fontScale="90000"/>
          </a:bodyPr>
          <a:lstStyle/>
          <a:p>
            <a:pPr algn="ctr">
              <a:lnSpc>
                <a:spcPct val="120000"/>
              </a:lnSpc>
            </a:pPr>
            <a:r>
              <a:rPr lang="en-US" sz="4000" b="1" cap="none" dirty="0">
                <a:solidFill>
                  <a:srgbClr val="002060"/>
                </a:solidFill>
                <a:latin typeface="+mn-lt"/>
                <a:cs typeface="Arial" panose="020B0604020202020204" pitchFamily="34" charset="0"/>
              </a:rPr>
              <a:t>Hiệu </a:t>
            </a:r>
            <a:r>
              <a:rPr lang="en-US" sz="4000" b="1" cap="none" dirty="0" err="1">
                <a:solidFill>
                  <a:srgbClr val="002060"/>
                </a:solidFill>
                <a:latin typeface="+mn-lt"/>
                <a:cs typeface="Arial" panose="020B0604020202020204" pitchFamily="34" charset="0"/>
              </a:rPr>
              <a:t>ứng</a:t>
            </a:r>
            <a:r>
              <a:rPr lang="en-US" sz="4000" b="1" cap="none" dirty="0">
                <a:solidFill>
                  <a:srgbClr val="002060"/>
                </a:solidFill>
                <a:latin typeface="+mn-lt"/>
                <a:cs typeface="Arial" panose="020B0604020202020204" pitchFamily="34" charset="0"/>
              </a:rPr>
              <a:t> domino </a:t>
            </a:r>
            <a:r>
              <a:rPr lang="en-US" sz="4000" b="1" cap="none" dirty="0" err="1">
                <a:solidFill>
                  <a:srgbClr val="002060"/>
                </a:solidFill>
                <a:latin typeface="+mn-lt"/>
                <a:cs typeface="Arial" panose="020B0604020202020204" pitchFamily="34" charset="0"/>
              </a:rPr>
              <a:t>sau</a:t>
            </a:r>
            <a:r>
              <a:rPr lang="en-US" sz="4000" b="1" cap="none" dirty="0">
                <a:solidFill>
                  <a:srgbClr val="002060"/>
                </a:solidFill>
                <a:latin typeface="+mn-lt"/>
                <a:cs typeface="Arial" panose="020B0604020202020204" pitchFamily="34" charset="0"/>
              </a:rPr>
              <a:t> </a:t>
            </a:r>
            <a:r>
              <a:rPr lang="en-US" sz="4000" b="1" cap="none" dirty="0" err="1">
                <a:solidFill>
                  <a:srgbClr val="002060"/>
                </a:solidFill>
                <a:latin typeface="+mn-lt"/>
                <a:cs typeface="Arial" panose="020B0604020202020204" pitchFamily="34" charset="0"/>
              </a:rPr>
              <a:t>khi</a:t>
            </a:r>
            <a:r>
              <a:rPr lang="en-US" sz="4000" b="1" cap="none" dirty="0">
                <a:solidFill>
                  <a:srgbClr val="002060"/>
                </a:solidFill>
                <a:latin typeface="+mn-lt"/>
                <a:cs typeface="Arial" panose="020B0604020202020204" pitchFamily="34" charset="0"/>
              </a:rPr>
              <a:t> </a:t>
            </a:r>
            <a:r>
              <a:rPr lang="en-US" sz="4000" b="1" cap="none" dirty="0" err="1">
                <a:solidFill>
                  <a:srgbClr val="002060"/>
                </a:solidFill>
                <a:latin typeface="+mn-lt"/>
                <a:cs typeface="Arial" panose="020B0604020202020204" pitchFamily="34" charset="0"/>
              </a:rPr>
              <a:t>nhiễm</a:t>
            </a:r>
            <a:r>
              <a:rPr lang="en-US" sz="4000" b="1" cap="none" dirty="0">
                <a:solidFill>
                  <a:srgbClr val="002060"/>
                </a:solidFill>
                <a:latin typeface="+mn-lt"/>
                <a:cs typeface="Arial" panose="020B0604020202020204" pitchFamily="34" charset="0"/>
              </a:rPr>
              <a:t> </a:t>
            </a:r>
            <a:r>
              <a:rPr lang="en-US" sz="4000" b="1" cap="none" dirty="0" err="1">
                <a:solidFill>
                  <a:srgbClr val="002060"/>
                </a:solidFill>
                <a:latin typeface="+mn-lt"/>
                <a:cs typeface="Arial" panose="020B0604020202020204" pitchFamily="34" charset="0"/>
              </a:rPr>
              <a:t>cúm</a:t>
            </a:r>
            <a:br>
              <a:rPr lang="en-US" b="1" dirty="0">
                <a:solidFill>
                  <a:srgbClr val="FF0000"/>
                </a:solidFill>
                <a:latin typeface="Arial" panose="020B0604020202020204" pitchFamily="34" charset="0"/>
                <a:cs typeface="Arial" panose="020B0604020202020204" pitchFamily="34" charset="0"/>
              </a:rPr>
            </a:br>
            <a:r>
              <a:rPr lang="en-US" sz="2000" b="1" cap="none" dirty="0" err="1">
                <a:solidFill>
                  <a:srgbClr val="C00000"/>
                </a:solidFill>
                <a:highlight>
                  <a:srgbClr val="FFFF00"/>
                </a:highlight>
                <a:latin typeface="Arial" panose="020B0604020202020204" pitchFamily="34" charset="0"/>
                <a:cs typeface="Arial" panose="020B0604020202020204" pitchFamily="34" charset="0"/>
              </a:rPr>
              <a:t>Nhiễm</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cúm</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làm</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tăng</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nặng</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các</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bệnh</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nền</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a:solidFill>
                  <a:srgbClr val="C00000"/>
                </a:solidFill>
                <a:highlight>
                  <a:srgbClr val="FFFF00"/>
                </a:highlight>
                <a:latin typeface="Arial" panose="020B0604020202020204" pitchFamily="34" charset="0"/>
                <a:cs typeface="Arial" panose="020B0604020202020204" pitchFamily="34" charset="0"/>
                <a:sym typeface="Symbol" panose="05050102010706020507" pitchFamily="18" charset="2"/>
              </a:rPr>
              <a:t> 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nguy</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cơ</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nhập</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viện</a:t>
            </a:r>
            <a:r>
              <a:rPr lang="en-US" sz="2000" b="1" cap="none" dirty="0">
                <a:solidFill>
                  <a:srgbClr val="C00000"/>
                </a:solidFill>
                <a:highlight>
                  <a:srgbClr val="FFFF00"/>
                </a:highlight>
                <a:latin typeface="Arial" panose="020B0604020202020204" pitchFamily="34" charset="0"/>
                <a:cs typeface="Arial" panose="020B0604020202020204" pitchFamily="34" charset="0"/>
              </a:rPr>
              <a:t>/</a:t>
            </a:r>
            <a:r>
              <a:rPr lang="vi-VN" sz="2000" b="1" cap="none" dirty="0">
                <a:solidFill>
                  <a:srgbClr val="C00000"/>
                </a:solidFill>
                <a:highlight>
                  <a:srgbClr val="FFFF00"/>
                </a:highlight>
                <a:latin typeface="Arial" panose="020B0604020202020204" pitchFamily="34" charset="0"/>
                <a:cs typeface="Arial" panose="020B0604020202020204" pitchFamily="34" charset="0"/>
              </a:rPr>
              <a:t>tử</a:t>
            </a:r>
            <a:r>
              <a:rPr lang="en-US" sz="2000" b="1" cap="none" dirty="0">
                <a:solidFill>
                  <a:srgbClr val="C00000"/>
                </a:solidFill>
                <a:highlight>
                  <a:srgbClr val="FFFF00"/>
                </a:highlight>
                <a:latin typeface="Arial" panose="020B0604020202020204" pitchFamily="34" charset="0"/>
                <a:cs typeface="Arial" panose="020B0604020202020204" pitchFamily="34" charset="0"/>
              </a:rPr>
              <a:t> </a:t>
            </a:r>
            <a:r>
              <a:rPr lang="en-US" sz="2000" b="1" cap="none" dirty="0" err="1">
                <a:solidFill>
                  <a:srgbClr val="C00000"/>
                </a:solidFill>
                <a:highlight>
                  <a:srgbClr val="FFFF00"/>
                </a:highlight>
                <a:latin typeface="Arial" panose="020B0604020202020204" pitchFamily="34" charset="0"/>
                <a:cs typeface="Arial" panose="020B0604020202020204" pitchFamily="34" charset="0"/>
              </a:rPr>
              <a:t>vong</a:t>
            </a:r>
            <a:endParaRPr lang="en-US" sz="2000" b="1" dirty="0">
              <a:solidFill>
                <a:srgbClr val="C00000"/>
              </a:solidFill>
              <a:highlight>
                <a:srgbClr val="FFFF00"/>
              </a:highlight>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2941C638-F043-1CC1-0996-FCC18B63E46C}"/>
              </a:ext>
            </a:extLst>
          </p:cNvPr>
          <p:cNvGrpSpPr/>
          <p:nvPr/>
        </p:nvGrpSpPr>
        <p:grpSpPr>
          <a:xfrm>
            <a:off x="899331" y="1786270"/>
            <a:ext cx="10711422" cy="5071730"/>
            <a:chOff x="1583988" y="2033189"/>
            <a:chExt cx="9184532" cy="4498618"/>
          </a:xfrm>
        </p:grpSpPr>
        <p:pic>
          <p:nvPicPr>
            <p:cNvPr id="12" name="Picture 11">
              <a:extLst>
                <a:ext uri="{FF2B5EF4-FFF2-40B4-BE49-F238E27FC236}">
                  <a16:creationId xmlns:a16="http://schemas.microsoft.com/office/drawing/2014/main" id="{192D9DAE-772F-4F3B-A742-4BD0BB66324C}"/>
                </a:ext>
              </a:extLst>
            </p:cNvPr>
            <p:cNvPicPr>
              <a:picLocks noChangeAspect="1"/>
            </p:cNvPicPr>
            <p:nvPr/>
          </p:nvPicPr>
          <p:blipFill>
            <a:blip r:embed="rId2"/>
            <a:stretch>
              <a:fillRect/>
            </a:stretch>
          </p:blipFill>
          <p:spPr>
            <a:xfrm>
              <a:off x="1583988" y="2033189"/>
              <a:ext cx="9184532" cy="4498618"/>
            </a:xfrm>
            <a:prstGeom prst="rect">
              <a:avLst/>
            </a:prstGeom>
          </p:spPr>
        </p:pic>
        <p:sp>
          <p:nvSpPr>
            <p:cNvPr id="3" name="Rectangle 2">
              <a:extLst>
                <a:ext uri="{FF2B5EF4-FFF2-40B4-BE49-F238E27FC236}">
                  <a16:creationId xmlns:a16="http://schemas.microsoft.com/office/drawing/2014/main" id="{1D6DD6C0-542B-3F1C-BD17-46A793F6488C}"/>
                </a:ext>
              </a:extLst>
            </p:cNvPr>
            <p:cNvSpPr/>
            <p:nvPr/>
          </p:nvSpPr>
          <p:spPr>
            <a:xfrm>
              <a:off x="7349679" y="3035030"/>
              <a:ext cx="3418841" cy="16147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6871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0BA12-2602-3DCB-EDC5-B50CC84A51F5}"/>
              </a:ext>
            </a:extLst>
          </p:cNvPr>
          <p:cNvSpPr>
            <a:spLocks noGrp="1"/>
          </p:cNvSpPr>
          <p:nvPr>
            <p:ph type="title"/>
          </p:nvPr>
        </p:nvSpPr>
        <p:spPr>
          <a:xfrm>
            <a:off x="654050" y="500591"/>
            <a:ext cx="10883900" cy="818707"/>
          </a:xfrm>
        </p:spPr>
        <p:txBody>
          <a:bodyPr/>
          <a:lstStyle/>
          <a:p>
            <a:pPr algn="ct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Nguy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ơ</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nhồi</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máu</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ơ</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im</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ấp</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ăng</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sau</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khi</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nhiễm</a:t>
            </a:r>
            <a:r>
              <a:rPr lang="en-US" sz="36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úm</a:t>
            </a:r>
            <a:endParaRPr lang="en-US" sz="3600" cap="none"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8" name="Content Placeholder 7">
            <a:extLst>
              <a:ext uri="{FF2B5EF4-FFF2-40B4-BE49-F238E27FC236}">
                <a16:creationId xmlns:a16="http://schemas.microsoft.com/office/drawing/2014/main" id="{51276650-9A14-4D6C-8471-DEFBAEAA0A37}"/>
              </a:ext>
            </a:extLst>
          </p:cNvPr>
          <p:cNvPicPr>
            <a:picLocks noGrp="1" noChangeAspect="1"/>
          </p:cNvPicPr>
          <p:nvPr>
            <p:ph type="dgm" sz="quarter" idx="14"/>
          </p:nvPr>
        </p:nvPicPr>
        <p:blipFill>
          <a:blip r:embed="rId2" cstate="print">
            <a:extLst>
              <a:ext uri="{28A0092B-C50C-407E-A947-70E740481C1C}">
                <a14:useLocalDpi xmlns:a14="http://schemas.microsoft.com/office/drawing/2010/main" val="0"/>
              </a:ext>
            </a:extLst>
          </a:blip>
          <a:stretch>
            <a:fillRect/>
          </a:stretch>
        </p:blipFill>
        <p:spPr>
          <a:xfrm>
            <a:off x="335360" y="2150582"/>
            <a:ext cx="5161550" cy="2389449"/>
          </a:xfrm>
          <a:ln>
            <a:solidFill>
              <a:schemeClr val="tx1"/>
            </a:solidFill>
          </a:ln>
        </p:spPr>
      </p:pic>
      <p:sp>
        <p:nvSpPr>
          <p:cNvPr id="5" name="TextBox 4">
            <a:extLst>
              <a:ext uri="{FF2B5EF4-FFF2-40B4-BE49-F238E27FC236}">
                <a16:creationId xmlns:a16="http://schemas.microsoft.com/office/drawing/2014/main" id="{1254BE19-6E72-49CA-87A8-45E85C8EC82F}"/>
              </a:ext>
            </a:extLst>
          </p:cNvPr>
          <p:cNvSpPr txBox="1"/>
          <p:nvPr/>
        </p:nvSpPr>
        <p:spPr>
          <a:xfrm>
            <a:off x="335360" y="5940156"/>
            <a:ext cx="3732112" cy="276999"/>
          </a:xfrm>
          <a:prstGeom prst="rect">
            <a:avLst/>
          </a:prstGeom>
          <a:noFill/>
        </p:spPr>
        <p:txBody>
          <a:bodyPr wrap="none" rtlCol="0">
            <a:spAutoFit/>
          </a:bodyPr>
          <a:lstStyle/>
          <a:p>
            <a:r>
              <a:rPr lang="en-US" sz="1200" dirty="0" err="1">
                <a:latin typeface="Arial" panose="020B0604020202020204" pitchFamily="34" charset="0"/>
                <a:cs typeface="Arial" panose="020B0604020202020204" pitchFamily="34" charset="0"/>
              </a:rPr>
              <a:t>Kwong</a:t>
            </a:r>
            <a:r>
              <a:rPr lang="en-US" sz="1200" dirty="0">
                <a:latin typeface="Arial" panose="020B0604020202020204" pitchFamily="34" charset="0"/>
                <a:cs typeface="Arial" panose="020B0604020202020204" pitchFamily="34" charset="0"/>
              </a:rPr>
              <a:t> JC, et al. N </a:t>
            </a:r>
            <a:r>
              <a:rPr lang="en-US" sz="1200" dirty="0" err="1">
                <a:latin typeface="Arial" panose="020B0604020202020204" pitchFamily="34" charset="0"/>
                <a:cs typeface="Arial" panose="020B0604020202020204" pitchFamily="34" charset="0"/>
              </a:rPr>
              <a:t>Engl</a:t>
            </a:r>
            <a:r>
              <a:rPr lang="en-US" sz="1200" dirty="0">
                <a:latin typeface="Arial" panose="020B0604020202020204" pitchFamily="34" charset="0"/>
                <a:cs typeface="Arial" panose="020B0604020202020204" pitchFamily="34" charset="0"/>
              </a:rPr>
              <a:t> J Med 2018;378:345-353.</a:t>
            </a:r>
          </a:p>
        </p:txBody>
      </p:sp>
      <p:sp>
        <p:nvSpPr>
          <p:cNvPr id="3" name="Rectangle 2">
            <a:extLst>
              <a:ext uri="{FF2B5EF4-FFF2-40B4-BE49-F238E27FC236}">
                <a16:creationId xmlns:a16="http://schemas.microsoft.com/office/drawing/2014/main" id="{4DA82E6E-839C-4EB8-942D-558F52B9CA64}"/>
              </a:ext>
            </a:extLst>
          </p:cNvPr>
          <p:cNvSpPr/>
          <p:nvPr/>
        </p:nvSpPr>
        <p:spPr>
          <a:xfrm>
            <a:off x="335360" y="3429000"/>
            <a:ext cx="5161550" cy="5699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8">
            <a:extLst>
              <a:ext uri="{FF2B5EF4-FFF2-40B4-BE49-F238E27FC236}">
                <a16:creationId xmlns:a16="http://schemas.microsoft.com/office/drawing/2014/main" id="{DF55BAAE-CB0A-68BC-3D37-18744A1423FF}"/>
              </a:ext>
            </a:extLst>
          </p:cNvPr>
          <p:cNvSpPr/>
          <p:nvPr/>
        </p:nvSpPr>
        <p:spPr>
          <a:xfrm>
            <a:off x="5677786" y="1605516"/>
            <a:ext cx="6315739" cy="4175151"/>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9423883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6CC4DC-D228-8848-9236-B88738CF1BD4}"/>
              </a:ext>
            </a:extLst>
          </p:cNvPr>
          <p:cNvPicPr>
            <a:picLocks noChangeAspect="1"/>
          </p:cNvPicPr>
          <p:nvPr/>
        </p:nvPicPr>
        <p:blipFill>
          <a:blip r:embed="rId3"/>
          <a:stretch>
            <a:fillRect/>
          </a:stretch>
        </p:blipFill>
        <p:spPr>
          <a:xfrm>
            <a:off x="5015821" y="2721935"/>
            <a:ext cx="6490378" cy="3506959"/>
          </a:xfrm>
          <a:prstGeom prst="rect">
            <a:avLst/>
          </a:prstGeom>
        </p:spPr>
      </p:pic>
      <p:sp>
        <p:nvSpPr>
          <p:cNvPr id="6" name="Text Placeholder 5">
            <a:extLst>
              <a:ext uri="{FF2B5EF4-FFF2-40B4-BE49-F238E27FC236}">
                <a16:creationId xmlns:a16="http://schemas.microsoft.com/office/drawing/2014/main" id="{AC596315-EDC5-4E40-AA3D-1F50AAE7CED6}"/>
              </a:ext>
            </a:extLst>
          </p:cNvPr>
          <p:cNvSpPr>
            <a:spLocks noGrp="1"/>
          </p:cNvSpPr>
          <p:nvPr>
            <p:ph type="body" sz="quarter" idx="4294967295"/>
          </p:nvPr>
        </p:nvSpPr>
        <p:spPr>
          <a:xfrm>
            <a:off x="838200" y="1537965"/>
            <a:ext cx="10667999" cy="927425"/>
          </a:xfrm>
          <a:prstGeom prst="rect">
            <a:avLst/>
          </a:prstGeom>
          <a:solidFill>
            <a:schemeClr val="accent1">
              <a:lumMod val="20000"/>
              <a:lumOff val="80000"/>
            </a:schemeClr>
          </a:solidFill>
        </p:spPr>
        <p:txBody>
          <a:bodyPr>
            <a:normAutofit/>
          </a:bodyPr>
          <a:lstStyle/>
          <a:p>
            <a:pPr marL="0" indent="0">
              <a:lnSpc>
                <a:spcPct val="100000"/>
              </a:lnSpc>
              <a:buNone/>
            </a:pPr>
            <a:r>
              <a:rPr lang="en-US" sz="1800" i="1" dirty="0" err="1">
                <a:solidFill>
                  <a:schemeClr val="tx1"/>
                </a:solidFill>
                <a:latin typeface="Arial" panose="020B0604020202020204" pitchFamily="34" charset="0"/>
                <a:cs typeface="Arial" panose="020B0604020202020204" pitchFamily="34" charset="0"/>
              </a:rPr>
              <a:t>Khảo</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sát</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liên</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quan</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giữa</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hoạt</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ính</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cúm</a:t>
            </a:r>
            <a:r>
              <a:rPr lang="en-US" sz="1800" i="1" dirty="0">
                <a:solidFill>
                  <a:schemeClr val="tx1"/>
                </a:solidFill>
                <a:latin typeface="Arial" panose="020B0604020202020204" pitchFamily="34" charset="0"/>
                <a:cs typeface="Arial" panose="020B0604020202020204" pitchFamily="34" charset="0"/>
              </a:rPr>
              <a:t> - influenza activity (</a:t>
            </a:r>
            <a:r>
              <a:rPr lang="en-US" sz="1800" i="1" dirty="0" err="1">
                <a:solidFill>
                  <a:schemeClr val="tx1"/>
                </a:solidFill>
                <a:latin typeface="Arial" panose="020B0604020202020204" pitchFamily="34" charset="0"/>
                <a:cs typeface="Arial" panose="020B0604020202020204" pitchFamily="34" charset="0"/>
              </a:rPr>
              <a:t>ti</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lê</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bệnh</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nhân</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đến</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khám</a:t>
            </a:r>
            <a:r>
              <a:rPr lang="en-US" sz="1800" i="1" dirty="0">
                <a:solidFill>
                  <a:schemeClr val="tx1"/>
                </a:solidFill>
                <a:latin typeface="Arial" panose="020B0604020202020204" pitchFamily="34" charset="0"/>
                <a:cs typeface="Arial" panose="020B0604020202020204" pitchFamily="34" charset="0"/>
              </a:rPr>
              <a:t> vì </a:t>
            </a:r>
            <a:r>
              <a:rPr lang="en-US" sz="1800" i="1" dirty="0" err="1">
                <a:solidFill>
                  <a:schemeClr val="tx1"/>
                </a:solidFill>
                <a:latin typeface="Arial" panose="020B0604020202020204" pitchFamily="34" charset="0"/>
                <a:cs typeface="Arial" panose="020B0604020202020204" pitchFamily="34" charset="0"/>
              </a:rPr>
              <a:t>cúm</a:t>
            </a:r>
            <a:r>
              <a:rPr lang="en-US" sz="1800" i="1" dirty="0">
                <a:solidFill>
                  <a:schemeClr val="tx1"/>
                </a:solidFill>
                <a:latin typeface="Arial" panose="020B0604020202020204" pitchFamily="34" charset="0"/>
                <a:cs typeface="Arial" panose="020B0604020202020204" pitchFamily="34" charset="0"/>
              </a:rPr>
              <a:t>) và </a:t>
            </a:r>
            <a:r>
              <a:rPr lang="en-US" sz="1800" i="1" dirty="0" err="1">
                <a:solidFill>
                  <a:schemeClr val="tx1"/>
                </a:solidFill>
                <a:latin typeface="Arial" panose="020B0604020202020204" pitchFamily="34" charset="0"/>
                <a:cs typeface="Arial" panose="020B0604020202020204" pitchFamily="34" charset="0"/>
              </a:rPr>
              <a:t>nhập</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viện</a:t>
            </a:r>
            <a:r>
              <a:rPr lang="en-US" sz="1800" i="1" dirty="0">
                <a:solidFill>
                  <a:schemeClr val="tx1"/>
                </a:solidFill>
                <a:latin typeface="Arial" panose="020B0604020202020204" pitchFamily="34" charset="0"/>
                <a:cs typeface="Arial" panose="020B0604020202020204" pitchFamily="34" charset="0"/>
              </a:rPr>
              <a:t> vì </a:t>
            </a:r>
            <a:r>
              <a:rPr lang="en-US" sz="1800" i="1" dirty="0" err="1">
                <a:solidFill>
                  <a:schemeClr val="tx1"/>
                </a:solidFill>
                <a:latin typeface="Arial" panose="020B0604020202020204" pitchFamily="34" charset="0"/>
                <a:cs typeface="Arial" panose="020B0604020202020204" pitchFamily="34" charset="0"/>
              </a:rPr>
              <a:t>suy</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im</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hoặc</a:t>
            </a:r>
            <a:r>
              <a:rPr lang="en-US" sz="1800" i="1" dirty="0">
                <a:solidFill>
                  <a:schemeClr val="tx1"/>
                </a:solidFill>
                <a:latin typeface="Arial" panose="020B0604020202020204" pitchFamily="34" charset="0"/>
                <a:cs typeface="Arial" panose="020B0604020202020204" pitchFamily="34" charset="0"/>
              </a:rPr>
              <a:t> NMCT </a:t>
            </a:r>
            <a:r>
              <a:rPr lang="en-US" sz="1800" i="1" dirty="0" err="1">
                <a:solidFill>
                  <a:schemeClr val="tx1"/>
                </a:solidFill>
                <a:latin typeface="Arial" panose="020B0604020202020204" pitchFamily="34" charset="0"/>
                <a:cs typeface="Arial" panose="020B0604020202020204" pitchFamily="34" charset="0"/>
              </a:rPr>
              <a:t>trên</a:t>
            </a:r>
            <a:r>
              <a:rPr lang="en-US" sz="1800" i="1" dirty="0">
                <a:solidFill>
                  <a:schemeClr val="tx1"/>
                </a:solidFill>
                <a:latin typeface="Arial" panose="020B0604020202020204" pitchFamily="34" charset="0"/>
                <a:cs typeface="Arial" panose="020B0604020202020204" pitchFamily="34" charset="0"/>
              </a:rPr>
              <a:t> </a:t>
            </a:r>
            <a:r>
              <a:rPr lang="vi-VN" sz="1800" i="1" dirty="0">
                <a:solidFill>
                  <a:schemeClr val="tx1"/>
                </a:solidFill>
                <a:latin typeface="Arial" panose="020B0604020202020204" pitchFamily="34" charset="0"/>
                <a:cs typeface="Arial" panose="020B0604020202020204" pitchFamily="34" charset="0"/>
              </a:rPr>
              <a:t>451.</a:t>
            </a:r>
            <a:r>
              <a:rPr lang="en-US" sz="1800" i="1" dirty="0">
                <a:solidFill>
                  <a:schemeClr val="tx1"/>
                </a:solidFill>
                <a:latin typeface="Arial" panose="020B0604020202020204" pitchFamily="34" charset="0"/>
                <a:cs typeface="Arial" panose="020B0604020202020204" pitchFamily="34" charset="0"/>
              </a:rPr>
              <a:t>588 </a:t>
            </a:r>
            <a:r>
              <a:rPr lang="en-US" sz="1800" i="1" dirty="0" err="1">
                <a:solidFill>
                  <a:schemeClr val="tx1"/>
                </a:solidFill>
                <a:latin typeface="Arial" panose="020B0604020202020204" pitchFamily="34" charset="0"/>
                <a:cs typeface="Arial" panose="020B0604020202020204" pitchFamily="34" charset="0"/>
              </a:rPr>
              <a:t>người</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rưởng</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hành</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ại</a:t>
            </a:r>
            <a:r>
              <a:rPr lang="en-US" sz="1800" i="1" dirty="0">
                <a:solidFill>
                  <a:schemeClr val="tx1"/>
                </a:solidFill>
                <a:latin typeface="Arial" panose="020B0604020202020204" pitchFamily="34" charset="0"/>
                <a:cs typeface="Arial" panose="020B0604020202020204" pitchFamily="34" charset="0"/>
              </a:rPr>
              <a:t> 4 </a:t>
            </a:r>
            <a:r>
              <a:rPr lang="en-US" sz="1800" i="1" dirty="0" err="1">
                <a:solidFill>
                  <a:schemeClr val="tx1"/>
                </a:solidFill>
                <a:latin typeface="Arial" panose="020B0604020202020204" pitchFamily="34" charset="0"/>
                <a:cs typeface="Arial" panose="020B0604020202020204" pitchFamily="34" charset="0"/>
              </a:rPr>
              <a:t>cộng</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đồng</a:t>
            </a:r>
            <a:r>
              <a:rPr lang="en-US" sz="1800" i="1" dirty="0">
                <a:solidFill>
                  <a:schemeClr val="tx1"/>
                </a:solidFill>
                <a:latin typeface="Arial" panose="020B0604020202020204" pitchFamily="34" charset="0"/>
                <a:cs typeface="Arial" panose="020B0604020202020204" pitchFamily="34" charset="0"/>
              </a:rPr>
              <a:t> ở Hoa Kỳ (Minnesota, Maryland, North Carolina, Mississippi)* </a:t>
            </a:r>
            <a:r>
              <a:rPr lang="vi-VN" sz="1800" i="1" dirty="0">
                <a:solidFill>
                  <a:schemeClr val="tx1"/>
                </a:solidFill>
                <a:latin typeface="Arial" panose="020B0604020202020204" pitchFamily="34" charset="0"/>
                <a:cs typeface="Arial" panose="020B0604020202020204" pitchFamily="34" charset="0"/>
              </a:rPr>
              <a:t>từ</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háng</a:t>
            </a:r>
            <a:r>
              <a:rPr lang="en-US" sz="1800" i="1" dirty="0">
                <a:solidFill>
                  <a:schemeClr val="tx1"/>
                </a:solidFill>
                <a:latin typeface="Arial" panose="020B0604020202020204" pitchFamily="34" charset="0"/>
                <a:cs typeface="Arial" panose="020B0604020202020204" pitchFamily="34" charset="0"/>
              </a:rPr>
              <a:t> 10/2010 </a:t>
            </a:r>
            <a:r>
              <a:rPr lang="en-US" sz="1800" i="1" dirty="0" err="1">
                <a:solidFill>
                  <a:schemeClr val="tx1"/>
                </a:solidFill>
                <a:latin typeface="Arial" panose="020B0604020202020204" pitchFamily="34" charset="0"/>
                <a:cs typeface="Arial" panose="020B0604020202020204" pitchFamily="34" charset="0"/>
              </a:rPr>
              <a:t>đến</a:t>
            </a:r>
            <a:r>
              <a:rPr lang="en-US" sz="1800" i="1" dirty="0">
                <a:solidFill>
                  <a:schemeClr val="tx1"/>
                </a:solidFill>
                <a:latin typeface="Arial" panose="020B0604020202020204" pitchFamily="34" charset="0"/>
                <a:cs typeface="Arial" panose="020B0604020202020204" pitchFamily="34" charset="0"/>
              </a:rPr>
              <a:t> </a:t>
            </a:r>
            <a:r>
              <a:rPr lang="en-US" sz="1800" i="1" dirty="0" err="1">
                <a:solidFill>
                  <a:schemeClr val="tx1"/>
                </a:solidFill>
                <a:latin typeface="Arial" panose="020B0604020202020204" pitchFamily="34" charset="0"/>
                <a:cs typeface="Arial" panose="020B0604020202020204" pitchFamily="34" charset="0"/>
              </a:rPr>
              <a:t>tháng</a:t>
            </a:r>
            <a:r>
              <a:rPr lang="en-US" sz="1800" i="1" dirty="0">
                <a:solidFill>
                  <a:schemeClr val="tx1"/>
                </a:solidFill>
                <a:latin typeface="Arial" panose="020B0604020202020204" pitchFamily="34" charset="0"/>
                <a:cs typeface="Arial" panose="020B0604020202020204" pitchFamily="34" charset="0"/>
              </a:rPr>
              <a:t> 9/2014</a:t>
            </a:r>
          </a:p>
        </p:txBody>
      </p:sp>
      <p:sp>
        <p:nvSpPr>
          <p:cNvPr id="9" name="ZoneTexte 8"/>
          <p:cNvSpPr txBox="1"/>
          <p:nvPr/>
        </p:nvSpPr>
        <p:spPr>
          <a:xfrm>
            <a:off x="1338699" y="450397"/>
            <a:ext cx="9514601" cy="646331"/>
          </a:xfrm>
          <a:prstGeom prst="rect">
            <a:avLst/>
          </a:prstGeom>
          <a:noFill/>
        </p:spPr>
        <p:txBody>
          <a:bodyPr wrap="square" rtlCol="0">
            <a:spAutoFit/>
          </a:bodyPr>
          <a:lstStyle/>
          <a:p>
            <a:pPr algn="ct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Liên</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quan</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giữa</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úm</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và</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hập</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viện</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vì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suy</a:t>
            </a:r>
            <a:r>
              <a:rPr lang="en-US" sz="36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600" b="1" dirty="0" err="1">
                <a:solidFill>
                  <a:srgbClr val="002060"/>
                </a:solidFill>
                <a:latin typeface="Calibri" panose="020F0502020204030204" pitchFamily="34" charset="0"/>
                <a:ea typeface="Calibri" panose="020F0502020204030204" pitchFamily="34" charset="0"/>
                <a:cs typeface="Calibri" panose="020F0502020204030204" pitchFamily="34" charset="0"/>
              </a:rPr>
              <a:t>tim</a:t>
            </a:r>
            <a:endParaRPr lang="fr-FR" sz="36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ZoneTexte 9"/>
          <p:cNvSpPr txBox="1"/>
          <p:nvPr/>
        </p:nvSpPr>
        <p:spPr>
          <a:xfrm>
            <a:off x="644457" y="5972349"/>
            <a:ext cx="5663653" cy="256545"/>
          </a:xfrm>
          <a:prstGeom prst="rect">
            <a:avLst/>
          </a:prstGeom>
          <a:noFill/>
        </p:spPr>
        <p:txBody>
          <a:bodyPr wrap="square" rtlCol="0">
            <a:spAutoFit/>
          </a:bodyPr>
          <a:lstStyle/>
          <a:p>
            <a:r>
              <a:rPr lang="en-US" sz="1067" dirty="0">
                <a:latin typeface="Arial" panose="020B0604020202020204" pitchFamily="34" charset="0"/>
                <a:cs typeface="Arial" panose="020B0604020202020204" pitchFamily="34" charset="0"/>
              </a:rPr>
              <a:t> </a:t>
            </a:r>
            <a:r>
              <a:rPr lang="en-US" sz="1067" dirty="0" err="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Kytömaa</a:t>
            </a:r>
            <a:r>
              <a:rPr lang="en-US" sz="1067"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C e al. JAMA </a:t>
            </a:r>
            <a:r>
              <a:rPr lang="en-US" sz="1067" dirty="0" err="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ardiol</a:t>
            </a:r>
            <a:r>
              <a:rPr lang="en-US" sz="1067"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Published online March 27, 2019.</a:t>
            </a:r>
            <a:endParaRPr lang="fr-FR" sz="1067" dirty="0">
              <a:latin typeface="Arial" panose="020B0604020202020204" pitchFamily="34" charset="0"/>
              <a:cs typeface="Arial" panose="020B0604020202020204" pitchFamily="34" charset="0"/>
            </a:endParaRPr>
          </a:p>
        </p:txBody>
      </p:sp>
      <p:sp>
        <p:nvSpPr>
          <p:cNvPr id="11" name="ZoneTexte 10"/>
          <p:cNvSpPr txBox="1"/>
          <p:nvPr/>
        </p:nvSpPr>
        <p:spPr>
          <a:xfrm>
            <a:off x="838200" y="3090066"/>
            <a:ext cx="3840427" cy="2001061"/>
          </a:xfrm>
          <a:prstGeom prst="rect">
            <a:avLst/>
          </a:prstGeom>
          <a:noFill/>
        </p:spPr>
        <p:txBody>
          <a:bodyPr wrap="square" rtlCol="0">
            <a:spAutoFit/>
          </a:bodyPr>
          <a:lstStyle/>
          <a:p>
            <a:pPr algn="ctr">
              <a:lnSpc>
                <a:spcPct val="150000"/>
              </a:lnSpc>
            </a:pPr>
            <a:r>
              <a:rPr lang="en-GB" sz="2133" dirty="0" err="1">
                <a:solidFill>
                  <a:srgbClr val="002060"/>
                </a:solidFill>
                <a:latin typeface="Arial" panose="020B0604020202020204" pitchFamily="34" charset="0"/>
                <a:cs typeface="Arial" panose="020B0604020202020204" pitchFamily="34" charset="0"/>
              </a:rPr>
              <a:t>Nhập</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viện</a:t>
            </a:r>
            <a:r>
              <a:rPr lang="en-GB" sz="2133" dirty="0">
                <a:solidFill>
                  <a:srgbClr val="002060"/>
                </a:solidFill>
                <a:latin typeface="Arial" panose="020B0604020202020204" pitchFamily="34" charset="0"/>
                <a:cs typeface="Arial" panose="020B0604020202020204" pitchFamily="34" charset="0"/>
              </a:rPr>
              <a:t> do </a:t>
            </a:r>
            <a:r>
              <a:rPr lang="en-GB" sz="2133" dirty="0" err="1">
                <a:solidFill>
                  <a:srgbClr val="002060"/>
                </a:solidFill>
                <a:latin typeface="Arial" panose="020B0604020202020204" pitchFamily="34" charset="0"/>
                <a:cs typeface="Arial" panose="020B0604020202020204" pitchFamily="34" charset="0"/>
              </a:rPr>
              <a:t>nguyên</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nhân</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tim</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mạch</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highlight>
                  <a:srgbClr val="FFFF00"/>
                </a:highlight>
                <a:latin typeface="Arial" panose="020B0604020202020204" pitchFamily="34" charset="0"/>
                <a:cs typeface="Arial" panose="020B0604020202020204" pitchFamily="34" charset="0"/>
              </a:rPr>
              <a:t>đặc</a:t>
            </a:r>
            <a:r>
              <a:rPr lang="en-GB" sz="2133" dirty="0">
                <a:solidFill>
                  <a:srgbClr val="002060"/>
                </a:solidFill>
                <a:highlight>
                  <a:srgbClr val="FFFF00"/>
                </a:highlight>
                <a:latin typeface="Arial" panose="020B0604020202020204" pitchFamily="34" charset="0"/>
                <a:cs typeface="Arial" panose="020B0604020202020204" pitchFamily="34" charset="0"/>
              </a:rPr>
              <a:t> </a:t>
            </a:r>
            <a:r>
              <a:rPr lang="en-GB" sz="2133" dirty="0" err="1">
                <a:solidFill>
                  <a:srgbClr val="002060"/>
                </a:solidFill>
                <a:highlight>
                  <a:srgbClr val="FFFF00"/>
                </a:highlight>
                <a:latin typeface="Arial" panose="020B0604020202020204" pitchFamily="34" charset="0"/>
                <a:cs typeface="Arial" panose="020B0604020202020204" pitchFamily="34" charset="0"/>
              </a:rPr>
              <a:t>biệt</a:t>
            </a:r>
            <a:r>
              <a:rPr lang="en-GB" sz="2133" dirty="0">
                <a:solidFill>
                  <a:srgbClr val="002060"/>
                </a:solidFill>
                <a:highlight>
                  <a:srgbClr val="FFFF00"/>
                </a:highlight>
                <a:latin typeface="Arial" panose="020B0604020202020204" pitchFamily="34" charset="0"/>
                <a:cs typeface="Arial" panose="020B0604020202020204" pitchFamily="34" charset="0"/>
              </a:rPr>
              <a:t> do </a:t>
            </a:r>
            <a:r>
              <a:rPr lang="en-GB" sz="2133" dirty="0" err="1">
                <a:solidFill>
                  <a:srgbClr val="002060"/>
                </a:solidFill>
                <a:highlight>
                  <a:srgbClr val="FFFF00"/>
                </a:highlight>
                <a:latin typeface="Arial" panose="020B0604020202020204" pitchFamily="34" charset="0"/>
                <a:cs typeface="Arial" panose="020B0604020202020204" pitchFamily="34" charset="0"/>
              </a:rPr>
              <a:t>suy</a:t>
            </a:r>
            <a:r>
              <a:rPr lang="en-GB" sz="2133" dirty="0">
                <a:solidFill>
                  <a:srgbClr val="002060"/>
                </a:solidFill>
                <a:highlight>
                  <a:srgbClr val="FFFF00"/>
                </a:highlight>
                <a:latin typeface="Arial" panose="020B0604020202020204" pitchFamily="34" charset="0"/>
                <a:cs typeface="Arial" panose="020B0604020202020204" pitchFamily="34" charset="0"/>
              </a:rPr>
              <a:t> </a:t>
            </a:r>
            <a:r>
              <a:rPr lang="en-GB" sz="2133" dirty="0" err="1">
                <a:solidFill>
                  <a:srgbClr val="002060"/>
                </a:solidFill>
                <a:highlight>
                  <a:srgbClr val="FFFF00"/>
                </a:highlight>
                <a:latin typeface="Arial" panose="020B0604020202020204" pitchFamily="34" charset="0"/>
                <a:cs typeface="Arial" panose="020B0604020202020204" pitchFamily="34" charset="0"/>
              </a:rPr>
              <a:t>tim</a:t>
            </a:r>
            <a:r>
              <a:rPr lang="en-GB" sz="2133" dirty="0">
                <a:solidFill>
                  <a:srgbClr val="002060"/>
                </a:solidFill>
                <a:latin typeface="Arial" panose="020B0604020202020204" pitchFamily="34" charset="0"/>
                <a:cs typeface="Arial" panose="020B0604020202020204" pitchFamily="34" charset="0"/>
              </a:rPr>
              <a:t>, có </a:t>
            </a:r>
            <a:r>
              <a:rPr lang="en-GB" sz="2133" dirty="0" err="1">
                <a:solidFill>
                  <a:srgbClr val="002060"/>
                </a:solidFill>
                <a:latin typeface="Arial" panose="020B0604020202020204" pitchFamily="34" charset="0"/>
                <a:cs typeface="Arial" panose="020B0604020202020204" pitchFamily="34" charset="0"/>
              </a:rPr>
              <a:t>liên</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quan</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với</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hoạt</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tính</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cúm</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hàng</a:t>
            </a:r>
            <a:r>
              <a:rPr lang="en-GB" sz="2133" dirty="0">
                <a:solidFill>
                  <a:srgbClr val="002060"/>
                </a:solidFill>
                <a:latin typeface="Arial" panose="020B0604020202020204" pitchFamily="34" charset="0"/>
                <a:cs typeface="Arial" panose="020B0604020202020204" pitchFamily="34" charset="0"/>
              </a:rPr>
              <a:t> </a:t>
            </a:r>
            <a:r>
              <a:rPr lang="en-GB" sz="2133" dirty="0" err="1">
                <a:solidFill>
                  <a:srgbClr val="002060"/>
                </a:solidFill>
                <a:latin typeface="Arial" panose="020B0604020202020204" pitchFamily="34" charset="0"/>
                <a:cs typeface="Arial" panose="020B0604020202020204" pitchFamily="34" charset="0"/>
              </a:rPr>
              <a:t>tháng</a:t>
            </a:r>
            <a:endParaRPr lang="en-GB" sz="2133" dirty="0">
              <a:solidFill>
                <a:srgbClr val="002060"/>
              </a:solidFill>
              <a:latin typeface="Arial" panose="020B0604020202020204" pitchFamily="34" charset="0"/>
              <a:cs typeface="Arial" panose="020B0604020202020204" pitchFamily="34" charset="0"/>
            </a:endParaRPr>
          </a:p>
        </p:txBody>
      </p:sp>
      <p:sp>
        <p:nvSpPr>
          <p:cNvPr id="2" name="ZoneTexte 1"/>
          <p:cNvSpPr txBox="1"/>
          <p:nvPr/>
        </p:nvSpPr>
        <p:spPr>
          <a:xfrm>
            <a:off x="640390" y="5715804"/>
            <a:ext cx="4375431" cy="256545"/>
          </a:xfrm>
          <a:prstGeom prst="rect">
            <a:avLst/>
          </a:prstGeom>
          <a:noFill/>
        </p:spPr>
        <p:txBody>
          <a:bodyPr wrap="square" rtlCol="0">
            <a:spAutoFit/>
          </a:bodyPr>
          <a:lstStyle/>
          <a:p>
            <a:r>
              <a:rPr lang="fr-FR" sz="1067" dirty="0">
                <a:latin typeface="Arial" panose="020B0604020202020204" pitchFamily="34" charset="0"/>
                <a:cs typeface="Arial" panose="020B0604020202020204" pitchFamily="34" charset="0"/>
              </a:rPr>
              <a:t>* ARIC (</a:t>
            </a:r>
            <a:r>
              <a:rPr lang="fr-FR" sz="1067" dirty="0" err="1">
                <a:latin typeface="Arial" panose="020B0604020202020204" pitchFamily="34" charset="0"/>
                <a:cs typeface="Arial" panose="020B0604020202020204" pitchFamily="34" charset="0"/>
              </a:rPr>
              <a:t>Atherosclerosis</a:t>
            </a:r>
            <a:r>
              <a:rPr lang="fr-FR" sz="1067" dirty="0">
                <a:latin typeface="Arial" panose="020B0604020202020204" pitchFamily="34" charset="0"/>
                <a:cs typeface="Arial" panose="020B0604020202020204" pitchFamily="34" charset="0"/>
              </a:rPr>
              <a:t> </a:t>
            </a:r>
            <a:r>
              <a:rPr lang="fr-FR" sz="1067" dirty="0" err="1">
                <a:latin typeface="Arial" panose="020B0604020202020204" pitchFamily="34" charset="0"/>
                <a:cs typeface="Arial" panose="020B0604020202020204" pitchFamily="34" charset="0"/>
              </a:rPr>
              <a:t>Risk</a:t>
            </a:r>
            <a:r>
              <a:rPr lang="fr-FR" sz="1067" dirty="0">
                <a:latin typeface="Arial" panose="020B0604020202020204" pitchFamily="34" charset="0"/>
                <a:cs typeface="Arial" panose="020B0604020202020204" pitchFamily="34" charset="0"/>
              </a:rPr>
              <a:t> in </a:t>
            </a:r>
            <a:r>
              <a:rPr lang="fr-FR" sz="1067" dirty="0" err="1">
                <a:latin typeface="Arial" panose="020B0604020202020204" pitchFamily="34" charset="0"/>
                <a:cs typeface="Arial" panose="020B0604020202020204" pitchFamily="34" charset="0"/>
              </a:rPr>
              <a:t>Communities</a:t>
            </a:r>
            <a:r>
              <a:rPr lang="fr-FR" sz="1067"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186170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75192" y="325498"/>
            <a:ext cx="11353800" cy="1120820"/>
          </a:xfrm>
          <a:prstGeom prst="rect">
            <a:avLst/>
          </a:prstGeom>
        </p:spPr>
        <p:txBody>
          <a:bodyPr vert="horz" wrap="square" lIns="0" tIns="12700" rIns="0" bIns="0" rtlCol="0">
            <a:spAutoFit/>
          </a:bodyPr>
          <a:lstStyle/>
          <a:p>
            <a:pPr marL="713740" algn="ctr">
              <a:lnSpc>
                <a:spcPct val="100000"/>
              </a:lnSpc>
              <a:spcBef>
                <a:spcPts val="100"/>
              </a:spcBef>
            </a:pPr>
            <a:r>
              <a:rPr lang="vi-VN" sz="3600" cap="none" spc="-200" dirty="0">
                <a:solidFill>
                  <a:srgbClr val="002060"/>
                </a:solidFill>
                <a:latin typeface="Calibri" panose="020F0502020204030204" pitchFamily="34" charset="0"/>
                <a:ea typeface="Calibri" panose="020F0502020204030204" pitchFamily="34" charset="0"/>
                <a:cs typeface="Calibri" panose="020F0502020204030204" pitchFamily="34" charset="0"/>
              </a:rPr>
              <a:t>Nhiễm cúm làm gia tăng tỷ lệ tử vong nội viện </a:t>
            </a:r>
            <a:br>
              <a:rPr lang="en-US" sz="3600" cap="none" spc="-200"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vi-VN" sz="3600" cap="none" spc="-200" dirty="0">
                <a:solidFill>
                  <a:srgbClr val="002060"/>
                </a:solidFill>
                <a:latin typeface="Calibri" panose="020F0502020204030204" pitchFamily="34" charset="0"/>
                <a:ea typeface="Calibri" panose="020F0502020204030204" pitchFamily="34" charset="0"/>
                <a:cs typeface="Calibri" panose="020F0502020204030204" pitchFamily="34" charset="0"/>
              </a:rPr>
              <a:t>ở bệnh nhân suy tim</a:t>
            </a:r>
            <a:endParaRPr lang="vi-VN" sz="3600" u="heavy" cap="none" spc="-225" dirty="0">
              <a:solidFill>
                <a:srgbClr val="002060"/>
              </a:solidFill>
              <a:uFill>
                <a:solidFill>
                  <a:srgbClr val="372D83"/>
                </a:solidFill>
              </a:uFill>
              <a:latin typeface="Calibri" panose="020F0502020204030204" pitchFamily="34" charset="0"/>
              <a:ea typeface="Calibri" panose="020F0502020204030204" pitchFamily="34" charset="0"/>
              <a:cs typeface="Calibri" panose="020F0502020204030204" pitchFamily="34" charset="0"/>
            </a:endParaRPr>
          </a:p>
        </p:txBody>
      </p:sp>
      <p:sp>
        <p:nvSpPr>
          <p:cNvPr id="5" name="object 5"/>
          <p:cNvSpPr txBox="1"/>
          <p:nvPr/>
        </p:nvSpPr>
        <p:spPr>
          <a:xfrm>
            <a:off x="685800" y="6098340"/>
            <a:ext cx="2438400" cy="197490"/>
          </a:xfrm>
          <a:prstGeom prst="rect">
            <a:avLst/>
          </a:prstGeom>
        </p:spPr>
        <p:txBody>
          <a:bodyPr vert="horz" wrap="square" lIns="0" tIns="12700" rIns="0" bIns="0" rtlCol="0">
            <a:spAutoFit/>
          </a:bodyPr>
          <a:lstStyle/>
          <a:p>
            <a:pPr marL="12700">
              <a:lnSpc>
                <a:spcPct val="100000"/>
              </a:lnSpc>
              <a:spcBef>
                <a:spcPts val="100"/>
              </a:spcBef>
            </a:pPr>
            <a:r>
              <a:rPr sz="1200" spc="-90" dirty="0">
                <a:latin typeface="Arial"/>
                <a:cs typeface="Arial"/>
              </a:rPr>
              <a:t>Panwar </a:t>
            </a:r>
            <a:r>
              <a:rPr sz="1200" spc="-25" dirty="0">
                <a:latin typeface="Arial"/>
                <a:cs typeface="Arial"/>
              </a:rPr>
              <a:t>et. </a:t>
            </a:r>
            <a:r>
              <a:rPr sz="1200" spc="-45" dirty="0">
                <a:latin typeface="Arial"/>
                <a:cs typeface="Arial"/>
              </a:rPr>
              <a:t>al. </a:t>
            </a:r>
            <a:r>
              <a:rPr sz="1200" spc="-175" dirty="0">
                <a:latin typeface="Arial"/>
                <a:cs typeface="Arial"/>
              </a:rPr>
              <a:t>J</a:t>
            </a:r>
            <a:r>
              <a:rPr lang="vi-VN" sz="1200" spc="-175" dirty="0">
                <a:latin typeface="Arial"/>
                <a:cs typeface="Arial"/>
              </a:rPr>
              <a:t> </a:t>
            </a:r>
            <a:r>
              <a:rPr sz="1200" spc="-175" dirty="0">
                <a:latin typeface="Arial"/>
                <a:cs typeface="Arial"/>
              </a:rPr>
              <a:t>A</a:t>
            </a:r>
            <a:r>
              <a:rPr lang="vi-VN" sz="1200" spc="-175" dirty="0">
                <a:latin typeface="Arial"/>
                <a:cs typeface="Arial"/>
              </a:rPr>
              <a:t> </a:t>
            </a:r>
            <a:r>
              <a:rPr sz="1200" spc="-175" dirty="0">
                <a:latin typeface="Arial"/>
                <a:cs typeface="Arial"/>
              </a:rPr>
              <a:t>C</a:t>
            </a:r>
            <a:r>
              <a:rPr lang="vi-VN" sz="1200" spc="-175" dirty="0">
                <a:latin typeface="Arial"/>
                <a:cs typeface="Arial"/>
              </a:rPr>
              <a:t> </a:t>
            </a:r>
            <a:r>
              <a:rPr sz="1200" spc="-175" dirty="0">
                <a:latin typeface="Arial"/>
                <a:cs typeface="Arial"/>
              </a:rPr>
              <a:t>C</a:t>
            </a:r>
            <a:r>
              <a:rPr lang="vi-VN" sz="1200" spc="-175" dirty="0">
                <a:latin typeface="Arial"/>
                <a:cs typeface="Arial"/>
              </a:rPr>
              <a:t> </a:t>
            </a:r>
            <a:r>
              <a:rPr lang="en-US" sz="1200" spc="-175" dirty="0">
                <a:latin typeface="Arial"/>
                <a:cs typeface="Arial"/>
              </a:rPr>
              <a:t>–</a:t>
            </a:r>
            <a:r>
              <a:rPr lang="vi-VN" sz="1200" spc="-175" dirty="0">
                <a:latin typeface="Arial"/>
                <a:cs typeface="Arial"/>
              </a:rPr>
              <a:t> </a:t>
            </a:r>
            <a:r>
              <a:rPr sz="1200" spc="-175" dirty="0">
                <a:latin typeface="Arial"/>
                <a:cs typeface="Arial"/>
              </a:rPr>
              <a:t>H</a:t>
            </a:r>
            <a:r>
              <a:rPr lang="vi-VN" sz="1200" spc="-175" dirty="0">
                <a:latin typeface="Arial"/>
                <a:cs typeface="Arial"/>
              </a:rPr>
              <a:t> </a:t>
            </a:r>
            <a:r>
              <a:rPr sz="1200" spc="-175" dirty="0">
                <a:latin typeface="Arial"/>
                <a:cs typeface="Arial"/>
              </a:rPr>
              <a:t>F.</a:t>
            </a:r>
            <a:r>
              <a:rPr sz="1200" spc="-140" dirty="0">
                <a:latin typeface="Arial"/>
                <a:cs typeface="Arial"/>
              </a:rPr>
              <a:t> </a:t>
            </a:r>
            <a:r>
              <a:rPr sz="1200" spc="-50" dirty="0">
                <a:latin typeface="Arial"/>
                <a:cs typeface="Arial"/>
              </a:rPr>
              <a:t>2019</a:t>
            </a:r>
            <a:endParaRPr sz="1200" dirty="0">
              <a:latin typeface="Arial"/>
              <a:cs typeface="Arial"/>
            </a:endParaRPr>
          </a:p>
        </p:txBody>
      </p:sp>
      <p:grpSp>
        <p:nvGrpSpPr>
          <p:cNvPr id="6" name="object 6"/>
          <p:cNvGrpSpPr/>
          <p:nvPr/>
        </p:nvGrpSpPr>
        <p:grpSpPr>
          <a:xfrm>
            <a:off x="685800" y="1866636"/>
            <a:ext cx="11041912" cy="3997842"/>
            <a:chOff x="1464448" y="1456211"/>
            <a:chExt cx="9039225" cy="5106670"/>
          </a:xfrm>
        </p:grpSpPr>
        <p:sp>
          <p:nvSpPr>
            <p:cNvPr id="7" name="object 7"/>
            <p:cNvSpPr/>
            <p:nvPr/>
          </p:nvSpPr>
          <p:spPr>
            <a:xfrm>
              <a:off x="1473200" y="1473200"/>
              <a:ext cx="9010587" cy="5077744"/>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478736" y="1470498"/>
              <a:ext cx="9010650" cy="5078095"/>
            </a:xfrm>
            <a:custGeom>
              <a:avLst/>
              <a:gdLst/>
              <a:ahLst/>
              <a:cxnLst/>
              <a:rect l="l" t="t" r="r" b="b"/>
              <a:pathLst>
                <a:path w="9010650" h="5078095">
                  <a:moveTo>
                    <a:pt x="0" y="0"/>
                  </a:moveTo>
                  <a:lnTo>
                    <a:pt x="9010587" y="0"/>
                  </a:lnTo>
                  <a:lnTo>
                    <a:pt x="9010587" y="5077744"/>
                  </a:lnTo>
                  <a:lnTo>
                    <a:pt x="0" y="5077744"/>
                  </a:lnTo>
                  <a:lnTo>
                    <a:pt x="0" y="0"/>
                  </a:lnTo>
                  <a:close/>
                </a:path>
              </a:pathLst>
            </a:custGeom>
            <a:ln w="28575">
              <a:solidFill>
                <a:srgbClr val="000000"/>
              </a:solidFill>
            </a:ln>
          </p:spPr>
          <p:txBody>
            <a:bodyPr wrap="square" lIns="0" tIns="0" rIns="0" bIns="0" rtlCol="0"/>
            <a:lstStyle/>
            <a:p>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A9393-C111-C8C0-90DB-3000AB3FDD79}"/>
              </a:ext>
            </a:extLst>
          </p:cNvPr>
          <p:cNvSpPr>
            <a:spLocks noGrp="1"/>
          </p:cNvSpPr>
          <p:nvPr>
            <p:ph type="title"/>
          </p:nvPr>
        </p:nvSpPr>
        <p:spPr>
          <a:xfrm>
            <a:off x="838200" y="365126"/>
            <a:ext cx="10515600" cy="804456"/>
          </a:xfrm>
        </p:spPr>
        <p:txBody>
          <a:bodyPr>
            <a:normAutofit/>
          </a:bodyPr>
          <a:lstStyle/>
          <a:p>
            <a:pPr algn="ctr"/>
            <a:r>
              <a:rPr lang="en-US" sz="4000" b="1" dirty="0" err="1">
                <a:solidFill>
                  <a:schemeClr val="accent5">
                    <a:lumMod val="75000"/>
                  </a:schemeClr>
                </a:solidFill>
                <a:latin typeface="+mn-lt"/>
              </a:rPr>
              <a:t>Lưu</a:t>
            </a:r>
            <a:r>
              <a:rPr lang="en-US" sz="4000" b="1" dirty="0">
                <a:solidFill>
                  <a:schemeClr val="accent5">
                    <a:lumMod val="75000"/>
                  </a:schemeClr>
                </a:solidFill>
                <a:latin typeface="+mn-lt"/>
              </a:rPr>
              <a:t> ý</a:t>
            </a:r>
            <a:endParaRPr lang="en-US" sz="4000" dirty="0">
              <a:solidFill>
                <a:schemeClr val="accent5">
                  <a:lumMod val="75000"/>
                </a:schemeClr>
              </a:solidFill>
              <a:latin typeface="+mn-lt"/>
            </a:endParaRPr>
          </a:p>
        </p:txBody>
      </p:sp>
      <p:sp>
        <p:nvSpPr>
          <p:cNvPr id="3" name="Content Placeholder 2">
            <a:extLst>
              <a:ext uri="{FF2B5EF4-FFF2-40B4-BE49-F238E27FC236}">
                <a16:creationId xmlns:a16="http://schemas.microsoft.com/office/drawing/2014/main" id="{1E5BE450-F123-4A47-239F-7947F31C3C2A}"/>
              </a:ext>
            </a:extLst>
          </p:cNvPr>
          <p:cNvSpPr>
            <a:spLocks noGrp="1"/>
          </p:cNvSpPr>
          <p:nvPr>
            <p:ph idx="1"/>
          </p:nvPr>
        </p:nvSpPr>
        <p:spPr>
          <a:xfrm>
            <a:off x="838200" y="1413177"/>
            <a:ext cx="10857614" cy="4351338"/>
          </a:xfrm>
        </p:spPr>
        <p:txBody>
          <a:bodyPr>
            <a:normAutofit fontScale="70000" lnSpcReduction="20000"/>
          </a:bodyPr>
          <a:lstStyle/>
          <a:p>
            <a:pPr>
              <a:lnSpc>
                <a:spcPct val="150000"/>
              </a:lnSpc>
            </a:pPr>
            <a:r>
              <a:rPr lang="vi-VN" sz="3200" dirty="0"/>
              <a:t>Nội dung trình bày chỉ thể hiện quan điểm và kinh nghiệm của báo cáo viên và không nhất thiết thể hiện quan điểm hay khuyến nghị của Pfizer dưới bất kỳ hình thức nào. </a:t>
            </a:r>
          </a:p>
          <a:p>
            <a:pPr>
              <a:lnSpc>
                <a:spcPct val="150000"/>
              </a:lnSpc>
            </a:pPr>
            <a:r>
              <a:rPr lang="vi-VN" sz="3200" dirty="0"/>
              <a:t>Hình ảnh/nội dung trích dẫn trong bài báo cáo thuộc về báo cáo viên hoặc sử dụng bởi báo cáo viên. </a:t>
            </a:r>
          </a:p>
          <a:p>
            <a:pPr>
              <a:lnSpc>
                <a:spcPct val="150000"/>
              </a:lnSpc>
            </a:pPr>
            <a:r>
              <a:rPr lang="vi-VN" sz="3200" dirty="0"/>
              <a:t>Pfizer đã kiểm tra nội dung để đảm bảo thỏa một số tiêu chuẩn cụ thể nhưng không đảm bảo sự chính xác trong trích dẫn tài liệu, và bản quyền hình ảnh và nội dung trích dẫn. Pfizer, các công ty con hoặc công ty liên kết không chịu trách nhiệm dưới bất kỳ hình thức nào cho tính chính xác của nội dung bài báo cáo.</a:t>
            </a:r>
            <a:endParaRPr lang="en-US" sz="3200" dirty="0"/>
          </a:p>
        </p:txBody>
      </p:sp>
    </p:spTree>
    <p:extLst>
      <p:ext uri="{BB962C8B-B14F-4D97-AF65-F5344CB8AC3E}">
        <p14:creationId xmlns:p14="http://schemas.microsoft.com/office/powerpoint/2010/main" val="25012958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40F3D1F9-4572-0005-48C7-0D8E718D1E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1876" y="138113"/>
            <a:ext cx="5315696" cy="658177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1D56B0C-D6A2-357E-0B8F-B770A77F67F9}"/>
              </a:ext>
            </a:extLst>
          </p:cNvPr>
          <p:cNvSpPr>
            <a:spLocks noGrp="1"/>
          </p:cNvSpPr>
          <p:nvPr>
            <p:ph type="title"/>
          </p:nvPr>
        </p:nvSpPr>
        <p:spPr>
          <a:xfrm>
            <a:off x="687558" y="353126"/>
            <a:ext cx="5481152" cy="1325563"/>
          </a:xfrm>
        </p:spPr>
        <p:txBody>
          <a:bodyPr>
            <a:normAutofit/>
          </a:bodyPr>
          <a:lstStyle/>
          <a:p>
            <a:pPr algn="ct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Nguy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ơ</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im</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mạch</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ăng</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br>
              <a:rPr lang="vi-VN"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khi</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nhiễm</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úm</a:t>
            </a:r>
            <a:r>
              <a:rPr lang="en-US" sz="32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p>
        </p:txBody>
      </p:sp>
      <p:pic>
        <p:nvPicPr>
          <p:cNvPr id="1026" name="Picture 2">
            <a:extLst>
              <a:ext uri="{FF2B5EF4-FFF2-40B4-BE49-F238E27FC236}">
                <a16:creationId xmlns:a16="http://schemas.microsoft.com/office/drawing/2014/main" id="{C03714A1-569E-8A3B-ADBB-589DF5DE98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981200"/>
            <a:ext cx="6315170" cy="443861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CD05348-C5F2-2A46-5CE1-50B95715E1E6}"/>
              </a:ext>
            </a:extLst>
          </p:cNvPr>
          <p:cNvSpPr txBox="1"/>
          <p:nvPr/>
        </p:nvSpPr>
        <p:spPr>
          <a:xfrm>
            <a:off x="381000" y="6543674"/>
            <a:ext cx="6094268" cy="261610"/>
          </a:xfrm>
          <a:prstGeom prst="rect">
            <a:avLst/>
          </a:prstGeom>
          <a:noFill/>
        </p:spPr>
        <p:txBody>
          <a:bodyPr wrap="square">
            <a:spAutoFit/>
          </a:bodyPr>
          <a:lstStyle/>
          <a:p>
            <a:r>
              <a:rPr lang="en-US" sz="1050" dirty="0">
                <a:latin typeface="Arial" panose="020B0604020202020204" pitchFamily="34" charset="0"/>
                <a:cs typeface="Arial" panose="020B0604020202020204" pitchFamily="34" charset="0"/>
              </a:rPr>
              <a:t>European Heart Journal Supplements (2023) 25 (Supplement A), A5–A11</a:t>
            </a:r>
          </a:p>
        </p:txBody>
      </p:sp>
    </p:spTree>
    <p:extLst>
      <p:ext uri="{BB962C8B-B14F-4D97-AF65-F5344CB8AC3E}">
        <p14:creationId xmlns:p14="http://schemas.microsoft.com/office/powerpoint/2010/main" val="20504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24910" y="1041485"/>
            <a:ext cx="3547360" cy="1586332"/>
          </a:xfrm>
          <a:prstGeom prst="rect">
            <a:avLst/>
          </a:prstGeom>
          <a:ln w="28575">
            <a:noFill/>
          </a:ln>
        </p:spPr>
        <p:txBody>
          <a:bodyPr vert="horz" wrap="square" lIns="0" tIns="16510" rIns="0" bIns="0" rtlCol="0" anchor="t">
            <a:spAutoFit/>
          </a:bodyPr>
          <a:lstStyle/>
          <a:p>
            <a:pPr marL="12700" algn="ctr">
              <a:lnSpc>
                <a:spcPct val="100000"/>
              </a:lnSpc>
              <a:spcBef>
                <a:spcPts val="130"/>
              </a:spcBef>
            </a:pPr>
            <a:r>
              <a:rPr lang="vi-VN" sz="3400" b="1" cap="none" spc="-204" dirty="0">
                <a:solidFill>
                  <a:srgbClr val="002060"/>
                </a:solidFill>
                <a:latin typeface="Calibri" panose="020F0502020204030204" pitchFamily="34" charset="0"/>
                <a:ea typeface="Calibri" panose="020F0502020204030204" pitchFamily="34" charset="0"/>
                <a:cs typeface="Calibri" panose="020F0502020204030204" pitchFamily="34" charset="0"/>
              </a:rPr>
              <a:t>Nhiễm cúm tăng nguy cơ mắc suy tim và </a:t>
            </a:r>
            <a:br>
              <a:rPr lang="vi-VN" sz="3400" b="1" cap="none" spc="-204"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vi-VN" sz="3400" b="1" cap="none" spc="-204" dirty="0">
                <a:solidFill>
                  <a:srgbClr val="002060"/>
                </a:solidFill>
                <a:latin typeface="Calibri" panose="020F0502020204030204" pitchFamily="34" charset="0"/>
                <a:ea typeface="Calibri" panose="020F0502020204030204" pitchFamily="34" charset="0"/>
                <a:cs typeface="Calibri" panose="020F0502020204030204" pitchFamily="34" charset="0"/>
              </a:rPr>
              <a:t>nhồi máu cơ tim</a:t>
            </a:r>
            <a:endParaRPr lang="vi-VN" sz="3400" b="1" cap="none"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object 7"/>
          <p:cNvSpPr/>
          <p:nvPr/>
        </p:nvSpPr>
        <p:spPr>
          <a:xfrm>
            <a:off x="4191000" y="172166"/>
            <a:ext cx="7772400" cy="6533433"/>
          </a:xfrm>
          <a:prstGeom prst="rect">
            <a:avLst/>
          </a:prstGeom>
          <a:blipFill>
            <a:blip r:embed="rId2" cstate="print"/>
            <a:stretch>
              <a:fillRect/>
            </a:stretch>
          </a:blipFill>
        </p:spPr>
        <p:txBody>
          <a:bodyPr wrap="square" lIns="0" tIns="0" rIns="0" bIns="0" rtlCol="0"/>
          <a:lstStyle/>
          <a:p>
            <a:endParaRPr/>
          </a:p>
        </p:txBody>
      </p:sp>
      <p:grpSp>
        <p:nvGrpSpPr>
          <p:cNvPr id="2" name="Group 1">
            <a:extLst>
              <a:ext uri="{FF2B5EF4-FFF2-40B4-BE49-F238E27FC236}">
                <a16:creationId xmlns:a16="http://schemas.microsoft.com/office/drawing/2014/main" id="{26A3E7DA-8462-329A-E3AA-E0384500EAB1}"/>
              </a:ext>
            </a:extLst>
          </p:cNvPr>
          <p:cNvGrpSpPr/>
          <p:nvPr/>
        </p:nvGrpSpPr>
        <p:grpSpPr>
          <a:xfrm>
            <a:off x="298776" y="5562600"/>
            <a:ext cx="3454872" cy="752875"/>
            <a:chOff x="624032" y="6487524"/>
            <a:chExt cx="6102350" cy="381556"/>
          </a:xfrm>
        </p:grpSpPr>
        <p:sp>
          <p:nvSpPr>
            <p:cNvPr id="16" name="TextBox 15">
              <a:extLst>
                <a:ext uri="{FF2B5EF4-FFF2-40B4-BE49-F238E27FC236}">
                  <a16:creationId xmlns:a16="http://schemas.microsoft.com/office/drawing/2014/main" id="{30D0E67F-6CC0-37F2-11F7-D9D547F1622A}"/>
                </a:ext>
              </a:extLst>
            </p:cNvPr>
            <p:cNvSpPr txBox="1"/>
            <p:nvPr/>
          </p:nvSpPr>
          <p:spPr>
            <a:xfrm>
              <a:off x="624032" y="6487524"/>
              <a:ext cx="5294796" cy="128684"/>
            </a:xfrm>
            <a:prstGeom prst="rect">
              <a:avLst/>
            </a:prstGeom>
            <a:noFill/>
          </p:spPr>
          <p:txBody>
            <a:bodyPr wrap="square">
              <a:spAutoFit/>
            </a:bodyPr>
            <a:lstStyle/>
            <a:p>
              <a:r>
                <a:rPr lang="en-US" sz="1050" dirty="0"/>
                <a:t>European Heart Journal (2017) 38, 334–337</a:t>
              </a:r>
            </a:p>
          </p:txBody>
        </p:sp>
        <p:sp>
          <p:nvSpPr>
            <p:cNvPr id="5" name="TextBox 4">
              <a:extLst>
                <a:ext uri="{FF2B5EF4-FFF2-40B4-BE49-F238E27FC236}">
                  <a16:creationId xmlns:a16="http://schemas.microsoft.com/office/drawing/2014/main" id="{3D163C9E-B9FE-91F0-01A1-9FC3AA4A3CD8}"/>
                </a:ext>
              </a:extLst>
            </p:cNvPr>
            <p:cNvSpPr txBox="1"/>
            <p:nvPr/>
          </p:nvSpPr>
          <p:spPr>
            <a:xfrm>
              <a:off x="632114" y="6650709"/>
              <a:ext cx="6094268" cy="218371"/>
            </a:xfrm>
            <a:prstGeom prst="rect">
              <a:avLst/>
            </a:prstGeom>
            <a:noFill/>
          </p:spPr>
          <p:txBody>
            <a:bodyPr wrap="square">
              <a:spAutoFit/>
            </a:bodyPr>
            <a:lstStyle/>
            <a:p>
              <a:r>
                <a:rPr lang="fr-FR" sz="1100" dirty="0"/>
                <a:t>Front. </a:t>
              </a:r>
              <a:r>
                <a:rPr lang="fr-FR" sz="1100" dirty="0" err="1"/>
                <a:t>Immunol</a:t>
              </a:r>
              <a:r>
                <a:rPr lang="fr-FR" sz="1100" dirty="0"/>
                <a:t>. 11:570681.</a:t>
              </a:r>
              <a:endParaRPr lang="vi-VN" sz="1100" dirty="0"/>
            </a:p>
            <a:p>
              <a:r>
                <a:rPr lang="fr-FR" sz="1100" dirty="0"/>
                <a:t> </a:t>
              </a:r>
              <a:r>
                <a:rPr lang="fr-FR" sz="1100" dirty="0" err="1"/>
                <a:t>doi</a:t>
              </a:r>
              <a:r>
                <a:rPr lang="fr-FR" sz="1100" dirty="0"/>
                <a:t>: 10.3389/fimmu.2020.570681</a:t>
              </a:r>
              <a:endParaRPr lang="en-US" sz="1100" dirty="0"/>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BEA73E-9833-E45D-B702-8B96C5C650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E3BEA73E-9833-E45D-B702-8B96C5C650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44635663-9EE0-42D5-B85A-DD0B4AB6A561}"/>
              </a:ext>
            </a:extLst>
          </p:cNvPr>
          <p:cNvPicPr>
            <a:picLocks noChangeAspect="1"/>
          </p:cNvPicPr>
          <p:nvPr/>
        </p:nvPicPr>
        <p:blipFill>
          <a:blip r:embed="rId5"/>
          <a:stretch>
            <a:fillRect/>
          </a:stretch>
        </p:blipFill>
        <p:spPr>
          <a:xfrm>
            <a:off x="241648" y="6325514"/>
            <a:ext cx="9829800" cy="466725"/>
          </a:xfrm>
          <a:prstGeom prst="rect">
            <a:avLst/>
          </a:prstGeom>
        </p:spPr>
      </p:pic>
      <p:sp>
        <p:nvSpPr>
          <p:cNvPr id="4" name="Rectangle 3">
            <a:extLst>
              <a:ext uri="{FF2B5EF4-FFF2-40B4-BE49-F238E27FC236}">
                <a16:creationId xmlns:a16="http://schemas.microsoft.com/office/drawing/2014/main" id="{C7D1B687-E065-DFED-04B5-985BD3D4BF02}"/>
              </a:ext>
            </a:extLst>
          </p:cNvPr>
          <p:cNvSpPr/>
          <p:nvPr/>
        </p:nvSpPr>
        <p:spPr>
          <a:xfrm>
            <a:off x="610821" y="1800793"/>
            <a:ext cx="3209366" cy="37046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Verdana"/>
                <a:ea typeface="+mn-ea"/>
                <a:cs typeface="+mn-cs"/>
              </a:rPr>
              <a:t>NMC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00"/>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Verdana"/>
                <a:ea typeface="+mn-ea"/>
                <a:cs typeface="+mn-cs"/>
              </a:rPr>
              <a:t>Nguy</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cơ</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tăng</a:t>
            </a:r>
            <a:endParaRPr kumimoji="0" lang="en-US" sz="20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a:ea typeface="+mn-ea"/>
                <a:cs typeface="+mn-cs"/>
              </a:rPr>
              <a:t>6-10 </a:t>
            </a:r>
            <a:r>
              <a:rPr kumimoji="0" lang="en-US" sz="2800" b="1" i="0" u="none" strike="noStrike" kern="1200" cap="none" spc="0" normalizeH="0" baseline="0" noProof="0" dirty="0" err="1">
                <a:ln>
                  <a:noFill/>
                </a:ln>
                <a:solidFill>
                  <a:prstClr val="white"/>
                </a:solidFill>
                <a:effectLst/>
                <a:uLnTx/>
                <a:uFillTx/>
                <a:latin typeface="Verdana"/>
                <a:ea typeface="+mn-ea"/>
                <a:cs typeface="+mn-cs"/>
              </a:rPr>
              <a:t>lần</a:t>
            </a:r>
            <a:endParaRPr kumimoji="0" lang="en-US" sz="2800" b="1"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Trong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vòng</a:t>
            </a:r>
            <a:r>
              <a:rPr kumimoji="0" lang="en-US" sz="2000" b="0" i="0" u="none" strike="noStrike" kern="1200" cap="none" spc="0" normalizeH="0" baseline="0" noProof="0" dirty="0">
                <a:ln>
                  <a:noFill/>
                </a:ln>
                <a:solidFill>
                  <a:prstClr val="white"/>
                </a:solidFill>
                <a:effectLst/>
                <a:uLnTx/>
                <a:uFillTx/>
                <a:latin typeface="Verdana"/>
                <a:ea typeface="+mn-ea"/>
                <a:cs typeface="+mn-cs"/>
              </a:rPr>
              <a:t> 1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tuần</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sau</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khi</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nhiễm</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bệnh</a:t>
            </a:r>
            <a:endParaRPr kumimoji="0" lang="en-US"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C07720FC-9AB6-E79B-B42C-D1155659D32B}"/>
              </a:ext>
            </a:extLst>
          </p:cNvPr>
          <p:cNvSpPr/>
          <p:nvPr/>
        </p:nvSpPr>
        <p:spPr>
          <a:xfrm>
            <a:off x="4625370" y="1800793"/>
            <a:ext cx="3209366" cy="3704649"/>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FFFF00"/>
                </a:solidFill>
                <a:effectLst/>
                <a:uLnTx/>
                <a:uFillTx/>
                <a:latin typeface="Verdana"/>
                <a:ea typeface="+mn-ea"/>
                <a:cs typeface="+mn-cs"/>
              </a:rPr>
              <a:t>Đột</a:t>
            </a:r>
            <a:r>
              <a:rPr kumimoji="0" lang="en-US" sz="2800" b="1" i="0" u="none" strike="noStrike" kern="1200" cap="none" spc="0" normalizeH="0" baseline="0" noProof="0" dirty="0">
                <a:ln>
                  <a:noFill/>
                </a:ln>
                <a:solidFill>
                  <a:srgbClr val="FFFF00"/>
                </a:solidFill>
                <a:effectLst/>
                <a:uLnTx/>
                <a:uFillTx/>
                <a:latin typeface="Verdana"/>
                <a:ea typeface="+mn-ea"/>
                <a:cs typeface="+mn-cs"/>
              </a:rPr>
              <a:t> </a:t>
            </a:r>
            <a:r>
              <a:rPr kumimoji="0" lang="en-US" sz="2800" b="1" i="0" u="none" strike="noStrike" kern="1200" cap="none" spc="0" normalizeH="0" baseline="0" noProof="0" dirty="0" err="1">
                <a:ln>
                  <a:noFill/>
                </a:ln>
                <a:solidFill>
                  <a:srgbClr val="FFFF00"/>
                </a:solidFill>
                <a:effectLst/>
                <a:uLnTx/>
                <a:uFillTx/>
                <a:latin typeface="Verdana"/>
                <a:ea typeface="+mn-ea"/>
                <a:cs typeface="+mn-cs"/>
              </a:rPr>
              <a:t>quỵ</a:t>
            </a:r>
            <a:r>
              <a:rPr kumimoji="0" lang="en-US" sz="2800" b="1" i="0" u="none" strike="noStrike" kern="1200" cap="none" spc="0" normalizeH="0" baseline="0" noProof="0" dirty="0">
                <a:ln>
                  <a:noFill/>
                </a:ln>
                <a:solidFill>
                  <a:srgbClr val="FFFF00"/>
                </a:solidFill>
                <a:effectLst/>
                <a:uLnTx/>
                <a:uFillTx/>
                <a:latin typeface="Verdana"/>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00"/>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Verdana"/>
                <a:ea typeface="+mn-ea"/>
                <a:cs typeface="+mn-cs"/>
              </a:rPr>
              <a:t>Nguy</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cơ</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tăng</a:t>
            </a:r>
            <a:endParaRPr kumimoji="0" lang="en-US" sz="20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a:ea typeface="+mn-ea"/>
                <a:cs typeface="+mn-cs"/>
              </a:rPr>
              <a:t>3-10 </a:t>
            </a:r>
            <a:r>
              <a:rPr kumimoji="0" lang="en-US" sz="2800" b="1" i="0" u="none" strike="noStrike" kern="1200" cap="none" spc="0" normalizeH="0" baseline="0" noProof="0" dirty="0" err="1">
                <a:ln>
                  <a:noFill/>
                </a:ln>
                <a:solidFill>
                  <a:prstClr val="white"/>
                </a:solidFill>
                <a:effectLst/>
                <a:uLnTx/>
                <a:uFillTx/>
                <a:latin typeface="Verdana"/>
                <a:ea typeface="+mn-ea"/>
                <a:cs typeface="+mn-cs"/>
              </a:rPr>
              <a:t>lần</a:t>
            </a:r>
            <a:endParaRPr kumimoji="0" lang="en-US" sz="2800" b="1"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A491505D-CDF9-CC5B-E55A-4B145245B170}"/>
              </a:ext>
            </a:extLst>
          </p:cNvPr>
          <p:cNvSpPr/>
          <p:nvPr/>
        </p:nvSpPr>
        <p:spPr>
          <a:xfrm>
            <a:off x="8541309" y="1800793"/>
            <a:ext cx="3209366" cy="370464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FFFF00"/>
                </a:solidFill>
                <a:effectLst/>
                <a:uLnTx/>
                <a:uFillTx/>
                <a:latin typeface="Verdana"/>
                <a:ea typeface="+mn-ea"/>
                <a:cs typeface="+mn-cs"/>
              </a:rPr>
              <a:t>Suy</a:t>
            </a:r>
            <a:r>
              <a:rPr kumimoji="0" lang="en-US" sz="2800" b="1" i="0" u="none" strike="noStrike" kern="1200" cap="none" spc="0" normalizeH="0" baseline="0" noProof="0" dirty="0">
                <a:ln>
                  <a:noFill/>
                </a:ln>
                <a:solidFill>
                  <a:srgbClr val="FFFF00"/>
                </a:solidFill>
                <a:effectLst/>
                <a:uLnTx/>
                <a:uFillTx/>
                <a:latin typeface="Verdana"/>
                <a:ea typeface="+mn-ea"/>
                <a:cs typeface="+mn-cs"/>
              </a:rPr>
              <a:t> </a:t>
            </a:r>
            <a:r>
              <a:rPr kumimoji="0" lang="en-US" sz="2800" b="1" i="0" u="none" strike="noStrike" kern="1200" cap="none" spc="0" normalizeH="0" baseline="0" noProof="0" dirty="0" err="1">
                <a:ln>
                  <a:noFill/>
                </a:ln>
                <a:solidFill>
                  <a:srgbClr val="FFFF00"/>
                </a:solidFill>
                <a:effectLst/>
                <a:uLnTx/>
                <a:uFillTx/>
                <a:latin typeface="Verdana"/>
                <a:ea typeface="+mn-ea"/>
                <a:cs typeface="+mn-cs"/>
              </a:rPr>
              <a:t>tim</a:t>
            </a:r>
            <a:r>
              <a:rPr kumimoji="0" lang="en-US" sz="2800" b="1" i="0" u="none" strike="noStrike" kern="1200" cap="none" spc="0" normalizeH="0" baseline="0" noProof="0" dirty="0">
                <a:ln>
                  <a:noFill/>
                </a:ln>
                <a:solidFill>
                  <a:srgbClr val="FFFF00"/>
                </a:solidFill>
                <a:effectLst/>
                <a:uLnTx/>
                <a:uFillTx/>
                <a:latin typeface="Verdana"/>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00"/>
              </a:solidFill>
              <a:effectLst/>
              <a:uLnTx/>
              <a:uFillTx/>
              <a:latin typeface="Verdana"/>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Verdana"/>
                <a:ea typeface="+mn-ea"/>
                <a:cs typeface="+mn-cs"/>
              </a:rPr>
              <a:t>Nguy</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cơ</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nhập</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r>
              <a:rPr kumimoji="0" lang="en-US" sz="2000" b="0" i="0" u="none" strike="noStrike" kern="1200" cap="none" spc="0" normalizeH="0" baseline="0" noProof="0" dirty="0" err="1">
                <a:ln>
                  <a:noFill/>
                </a:ln>
                <a:solidFill>
                  <a:prstClr val="white"/>
                </a:solidFill>
                <a:effectLst/>
                <a:uLnTx/>
                <a:uFillTx/>
                <a:latin typeface="Verdana"/>
                <a:ea typeface="+mn-ea"/>
                <a:cs typeface="+mn-cs"/>
              </a:rPr>
              <a:t>viện</a:t>
            </a:r>
            <a:r>
              <a:rPr kumimoji="0" lang="en-US" sz="2000" b="0" i="0" u="none" strike="noStrike" kern="1200" cap="none" spc="0" normalizeH="0" baseline="0" noProof="0" dirty="0">
                <a:ln>
                  <a:noFill/>
                </a:ln>
                <a:solidFill>
                  <a:prstClr val="white"/>
                </a:solidFill>
                <a:effectLst/>
                <a:uLnTx/>
                <a:uFillTx/>
                <a:latin typeface="Verdana"/>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Verdana"/>
                <a:ea typeface="+mn-ea"/>
                <a:cs typeface="+mn-cs"/>
              </a:rPr>
              <a:t>tăng</a:t>
            </a:r>
            <a:r>
              <a:rPr kumimoji="0" lang="en-US" sz="2800" b="1" i="0" u="none" strike="noStrike" kern="1200" cap="none" spc="0" normalizeH="0" baseline="0" noProof="0" dirty="0">
                <a:ln>
                  <a:noFill/>
                </a:ln>
                <a:solidFill>
                  <a:prstClr val="white"/>
                </a:solidFill>
                <a:effectLst/>
                <a:uLnTx/>
                <a:uFillTx/>
                <a:latin typeface="Verdana"/>
                <a:ea typeface="+mn-ea"/>
                <a:cs typeface="+mn-cs"/>
              </a:rPr>
              <a:t> 2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Box 7">
            <a:extLst>
              <a:ext uri="{FF2B5EF4-FFF2-40B4-BE49-F238E27FC236}">
                <a16:creationId xmlns:a16="http://schemas.microsoft.com/office/drawing/2014/main" id="{3BACB1B6-46DF-C62E-3F30-35E0AC69873D}"/>
              </a:ext>
            </a:extLst>
          </p:cNvPr>
          <p:cNvSpPr txBox="1"/>
          <p:nvPr/>
        </p:nvSpPr>
        <p:spPr>
          <a:xfrm>
            <a:off x="1420293" y="581579"/>
            <a:ext cx="9829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Verdana"/>
                <a:ea typeface="+mn-ea"/>
                <a:cs typeface="+mn-cs"/>
              </a:rPr>
              <a:t>GÁNH NẶNG CÚM MÙA TRÊN BỆNH NHÂN TIM MẠCH</a:t>
            </a:r>
            <a:r>
              <a:rPr kumimoji="0" lang="en-US" sz="2400" b="0" i="0" u="none" strike="noStrike" kern="1200" cap="none" spc="0" normalizeH="0" baseline="0" noProof="0" dirty="0">
                <a:ln>
                  <a:noFill/>
                </a:ln>
                <a:solidFill>
                  <a:srgbClr val="002060"/>
                </a:solidFill>
                <a:effectLst/>
                <a:uLnTx/>
                <a:uFillTx/>
                <a:latin typeface="Calibri (Body)"/>
                <a:ea typeface="Verdana" panose="020B0604030504040204" pitchFamily="34" charset="0"/>
                <a:cs typeface="+mn-cs"/>
              </a:rPr>
              <a:t> </a:t>
            </a:r>
            <a:r>
              <a:rPr kumimoji="0" lang="en-US" sz="2400" b="0" i="0" u="none" strike="noStrike" kern="1200" cap="none" spc="0" normalizeH="0" baseline="30000" noProof="0" dirty="0">
                <a:ln>
                  <a:noFill/>
                </a:ln>
                <a:solidFill>
                  <a:srgbClr val="002060"/>
                </a:solidFill>
                <a:effectLst/>
                <a:uLnTx/>
                <a:uFillTx/>
                <a:latin typeface="Calibri (Body)"/>
                <a:ea typeface="Verdana" panose="020B0604030504040204" pitchFamily="34" charset="0"/>
                <a:cs typeface="+mn-cs"/>
              </a:rPr>
              <a:t>1</a:t>
            </a:r>
            <a:r>
              <a:rPr kumimoji="0" lang="en-US" sz="2400" b="1" i="0" u="none" strike="noStrike" kern="1200" cap="none" spc="0" normalizeH="0" baseline="0" noProof="0" dirty="0">
                <a:ln>
                  <a:noFill/>
                </a:ln>
                <a:solidFill>
                  <a:srgbClr val="002060"/>
                </a:solidFill>
                <a:effectLst/>
                <a:uLnTx/>
                <a:uFillTx/>
                <a:latin typeface="Verdana"/>
                <a:ea typeface="+mn-ea"/>
                <a:cs typeface="+mn-cs"/>
              </a:rPr>
              <a:t> </a:t>
            </a:r>
          </a:p>
        </p:txBody>
      </p:sp>
      <p:sp>
        <p:nvSpPr>
          <p:cNvPr id="2" name="Rectangle: Rounded Corners 1">
            <a:extLst>
              <a:ext uri="{FF2B5EF4-FFF2-40B4-BE49-F238E27FC236}">
                <a16:creationId xmlns:a16="http://schemas.microsoft.com/office/drawing/2014/main" id="{72B966E5-B434-CBBB-572A-41D47D3AB7BF}"/>
              </a:ext>
            </a:extLst>
          </p:cNvPr>
          <p:cNvSpPr/>
          <p:nvPr/>
        </p:nvSpPr>
        <p:spPr>
          <a:xfrm>
            <a:off x="6376167" y="581579"/>
            <a:ext cx="4501742" cy="396453"/>
          </a:xfrm>
          <a:prstGeom prst="roundRect">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428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9840" y="1047085"/>
            <a:ext cx="11281095" cy="505562"/>
          </a:xfrm>
        </p:spPr>
        <p:txBody>
          <a:bodyPr>
            <a:normAutofit fontScale="90000"/>
          </a:bodyPr>
          <a:lstStyle/>
          <a:p>
            <a:r>
              <a:rPr lang="en-US" sz="1600" b="1" dirty="0">
                <a:solidFill>
                  <a:srgbClr val="23004C">
                    <a:lumMod val="50000"/>
                  </a:srgbClr>
                </a:solidFill>
                <a:latin typeface="Verdana"/>
                <a:ea typeface="+mn-ea"/>
                <a:cs typeface="+mn-cs"/>
              </a:rPr>
              <a:t>N</a:t>
            </a:r>
            <a:r>
              <a:rPr lang="vi-VN" sz="1600" b="1" dirty="0">
                <a:solidFill>
                  <a:srgbClr val="23004C">
                    <a:lumMod val="50000"/>
                  </a:srgbClr>
                </a:solidFill>
                <a:latin typeface="Verdana"/>
                <a:ea typeface="+mn-ea"/>
                <a:cs typeface="+mn-cs"/>
              </a:rPr>
              <a:t>gười cao tuổi:</a:t>
            </a:r>
            <a:r>
              <a:rPr lang="en-US" sz="1600" b="1" dirty="0">
                <a:solidFill>
                  <a:srgbClr val="23004C">
                    <a:lumMod val="50000"/>
                  </a:srgbClr>
                </a:solidFill>
                <a:latin typeface="Verdana"/>
                <a:ea typeface="+mn-ea"/>
                <a:cs typeface="+mn-cs"/>
              </a:rPr>
              <a:t> </a:t>
            </a:r>
            <a:r>
              <a:rPr lang="vi-VN" sz="1600" b="1" dirty="0">
                <a:solidFill>
                  <a:srgbClr val="23004C">
                    <a:lumMod val="50000"/>
                  </a:srgbClr>
                </a:solidFill>
                <a:latin typeface="Verdana"/>
                <a:ea typeface="+mn-ea"/>
                <a:cs typeface="+mn-cs"/>
              </a:rPr>
              <a:t>Khi nhiễm </a:t>
            </a:r>
            <a:r>
              <a:rPr lang="en-US" sz="1600" b="1" dirty="0">
                <a:solidFill>
                  <a:srgbClr val="23004C">
                    <a:lumMod val="50000"/>
                  </a:srgbClr>
                </a:solidFill>
                <a:latin typeface="Verdana"/>
                <a:ea typeface="+mn-ea"/>
                <a:cs typeface="+mn-cs"/>
              </a:rPr>
              <a:t>c</a:t>
            </a:r>
            <a:r>
              <a:rPr lang="vi-VN" sz="1600" b="1" dirty="0">
                <a:solidFill>
                  <a:srgbClr val="23004C">
                    <a:lumMod val="50000"/>
                  </a:srgbClr>
                </a:solidFill>
                <a:latin typeface="Verdana"/>
                <a:ea typeface="+mn-ea"/>
                <a:cs typeface="+mn-cs"/>
              </a:rPr>
              <a:t>úm, nguy cơ mắc bệnh nặng hơn</a:t>
            </a:r>
            <a:r>
              <a:rPr lang="en-US" sz="1600" b="1" dirty="0">
                <a:solidFill>
                  <a:srgbClr val="23004C">
                    <a:lumMod val="50000"/>
                  </a:srgbClr>
                </a:solidFill>
                <a:latin typeface="Verdana"/>
                <a:ea typeface="+mn-ea"/>
                <a:cs typeface="+mn-cs"/>
              </a:rPr>
              <a:t> </a:t>
            </a:r>
            <a:r>
              <a:rPr lang="vi-VN" sz="1600" b="1" dirty="0">
                <a:solidFill>
                  <a:srgbClr val="23004C">
                    <a:lumMod val="50000"/>
                  </a:srgbClr>
                </a:solidFill>
                <a:latin typeface="Verdana"/>
                <a:ea typeface="+mn-ea"/>
                <a:cs typeface="+mn-cs"/>
              </a:rPr>
              <a:t>hoặc dễ bị biến chứng nguy hiểm hơn</a:t>
            </a:r>
            <a:endParaRPr lang="en-US" sz="1600" b="1" dirty="0">
              <a:solidFill>
                <a:srgbClr val="23004C">
                  <a:lumMod val="50000"/>
                </a:srgbClr>
              </a:solidFill>
              <a:latin typeface="Verdana"/>
              <a:ea typeface="+mn-ea"/>
              <a:cs typeface="+mn-cs"/>
            </a:endParaRPr>
          </a:p>
        </p:txBody>
      </p:sp>
      <p:grpSp>
        <p:nvGrpSpPr>
          <p:cNvPr id="20" name="Group 19"/>
          <p:cNvGrpSpPr/>
          <p:nvPr/>
        </p:nvGrpSpPr>
        <p:grpSpPr>
          <a:xfrm>
            <a:off x="273268" y="1556051"/>
            <a:ext cx="11582542" cy="4769497"/>
            <a:chOff x="273268" y="1556051"/>
            <a:chExt cx="11582542" cy="4769497"/>
          </a:xfrm>
        </p:grpSpPr>
        <p:sp>
          <p:nvSpPr>
            <p:cNvPr id="22" name="Rectangle 21"/>
            <p:cNvSpPr/>
            <p:nvPr/>
          </p:nvSpPr>
          <p:spPr>
            <a:xfrm flipH="1">
              <a:off x="273268" y="5833467"/>
              <a:ext cx="11582542" cy="492081"/>
            </a:xfrm>
            <a:prstGeom prst="rect">
              <a:avLst/>
            </a:prstGeom>
          </p:spPr>
          <p:txBody>
            <a:bodyPr vert="horz" lIns="0" tIns="0" rIns="0" bIns="0" rtlCol="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Nguồn</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1. Centers for Disease Control and Prevention (CDC). MMWR. 1990;39(RR-7):1-15; 2. CDC. </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hlinkClick r:id="rId3"/>
                </a:rPr>
                <a:t>https://www.cdc.gov/flu/about/disease/65over.htm</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 Accessed May 31, 2018 ; 3.CDC. </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hlinkClick r:id="rId4"/>
                </a:rPr>
                <a:t>http://www.cdc.gov/flu/about/disease/us_flu-related_deaths.htm</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 Accessed May 31 2018; 4. CDC. </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hlinkClick r:id="rId5"/>
                </a:rPr>
                <a:t>http://www.cdc.gov/flu/keyfacts.htm</a:t>
              </a:r>
              <a:r>
                <a:rPr kumimoji="0" lang="en-US" sz="1000" b="0" i="0" u="none" strike="noStrike" kern="0" cap="none" spc="0" normalizeH="0" baseline="0" noProof="0" dirty="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 Accessed May 31 2018 </a:t>
              </a:r>
            </a:p>
          </p:txBody>
        </p:sp>
        <p:grpSp>
          <p:nvGrpSpPr>
            <p:cNvPr id="23" name="Group 22"/>
            <p:cNvGrpSpPr/>
            <p:nvPr/>
          </p:nvGrpSpPr>
          <p:grpSpPr>
            <a:xfrm>
              <a:off x="318338" y="1556051"/>
              <a:ext cx="11436863" cy="3745897"/>
              <a:chOff x="168079" y="1347614"/>
              <a:chExt cx="8577647" cy="2809423"/>
            </a:xfrm>
          </p:grpSpPr>
          <p:grpSp>
            <p:nvGrpSpPr>
              <p:cNvPr id="24" name="Group 23"/>
              <p:cNvGrpSpPr/>
              <p:nvPr/>
            </p:nvGrpSpPr>
            <p:grpSpPr>
              <a:xfrm>
                <a:off x="1691680" y="1347614"/>
                <a:ext cx="7054046" cy="2267141"/>
                <a:chOff x="1695893" y="1205194"/>
                <a:chExt cx="7054046" cy="2267141"/>
              </a:xfrm>
            </p:grpSpPr>
            <p:cxnSp>
              <p:nvCxnSpPr>
                <p:cNvPr id="28" name="Straight Connector 27"/>
                <p:cNvCxnSpPr/>
                <p:nvPr/>
              </p:nvCxnSpPr>
              <p:spPr>
                <a:xfrm flipV="1">
                  <a:off x="2910118" y="2355726"/>
                  <a:ext cx="1824329" cy="1"/>
                </a:xfrm>
                <a:prstGeom prst="line">
                  <a:avLst/>
                </a:prstGeom>
                <a:noFill/>
                <a:ln w="28575" cap="flat" cmpd="sng" algn="ctr">
                  <a:solidFill>
                    <a:srgbClr val="5B9BD5"/>
                  </a:solidFill>
                  <a:prstDash val="solid"/>
                  <a:miter lim="800000"/>
                </a:ln>
                <a:effectLst/>
              </p:spPr>
            </p:cxnSp>
            <p:sp>
              <p:nvSpPr>
                <p:cNvPr id="29" name="Ellipse 8"/>
                <p:cNvSpPr/>
                <p:nvPr/>
              </p:nvSpPr>
              <p:spPr>
                <a:xfrm>
                  <a:off x="1695893" y="1768690"/>
                  <a:ext cx="1214225" cy="1174072"/>
                </a:xfrm>
                <a:prstGeom prst="ellipse">
                  <a:avLst/>
                </a:prstGeom>
                <a:solidFill>
                  <a:srgbClr val="E70000"/>
                </a:solidFill>
                <a:ln w="12700" cap="flat" cmpd="sng" algn="ctr">
                  <a:noFill/>
                  <a:prstDash val="solid"/>
                  <a:miter lim="800000"/>
                </a:ln>
                <a:effectLst/>
              </p:spPr>
              <p:txBody>
                <a:bodyPr l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UỔI TÁC</a:t>
                  </a:r>
                </a:p>
              </p:txBody>
            </p:sp>
            <p:sp>
              <p:nvSpPr>
                <p:cNvPr id="30" name="ZoneTexte 17"/>
                <p:cNvSpPr txBox="1"/>
                <p:nvPr/>
              </p:nvSpPr>
              <p:spPr>
                <a:xfrm>
                  <a:off x="4935318" y="1587021"/>
                  <a:ext cx="840417"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a:ln>
                        <a:noFill/>
                      </a:ln>
                      <a:solidFill>
                        <a:srgbClr val="E70000"/>
                      </a:solidFill>
                      <a:effectLst/>
                      <a:uLnTx/>
                      <a:uFillTx/>
                      <a:latin typeface="Arial" panose="020B0604020202020204"/>
                      <a:ea typeface="Verdana" panose="020B0604030504040204" pitchFamily="34" charset="0"/>
                      <a:cs typeface="Calibri" panose="020F0502020204030204" pitchFamily="34" charset="0"/>
                    </a:rPr>
                    <a:t>CÚM</a:t>
                  </a:r>
                </a:p>
              </p:txBody>
            </p:sp>
            <p:grpSp>
              <p:nvGrpSpPr>
                <p:cNvPr id="31" name="Group 30"/>
                <p:cNvGrpSpPr/>
                <p:nvPr/>
              </p:nvGrpSpPr>
              <p:grpSpPr>
                <a:xfrm>
                  <a:off x="6109501" y="2911644"/>
                  <a:ext cx="2640438" cy="509349"/>
                  <a:chOff x="8021987" y="3848201"/>
                  <a:chExt cx="3520583" cy="679132"/>
                </a:xfrm>
              </p:grpSpPr>
              <p:sp>
                <p:nvSpPr>
                  <p:cNvPr id="56" name="Rounded Rectangle 55"/>
                  <p:cNvSpPr/>
                  <p:nvPr/>
                </p:nvSpPr>
                <p:spPr>
                  <a:xfrm>
                    <a:off x="8342170" y="3959167"/>
                    <a:ext cx="3200400" cy="457200"/>
                  </a:xfrm>
                  <a:prstGeom prst="roundRect">
                    <a:avLst/>
                  </a:prstGeom>
                  <a:solidFill>
                    <a:srgbClr val="014CA6"/>
                  </a:solidFill>
                  <a:ln w="12700" cap="flat" cmpd="sng" algn="ctr">
                    <a:solidFill>
                      <a:srgbClr val="525CA3"/>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GIẢM SỰ TỰ CHỦ</a:t>
                    </a:r>
                  </a:p>
                </p:txBody>
              </p:sp>
              <p:grpSp>
                <p:nvGrpSpPr>
                  <p:cNvPr id="57" name="Group 56"/>
                  <p:cNvGrpSpPr/>
                  <p:nvPr/>
                </p:nvGrpSpPr>
                <p:grpSpPr>
                  <a:xfrm>
                    <a:off x="8021987" y="3848201"/>
                    <a:ext cx="679132" cy="679132"/>
                    <a:chOff x="8021987" y="4061479"/>
                    <a:chExt cx="679132" cy="679132"/>
                  </a:xfrm>
                </p:grpSpPr>
                <p:sp>
                  <p:nvSpPr>
                    <p:cNvPr id="58" name="Oval 57"/>
                    <p:cNvSpPr/>
                    <p:nvPr/>
                  </p:nvSpPr>
                  <p:spPr>
                    <a:xfrm>
                      <a:off x="8021987" y="4061479"/>
                      <a:ext cx="679132" cy="679132"/>
                    </a:xfrm>
                    <a:prstGeom prst="ellipse">
                      <a:avLst/>
                    </a:prstGeom>
                    <a:solidFill>
                      <a:sysClr val="window" lastClr="FFFFFF"/>
                    </a:solidFill>
                    <a:ln w="31750" cap="flat" cmpd="sng" algn="ctr">
                      <a:solidFill>
                        <a:srgbClr val="014CA6"/>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grpSp>
                  <p:nvGrpSpPr>
                    <p:cNvPr id="59" name="Group 58"/>
                    <p:cNvGrpSpPr/>
                    <p:nvPr/>
                  </p:nvGrpSpPr>
                  <p:grpSpPr>
                    <a:xfrm>
                      <a:off x="8204857" y="4170038"/>
                      <a:ext cx="313393" cy="461973"/>
                      <a:chOff x="10155670" y="4847411"/>
                      <a:chExt cx="314999" cy="464341"/>
                    </a:xfrm>
                    <a:solidFill>
                      <a:srgbClr val="014CA6"/>
                    </a:solidFill>
                  </p:grpSpPr>
                  <p:sp>
                    <p:nvSpPr>
                      <p:cNvPr id="60" name="Oval 5"/>
                      <p:cNvSpPr>
                        <a:spLocks noChangeArrowheads="1"/>
                      </p:cNvSpPr>
                      <p:nvPr/>
                    </p:nvSpPr>
                    <p:spPr bwMode="auto">
                      <a:xfrm flipH="1">
                        <a:off x="10271896" y="4847411"/>
                        <a:ext cx="90203" cy="902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6B747B"/>
                          </a:solidFill>
                          <a:effectLst/>
                          <a:uLnTx/>
                          <a:uFillTx/>
                          <a:latin typeface="Arial" panose="020B0604020202020204"/>
                          <a:ea typeface="Verdana" panose="020B0604030504040204" pitchFamily="34" charset="0"/>
                          <a:cs typeface="Calibri" panose="020F0502020204030204" pitchFamily="34" charset="0"/>
                        </a:endParaRPr>
                      </a:p>
                    </p:txBody>
                  </p:sp>
                  <p:sp>
                    <p:nvSpPr>
                      <p:cNvPr id="61" name="Freeform 6"/>
                      <p:cNvSpPr/>
                      <p:nvPr/>
                    </p:nvSpPr>
                    <p:spPr bwMode="auto">
                      <a:xfrm flipH="1">
                        <a:off x="10155670" y="4958135"/>
                        <a:ext cx="314999" cy="353617"/>
                      </a:xfrm>
                      <a:custGeom>
                        <a:avLst/>
                        <a:gdLst>
                          <a:gd name="T0" fmla="*/ 722 w 746"/>
                          <a:gd name="T1" fmla="*/ 839 h 839"/>
                          <a:gd name="T2" fmla="*/ 722 w 746"/>
                          <a:gd name="T3" fmla="*/ 839 h 839"/>
                          <a:gd name="T4" fmla="*/ 702 w 746"/>
                          <a:gd name="T5" fmla="*/ 824 h 839"/>
                          <a:gd name="T6" fmla="*/ 529 w 746"/>
                          <a:gd name="T7" fmla="*/ 266 h 839"/>
                          <a:gd name="T8" fmla="*/ 485 w 746"/>
                          <a:gd name="T9" fmla="*/ 251 h 839"/>
                          <a:gd name="T10" fmla="*/ 485 w 746"/>
                          <a:gd name="T11" fmla="*/ 250 h 839"/>
                          <a:gd name="T12" fmla="*/ 544 w 746"/>
                          <a:gd name="T13" fmla="*/ 168 h 839"/>
                          <a:gd name="T14" fmla="*/ 547 w 746"/>
                          <a:gd name="T15" fmla="*/ 150 h 839"/>
                          <a:gd name="T16" fmla="*/ 505 w 746"/>
                          <a:gd name="T17" fmla="*/ 109 h 839"/>
                          <a:gd name="T18" fmla="*/ 505 w 746"/>
                          <a:gd name="T19" fmla="*/ 160 h 839"/>
                          <a:gd name="T20" fmla="*/ 454 w 746"/>
                          <a:gd name="T21" fmla="*/ 215 h 839"/>
                          <a:gd name="T22" fmla="*/ 505 w 746"/>
                          <a:gd name="T23" fmla="*/ 293 h 839"/>
                          <a:gd name="T24" fmla="*/ 505 w 746"/>
                          <a:gd name="T25" fmla="*/ 782 h 839"/>
                          <a:gd name="T26" fmla="*/ 449 w 746"/>
                          <a:gd name="T27" fmla="*/ 839 h 839"/>
                          <a:gd name="T28" fmla="*/ 447 w 746"/>
                          <a:gd name="T29" fmla="*/ 839 h 839"/>
                          <a:gd name="T30" fmla="*/ 391 w 746"/>
                          <a:gd name="T31" fmla="*/ 782 h 839"/>
                          <a:gd name="T32" fmla="*/ 391 w 746"/>
                          <a:gd name="T33" fmla="*/ 426 h 839"/>
                          <a:gd name="T34" fmla="*/ 355 w 746"/>
                          <a:gd name="T35" fmla="*/ 426 h 839"/>
                          <a:gd name="T36" fmla="*/ 355 w 746"/>
                          <a:gd name="T37" fmla="*/ 782 h 839"/>
                          <a:gd name="T38" fmla="*/ 298 w 746"/>
                          <a:gd name="T39" fmla="*/ 839 h 839"/>
                          <a:gd name="T40" fmla="*/ 297 w 746"/>
                          <a:gd name="T41" fmla="*/ 839 h 839"/>
                          <a:gd name="T42" fmla="*/ 240 w 746"/>
                          <a:gd name="T43" fmla="*/ 782 h 839"/>
                          <a:gd name="T44" fmla="*/ 240 w 746"/>
                          <a:gd name="T45" fmla="*/ 293 h 839"/>
                          <a:gd name="T46" fmla="*/ 265 w 746"/>
                          <a:gd name="T47" fmla="*/ 283 h 839"/>
                          <a:gd name="T48" fmla="*/ 291 w 746"/>
                          <a:gd name="T49" fmla="*/ 215 h 839"/>
                          <a:gd name="T50" fmla="*/ 240 w 746"/>
                          <a:gd name="T51" fmla="*/ 160 h 839"/>
                          <a:gd name="T52" fmla="*/ 240 w 746"/>
                          <a:gd name="T53" fmla="*/ 109 h 839"/>
                          <a:gd name="T54" fmla="*/ 199 w 746"/>
                          <a:gd name="T55" fmla="*/ 150 h 839"/>
                          <a:gd name="T56" fmla="*/ 201 w 746"/>
                          <a:gd name="T57" fmla="*/ 168 h 839"/>
                          <a:gd name="T58" fmla="*/ 260 w 746"/>
                          <a:gd name="T59" fmla="*/ 250 h 839"/>
                          <a:gd name="T60" fmla="*/ 260 w 746"/>
                          <a:gd name="T61" fmla="*/ 251 h 839"/>
                          <a:gd name="T62" fmla="*/ 219 w 746"/>
                          <a:gd name="T63" fmla="*/ 267 h 839"/>
                          <a:gd name="T64" fmla="*/ 44 w 746"/>
                          <a:gd name="T65" fmla="*/ 824 h 839"/>
                          <a:gd name="T66" fmla="*/ 24 w 746"/>
                          <a:gd name="T67" fmla="*/ 839 h 839"/>
                          <a:gd name="T68" fmla="*/ 24 w 746"/>
                          <a:gd name="T69" fmla="*/ 839 h 839"/>
                          <a:gd name="T70" fmla="*/ 4 w 746"/>
                          <a:gd name="T71" fmla="*/ 812 h 839"/>
                          <a:gd name="T72" fmla="*/ 182 w 746"/>
                          <a:gd name="T73" fmla="*/ 246 h 839"/>
                          <a:gd name="T74" fmla="*/ 114 w 746"/>
                          <a:gd name="T75" fmla="*/ 205 h 839"/>
                          <a:gd name="T76" fmla="*/ 105 w 746"/>
                          <a:gd name="T77" fmla="*/ 135 h 839"/>
                          <a:gd name="T78" fmla="*/ 240 w 746"/>
                          <a:gd name="T79" fmla="*/ 0 h 839"/>
                          <a:gd name="T80" fmla="*/ 505 w 746"/>
                          <a:gd name="T81" fmla="*/ 0 h 839"/>
                          <a:gd name="T82" fmla="*/ 640 w 746"/>
                          <a:gd name="T83" fmla="*/ 135 h 839"/>
                          <a:gd name="T84" fmla="*/ 632 w 746"/>
                          <a:gd name="T85" fmla="*/ 205 h 839"/>
                          <a:gd name="T86" fmla="*/ 567 w 746"/>
                          <a:gd name="T87" fmla="*/ 244 h 839"/>
                          <a:gd name="T88" fmla="*/ 742 w 746"/>
                          <a:gd name="T89" fmla="*/ 812 h 839"/>
                          <a:gd name="T90" fmla="*/ 722 w 746"/>
                          <a:gd name="T91" fmla="*/ 839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6" h="839">
                            <a:moveTo>
                              <a:pt x="722" y="839"/>
                            </a:moveTo>
                            <a:cubicBezTo>
                              <a:pt x="722" y="839"/>
                              <a:pt x="722" y="839"/>
                              <a:pt x="722" y="839"/>
                            </a:cubicBezTo>
                            <a:cubicBezTo>
                              <a:pt x="713" y="839"/>
                              <a:pt x="704" y="833"/>
                              <a:pt x="702" y="824"/>
                            </a:cubicBezTo>
                            <a:cubicBezTo>
                              <a:pt x="529" y="266"/>
                              <a:pt x="529" y="266"/>
                              <a:pt x="529" y="266"/>
                            </a:cubicBezTo>
                            <a:cubicBezTo>
                              <a:pt x="513" y="271"/>
                              <a:pt x="494" y="265"/>
                              <a:pt x="485" y="251"/>
                            </a:cubicBezTo>
                            <a:cubicBezTo>
                              <a:pt x="485" y="251"/>
                              <a:pt x="485" y="250"/>
                              <a:pt x="485" y="250"/>
                            </a:cubicBezTo>
                            <a:cubicBezTo>
                              <a:pt x="460" y="209"/>
                              <a:pt x="518" y="184"/>
                              <a:pt x="544" y="168"/>
                            </a:cubicBezTo>
                            <a:cubicBezTo>
                              <a:pt x="551" y="164"/>
                              <a:pt x="552" y="155"/>
                              <a:pt x="547" y="150"/>
                            </a:cubicBezTo>
                            <a:cubicBezTo>
                              <a:pt x="505" y="109"/>
                              <a:pt x="505" y="109"/>
                              <a:pt x="505" y="109"/>
                            </a:cubicBezTo>
                            <a:cubicBezTo>
                              <a:pt x="505" y="160"/>
                              <a:pt x="505" y="160"/>
                              <a:pt x="505" y="160"/>
                            </a:cubicBezTo>
                            <a:cubicBezTo>
                              <a:pt x="482" y="174"/>
                              <a:pt x="460" y="187"/>
                              <a:pt x="454" y="215"/>
                            </a:cubicBezTo>
                            <a:cubicBezTo>
                              <a:pt x="446" y="250"/>
                              <a:pt x="470" y="287"/>
                              <a:pt x="505" y="293"/>
                            </a:cubicBezTo>
                            <a:cubicBezTo>
                              <a:pt x="505" y="782"/>
                              <a:pt x="505" y="782"/>
                              <a:pt x="505" y="782"/>
                            </a:cubicBezTo>
                            <a:cubicBezTo>
                              <a:pt x="505" y="814"/>
                              <a:pt x="480" y="839"/>
                              <a:pt x="449" y="839"/>
                            </a:cubicBezTo>
                            <a:cubicBezTo>
                              <a:pt x="447" y="839"/>
                              <a:pt x="447" y="839"/>
                              <a:pt x="447" y="839"/>
                            </a:cubicBezTo>
                            <a:cubicBezTo>
                              <a:pt x="416" y="839"/>
                              <a:pt x="391" y="814"/>
                              <a:pt x="391" y="782"/>
                            </a:cubicBezTo>
                            <a:cubicBezTo>
                              <a:pt x="391" y="426"/>
                              <a:pt x="391" y="426"/>
                              <a:pt x="391" y="426"/>
                            </a:cubicBezTo>
                            <a:cubicBezTo>
                              <a:pt x="355" y="426"/>
                              <a:pt x="355" y="426"/>
                              <a:pt x="355" y="426"/>
                            </a:cubicBezTo>
                            <a:cubicBezTo>
                              <a:pt x="355" y="782"/>
                              <a:pt x="355" y="782"/>
                              <a:pt x="355" y="782"/>
                            </a:cubicBezTo>
                            <a:cubicBezTo>
                              <a:pt x="355" y="814"/>
                              <a:pt x="329" y="839"/>
                              <a:pt x="298" y="839"/>
                            </a:cubicBezTo>
                            <a:cubicBezTo>
                              <a:pt x="297" y="839"/>
                              <a:pt x="297" y="839"/>
                              <a:pt x="297" y="839"/>
                            </a:cubicBezTo>
                            <a:cubicBezTo>
                              <a:pt x="265" y="839"/>
                              <a:pt x="240" y="814"/>
                              <a:pt x="240" y="782"/>
                            </a:cubicBezTo>
                            <a:cubicBezTo>
                              <a:pt x="240" y="782"/>
                              <a:pt x="240" y="293"/>
                              <a:pt x="240" y="293"/>
                            </a:cubicBezTo>
                            <a:cubicBezTo>
                              <a:pt x="240" y="294"/>
                              <a:pt x="263" y="284"/>
                              <a:pt x="265" y="283"/>
                            </a:cubicBezTo>
                            <a:cubicBezTo>
                              <a:pt x="286" y="268"/>
                              <a:pt x="297" y="240"/>
                              <a:pt x="291" y="215"/>
                            </a:cubicBezTo>
                            <a:cubicBezTo>
                              <a:pt x="285" y="189"/>
                              <a:pt x="262" y="172"/>
                              <a:pt x="240" y="160"/>
                            </a:cubicBezTo>
                            <a:cubicBezTo>
                              <a:pt x="240" y="109"/>
                              <a:pt x="240" y="109"/>
                              <a:pt x="240" y="109"/>
                            </a:cubicBezTo>
                            <a:cubicBezTo>
                              <a:pt x="199" y="150"/>
                              <a:pt x="199" y="150"/>
                              <a:pt x="199" y="150"/>
                            </a:cubicBezTo>
                            <a:cubicBezTo>
                              <a:pt x="194" y="155"/>
                              <a:pt x="195" y="164"/>
                              <a:pt x="201" y="168"/>
                            </a:cubicBezTo>
                            <a:cubicBezTo>
                              <a:pt x="228" y="184"/>
                              <a:pt x="285" y="209"/>
                              <a:pt x="260" y="250"/>
                            </a:cubicBezTo>
                            <a:cubicBezTo>
                              <a:pt x="260" y="251"/>
                              <a:pt x="260" y="251"/>
                              <a:pt x="260" y="251"/>
                            </a:cubicBezTo>
                            <a:cubicBezTo>
                              <a:pt x="252" y="263"/>
                              <a:pt x="234" y="270"/>
                              <a:pt x="219" y="267"/>
                            </a:cubicBezTo>
                            <a:cubicBezTo>
                              <a:pt x="44" y="824"/>
                              <a:pt x="44" y="824"/>
                              <a:pt x="44" y="824"/>
                            </a:cubicBezTo>
                            <a:cubicBezTo>
                              <a:pt x="41" y="833"/>
                              <a:pt x="33" y="839"/>
                              <a:pt x="24" y="839"/>
                            </a:cubicBezTo>
                            <a:cubicBezTo>
                              <a:pt x="24" y="839"/>
                              <a:pt x="24" y="839"/>
                              <a:pt x="24" y="839"/>
                            </a:cubicBezTo>
                            <a:cubicBezTo>
                              <a:pt x="10" y="839"/>
                              <a:pt x="0" y="825"/>
                              <a:pt x="4" y="812"/>
                            </a:cubicBezTo>
                            <a:cubicBezTo>
                              <a:pt x="182" y="246"/>
                              <a:pt x="182" y="246"/>
                              <a:pt x="182" y="246"/>
                            </a:cubicBezTo>
                            <a:cubicBezTo>
                              <a:pt x="114" y="205"/>
                              <a:pt x="114" y="205"/>
                              <a:pt x="114" y="205"/>
                            </a:cubicBezTo>
                            <a:cubicBezTo>
                              <a:pt x="89" y="190"/>
                              <a:pt x="85" y="155"/>
                              <a:pt x="105" y="135"/>
                            </a:cubicBezTo>
                            <a:cubicBezTo>
                              <a:pt x="240" y="0"/>
                              <a:pt x="240" y="0"/>
                              <a:pt x="240" y="0"/>
                            </a:cubicBezTo>
                            <a:cubicBezTo>
                              <a:pt x="505" y="0"/>
                              <a:pt x="505" y="0"/>
                              <a:pt x="505" y="0"/>
                            </a:cubicBezTo>
                            <a:cubicBezTo>
                              <a:pt x="640" y="135"/>
                              <a:pt x="640" y="135"/>
                              <a:pt x="640" y="135"/>
                            </a:cubicBezTo>
                            <a:cubicBezTo>
                              <a:pt x="661" y="156"/>
                              <a:pt x="656" y="190"/>
                              <a:pt x="632" y="205"/>
                            </a:cubicBezTo>
                            <a:cubicBezTo>
                              <a:pt x="567" y="244"/>
                              <a:pt x="567" y="244"/>
                              <a:pt x="567" y="244"/>
                            </a:cubicBezTo>
                            <a:cubicBezTo>
                              <a:pt x="742" y="812"/>
                              <a:pt x="742" y="812"/>
                              <a:pt x="742" y="812"/>
                            </a:cubicBezTo>
                            <a:cubicBezTo>
                              <a:pt x="746" y="825"/>
                              <a:pt x="736" y="839"/>
                              <a:pt x="722" y="8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6B747B"/>
                          </a:solidFill>
                          <a:effectLst/>
                          <a:uLnTx/>
                          <a:uFillTx/>
                          <a:latin typeface="Arial" panose="020B0604020202020204"/>
                          <a:ea typeface="Verdana" panose="020B0604030504040204" pitchFamily="34" charset="0"/>
                          <a:cs typeface="Calibri" panose="020F0502020204030204" pitchFamily="34" charset="0"/>
                        </a:endParaRPr>
                      </a:p>
                    </p:txBody>
                  </p:sp>
                </p:grpSp>
              </p:grpSp>
            </p:grpSp>
            <p:grpSp>
              <p:nvGrpSpPr>
                <p:cNvPr id="32" name="Group 31"/>
                <p:cNvGrpSpPr/>
                <p:nvPr/>
              </p:nvGrpSpPr>
              <p:grpSpPr>
                <a:xfrm>
                  <a:off x="6117526" y="2080442"/>
                  <a:ext cx="2632412" cy="514350"/>
                  <a:chOff x="8032688" y="2714368"/>
                  <a:chExt cx="3509882" cy="685800"/>
                </a:xfrm>
              </p:grpSpPr>
              <p:sp>
                <p:nvSpPr>
                  <p:cNvPr id="52" name="Rounded Rectangle 51"/>
                  <p:cNvSpPr/>
                  <p:nvPr/>
                </p:nvSpPr>
                <p:spPr>
                  <a:xfrm>
                    <a:off x="8518251" y="2828668"/>
                    <a:ext cx="3024319" cy="457200"/>
                  </a:xfrm>
                  <a:prstGeom prst="roundRect">
                    <a:avLst/>
                  </a:prstGeom>
                  <a:solidFill>
                    <a:srgbClr val="E700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ĂNG NGUY CƠ TỬ VONG</a:t>
                    </a:r>
                  </a:p>
                </p:txBody>
              </p:sp>
              <p:grpSp>
                <p:nvGrpSpPr>
                  <p:cNvPr id="53" name="Group 52"/>
                  <p:cNvGrpSpPr/>
                  <p:nvPr/>
                </p:nvGrpSpPr>
                <p:grpSpPr>
                  <a:xfrm>
                    <a:off x="8032688" y="2714368"/>
                    <a:ext cx="685800" cy="685800"/>
                    <a:chOff x="8032688" y="2852016"/>
                    <a:chExt cx="685800" cy="685800"/>
                  </a:xfrm>
                </p:grpSpPr>
                <p:sp>
                  <p:nvSpPr>
                    <p:cNvPr id="54" name="Oval 53"/>
                    <p:cNvSpPr/>
                    <p:nvPr/>
                  </p:nvSpPr>
                  <p:spPr>
                    <a:xfrm>
                      <a:off x="8032688" y="2852016"/>
                      <a:ext cx="685800" cy="685800"/>
                    </a:xfrm>
                    <a:prstGeom prst="ellipse">
                      <a:avLst/>
                    </a:prstGeom>
                    <a:solidFill>
                      <a:sysClr val="window" lastClr="FFFFFF"/>
                    </a:solidFill>
                    <a:ln w="31750" cap="flat" cmpd="sng" algn="ctr">
                      <a:solidFill>
                        <a:srgbClr val="E70000"/>
                      </a:solid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pic>
                  <p:nvPicPr>
                    <p:cNvPr id="55" name="Picture 37" descr="A close up of a logo&#10;&#10;Description automatically generated"/>
                    <p:cNvPicPr>
                      <a:picLocks noChangeAspect="1"/>
                    </p:cNvPicPr>
                    <p:nvPr/>
                  </p:nvPicPr>
                  <p:blipFill>
                    <a:blip r:embed="rId6" cstate="email">
                      <a:duotone>
                        <a:srgbClr val="ED7D31">
                          <a:shade val="45000"/>
                          <a:satMod val="135000"/>
                        </a:srgbClr>
                        <a:prstClr val="white"/>
                      </a:duotone>
                    </a:blip>
                    <a:stretch>
                      <a:fillRect/>
                    </a:stretch>
                  </p:blipFill>
                  <p:spPr>
                    <a:xfrm>
                      <a:off x="8169981" y="2989310"/>
                      <a:ext cx="411214" cy="411213"/>
                    </a:xfrm>
                    <a:prstGeom prst="rect">
                      <a:avLst/>
                    </a:prstGeom>
                  </p:spPr>
                </p:pic>
              </p:grpSp>
            </p:grpSp>
            <p:grpSp>
              <p:nvGrpSpPr>
                <p:cNvPr id="33" name="Group 32"/>
                <p:cNvGrpSpPr/>
                <p:nvPr/>
              </p:nvGrpSpPr>
              <p:grpSpPr>
                <a:xfrm>
                  <a:off x="6140441" y="1239319"/>
                  <a:ext cx="2609495" cy="514350"/>
                  <a:chOff x="8063243" y="1618433"/>
                  <a:chExt cx="3479327" cy="685800"/>
                </a:xfrm>
              </p:grpSpPr>
              <p:sp>
                <p:nvSpPr>
                  <p:cNvPr id="48" name="Rounded Rectangle 47"/>
                  <p:cNvSpPr/>
                  <p:nvPr/>
                </p:nvSpPr>
                <p:spPr>
                  <a:xfrm>
                    <a:off x="8342170" y="1732733"/>
                    <a:ext cx="3200400" cy="457200"/>
                  </a:xfrm>
                  <a:prstGeom prst="roundRect">
                    <a:avLst/>
                  </a:prstGeom>
                  <a:solidFill>
                    <a:srgbClr val="014CA6"/>
                  </a:solidFill>
                  <a:ln w="12700" cap="flat" cmpd="sng" algn="ctr">
                    <a:solidFill>
                      <a:srgbClr val="3E90D0"/>
                    </a:solidFill>
                    <a:prstDash val="solid"/>
                    <a:miter lim="800000"/>
                  </a:ln>
                  <a:effectLst/>
                </p:spPr>
                <p:txBody>
                  <a:bodyPr rtlCol="0" anchor="ctr"/>
                  <a:lstStyle/>
                  <a:p>
                    <a:pPr marL="355591" marR="0" lvl="0" indent="-114297"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ĂNG NGUY CƠ NHẬP VIỆN</a:t>
                    </a:r>
                  </a:p>
                </p:txBody>
              </p:sp>
              <p:grpSp>
                <p:nvGrpSpPr>
                  <p:cNvPr id="49" name="Group 48"/>
                  <p:cNvGrpSpPr/>
                  <p:nvPr/>
                </p:nvGrpSpPr>
                <p:grpSpPr>
                  <a:xfrm>
                    <a:off x="8063243" y="1618433"/>
                    <a:ext cx="685800" cy="685800"/>
                    <a:chOff x="8063243" y="1697485"/>
                    <a:chExt cx="685800" cy="685800"/>
                  </a:xfrm>
                </p:grpSpPr>
                <p:sp>
                  <p:nvSpPr>
                    <p:cNvPr id="50" name="Oval 49"/>
                    <p:cNvSpPr/>
                    <p:nvPr/>
                  </p:nvSpPr>
                  <p:spPr>
                    <a:xfrm>
                      <a:off x="8063243" y="1697485"/>
                      <a:ext cx="685800" cy="685800"/>
                    </a:xfrm>
                    <a:prstGeom prst="ellipse">
                      <a:avLst/>
                    </a:prstGeom>
                    <a:solidFill>
                      <a:sysClr val="window" lastClr="FFFFFF"/>
                    </a:solidFill>
                    <a:ln w="31750" cap="flat" cmpd="sng" algn="ctr">
                      <a:solidFill>
                        <a:srgbClr val="014CA6"/>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pic>
                  <p:nvPicPr>
                    <p:cNvPr id="51" name="Graphic 39" descr="Hospital"/>
                    <p:cNvPicPr>
                      <a:picLocks noChangeAspect="1"/>
                    </p:cNvPicPr>
                    <p:nvPr/>
                  </p:nvPicPr>
                  <p:blipFill>
                    <a:blip r:embed="rId7" cstate="email">
                      <a:extLst>
                        <a:ext uri="{96DAC541-7B7A-43D3-8B79-37D633B846F1}">
                          <asvg:svgBlip xmlns:asvg="http://schemas.microsoft.com/office/drawing/2016/SVG/main" r:embed="rId8"/>
                        </a:ext>
                      </a:extLst>
                    </a:blip>
                    <a:stretch>
                      <a:fillRect/>
                    </a:stretch>
                  </p:blipFill>
                  <p:spPr>
                    <a:xfrm>
                      <a:off x="8132603" y="1766845"/>
                      <a:ext cx="547080" cy="547080"/>
                    </a:xfrm>
                    <a:prstGeom prst="rect">
                      <a:avLst/>
                    </a:prstGeom>
                  </p:spPr>
                </p:pic>
              </p:grpSp>
            </p:grpSp>
            <p:grpSp>
              <p:nvGrpSpPr>
                <p:cNvPr id="34" name="Group 33"/>
                <p:cNvGrpSpPr/>
                <p:nvPr/>
              </p:nvGrpSpPr>
              <p:grpSpPr>
                <a:xfrm>
                  <a:off x="4907539" y="1888359"/>
                  <a:ext cx="925830" cy="925830"/>
                  <a:chOff x="6694429" y="2591972"/>
                  <a:chExt cx="1234440" cy="1234440"/>
                </a:xfrm>
              </p:grpSpPr>
              <p:sp>
                <p:nvSpPr>
                  <p:cNvPr id="46" name="Ellipse 48"/>
                  <p:cNvSpPr/>
                  <p:nvPr/>
                </p:nvSpPr>
                <p:spPr>
                  <a:xfrm>
                    <a:off x="6694429" y="2591972"/>
                    <a:ext cx="1234440" cy="1234440"/>
                  </a:xfrm>
                  <a:prstGeom prst="ellipse">
                    <a:avLst/>
                  </a:prstGeom>
                  <a:solidFill>
                    <a:sysClr val="window" lastClr="FFFFFF">
                      <a:alpha val="50000"/>
                    </a:sysClr>
                  </a:solidFill>
                  <a:ln w="19050" cap="flat" cmpd="sng" algn="ctr">
                    <a:solidFill>
                      <a:srgbClr val="E70000"/>
                    </a:solidFill>
                    <a:prstDash val="dashDot"/>
                    <a:miter lim="800000"/>
                  </a:ln>
                  <a:effectLst/>
                </p:spPr>
                <p:txBody>
                  <a:bodyPr l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E70000"/>
                      </a:solidFill>
                      <a:effectLst/>
                      <a:uLnTx/>
                      <a:uFillTx/>
                      <a:latin typeface="Arial" panose="020B0604020202020204"/>
                      <a:ea typeface="Verdana" panose="020B0604030504040204" pitchFamily="34" charset="0"/>
                      <a:cs typeface="Calibri" panose="020F0502020204030204" pitchFamily="34" charset="0"/>
                    </a:endParaRPr>
                  </a:p>
                </p:txBody>
              </p:sp>
              <p:sp>
                <p:nvSpPr>
                  <p:cNvPr id="47" name="Rectangle 46"/>
                  <p:cNvSpPr/>
                  <p:nvPr/>
                </p:nvSpPr>
                <p:spPr>
                  <a:xfrm>
                    <a:off x="6727098" y="2803884"/>
                    <a:ext cx="1165851"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Nhóm</a:t>
                    </a:r>
                    <a: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a:t>
                    </a: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đối</a:t>
                    </a:r>
                    <a: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a:t>
                    </a: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tượng</a:t>
                    </a:r>
                    <a:b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br>
                    <a: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a:t>
                    </a: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dễ</a:t>
                    </a:r>
                    <a: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a:t>
                    </a: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tổn</a:t>
                    </a:r>
                    <a:r>
                      <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rPr>
                      <a:t> </a:t>
                    </a:r>
                    <a:r>
                      <a:rPr kumimoji="0" lang="fr-FR" sz="1200" b="1" i="0" u="none" strike="noStrike" kern="0" cap="none" spc="0" normalizeH="0" baseline="0" noProof="0" err="1">
                        <a:ln>
                          <a:noFill/>
                        </a:ln>
                        <a:solidFill>
                          <a:prstClr val="black"/>
                        </a:solidFill>
                        <a:effectLst/>
                        <a:uLnTx/>
                        <a:uFillTx/>
                        <a:latin typeface="Arial" panose="020B0604020202020204"/>
                        <a:ea typeface="Verdana" panose="020B0604030504040204" pitchFamily="34" charset="0"/>
                        <a:cs typeface="Calibri" panose="020F0502020204030204" pitchFamily="34" charset="0"/>
                      </a:rPr>
                      <a:t>thương</a:t>
                    </a:r>
                    <a:endParaRPr kumimoji="0" lang="fr-FR" sz="1200" b="1"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endParaRPr>
                  </a:p>
                </p:txBody>
              </p:sp>
            </p:grpSp>
            <p:sp>
              <p:nvSpPr>
                <p:cNvPr id="35" name="Triangle rectangle 75"/>
                <p:cNvSpPr/>
                <p:nvPr/>
              </p:nvSpPr>
              <p:spPr>
                <a:xfrm rot="13529141">
                  <a:off x="4666138" y="2288670"/>
                  <a:ext cx="136619" cy="134111"/>
                </a:xfrm>
                <a:prstGeom prst="rtTriangle">
                  <a:avLst/>
                </a:prstGeom>
                <a:solidFill>
                  <a:srgbClr val="014CA6"/>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grpSp>
              <p:nvGrpSpPr>
                <p:cNvPr id="36" name="Group 35"/>
                <p:cNvGrpSpPr/>
                <p:nvPr/>
              </p:nvGrpSpPr>
              <p:grpSpPr>
                <a:xfrm>
                  <a:off x="2995266" y="1205194"/>
                  <a:ext cx="1649453" cy="2267141"/>
                  <a:chOff x="4056483" y="1690916"/>
                  <a:chExt cx="2199270" cy="3022855"/>
                </a:xfrm>
              </p:grpSpPr>
              <p:sp>
                <p:nvSpPr>
                  <p:cNvPr id="41" name="Rectangle à coins arrondis 50"/>
                  <p:cNvSpPr/>
                  <p:nvPr/>
                </p:nvSpPr>
                <p:spPr>
                  <a:xfrm>
                    <a:off x="4056483" y="2036511"/>
                    <a:ext cx="2199270" cy="2376897"/>
                  </a:xfrm>
                  <a:prstGeom prst="roundRect">
                    <a:avLst>
                      <a:gd name="adj" fmla="val 9113"/>
                    </a:avLst>
                  </a:prstGeom>
                  <a:noFill/>
                  <a:ln w="22225" cap="flat" cmpd="sng" algn="ctr">
                    <a:solidFill>
                      <a:srgbClr val="014CA6"/>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grpSp>
                <p:nvGrpSpPr>
                  <p:cNvPr id="42" name="Group 41"/>
                  <p:cNvGrpSpPr/>
                  <p:nvPr/>
                </p:nvGrpSpPr>
                <p:grpSpPr>
                  <a:xfrm>
                    <a:off x="4252490" y="1690916"/>
                    <a:ext cx="1828800" cy="3022855"/>
                    <a:chOff x="4252490" y="1690916"/>
                    <a:chExt cx="1828800" cy="3022855"/>
                  </a:xfrm>
                </p:grpSpPr>
                <p:sp>
                  <p:nvSpPr>
                    <p:cNvPr id="43" name="Rectangle à coins arrondis 10"/>
                    <p:cNvSpPr/>
                    <p:nvPr/>
                  </p:nvSpPr>
                  <p:spPr>
                    <a:xfrm>
                      <a:off x="4252490" y="2882304"/>
                      <a:ext cx="1828800" cy="640080"/>
                    </a:xfrm>
                    <a:prstGeom prst="roundRect">
                      <a:avLst>
                        <a:gd name="adj" fmla="val 50000"/>
                      </a:avLst>
                    </a:prstGeom>
                    <a:solidFill>
                      <a:schemeClr val="accent1">
                        <a:lumMod val="75000"/>
                        <a:lumOff val="25000"/>
                      </a:schemeClr>
                    </a:solidFill>
                    <a:ln w="12700" cap="flat" cmpd="sng" algn="ctr">
                      <a:noFill/>
                      <a:prstDash val="solid"/>
                      <a:miter lim="800000"/>
                    </a:ln>
                    <a:effectLst/>
                  </p:spPr>
                  <p:txBody>
                    <a:bodyPr lIns="0" tIns="48000" rIns="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Bệnh</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lý</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nền</a:t>
                      </a:r>
                      <a:endPar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sp>
                  <p:nvSpPr>
                    <p:cNvPr id="44" name="Rectangle à coins arrondis 9"/>
                    <p:cNvSpPr/>
                    <p:nvPr/>
                  </p:nvSpPr>
                  <p:spPr>
                    <a:xfrm>
                      <a:off x="4252490" y="1690916"/>
                      <a:ext cx="1828800" cy="640080"/>
                    </a:xfrm>
                    <a:prstGeom prst="roundRect">
                      <a:avLst>
                        <a:gd name="adj" fmla="val 50000"/>
                      </a:avLst>
                    </a:prstGeom>
                    <a:solidFill>
                      <a:schemeClr val="accent1">
                        <a:lumMod val="75000"/>
                        <a:lumOff val="25000"/>
                      </a:schemeClr>
                    </a:solidFill>
                    <a:ln w="12700" cap="flat" cmpd="sng" algn="ctr">
                      <a:noFill/>
                      <a:prstDash val="solid"/>
                      <a:miter lim="800000"/>
                    </a:ln>
                    <a:effectLst/>
                  </p:spPr>
                  <p:txBody>
                    <a:bodyPr lIns="0" tIns="48000" rIns="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Khả</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năng</a:t>
                      </a:r>
                      <a:endPar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miễn</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dịch</a:t>
                      </a:r>
                      <a:endPar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sp>
                  <p:nvSpPr>
                    <p:cNvPr id="45" name="Rectangle à coins arrondis 11"/>
                    <p:cNvSpPr/>
                    <p:nvPr/>
                  </p:nvSpPr>
                  <p:spPr>
                    <a:xfrm>
                      <a:off x="4252490" y="4073691"/>
                      <a:ext cx="1828800" cy="640080"/>
                    </a:xfrm>
                    <a:prstGeom prst="roundRect">
                      <a:avLst>
                        <a:gd name="adj" fmla="val 50000"/>
                      </a:avLst>
                    </a:prstGeom>
                    <a:solidFill>
                      <a:schemeClr val="accent1">
                        <a:lumMod val="75000"/>
                        <a:lumOff val="25000"/>
                      </a:schemeClr>
                    </a:solidFill>
                    <a:ln w="12700" cap="flat" cmpd="sng" algn="ctr">
                      <a:noFill/>
                      <a:prstDash val="solid"/>
                      <a:miter lim="800000"/>
                    </a:ln>
                    <a:effectLst/>
                  </p:spPr>
                  <p:txBody>
                    <a:bodyPr lIns="0" tIns="48000" rIns="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ính</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dễ</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ổn</a:t>
                      </a:r>
                      <a:r>
                        <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r>
                        <a:rPr kumimoji="0" lang="fr-FR" sz="1400" b="1" i="0" u="none" strike="noStrike" kern="0" cap="none" spc="0" normalizeH="0" baseline="0" noProof="0" dirty="0" err="1">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thương</a:t>
                      </a:r>
                      <a:endParaRPr kumimoji="0" lang="fr-FR" sz="1400" b="1" i="0" u="none" strike="noStrike" kern="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grpSp>
            </p:grpSp>
            <p:sp>
              <p:nvSpPr>
                <p:cNvPr id="37" name="Triangle rectangle 75"/>
                <p:cNvSpPr/>
                <p:nvPr/>
              </p:nvSpPr>
              <p:spPr>
                <a:xfrm rot="13529141">
                  <a:off x="5834912" y="2303434"/>
                  <a:ext cx="136619" cy="134111"/>
                </a:xfrm>
                <a:prstGeom prst="rtTriangle">
                  <a:avLst/>
                </a:prstGeom>
                <a:solidFill>
                  <a:srgbClr val="014CA6"/>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Calibri" panose="020F0502020204030204" pitchFamily="34" charset="0"/>
                  </a:endParaRPr>
                </a:p>
              </p:txBody>
            </p:sp>
            <p:sp>
              <p:nvSpPr>
                <p:cNvPr id="38" name="Rectangle 37"/>
                <p:cNvSpPr/>
                <p:nvPr/>
              </p:nvSpPr>
              <p:spPr>
                <a:xfrm>
                  <a:off x="6037472" y="1485587"/>
                  <a:ext cx="45872" cy="1782672"/>
                </a:xfrm>
                <a:prstGeom prst="rect">
                  <a:avLst/>
                </a:prstGeom>
                <a:solidFill>
                  <a:srgbClr val="004EA7"/>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panose="020B0604020202020204"/>
                    <a:ea typeface="Verdana" panose="020B0604030504040204" pitchFamily="34" charset="0"/>
                    <a:cs typeface="Calibri" panose="020F0502020204030204" pitchFamily="34" charset="0"/>
                  </a:endParaRPr>
                </a:p>
              </p:txBody>
            </p:sp>
            <p:sp>
              <p:nvSpPr>
                <p:cNvPr id="39" name="Freeform 10"/>
                <p:cNvSpPr>
                  <a:spLocks noEditPoints="1"/>
                </p:cNvSpPr>
                <p:nvPr/>
              </p:nvSpPr>
              <p:spPr bwMode="auto">
                <a:xfrm>
                  <a:off x="4848823" y="1812264"/>
                  <a:ext cx="316975" cy="316778"/>
                </a:xfrm>
                <a:custGeom>
                  <a:avLst/>
                  <a:gdLst>
                    <a:gd name="T0" fmla="*/ 1259 w 1418"/>
                    <a:gd name="T1" fmla="*/ 667 h 1417"/>
                    <a:gd name="T2" fmla="*/ 1053 w 1418"/>
                    <a:gd name="T3" fmla="*/ 424 h 1417"/>
                    <a:gd name="T4" fmla="*/ 1247 w 1418"/>
                    <a:gd name="T5" fmla="*/ 359 h 1417"/>
                    <a:gd name="T6" fmla="*/ 1058 w 1418"/>
                    <a:gd name="T7" fmla="*/ 170 h 1417"/>
                    <a:gd name="T8" fmla="*/ 994 w 1418"/>
                    <a:gd name="T9" fmla="*/ 364 h 1417"/>
                    <a:gd name="T10" fmla="*/ 751 w 1418"/>
                    <a:gd name="T11" fmla="*/ 158 h 1417"/>
                    <a:gd name="T12" fmla="*/ 709 w 1418"/>
                    <a:gd name="T13" fmla="*/ 0 h 1417"/>
                    <a:gd name="T14" fmla="*/ 667 w 1418"/>
                    <a:gd name="T15" fmla="*/ 158 h 1417"/>
                    <a:gd name="T16" fmla="*/ 424 w 1418"/>
                    <a:gd name="T17" fmla="*/ 364 h 1417"/>
                    <a:gd name="T18" fmla="*/ 360 w 1418"/>
                    <a:gd name="T19" fmla="*/ 170 h 1417"/>
                    <a:gd name="T20" fmla="*/ 171 w 1418"/>
                    <a:gd name="T21" fmla="*/ 359 h 1417"/>
                    <a:gd name="T22" fmla="*/ 365 w 1418"/>
                    <a:gd name="T23" fmla="*/ 424 h 1417"/>
                    <a:gd name="T24" fmla="*/ 158 w 1418"/>
                    <a:gd name="T25" fmla="*/ 667 h 1417"/>
                    <a:gd name="T26" fmla="*/ 0 w 1418"/>
                    <a:gd name="T27" fmla="*/ 708 h 1417"/>
                    <a:gd name="T28" fmla="*/ 158 w 1418"/>
                    <a:gd name="T29" fmla="*/ 750 h 1417"/>
                    <a:gd name="T30" fmla="*/ 368 w 1418"/>
                    <a:gd name="T31" fmla="*/ 991 h 1417"/>
                    <a:gd name="T32" fmla="*/ 171 w 1418"/>
                    <a:gd name="T33" fmla="*/ 1058 h 1417"/>
                    <a:gd name="T34" fmla="*/ 360 w 1418"/>
                    <a:gd name="T35" fmla="*/ 1247 h 1417"/>
                    <a:gd name="T36" fmla="*/ 427 w 1418"/>
                    <a:gd name="T37" fmla="*/ 1049 h 1417"/>
                    <a:gd name="T38" fmla="*/ 667 w 1418"/>
                    <a:gd name="T39" fmla="*/ 1259 h 1417"/>
                    <a:gd name="T40" fmla="*/ 709 w 1418"/>
                    <a:gd name="T41" fmla="*/ 1417 h 1417"/>
                    <a:gd name="T42" fmla="*/ 751 w 1418"/>
                    <a:gd name="T43" fmla="*/ 1259 h 1417"/>
                    <a:gd name="T44" fmla="*/ 991 w 1418"/>
                    <a:gd name="T45" fmla="*/ 1049 h 1417"/>
                    <a:gd name="T46" fmla="*/ 1058 w 1418"/>
                    <a:gd name="T47" fmla="*/ 1247 h 1417"/>
                    <a:gd name="T48" fmla="*/ 1247 w 1418"/>
                    <a:gd name="T49" fmla="*/ 1058 h 1417"/>
                    <a:gd name="T50" fmla="*/ 1050 w 1418"/>
                    <a:gd name="T51" fmla="*/ 991 h 1417"/>
                    <a:gd name="T52" fmla="*/ 1259 w 1418"/>
                    <a:gd name="T53" fmla="*/ 750 h 1417"/>
                    <a:gd name="T54" fmla="*/ 1418 w 1418"/>
                    <a:gd name="T55" fmla="*/ 708 h 1417"/>
                    <a:gd name="T56" fmla="*/ 418 w 1418"/>
                    <a:gd name="T57" fmla="*/ 633 h 1417"/>
                    <a:gd name="T58" fmla="*/ 585 w 1418"/>
                    <a:gd name="T59" fmla="*/ 633 h 1417"/>
                    <a:gd name="T60" fmla="*/ 418 w 1418"/>
                    <a:gd name="T61" fmla="*/ 633 h 1417"/>
                    <a:gd name="T62" fmla="*/ 541 w 1418"/>
                    <a:gd name="T63" fmla="*/ 911 h 1417"/>
                    <a:gd name="T64" fmla="*/ 708 w 1418"/>
                    <a:gd name="T65" fmla="*/ 911 h 1417"/>
                    <a:gd name="T66" fmla="*/ 721 w 1418"/>
                    <a:gd name="T67" fmla="*/ 475 h 1417"/>
                    <a:gd name="T68" fmla="*/ 888 w 1418"/>
                    <a:gd name="T69" fmla="*/ 475 h 1417"/>
                    <a:gd name="T70" fmla="*/ 721 w 1418"/>
                    <a:gd name="T71" fmla="*/ 475 h 1417"/>
                    <a:gd name="T72" fmla="*/ 850 w 1418"/>
                    <a:gd name="T73" fmla="*/ 795 h 1417"/>
                    <a:gd name="T74" fmla="*/ 1017 w 1418"/>
                    <a:gd name="T75" fmla="*/ 795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8" h="1417">
                      <a:moveTo>
                        <a:pt x="1336" y="575"/>
                      </a:moveTo>
                      <a:cubicBezTo>
                        <a:pt x="1300" y="575"/>
                        <a:pt x="1270" y="613"/>
                        <a:pt x="1259" y="667"/>
                      </a:cubicBezTo>
                      <a:cubicBezTo>
                        <a:pt x="1152" y="667"/>
                        <a:pt x="1152" y="667"/>
                        <a:pt x="1152" y="667"/>
                      </a:cubicBezTo>
                      <a:cubicBezTo>
                        <a:pt x="1144" y="575"/>
                        <a:pt x="1108" y="491"/>
                        <a:pt x="1053" y="424"/>
                      </a:cubicBezTo>
                      <a:cubicBezTo>
                        <a:pt x="1128" y="349"/>
                        <a:pt x="1128" y="349"/>
                        <a:pt x="1128" y="349"/>
                      </a:cubicBezTo>
                      <a:cubicBezTo>
                        <a:pt x="1173" y="379"/>
                        <a:pt x="1222" y="385"/>
                        <a:pt x="1247" y="359"/>
                      </a:cubicBezTo>
                      <a:cubicBezTo>
                        <a:pt x="1279" y="327"/>
                        <a:pt x="1262" y="259"/>
                        <a:pt x="1210" y="207"/>
                      </a:cubicBezTo>
                      <a:cubicBezTo>
                        <a:pt x="1158" y="155"/>
                        <a:pt x="1090" y="138"/>
                        <a:pt x="1058" y="170"/>
                      </a:cubicBezTo>
                      <a:cubicBezTo>
                        <a:pt x="1033" y="195"/>
                        <a:pt x="1038" y="244"/>
                        <a:pt x="1069" y="290"/>
                      </a:cubicBezTo>
                      <a:cubicBezTo>
                        <a:pt x="994" y="364"/>
                        <a:pt x="994" y="364"/>
                        <a:pt x="994" y="364"/>
                      </a:cubicBezTo>
                      <a:cubicBezTo>
                        <a:pt x="927" y="308"/>
                        <a:pt x="843" y="272"/>
                        <a:pt x="751" y="263"/>
                      </a:cubicBezTo>
                      <a:cubicBezTo>
                        <a:pt x="751" y="158"/>
                        <a:pt x="751" y="158"/>
                        <a:pt x="751" y="158"/>
                      </a:cubicBezTo>
                      <a:cubicBezTo>
                        <a:pt x="804" y="147"/>
                        <a:pt x="843" y="117"/>
                        <a:pt x="843" y="81"/>
                      </a:cubicBezTo>
                      <a:cubicBezTo>
                        <a:pt x="843" y="36"/>
                        <a:pt x="783" y="0"/>
                        <a:pt x="709" y="0"/>
                      </a:cubicBezTo>
                      <a:cubicBezTo>
                        <a:pt x="635" y="0"/>
                        <a:pt x="575" y="36"/>
                        <a:pt x="575" y="81"/>
                      </a:cubicBezTo>
                      <a:cubicBezTo>
                        <a:pt x="575" y="117"/>
                        <a:pt x="614" y="147"/>
                        <a:pt x="667" y="158"/>
                      </a:cubicBezTo>
                      <a:cubicBezTo>
                        <a:pt x="667" y="263"/>
                        <a:pt x="667" y="263"/>
                        <a:pt x="667" y="263"/>
                      </a:cubicBezTo>
                      <a:cubicBezTo>
                        <a:pt x="575" y="272"/>
                        <a:pt x="491" y="308"/>
                        <a:pt x="424" y="364"/>
                      </a:cubicBezTo>
                      <a:cubicBezTo>
                        <a:pt x="349" y="290"/>
                        <a:pt x="349" y="290"/>
                        <a:pt x="349" y="290"/>
                      </a:cubicBezTo>
                      <a:cubicBezTo>
                        <a:pt x="379" y="244"/>
                        <a:pt x="385" y="195"/>
                        <a:pt x="360" y="170"/>
                      </a:cubicBezTo>
                      <a:cubicBezTo>
                        <a:pt x="328" y="138"/>
                        <a:pt x="260" y="155"/>
                        <a:pt x="208" y="207"/>
                      </a:cubicBezTo>
                      <a:cubicBezTo>
                        <a:pt x="156" y="259"/>
                        <a:pt x="139" y="327"/>
                        <a:pt x="171" y="359"/>
                      </a:cubicBezTo>
                      <a:cubicBezTo>
                        <a:pt x="196" y="385"/>
                        <a:pt x="245" y="379"/>
                        <a:pt x="290" y="349"/>
                      </a:cubicBezTo>
                      <a:cubicBezTo>
                        <a:pt x="365" y="424"/>
                        <a:pt x="365" y="424"/>
                        <a:pt x="365" y="424"/>
                      </a:cubicBezTo>
                      <a:cubicBezTo>
                        <a:pt x="310" y="491"/>
                        <a:pt x="274" y="575"/>
                        <a:pt x="266" y="667"/>
                      </a:cubicBezTo>
                      <a:cubicBezTo>
                        <a:pt x="158" y="667"/>
                        <a:pt x="158" y="667"/>
                        <a:pt x="158" y="667"/>
                      </a:cubicBezTo>
                      <a:cubicBezTo>
                        <a:pt x="148" y="613"/>
                        <a:pt x="117" y="575"/>
                        <a:pt x="81" y="575"/>
                      </a:cubicBezTo>
                      <a:cubicBezTo>
                        <a:pt x="37" y="575"/>
                        <a:pt x="0" y="635"/>
                        <a:pt x="0" y="708"/>
                      </a:cubicBezTo>
                      <a:cubicBezTo>
                        <a:pt x="0" y="782"/>
                        <a:pt x="37" y="842"/>
                        <a:pt x="81" y="842"/>
                      </a:cubicBezTo>
                      <a:cubicBezTo>
                        <a:pt x="117" y="842"/>
                        <a:pt x="148" y="803"/>
                        <a:pt x="158" y="750"/>
                      </a:cubicBezTo>
                      <a:cubicBezTo>
                        <a:pt x="267" y="750"/>
                        <a:pt x="267" y="750"/>
                        <a:pt x="267" y="750"/>
                      </a:cubicBezTo>
                      <a:cubicBezTo>
                        <a:pt x="276" y="841"/>
                        <a:pt x="312" y="924"/>
                        <a:pt x="368" y="991"/>
                      </a:cubicBezTo>
                      <a:cubicBezTo>
                        <a:pt x="290" y="1068"/>
                        <a:pt x="290" y="1068"/>
                        <a:pt x="290" y="1068"/>
                      </a:cubicBezTo>
                      <a:cubicBezTo>
                        <a:pt x="245" y="1038"/>
                        <a:pt x="196" y="1032"/>
                        <a:pt x="171" y="1058"/>
                      </a:cubicBezTo>
                      <a:cubicBezTo>
                        <a:pt x="139" y="1089"/>
                        <a:pt x="156" y="1157"/>
                        <a:pt x="208" y="1209"/>
                      </a:cubicBezTo>
                      <a:cubicBezTo>
                        <a:pt x="260" y="1262"/>
                        <a:pt x="328" y="1278"/>
                        <a:pt x="360" y="1247"/>
                      </a:cubicBezTo>
                      <a:cubicBezTo>
                        <a:pt x="385" y="1221"/>
                        <a:pt x="379" y="1172"/>
                        <a:pt x="349" y="1127"/>
                      </a:cubicBezTo>
                      <a:cubicBezTo>
                        <a:pt x="427" y="1049"/>
                        <a:pt x="427" y="1049"/>
                        <a:pt x="427" y="1049"/>
                      </a:cubicBezTo>
                      <a:cubicBezTo>
                        <a:pt x="494" y="1104"/>
                        <a:pt x="576" y="1140"/>
                        <a:pt x="667" y="1148"/>
                      </a:cubicBezTo>
                      <a:cubicBezTo>
                        <a:pt x="667" y="1259"/>
                        <a:pt x="667" y="1259"/>
                        <a:pt x="667" y="1259"/>
                      </a:cubicBezTo>
                      <a:cubicBezTo>
                        <a:pt x="614" y="1269"/>
                        <a:pt x="575" y="1300"/>
                        <a:pt x="575" y="1336"/>
                      </a:cubicBezTo>
                      <a:cubicBezTo>
                        <a:pt x="575" y="1381"/>
                        <a:pt x="635" y="1417"/>
                        <a:pt x="709" y="1417"/>
                      </a:cubicBezTo>
                      <a:cubicBezTo>
                        <a:pt x="783" y="1417"/>
                        <a:pt x="843" y="1381"/>
                        <a:pt x="843" y="1336"/>
                      </a:cubicBezTo>
                      <a:cubicBezTo>
                        <a:pt x="843" y="1300"/>
                        <a:pt x="804" y="1269"/>
                        <a:pt x="751" y="1259"/>
                      </a:cubicBezTo>
                      <a:cubicBezTo>
                        <a:pt x="751" y="1148"/>
                        <a:pt x="751" y="1148"/>
                        <a:pt x="751" y="1148"/>
                      </a:cubicBezTo>
                      <a:cubicBezTo>
                        <a:pt x="841" y="1140"/>
                        <a:pt x="924" y="1104"/>
                        <a:pt x="991" y="1049"/>
                      </a:cubicBezTo>
                      <a:cubicBezTo>
                        <a:pt x="1069" y="1127"/>
                        <a:pt x="1069" y="1127"/>
                        <a:pt x="1069" y="1127"/>
                      </a:cubicBezTo>
                      <a:cubicBezTo>
                        <a:pt x="1038" y="1172"/>
                        <a:pt x="1033" y="1221"/>
                        <a:pt x="1058" y="1247"/>
                      </a:cubicBezTo>
                      <a:cubicBezTo>
                        <a:pt x="1090" y="1278"/>
                        <a:pt x="1158" y="1262"/>
                        <a:pt x="1210" y="1209"/>
                      </a:cubicBezTo>
                      <a:cubicBezTo>
                        <a:pt x="1262" y="1157"/>
                        <a:pt x="1279" y="1089"/>
                        <a:pt x="1247" y="1058"/>
                      </a:cubicBezTo>
                      <a:cubicBezTo>
                        <a:pt x="1222" y="1032"/>
                        <a:pt x="1173" y="1038"/>
                        <a:pt x="1128" y="1068"/>
                      </a:cubicBezTo>
                      <a:cubicBezTo>
                        <a:pt x="1050" y="991"/>
                        <a:pt x="1050" y="991"/>
                        <a:pt x="1050" y="991"/>
                      </a:cubicBezTo>
                      <a:cubicBezTo>
                        <a:pt x="1106" y="924"/>
                        <a:pt x="1142" y="841"/>
                        <a:pt x="1151" y="750"/>
                      </a:cubicBezTo>
                      <a:cubicBezTo>
                        <a:pt x="1259" y="750"/>
                        <a:pt x="1259" y="750"/>
                        <a:pt x="1259" y="750"/>
                      </a:cubicBezTo>
                      <a:cubicBezTo>
                        <a:pt x="1270" y="803"/>
                        <a:pt x="1300" y="842"/>
                        <a:pt x="1336" y="842"/>
                      </a:cubicBezTo>
                      <a:cubicBezTo>
                        <a:pt x="1381" y="842"/>
                        <a:pt x="1418" y="782"/>
                        <a:pt x="1418" y="708"/>
                      </a:cubicBezTo>
                      <a:cubicBezTo>
                        <a:pt x="1418" y="635"/>
                        <a:pt x="1381" y="575"/>
                        <a:pt x="1336" y="575"/>
                      </a:cubicBezTo>
                      <a:close/>
                      <a:moveTo>
                        <a:pt x="418" y="633"/>
                      </a:moveTo>
                      <a:cubicBezTo>
                        <a:pt x="418" y="586"/>
                        <a:pt x="456" y="549"/>
                        <a:pt x="502" y="549"/>
                      </a:cubicBezTo>
                      <a:cubicBezTo>
                        <a:pt x="548" y="549"/>
                        <a:pt x="585" y="586"/>
                        <a:pt x="585" y="633"/>
                      </a:cubicBezTo>
                      <a:cubicBezTo>
                        <a:pt x="585" y="679"/>
                        <a:pt x="548" y="716"/>
                        <a:pt x="502" y="716"/>
                      </a:cubicBezTo>
                      <a:cubicBezTo>
                        <a:pt x="456" y="716"/>
                        <a:pt x="418" y="679"/>
                        <a:pt x="418" y="633"/>
                      </a:cubicBezTo>
                      <a:close/>
                      <a:moveTo>
                        <a:pt x="625" y="994"/>
                      </a:moveTo>
                      <a:cubicBezTo>
                        <a:pt x="579" y="994"/>
                        <a:pt x="541" y="957"/>
                        <a:pt x="541" y="911"/>
                      </a:cubicBezTo>
                      <a:cubicBezTo>
                        <a:pt x="541" y="865"/>
                        <a:pt x="579" y="827"/>
                        <a:pt x="625" y="827"/>
                      </a:cubicBezTo>
                      <a:cubicBezTo>
                        <a:pt x="671" y="827"/>
                        <a:pt x="708" y="865"/>
                        <a:pt x="708" y="911"/>
                      </a:cubicBezTo>
                      <a:cubicBezTo>
                        <a:pt x="708" y="957"/>
                        <a:pt x="671" y="994"/>
                        <a:pt x="625" y="994"/>
                      </a:cubicBezTo>
                      <a:close/>
                      <a:moveTo>
                        <a:pt x="721" y="475"/>
                      </a:moveTo>
                      <a:cubicBezTo>
                        <a:pt x="721" y="429"/>
                        <a:pt x="758" y="392"/>
                        <a:pt x="804" y="392"/>
                      </a:cubicBezTo>
                      <a:cubicBezTo>
                        <a:pt x="850" y="392"/>
                        <a:pt x="888" y="429"/>
                        <a:pt x="888" y="475"/>
                      </a:cubicBezTo>
                      <a:cubicBezTo>
                        <a:pt x="888" y="521"/>
                        <a:pt x="850" y="559"/>
                        <a:pt x="804" y="559"/>
                      </a:cubicBezTo>
                      <a:cubicBezTo>
                        <a:pt x="758" y="559"/>
                        <a:pt x="721" y="521"/>
                        <a:pt x="721" y="475"/>
                      </a:cubicBezTo>
                      <a:close/>
                      <a:moveTo>
                        <a:pt x="934" y="878"/>
                      </a:moveTo>
                      <a:cubicBezTo>
                        <a:pt x="888" y="878"/>
                        <a:pt x="850" y="841"/>
                        <a:pt x="850" y="795"/>
                      </a:cubicBezTo>
                      <a:cubicBezTo>
                        <a:pt x="850" y="749"/>
                        <a:pt x="888" y="711"/>
                        <a:pt x="934" y="711"/>
                      </a:cubicBezTo>
                      <a:cubicBezTo>
                        <a:pt x="980" y="711"/>
                        <a:pt x="1017" y="749"/>
                        <a:pt x="1017" y="795"/>
                      </a:cubicBezTo>
                      <a:cubicBezTo>
                        <a:pt x="1017" y="841"/>
                        <a:pt x="980" y="878"/>
                        <a:pt x="934" y="878"/>
                      </a:cubicBezTo>
                      <a:close/>
                    </a:path>
                  </a:pathLst>
                </a:custGeom>
                <a:solidFill>
                  <a:srgbClr val="BE006B"/>
                </a:solidFill>
                <a:ln w="12700">
                  <a:solidFill>
                    <a:sysClr val="window" lastClr="FFFFFF"/>
                  </a:solidFill>
                  <a:round/>
                </a:ln>
              </p:spPr>
              <p:txBody>
                <a:bodyPr vert="horz" wrap="square" lIns="121920" tIns="60960" rIns="121920" bIns="60960" numCol="1" anchor="t" anchorCtr="0" compatLnSpc="1"/>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endParaRPr>
                </a:p>
              </p:txBody>
            </p:sp>
            <p:sp>
              <p:nvSpPr>
                <p:cNvPr id="40" name="Freeform 10"/>
                <p:cNvSpPr>
                  <a:spLocks noEditPoints="1"/>
                </p:cNvSpPr>
                <p:nvPr/>
              </p:nvSpPr>
              <p:spPr bwMode="auto">
                <a:xfrm>
                  <a:off x="5431439" y="2650128"/>
                  <a:ext cx="328325" cy="328122"/>
                </a:xfrm>
                <a:custGeom>
                  <a:avLst/>
                  <a:gdLst>
                    <a:gd name="T0" fmla="*/ 1259 w 1418"/>
                    <a:gd name="T1" fmla="*/ 667 h 1417"/>
                    <a:gd name="T2" fmla="*/ 1053 w 1418"/>
                    <a:gd name="T3" fmla="*/ 424 h 1417"/>
                    <a:gd name="T4" fmla="*/ 1247 w 1418"/>
                    <a:gd name="T5" fmla="*/ 359 h 1417"/>
                    <a:gd name="T6" fmla="*/ 1058 w 1418"/>
                    <a:gd name="T7" fmla="*/ 170 h 1417"/>
                    <a:gd name="T8" fmla="*/ 994 w 1418"/>
                    <a:gd name="T9" fmla="*/ 364 h 1417"/>
                    <a:gd name="T10" fmla="*/ 751 w 1418"/>
                    <a:gd name="T11" fmla="*/ 158 h 1417"/>
                    <a:gd name="T12" fmla="*/ 709 w 1418"/>
                    <a:gd name="T13" fmla="*/ 0 h 1417"/>
                    <a:gd name="T14" fmla="*/ 667 w 1418"/>
                    <a:gd name="T15" fmla="*/ 158 h 1417"/>
                    <a:gd name="T16" fmla="*/ 424 w 1418"/>
                    <a:gd name="T17" fmla="*/ 364 h 1417"/>
                    <a:gd name="T18" fmla="*/ 360 w 1418"/>
                    <a:gd name="T19" fmla="*/ 170 h 1417"/>
                    <a:gd name="T20" fmla="*/ 171 w 1418"/>
                    <a:gd name="T21" fmla="*/ 359 h 1417"/>
                    <a:gd name="T22" fmla="*/ 365 w 1418"/>
                    <a:gd name="T23" fmla="*/ 424 h 1417"/>
                    <a:gd name="T24" fmla="*/ 158 w 1418"/>
                    <a:gd name="T25" fmla="*/ 667 h 1417"/>
                    <a:gd name="T26" fmla="*/ 0 w 1418"/>
                    <a:gd name="T27" fmla="*/ 708 h 1417"/>
                    <a:gd name="T28" fmla="*/ 158 w 1418"/>
                    <a:gd name="T29" fmla="*/ 750 h 1417"/>
                    <a:gd name="T30" fmla="*/ 368 w 1418"/>
                    <a:gd name="T31" fmla="*/ 991 h 1417"/>
                    <a:gd name="T32" fmla="*/ 171 w 1418"/>
                    <a:gd name="T33" fmla="*/ 1058 h 1417"/>
                    <a:gd name="T34" fmla="*/ 360 w 1418"/>
                    <a:gd name="T35" fmla="*/ 1247 h 1417"/>
                    <a:gd name="T36" fmla="*/ 427 w 1418"/>
                    <a:gd name="T37" fmla="*/ 1049 h 1417"/>
                    <a:gd name="T38" fmla="*/ 667 w 1418"/>
                    <a:gd name="T39" fmla="*/ 1259 h 1417"/>
                    <a:gd name="T40" fmla="*/ 709 w 1418"/>
                    <a:gd name="T41" fmla="*/ 1417 h 1417"/>
                    <a:gd name="T42" fmla="*/ 751 w 1418"/>
                    <a:gd name="T43" fmla="*/ 1259 h 1417"/>
                    <a:gd name="T44" fmla="*/ 991 w 1418"/>
                    <a:gd name="T45" fmla="*/ 1049 h 1417"/>
                    <a:gd name="T46" fmla="*/ 1058 w 1418"/>
                    <a:gd name="T47" fmla="*/ 1247 h 1417"/>
                    <a:gd name="T48" fmla="*/ 1247 w 1418"/>
                    <a:gd name="T49" fmla="*/ 1058 h 1417"/>
                    <a:gd name="T50" fmla="*/ 1050 w 1418"/>
                    <a:gd name="T51" fmla="*/ 991 h 1417"/>
                    <a:gd name="T52" fmla="*/ 1259 w 1418"/>
                    <a:gd name="T53" fmla="*/ 750 h 1417"/>
                    <a:gd name="T54" fmla="*/ 1418 w 1418"/>
                    <a:gd name="T55" fmla="*/ 708 h 1417"/>
                    <a:gd name="T56" fmla="*/ 418 w 1418"/>
                    <a:gd name="T57" fmla="*/ 633 h 1417"/>
                    <a:gd name="T58" fmla="*/ 585 w 1418"/>
                    <a:gd name="T59" fmla="*/ 633 h 1417"/>
                    <a:gd name="T60" fmla="*/ 418 w 1418"/>
                    <a:gd name="T61" fmla="*/ 633 h 1417"/>
                    <a:gd name="T62" fmla="*/ 541 w 1418"/>
                    <a:gd name="T63" fmla="*/ 911 h 1417"/>
                    <a:gd name="T64" fmla="*/ 708 w 1418"/>
                    <a:gd name="T65" fmla="*/ 911 h 1417"/>
                    <a:gd name="T66" fmla="*/ 721 w 1418"/>
                    <a:gd name="T67" fmla="*/ 475 h 1417"/>
                    <a:gd name="T68" fmla="*/ 888 w 1418"/>
                    <a:gd name="T69" fmla="*/ 475 h 1417"/>
                    <a:gd name="T70" fmla="*/ 721 w 1418"/>
                    <a:gd name="T71" fmla="*/ 475 h 1417"/>
                    <a:gd name="T72" fmla="*/ 850 w 1418"/>
                    <a:gd name="T73" fmla="*/ 795 h 1417"/>
                    <a:gd name="T74" fmla="*/ 1017 w 1418"/>
                    <a:gd name="T75" fmla="*/ 795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8" h="1417">
                      <a:moveTo>
                        <a:pt x="1336" y="575"/>
                      </a:moveTo>
                      <a:cubicBezTo>
                        <a:pt x="1300" y="575"/>
                        <a:pt x="1270" y="613"/>
                        <a:pt x="1259" y="667"/>
                      </a:cubicBezTo>
                      <a:cubicBezTo>
                        <a:pt x="1152" y="667"/>
                        <a:pt x="1152" y="667"/>
                        <a:pt x="1152" y="667"/>
                      </a:cubicBezTo>
                      <a:cubicBezTo>
                        <a:pt x="1144" y="575"/>
                        <a:pt x="1108" y="491"/>
                        <a:pt x="1053" y="424"/>
                      </a:cubicBezTo>
                      <a:cubicBezTo>
                        <a:pt x="1128" y="349"/>
                        <a:pt x="1128" y="349"/>
                        <a:pt x="1128" y="349"/>
                      </a:cubicBezTo>
                      <a:cubicBezTo>
                        <a:pt x="1173" y="379"/>
                        <a:pt x="1222" y="385"/>
                        <a:pt x="1247" y="359"/>
                      </a:cubicBezTo>
                      <a:cubicBezTo>
                        <a:pt x="1279" y="327"/>
                        <a:pt x="1262" y="259"/>
                        <a:pt x="1210" y="207"/>
                      </a:cubicBezTo>
                      <a:cubicBezTo>
                        <a:pt x="1158" y="155"/>
                        <a:pt x="1090" y="138"/>
                        <a:pt x="1058" y="170"/>
                      </a:cubicBezTo>
                      <a:cubicBezTo>
                        <a:pt x="1033" y="195"/>
                        <a:pt x="1038" y="244"/>
                        <a:pt x="1069" y="290"/>
                      </a:cubicBezTo>
                      <a:cubicBezTo>
                        <a:pt x="994" y="364"/>
                        <a:pt x="994" y="364"/>
                        <a:pt x="994" y="364"/>
                      </a:cubicBezTo>
                      <a:cubicBezTo>
                        <a:pt x="927" y="308"/>
                        <a:pt x="843" y="272"/>
                        <a:pt x="751" y="263"/>
                      </a:cubicBezTo>
                      <a:cubicBezTo>
                        <a:pt x="751" y="158"/>
                        <a:pt x="751" y="158"/>
                        <a:pt x="751" y="158"/>
                      </a:cubicBezTo>
                      <a:cubicBezTo>
                        <a:pt x="804" y="147"/>
                        <a:pt x="843" y="117"/>
                        <a:pt x="843" y="81"/>
                      </a:cubicBezTo>
                      <a:cubicBezTo>
                        <a:pt x="843" y="36"/>
                        <a:pt x="783" y="0"/>
                        <a:pt x="709" y="0"/>
                      </a:cubicBezTo>
                      <a:cubicBezTo>
                        <a:pt x="635" y="0"/>
                        <a:pt x="575" y="36"/>
                        <a:pt x="575" y="81"/>
                      </a:cubicBezTo>
                      <a:cubicBezTo>
                        <a:pt x="575" y="117"/>
                        <a:pt x="614" y="147"/>
                        <a:pt x="667" y="158"/>
                      </a:cubicBezTo>
                      <a:cubicBezTo>
                        <a:pt x="667" y="263"/>
                        <a:pt x="667" y="263"/>
                        <a:pt x="667" y="263"/>
                      </a:cubicBezTo>
                      <a:cubicBezTo>
                        <a:pt x="575" y="272"/>
                        <a:pt x="491" y="308"/>
                        <a:pt x="424" y="364"/>
                      </a:cubicBezTo>
                      <a:cubicBezTo>
                        <a:pt x="349" y="290"/>
                        <a:pt x="349" y="290"/>
                        <a:pt x="349" y="290"/>
                      </a:cubicBezTo>
                      <a:cubicBezTo>
                        <a:pt x="379" y="244"/>
                        <a:pt x="385" y="195"/>
                        <a:pt x="360" y="170"/>
                      </a:cubicBezTo>
                      <a:cubicBezTo>
                        <a:pt x="328" y="138"/>
                        <a:pt x="260" y="155"/>
                        <a:pt x="208" y="207"/>
                      </a:cubicBezTo>
                      <a:cubicBezTo>
                        <a:pt x="156" y="259"/>
                        <a:pt x="139" y="327"/>
                        <a:pt x="171" y="359"/>
                      </a:cubicBezTo>
                      <a:cubicBezTo>
                        <a:pt x="196" y="385"/>
                        <a:pt x="245" y="379"/>
                        <a:pt x="290" y="349"/>
                      </a:cubicBezTo>
                      <a:cubicBezTo>
                        <a:pt x="365" y="424"/>
                        <a:pt x="365" y="424"/>
                        <a:pt x="365" y="424"/>
                      </a:cubicBezTo>
                      <a:cubicBezTo>
                        <a:pt x="310" y="491"/>
                        <a:pt x="274" y="575"/>
                        <a:pt x="266" y="667"/>
                      </a:cubicBezTo>
                      <a:cubicBezTo>
                        <a:pt x="158" y="667"/>
                        <a:pt x="158" y="667"/>
                        <a:pt x="158" y="667"/>
                      </a:cubicBezTo>
                      <a:cubicBezTo>
                        <a:pt x="148" y="613"/>
                        <a:pt x="117" y="575"/>
                        <a:pt x="81" y="575"/>
                      </a:cubicBezTo>
                      <a:cubicBezTo>
                        <a:pt x="37" y="575"/>
                        <a:pt x="0" y="635"/>
                        <a:pt x="0" y="708"/>
                      </a:cubicBezTo>
                      <a:cubicBezTo>
                        <a:pt x="0" y="782"/>
                        <a:pt x="37" y="842"/>
                        <a:pt x="81" y="842"/>
                      </a:cubicBezTo>
                      <a:cubicBezTo>
                        <a:pt x="117" y="842"/>
                        <a:pt x="148" y="803"/>
                        <a:pt x="158" y="750"/>
                      </a:cubicBezTo>
                      <a:cubicBezTo>
                        <a:pt x="267" y="750"/>
                        <a:pt x="267" y="750"/>
                        <a:pt x="267" y="750"/>
                      </a:cubicBezTo>
                      <a:cubicBezTo>
                        <a:pt x="276" y="841"/>
                        <a:pt x="312" y="924"/>
                        <a:pt x="368" y="991"/>
                      </a:cubicBezTo>
                      <a:cubicBezTo>
                        <a:pt x="290" y="1068"/>
                        <a:pt x="290" y="1068"/>
                        <a:pt x="290" y="1068"/>
                      </a:cubicBezTo>
                      <a:cubicBezTo>
                        <a:pt x="245" y="1038"/>
                        <a:pt x="196" y="1032"/>
                        <a:pt x="171" y="1058"/>
                      </a:cubicBezTo>
                      <a:cubicBezTo>
                        <a:pt x="139" y="1089"/>
                        <a:pt x="156" y="1157"/>
                        <a:pt x="208" y="1209"/>
                      </a:cubicBezTo>
                      <a:cubicBezTo>
                        <a:pt x="260" y="1262"/>
                        <a:pt x="328" y="1278"/>
                        <a:pt x="360" y="1247"/>
                      </a:cubicBezTo>
                      <a:cubicBezTo>
                        <a:pt x="385" y="1221"/>
                        <a:pt x="379" y="1172"/>
                        <a:pt x="349" y="1127"/>
                      </a:cubicBezTo>
                      <a:cubicBezTo>
                        <a:pt x="427" y="1049"/>
                        <a:pt x="427" y="1049"/>
                        <a:pt x="427" y="1049"/>
                      </a:cubicBezTo>
                      <a:cubicBezTo>
                        <a:pt x="494" y="1104"/>
                        <a:pt x="576" y="1140"/>
                        <a:pt x="667" y="1148"/>
                      </a:cubicBezTo>
                      <a:cubicBezTo>
                        <a:pt x="667" y="1259"/>
                        <a:pt x="667" y="1259"/>
                        <a:pt x="667" y="1259"/>
                      </a:cubicBezTo>
                      <a:cubicBezTo>
                        <a:pt x="614" y="1269"/>
                        <a:pt x="575" y="1300"/>
                        <a:pt x="575" y="1336"/>
                      </a:cubicBezTo>
                      <a:cubicBezTo>
                        <a:pt x="575" y="1381"/>
                        <a:pt x="635" y="1417"/>
                        <a:pt x="709" y="1417"/>
                      </a:cubicBezTo>
                      <a:cubicBezTo>
                        <a:pt x="783" y="1417"/>
                        <a:pt x="843" y="1381"/>
                        <a:pt x="843" y="1336"/>
                      </a:cubicBezTo>
                      <a:cubicBezTo>
                        <a:pt x="843" y="1300"/>
                        <a:pt x="804" y="1269"/>
                        <a:pt x="751" y="1259"/>
                      </a:cubicBezTo>
                      <a:cubicBezTo>
                        <a:pt x="751" y="1148"/>
                        <a:pt x="751" y="1148"/>
                        <a:pt x="751" y="1148"/>
                      </a:cubicBezTo>
                      <a:cubicBezTo>
                        <a:pt x="841" y="1140"/>
                        <a:pt x="924" y="1104"/>
                        <a:pt x="991" y="1049"/>
                      </a:cubicBezTo>
                      <a:cubicBezTo>
                        <a:pt x="1069" y="1127"/>
                        <a:pt x="1069" y="1127"/>
                        <a:pt x="1069" y="1127"/>
                      </a:cubicBezTo>
                      <a:cubicBezTo>
                        <a:pt x="1038" y="1172"/>
                        <a:pt x="1033" y="1221"/>
                        <a:pt x="1058" y="1247"/>
                      </a:cubicBezTo>
                      <a:cubicBezTo>
                        <a:pt x="1090" y="1278"/>
                        <a:pt x="1158" y="1262"/>
                        <a:pt x="1210" y="1209"/>
                      </a:cubicBezTo>
                      <a:cubicBezTo>
                        <a:pt x="1262" y="1157"/>
                        <a:pt x="1279" y="1089"/>
                        <a:pt x="1247" y="1058"/>
                      </a:cubicBezTo>
                      <a:cubicBezTo>
                        <a:pt x="1222" y="1032"/>
                        <a:pt x="1173" y="1038"/>
                        <a:pt x="1128" y="1068"/>
                      </a:cubicBezTo>
                      <a:cubicBezTo>
                        <a:pt x="1050" y="991"/>
                        <a:pt x="1050" y="991"/>
                        <a:pt x="1050" y="991"/>
                      </a:cubicBezTo>
                      <a:cubicBezTo>
                        <a:pt x="1106" y="924"/>
                        <a:pt x="1142" y="841"/>
                        <a:pt x="1151" y="750"/>
                      </a:cubicBezTo>
                      <a:cubicBezTo>
                        <a:pt x="1259" y="750"/>
                        <a:pt x="1259" y="750"/>
                        <a:pt x="1259" y="750"/>
                      </a:cubicBezTo>
                      <a:cubicBezTo>
                        <a:pt x="1270" y="803"/>
                        <a:pt x="1300" y="842"/>
                        <a:pt x="1336" y="842"/>
                      </a:cubicBezTo>
                      <a:cubicBezTo>
                        <a:pt x="1381" y="842"/>
                        <a:pt x="1418" y="782"/>
                        <a:pt x="1418" y="708"/>
                      </a:cubicBezTo>
                      <a:cubicBezTo>
                        <a:pt x="1418" y="635"/>
                        <a:pt x="1381" y="575"/>
                        <a:pt x="1336" y="575"/>
                      </a:cubicBezTo>
                      <a:close/>
                      <a:moveTo>
                        <a:pt x="418" y="633"/>
                      </a:moveTo>
                      <a:cubicBezTo>
                        <a:pt x="418" y="586"/>
                        <a:pt x="456" y="549"/>
                        <a:pt x="502" y="549"/>
                      </a:cubicBezTo>
                      <a:cubicBezTo>
                        <a:pt x="548" y="549"/>
                        <a:pt x="585" y="586"/>
                        <a:pt x="585" y="633"/>
                      </a:cubicBezTo>
                      <a:cubicBezTo>
                        <a:pt x="585" y="679"/>
                        <a:pt x="548" y="716"/>
                        <a:pt x="502" y="716"/>
                      </a:cubicBezTo>
                      <a:cubicBezTo>
                        <a:pt x="456" y="716"/>
                        <a:pt x="418" y="679"/>
                        <a:pt x="418" y="633"/>
                      </a:cubicBezTo>
                      <a:close/>
                      <a:moveTo>
                        <a:pt x="625" y="994"/>
                      </a:moveTo>
                      <a:cubicBezTo>
                        <a:pt x="579" y="994"/>
                        <a:pt x="541" y="957"/>
                        <a:pt x="541" y="911"/>
                      </a:cubicBezTo>
                      <a:cubicBezTo>
                        <a:pt x="541" y="865"/>
                        <a:pt x="579" y="827"/>
                        <a:pt x="625" y="827"/>
                      </a:cubicBezTo>
                      <a:cubicBezTo>
                        <a:pt x="671" y="827"/>
                        <a:pt x="708" y="865"/>
                        <a:pt x="708" y="911"/>
                      </a:cubicBezTo>
                      <a:cubicBezTo>
                        <a:pt x="708" y="957"/>
                        <a:pt x="671" y="994"/>
                        <a:pt x="625" y="994"/>
                      </a:cubicBezTo>
                      <a:close/>
                      <a:moveTo>
                        <a:pt x="721" y="475"/>
                      </a:moveTo>
                      <a:cubicBezTo>
                        <a:pt x="721" y="429"/>
                        <a:pt x="758" y="392"/>
                        <a:pt x="804" y="392"/>
                      </a:cubicBezTo>
                      <a:cubicBezTo>
                        <a:pt x="850" y="392"/>
                        <a:pt x="888" y="429"/>
                        <a:pt x="888" y="475"/>
                      </a:cubicBezTo>
                      <a:cubicBezTo>
                        <a:pt x="888" y="521"/>
                        <a:pt x="850" y="559"/>
                        <a:pt x="804" y="559"/>
                      </a:cubicBezTo>
                      <a:cubicBezTo>
                        <a:pt x="758" y="559"/>
                        <a:pt x="721" y="521"/>
                        <a:pt x="721" y="475"/>
                      </a:cubicBezTo>
                      <a:close/>
                      <a:moveTo>
                        <a:pt x="934" y="878"/>
                      </a:moveTo>
                      <a:cubicBezTo>
                        <a:pt x="888" y="878"/>
                        <a:pt x="850" y="841"/>
                        <a:pt x="850" y="795"/>
                      </a:cubicBezTo>
                      <a:cubicBezTo>
                        <a:pt x="850" y="749"/>
                        <a:pt x="888" y="711"/>
                        <a:pt x="934" y="711"/>
                      </a:cubicBezTo>
                      <a:cubicBezTo>
                        <a:pt x="980" y="711"/>
                        <a:pt x="1017" y="749"/>
                        <a:pt x="1017" y="795"/>
                      </a:cubicBezTo>
                      <a:cubicBezTo>
                        <a:pt x="1017" y="841"/>
                        <a:pt x="980" y="878"/>
                        <a:pt x="934" y="878"/>
                      </a:cubicBezTo>
                      <a:close/>
                    </a:path>
                  </a:pathLst>
                </a:custGeom>
                <a:solidFill>
                  <a:srgbClr val="BE006B"/>
                </a:solidFill>
                <a:ln w="9525">
                  <a:solidFill>
                    <a:sysClr val="window" lastClr="FFFFFF"/>
                  </a:solidFill>
                  <a:round/>
                </a:ln>
              </p:spPr>
              <p:txBody>
                <a:bodyPr vert="horz" wrap="square" lIns="121920" tIns="60960" rIns="121920" bIns="60960" numCol="1" anchor="t" anchorCtr="0" compatLnSpc="1"/>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Arial" panose="020B0604020202020204"/>
                    <a:ea typeface="Verdana" panose="020B0604030504040204" pitchFamily="34" charset="0"/>
                    <a:cs typeface="Calibri" panose="020F0502020204030204" pitchFamily="34" charset="0"/>
                  </a:endParaRPr>
                </a:p>
              </p:txBody>
            </p:sp>
          </p:grpSp>
          <p:grpSp>
            <p:nvGrpSpPr>
              <p:cNvPr id="25" name="Group 24"/>
              <p:cNvGrpSpPr/>
              <p:nvPr/>
            </p:nvGrpSpPr>
            <p:grpSpPr>
              <a:xfrm>
                <a:off x="168079" y="2361127"/>
                <a:ext cx="2036254" cy="1795910"/>
                <a:chOff x="168079" y="2361127"/>
                <a:chExt cx="2036254" cy="1795910"/>
              </a:xfrm>
            </p:grpSpPr>
            <p:sp>
              <p:nvSpPr>
                <p:cNvPr id="26" name="Rounded Rectangle 25"/>
                <p:cNvSpPr/>
                <p:nvPr/>
              </p:nvSpPr>
              <p:spPr>
                <a:xfrm rot="2616289">
                  <a:off x="259868" y="2361127"/>
                  <a:ext cx="1850245" cy="1795910"/>
                </a:xfrm>
                <a:prstGeom prst="roundRect">
                  <a:avLst/>
                </a:prstGeom>
                <a:solidFill>
                  <a:sysClr val="window" lastClr="FFFFFF"/>
                </a:solidFill>
                <a:ln w="12700" cap="flat" cmpd="sng" algn="ctr">
                  <a:solidFill>
                    <a:srgbClr val="E7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E70000"/>
                    </a:solidFill>
                    <a:effectLst/>
                    <a:uLnTx/>
                    <a:uFillTx/>
                    <a:latin typeface="Arial" panose="020B0604020202020204"/>
                    <a:ea typeface="Verdana" panose="020B0604030504040204" pitchFamily="34" charset="0"/>
                    <a:cs typeface="Calibri" panose="020F0502020204030204" pitchFamily="34" charset="0"/>
                  </a:endParaRPr>
                </a:p>
              </p:txBody>
            </p:sp>
            <p:sp>
              <p:nvSpPr>
                <p:cNvPr id="27" name="Rectangle 26"/>
                <p:cNvSpPr/>
                <p:nvPr/>
              </p:nvSpPr>
              <p:spPr>
                <a:xfrm>
                  <a:off x="168079" y="2574069"/>
                  <a:ext cx="2036254" cy="1408078"/>
                </a:xfrm>
                <a:prstGeom prst="rect">
                  <a:avLst/>
                </a:prstGeom>
                <a:noFill/>
              </p:spPr>
              <p:txBody>
                <a:bodyPr wrap="square">
                  <a:spAutoFit/>
                </a:bodyPr>
                <a:lstStyle/>
                <a:p>
                  <a:pPr marL="0" marR="0" lvl="0" indent="0" algn="ctr" defTabSz="914377" rtl="0" eaLnBrk="1" fontAlgn="auto" latinLnBrk="0" hangingPunct="1">
                    <a:lnSpc>
                      <a:spcPct val="100000"/>
                    </a:lnSpc>
                    <a:spcBef>
                      <a:spcPts val="2400"/>
                    </a:spcBef>
                    <a:spcAft>
                      <a:spcPts val="0"/>
                    </a:spcAft>
                    <a:buClr>
                      <a:srgbClr val="CAAE7A"/>
                    </a:buClr>
                    <a:buSzTx/>
                    <a:buFontTx/>
                    <a:buNone/>
                    <a:tabLst/>
                    <a:defRPr/>
                  </a:pPr>
                  <a:r>
                    <a:rPr kumimoji="0" lang="vi-VN" sz="1800" b="1" i="0" u="none" strike="noStrike" kern="0" cap="none" spc="0" normalizeH="0" baseline="0" noProof="0">
                      <a:ln>
                        <a:noFill/>
                      </a:ln>
                      <a:solidFill>
                        <a:srgbClr val="FF0000"/>
                      </a:solidFill>
                      <a:effectLst/>
                      <a:uLnTx/>
                      <a:uFillTx/>
                      <a:latin typeface="Arial" panose="020B0604020202020204" pitchFamily="34" charset="0"/>
                      <a:ea typeface="Verdana" panose="020B0604030504040204" pitchFamily="34" charset="0"/>
                      <a:cs typeface="Calibri" panose="020F0502020204030204" pitchFamily="34" charset="0"/>
                    </a:rPr>
                    <a:t>NHIỄM CÚM</a:t>
                  </a:r>
                  <a:br>
                    <a:rPr kumimoji="0" lang="vi-VN" sz="1200" b="1"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b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có thể góp phần làm</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 </a:t>
                  </a:r>
                  <a:r>
                    <a:rPr kumimoji="0" lang="vi-VN" sz="1400" b="0" i="0" u="none" strike="noStrike" kern="0" cap="none" spc="0" normalizeH="0" baseline="0" noProof="0">
                      <a:ln>
                        <a:noFill/>
                      </a:ln>
                      <a:solidFill>
                        <a:srgbClr val="FF0000"/>
                      </a:solidFill>
                      <a:effectLst/>
                      <a:uLnTx/>
                      <a:uFillTx/>
                      <a:latin typeface="Arial" panose="020B0604020202020204" pitchFamily="34" charset="0"/>
                      <a:ea typeface="Verdana" panose="020B0604030504040204" pitchFamily="34" charset="0"/>
                      <a:cs typeface="Calibri" panose="020F0502020204030204" pitchFamily="34" charset="0"/>
                    </a:rPr>
                    <a:t>suy giảm chức năng </a:t>
                  </a: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hoặc</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 </a:t>
                  </a:r>
                  <a:r>
                    <a:rPr kumimoji="0" lang="en-US" sz="1400" b="0" i="0" u="none" strike="noStrike" kern="0" cap="none" spc="0" normalizeH="0" baseline="0" noProof="0" err="1">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khiến</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 </a:t>
                  </a:r>
                  <a:r>
                    <a:rPr kumimoji="0" lang="en-US" sz="1400" b="0" i="0" u="none" strike="noStrike" kern="0" cap="none" spc="0" normalizeH="0" baseline="0" noProof="0" err="1">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cho</a:t>
                  </a: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 người cao tuổi </a:t>
                  </a:r>
                  <a:r>
                    <a:rPr kumimoji="0" lang="vi-VN" sz="1400" b="0" i="0" u="none" strike="noStrike" kern="0" cap="none" spc="0" normalizeH="0" baseline="0" noProof="0">
                      <a:ln>
                        <a:noFill/>
                      </a:ln>
                      <a:solidFill>
                        <a:srgbClr val="FF0000"/>
                      </a:solidFill>
                      <a:effectLst/>
                      <a:uLnTx/>
                      <a:uFillTx/>
                      <a:latin typeface="Arial" panose="020B0604020202020204" pitchFamily="34" charset="0"/>
                      <a:ea typeface="Verdana" panose="020B0604030504040204" pitchFamily="34" charset="0"/>
                      <a:cs typeface="Calibri" panose="020F0502020204030204" pitchFamily="34" charset="0"/>
                    </a:rPr>
                    <a:t>không </a:t>
                  </a:r>
                  <a:r>
                    <a:rPr kumimoji="0" lang="en-US" sz="1400" b="0" i="0" u="none" strike="noStrike" kern="0" cap="none" spc="0" normalizeH="0" baseline="0" noProof="0" err="1">
                      <a:ln>
                        <a:noFill/>
                      </a:ln>
                      <a:solidFill>
                        <a:srgbClr val="FF0000"/>
                      </a:solidFill>
                      <a:effectLst/>
                      <a:uLnTx/>
                      <a:uFillTx/>
                      <a:latin typeface="Arial" panose="020B0604020202020204"/>
                      <a:ea typeface="Verdana" panose="020B0604030504040204" pitchFamily="34" charset="0"/>
                      <a:cs typeface="Calibri" panose="020F0502020204030204" pitchFamily="34" charset="0"/>
                    </a:rPr>
                    <a:t>thể</a:t>
                  </a:r>
                  <a:r>
                    <a:rPr kumimoji="0" lang="en-US" sz="1400" b="0" i="0" u="none" strike="noStrike" kern="0" cap="none" spc="0" normalizeH="0" baseline="0" noProof="0">
                      <a:ln>
                        <a:noFill/>
                      </a:ln>
                      <a:solidFill>
                        <a:srgbClr val="FF0000"/>
                      </a:solidFill>
                      <a:effectLst/>
                      <a:uLnTx/>
                      <a:uFillTx/>
                      <a:latin typeface="Arial" panose="020B0604020202020204"/>
                      <a:ea typeface="Verdana" panose="020B0604030504040204" pitchFamily="34" charset="0"/>
                      <a:cs typeface="Calibri" panose="020F0502020204030204" pitchFamily="34" charset="0"/>
                    </a:rPr>
                    <a:t> </a:t>
                  </a:r>
                  <a:r>
                    <a:rPr kumimoji="0" lang="vi-VN" sz="1400" b="0" i="0" u="none" strike="noStrike" kern="0" cap="none" spc="0" normalizeH="0" baseline="0" noProof="0">
                      <a:ln>
                        <a:noFill/>
                      </a:ln>
                      <a:solidFill>
                        <a:srgbClr val="FF0000"/>
                      </a:solidFill>
                      <a:effectLst/>
                      <a:uLnTx/>
                      <a:uFillTx/>
                      <a:latin typeface="Arial" panose="020B0604020202020204" pitchFamily="34" charset="0"/>
                      <a:ea typeface="Verdana" panose="020B0604030504040204" pitchFamily="34" charset="0"/>
                      <a:cs typeface="Calibri" panose="020F0502020204030204" pitchFamily="34" charset="0"/>
                    </a:rPr>
                    <a:t>phục hồi trở lại </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 </a:t>
                  </a:r>
                  <a:r>
                    <a:rPr kumimoji="0" lang="en-US" sz="1400" b="0" i="0" u="none" strike="noStrike" kern="0" cap="none" spc="0" normalizeH="0" baseline="0" noProof="0" err="1">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đầy</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 </a:t>
                  </a: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đủ chức năng trước đ</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ó</a:t>
                  </a: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 </a:t>
                  </a:r>
                  <a:b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b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khi đã qua khỏi </a:t>
                  </a:r>
                  <a:b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br>
                  <a:r>
                    <a:rPr kumimoji="0" lang="vi-VN" sz="1400" b="0" i="0" u="none" strike="noStrike" kern="0" cap="none" spc="0" normalizeH="0" baseline="0" noProof="0">
                      <a:ln>
                        <a:noFill/>
                      </a:ln>
                      <a:solidFill>
                        <a:srgbClr val="014CA6"/>
                      </a:solidFill>
                      <a:effectLst/>
                      <a:uLnTx/>
                      <a:uFillTx/>
                      <a:latin typeface="Arial" panose="020B0604020202020204" pitchFamily="34" charset="0"/>
                      <a:ea typeface="Verdana" panose="020B0604030504040204" pitchFamily="34" charset="0"/>
                      <a:cs typeface="Calibri" panose="020F0502020204030204" pitchFamily="34" charset="0"/>
                    </a:rPr>
                    <a:t>nhiễm trùng</a:t>
                  </a:r>
                  <a:r>
                    <a:rPr kumimoji="0" lang="en-US" sz="14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rPr>
                    <a:t>.</a:t>
                  </a:r>
                  <a:endParaRPr kumimoji="0" lang="en-US" sz="1200" b="0" i="0" u="none" strike="noStrike" kern="0" cap="none" spc="0" normalizeH="0" baseline="0" noProof="0">
                    <a:ln>
                      <a:noFill/>
                    </a:ln>
                    <a:solidFill>
                      <a:srgbClr val="014CA6"/>
                    </a:solidFill>
                    <a:effectLst/>
                    <a:uLnTx/>
                    <a:uFillTx/>
                    <a:latin typeface="Arial" panose="020B0604020202020204"/>
                    <a:ea typeface="Verdana" panose="020B0604030504040204" pitchFamily="34" charset="0"/>
                    <a:cs typeface="Calibri" panose="020F0502020204030204" pitchFamily="34" charset="0"/>
                  </a:endParaRPr>
                </a:p>
              </p:txBody>
            </p:sp>
          </p:grpSp>
        </p:grpSp>
      </p:grpSp>
      <p:sp>
        <p:nvSpPr>
          <p:cNvPr id="3" name="TextBox 2">
            <a:extLst>
              <a:ext uri="{FF2B5EF4-FFF2-40B4-BE49-F238E27FC236}">
                <a16:creationId xmlns:a16="http://schemas.microsoft.com/office/drawing/2014/main" id="{AA273BAF-5B3E-2C72-387A-F63675D2828B}"/>
              </a:ext>
            </a:extLst>
          </p:cNvPr>
          <p:cNvSpPr txBox="1"/>
          <p:nvPr/>
        </p:nvSpPr>
        <p:spPr>
          <a:xfrm>
            <a:off x="1276888" y="263003"/>
            <a:ext cx="9829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Verdana"/>
                <a:ea typeface="+mn-ea"/>
                <a:cs typeface="+mn-cs"/>
              </a:rPr>
              <a:t>GÁNH NẶNG CÚM MÙA TRÊN NGƯỜI CAO TUỔI</a:t>
            </a:r>
            <a:r>
              <a:rPr kumimoji="0" lang="en-US" sz="2400" b="0" i="0" u="none" strike="noStrike" kern="1200" cap="none" spc="0" normalizeH="0" baseline="0" noProof="0" dirty="0">
                <a:ln>
                  <a:noFill/>
                </a:ln>
                <a:solidFill>
                  <a:srgbClr val="002060"/>
                </a:solidFill>
                <a:effectLst/>
                <a:uLnTx/>
                <a:uFillTx/>
                <a:latin typeface="Calibri (Body)"/>
                <a:ea typeface="Verdana" panose="020B0604030504040204" pitchFamily="34" charset="0"/>
                <a:cs typeface="+mn-cs"/>
              </a:rPr>
              <a:t> </a:t>
            </a:r>
            <a:r>
              <a:rPr kumimoji="0" lang="en-US" sz="2400" b="0" i="0" u="none" strike="noStrike" kern="1200" cap="none" spc="0" normalizeH="0" baseline="30000" noProof="0" dirty="0">
                <a:ln>
                  <a:noFill/>
                </a:ln>
                <a:solidFill>
                  <a:srgbClr val="002060"/>
                </a:solidFill>
                <a:effectLst/>
                <a:uLnTx/>
                <a:uFillTx/>
                <a:latin typeface="Calibri (Body)"/>
                <a:ea typeface="Verdana" panose="020B0604030504040204" pitchFamily="34" charset="0"/>
                <a:cs typeface="+mn-cs"/>
              </a:rPr>
              <a:t>1</a:t>
            </a:r>
            <a:r>
              <a:rPr kumimoji="0" lang="en-US" sz="2400" b="1" i="0" u="none" strike="noStrike" kern="1200" cap="none" spc="0" normalizeH="0" baseline="0" noProof="0" dirty="0">
                <a:ln>
                  <a:noFill/>
                </a:ln>
                <a:solidFill>
                  <a:srgbClr val="002060"/>
                </a:solidFill>
                <a:effectLst/>
                <a:uLnTx/>
                <a:uFillTx/>
                <a:latin typeface="Verdana"/>
                <a:ea typeface="+mn-ea"/>
                <a:cs typeface="+mn-cs"/>
              </a:rPr>
              <a:t> </a:t>
            </a:r>
          </a:p>
        </p:txBody>
      </p:sp>
      <p:sp>
        <p:nvSpPr>
          <p:cNvPr id="4" name="Rectangle: Rounded Corners 3">
            <a:extLst>
              <a:ext uri="{FF2B5EF4-FFF2-40B4-BE49-F238E27FC236}">
                <a16:creationId xmlns:a16="http://schemas.microsoft.com/office/drawing/2014/main" id="{7DCEA2DA-DFA1-C3F5-79A5-4D423C717C12}"/>
              </a:ext>
            </a:extLst>
          </p:cNvPr>
          <p:cNvSpPr/>
          <p:nvPr/>
        </p:nvSpPr>
        <p:spPr>
          <a:xfrm>
            <a:off x="5298546" y="269435"/>
            <a:ext cx="4501742" cy="396453"/>
          </a:xfrm>
          <a:prstGeom prst="roundRect">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21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B88BE-1BA8-8442-5022-A576029955B4}"/>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82DFBA47-7C3F-1255-1421-912976CC8FFE}"/>
              </a:ext>
            </a:extLst>
          </p:cNvPr>
          <p:cNvGrpSpPr/>
          <p:nvPr/>
        </p:nvGrpSpPr>
        <p:grpSpPr>
          <a:xfrm>
            <a:off x="0" y="2585253"/>
            <a:ext cx="12192000" cy="1347759"/>
            <a:chOff x="0" y="2585256"/>
            <a:chExt cx="12192000" cy="1047404"/>
          </a:xfrm>
          <a:solidFill>
            <a:srgbClr val="00B050"/>
          </a:solidFill>
        </p:grpSpPr>
        <p:sp>
          <p:nvSpPr>
            <p:cNvPr id="3" name="Rectangle 2">
              <a:extLst>
                <a:ext uri="{FF2B5EF4-FFF2-40B4-BE49-F238E27FC236}">
                  <a16:creationId xmlns:a16="http://schemas.microsoft.com/office/drawing/2014/main" id="{39603D8D-1C93-D6CB-8358-39172EA7ACEE}"/>
                </a:ext>
              </a:extLst>
            </p:cNvPr>
            <p:cNvSpPr/>
            <p:nvPr/>
          </p:nvSpPr>
          <p:spPr>
            <a:xfrm>
              <a:off x="0" y="2585256"/>
              <a:ext cx="12191999" cy="1047404"/>
            </a:xfrm>
            <a:prstGeom prst="rect">
              <a:avLst/>
            </a:prstGeom>
            <a:gr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95AC34F-508C-55DA-68F0-8F7D8720E58F}"/>
                </a:ext>
              </a:extLst>
            </p:cNvPr>
            <p:cNvSpPr txBox="1"/>
            <p:nvPr/>
          </p:nvSpPr>
          <p:spPr>
            <a:xfrm>
              <a:off x="1" y="2869770"/>
              <a:ext cx="12191999" cy="478374"/>
            </a:xfrm>
            <a:prstGeom prst="rect">
              <a:avLst/>
            </a:prstGeom>
            <a:grpFill/>
          </p:spPr>
          <p:txBody>
            <a:bodyPr wrap="square" rtlCol="0">
              <a:spAutoFit/>
            </a:bodyPr>
            <a:lstStyle/>
            <a:p>
              <a:pPr algn="ctr"/>
              <a:r>
                <a:rPr lang="en-US" sz="3400" b="1" dirty="0">
                  <a:solidFill>
                    <a:schemeClr val="bg1"/>
                  </a:solidFill>
                  <a:latin typeface="Arial" panose="020B0604020202020204" pitchFamily="34" charset="0"/>
                  <a:cs typeface="Arial" panose="020B0604020202020204" pitchFamily="34" charset="0"/>
                </a:rPr>
                <a:t>GÁNH NẶNG CỦA VI RÚT HỢP BÀO HÔ HẤP</a:t>
              </a:r>
            </a:p>
          </p:txBody>
        </p:sp>
      </p:grpSp>
    </p:spTree>
    <p:extLst>
      <p:ext uri="{BB962C8B-B14F-4D97-AF65-F5344CB8AC3E}">
        <p14:creationId xmlns:p14="http://schemas.microsoft.com/office/powerpoint/2010/main" val="42707888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6CE0DEF-AD59-8B85-CFAB-3A270F9FDD52}"/>
              </a:ext>
            </a:extLst>
          </p:cNvPr>
          <p:cNvGrpSpPr/>
          <p:nvPr/>
        </p:nvGrpSpPr>
        <p:grpSpPr>
          <a:xfrm>
            <a:off x="500019" y="1036064"/>
            <a:ext cx="10995356" cy="5320006"/>
            <a:chOff x="1760803" y="1512870"/>
            <a:chExt cx="8987987" cy="4295480"/>
          </a:xfrm>
          <a:solidFill>
            <a:schemeClr val="bg1">
              <a:lumMod val="85000"/>
              <a:alpha val="57647"/>
            </a:schemeClr>
          </a:solidFill>
        </p:grpSpPr>
        <p:sp>
          <p:nvSpPr>
            <p:cNvPr id="28" name="Freeform 65">
              <a:extLst>
                <a:ext uri="{FF2B5EF4-FFF2-40B4-BE49-F238E27FC236}">
                  <a16:creationId xmlns:a16="http://schemas.microsoft.com/office/drawing/2014/main" id="{8C71D383-91B4-0017-3BDA-40B48A29C492}"/>
                </a:ext>
              </a:extLst>
            </p:cNvPr>
            <p:cNvSpPr>
              <a:spLocks noEditPoints="1"/>
            </p:cNvSpPr>
            <p:nvPr/>
          </p:nvSpPr>
          <p:spPr bwMode="auto">
            <a:xfrm>
              <a:off x="3254689" y="4045297"/>
              <a:ext cx="29160" cy="13458"/>
            </a:xfrm>
            <a:custGeom>
              <a:avLst/>
              <a:gdLst>
                <a:gd name="T0" fmla="*/ 2 w 13"/>
                <a:gd name="T1" fmla="*/ 0 h 6"/>
                <a:gd name="T2" fmla="*/ 2 w 13"/>
                <a:gd name="T3" fmla="*/ 0 h 6"/>
                <a:gd name="T4" fmla="*/ 0 w 13"/>
                <a:gd name="T5" fmla="*/ 2 h 6"/>
                <a:gd name="T6" fmla="*/ 0 w 13"/>
                <a:gd name="T7" fmla="*/ 3 h 6"/>
                <a:gd name="T8" fmla="*/ 2 w 13"/>
                <a:gd name="T9" fmla="*/ 3 h 6"/>
                <a:gd name="T10" fmla="*/ 2 w 13"/>
                <a:gd name="T11" fmla="*/ 3 h 6"/>
                <a:gd name="T12" fmla="*/ 4 w 13"/>
                <a:gd name="T13" fmla="*/ 3 h 6"/>
                <a:gd name="T14" fmla="*/ 4 w 13"/>
                <a:gd name="T15" fmla="*/ 0 h 6"/>
                <a:gd name="T16" fmla="*/ 2 w 13"/>
                <a:gd name="T17" fmla="*/ 0 h 6"/>
                <a:gd name="T18" fmla="*/ 2 w 13"/>
                <a:gd name="T19" fmla="*/ 0 h 6"/>
                <a:gd name="T20" fmla="*/ 2 w 13"/>
                <a:gd name="T21" fmla="*/ 0 h 6"/>
                <a:gd name="T22" fmla="*/ 2 w 13"/>
                <a:gd name="T23" fmla="*/ 0 h 6"/>
                <a:gd name="T24" fmla="*/ 2 w 13"/>
                <a:gd name="T25" fmla="*/ 0 h 6"/>
                <a:gd name="T26" fmla="*/ 2 w 13"/>
                <a:gd name="T27" fmla="*/ 0 h 6"/>
                <a:gd name="T28" fmla="*/ 2 w 13"/>
                <a:gd name="T29" fmla="*/ 0 h 6"/>
                <a:gd name="T30" fmla="*/ 2 w 13"/>
                <a:gd name="T31" fmla="*/ 0 h 6"/>
                <a:gd name="T32" fmla="*/ 2 w 13"/>
                <a:gd name="T33" fmla="*/ 0 h 6"/>
                <a:gd name="T34" fmla="*/ 2 w 13"/>
                <a:gd name="T35" fmla="*/ 0 h 6"/>
                <a:gd name="T36" fmla="*/ 2 w 13"/>
                <a:gd name="T37" fmla="*/ 0 h 6"/>
                <a:gd name="T38" fmla="*/ 12 w 13"/>
                <a:gd name="T39" fmla="*/ 3 h 6"/>
                <a:gd name="T40" fmla="*/ 12 w 13"/>
                <a:gd name="T41" fmla="*/ 3 h 6"/>
                <a:gd name="T42" fmla="*/ 10 w 13"/>
                <a:gd name="T43" fmla="*/ 5 h 6"/>
                <a:gd name="T44" fmla="*/ 10 w 13"/>
                <a:gd name="T45" fmla="*/ 6 h 6"/>
                <a:gd name="T46" fmla="*/ 10 w 13"/>
                <a:gd name="T47" fmla="*/ 6 h 6"/>
                <a:gd name="T48" fmla="*/ 12 w 13"/>
                <a:gd name="T49" fmla="*/ 6 h 6"/>
                <a:gd name="T50" fmla="*/ 12 w 13"/>
                <a:gd name="T51" fmla="*/ 5 h 6"/>
                <a:gd name="T52" fmla="*/ 13 w 13"/>
                <a:gd name="T53" fmla="*/ 3 h 6"/>
                <a:gd name="T54" fmla="*/ 13 w 13"/>
                <a:gd name="T55" fmla="*/ 3 h 6"/>
                <a:gd name="T56" fmla="*/ 12 w 13"/>
                <a:gd name="T57" fmla="*/ 3 h 6"/>
                <a:gd name="T58" fmla="*/ 12 w 13"/>
                <a:gd name="T59" fmla="*/ 3 h 6"/>
                <a:gd name="T60" fmla="*/ 12 w 13"/>
                <a:gd name="T61" fmla="*/ 3 h 6"/>
                <a:gd name="T62" fmla="*/ 12 w 13"/>
                <a:gd name="T63" fmla="*/ 3 h 6"/>
                <a:gd name="T64" fmla="*/ 12 w 13"/>
                <a:gd name="T65" fmla="*/ 3 h 6"/>
                <a:gd name="T66" fmla="*/ 12 w 13"/>
                <a:gd name="T67" fmla="*/ 3 h 6"/>
                <a:gd name="T68" fmla="*/ 12 w 13"/>
                <a:gd name="T69" fmla="*/ 3 h 6"/>
                <a:gd name="T70" fmla="*/ 12 w 13"/>
                <a:gd name="T71" fmla="*/ 3 h 6"/>
                <a:gd name="T72" fmla="*/ 12 w 13"/>
                <a:gd name="T73" fmla="*/ 3 h 6"/>
                <a:gd name="T74" fmla="*/ 12 w 13"/>
                <a:gd name="T7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6">
                  <a:moveTo>
                    <a:pt x="2" y="0"/>
                  </a:moveTo>
                  <a:lnTo>
                    <a:pt x="2" y="0"/>
                  </a:lnTo>
                  <a:lnTo>
                    <a:pt x="0" y="2"/>
                  </a:lnTo>
                  <a:lnTo>
                    <a:pt x="0" y="3"/>
                  </a:lnTo>
                  <a:lnTo>
                    <a:pt x="2" y="3"/>
                  </a:lnTo>
                  <a:lnTo>
                    <a:pt x="2" y="3"/>
                  </a:lnTo>
                  <a:lnTo>
                    <a:pt x="4" y="3"/>
                  </a:lnTo>
                  <a:lnTo>
                    <a:pt x="4" y="0"/>
                  </a:lnTo>
                  <a:lnTo>
                    <a:pt x="2" y="0"/>
                  </a:lnTo>
                  <a:lnTo>
                    <a:pt x="2" y="0"/>
                  </a:lnTo>
                  <a:lnTo>
                    <a:pt x="2" y="0"/>
                  </a:lnTo>
                  <a:lnTo>
                    <a:pt x="2" y="0"/>
                  </a:lnTo>
                  <a:lnTo>
                    <a:pt x="2" y="0"/>
                  </a:lnTo>
                  <a:lnTo>
                    <a:pt x="2" y="0"/>
                  </a:lnTo>
                  <a:lnTo>
                    <a:pt x="2" y="0"/>
                  </a:lnTo>
                  <a:lnTo>
                    <a:pt x="2" y="0"/>
                  </a:lnTo>
                  <a:lnTo>
                    <a:pt x="2" y="0"/>
                  </a:lnTo>
                  <a:lnTo>
                    <a:pt x="2" y="0"/>
                  </a:lnTo>
                  <a:lnTo>
                    <a:pt x="2" y="0"/>
                  </a:lnTo>
                  <a:close/>
                  <a:moveTo>
                    <a:pt x="12" y="3"/>
                  </a:moveTo>
                  <a:lnTo>
                    <a:pt x="12" y="3"/>
                  </a:lnTo>
                  <a:lnTo>
                    <a:pt x="10" y="5"/>
                  </a:lnTo>
                  <a:lnTo>
                    <a:pt x="10" y="6"/>
                  </a:lnTo>
                  <a:lnTo>
                    <a:pt x="10" y="6"/>
                  </a:lnTo>
                  <a:lnTo>
                    <a:pt x="12" y="6"/>
                  </a:lnTo>
                  <a:lnTo>
                    <a:pt x="12" y="5"/>
                  </a:lnTo>
                  <a:lnTo>
                    <a:pt x="13" y="3"/>
                  </a:lnTo>
                  <a:lnTo>
                    <a:pt x="13" y="3"/>
                  </a:lnTo>
                  <a:lnTo>
                    <a:pt x="12" y="3"/>
                  </a:lnTo>
                  <a:lnTo>
                    <a:pt x="12" y="3"/>
                  </a:lnTo>
                  <a:lnTo>
                    <a:pt x="12" y="3"/>
                  </a:lnTo>
                  <a:lnTo>
                    <a:pt x="12" y="3"/>
                  </a:lnTo>
                  <a:lnTo>
                    <a:pt x="12" y="3"/>
                  </a:lnTo>
                  <a:lnTo>
                    <a:pt x="12" y="3"/>
                  </a:lnTo>
                  <a:lnTo>
                    <a:pt x="12" y="3"/>
                  </a:lnTo>
                  <a:lnTo>
                    <a:pt x="12" y="3"/>
                  </a:lnTo>
                  <a:lnTo>
                    <a:pt x="12" y="3"/>
                  </a:lnTo>
                  <a:lnTo>
                    <a:pt x="12" y="3"/>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29" name="Freeform 8">
              <a:extLst>
                <a:ext uri="{FF2B5EF4-FFF2-40B4-BE49-F238E27FC236}">
                  <a16:creationId xmlns:a16="http://schemas.microsoft.com/office/drawing/2014/main" id="{BF21E388-1398-7AEC-4156-0E1C19D3ACF9}"/>
                </a:ext>
              </a:extLst>
            </p:cNvPr>
            <p:cNvSpPr>
              <a:spLocks/>
            </p:cNvSpPr>
            <p:nvPr/>
          </p:nvSpPr>
          <p:spPr bwMode="auto">
            <a:xfrm>
              <a:off x="3750408" y="3385833"/>
              <a:ext cx="103181" cy="76264"/>
            </a:xfrm>
            <a:custGeom>
              <a:avLst/>
              <a:gdLst>
                <a:gd name="T0" fmla="*/ 2 w 46"/>
                <a:gd name="T1" fmla="*/ 27 h 34"/>
                <a:gd name="T2" fmla="*/ 3 w 46"/>
                <a:gd name="T3" fmla="*/ 24 h 34"/>
                <a:gd name="T4" fmla="*/ 0 w 46"/>
                <a:gd name="T5" fmla="*/ 18 h 34"/>
                <a:gd name="T6" fmla="*/ 3 w 46"/>
                <a:gd name="T7" fmla="*/ 18 h 34"/>
                <a:gd name="T8" fmla="*/ 3 w 46"/>
                <a:gd name="T9" fmla="*/ 15 h 34"/>
                <a:gd name="T10" fmla="*/ 3 w 46"/>
                <a:gd name="T11" fmla="*/ 15 h 34"/>
                <a:gd name="T12" fmla="*/ 5 w 46"/>
                <a:gd name="T13" fmla="*/ 11 h 34"/>
                <a:gd name="T14" fmla="*/ 5 w 46"/>
                <a:gd name="T15" fmla="*/ 10 h 34"/>
                <a:gd name="T16" fmla="*/ 5 w 46"/>
                <a:gd name="T17" fmla="*/ 7 h 34"/>
                <a:gd name="T18" fmla="*/ 5 w 46"/>
                <a:gd name="T19" fmla="*/ 3 h 34"/>
                <a:gd name="T20" fmla="*/ 5 w 46"/>
                <a:gd name="T21" fmla="*/ 2 h 34"/>
                <a:gd name="T22" fmla="*/ 10 w 46"/>
                <a:gd name="T23" fmla="*/ 0 h 34"/>
                <a:gd name="T24" fmla="*/ 13 w 46"/>
                <a:gd name="T25" fmla="*/ 0 h 34"/>
                <a:gd name="T26" fmla="*/ 16 w 46"/>
                <a:gd name="T27" fmla="*/ 0 h 34"/>
                <a:gd name="T28" fmla="*/ 22 w 46"/>
                <a:gd name="T29" fmla="*/ 2 h 34"/>
                <a:gd name="T30" fmla="*/ 25 w 46"/>
                <a:gd name="T31" fmla="*/ 3 h 34"/>
                <a:gd name="T32" fmla="*/ 27 w 46"/>
                <a:gd name="T33" fmla="*/ 3 h 34"/>
                <a:gd name="T34" fmla="*/ 27 w 46"/>
                <a:gd name="T35" fmla="*/ 5 h 34"/>
                <a:gd name="T36" fmla="*/ 33 w 46"/>
                <a:gd name="T37" fmla="*/ 8 h 34"/>
                <a:gd name="T38" fmla="*/ 35 w 46"/>
                <a:gd name="T39" fmla="*/ 8 h 34"/>
                <a:gd name="T40" fmla="*/ 37 w 46"/>
                <a:gd name="T41" fmla="*/ 10 h 34"/>
                <a:gd name="T42" fmla="*/ 33 w 46"/>
                <a:gd name="T43" fmla="*/ 10 h 34"/>
                <a:gd name="T44" fmla="*/ 32 w 46"/>
                <a:gd name="T45" fmla="*/ 11 h 34"/>
                <a:gd name="T46" fmla="*/ 32 w 46"/>
                <a:gd name="T47" fmla="*/ 11 h 34"/>
                <a:gd name="T48" fmla="*/ 35 w 46"/>
                <a:gd name="T49" fmla="*/ 11 h 34"/>
                <a:gd name="T50" fmla="*/ 38 w 46"/>
                <a:gd name="T51" fmla="*/ 11 h 34"/>
                <a:gd name="T52" fmla="*/ 43 w 46"/>
                <a:gd name="T53" fmla="*/ 15 h 34"/>
                <a:gd name="T54" fmla="*/ 45 w 46"/>
                <a:gd name="T55" fmla="*/ 18 h 34"/>
                <a:gd name="T56" fmla="*/ 46 w 46"/>
                <a:gd name="T57" fmla="*/ 21 h 34"/>
                <a:gd name="T58" fmla="*/ 43 w 46"/>
                <a:gd name="T59" fmla="*/ 24 h 34"/>
                <a:gd name="T60" fmla="*/ 41 w 46"/>
                <a:gd name="T61" fmla="*/ 24 h 34"/>
                <a:gd name="T62" fmla="*/ 40 w 46"/>
                <a:gd name="T63" fmla="*/ 21 h 34"/>
                <a:gd name="T64" fmla="*/ 37 w 46"/>
                <a:gd name="T65" fmla="*/ 21 h 34"/>
                <a:gd name="T66" fmla="*/ 33 w 46"/>
                <a:gd name="T67" fmla="*/ 21 h 34"/>
                <a:gd name="T68" fmla="*/ 32 w 46"/>
                <a:gd name="T69" fmla="*/ 21 h 34"/>
                <a:gd name="T70" fmla="*/ 30 w 46"/>
                <a:gd name="T71" fmla="*/ 21 h 34"/>
                <a:gd name="T72" fmla="*/ 25 w 46"/>
                <a:gd name="T73" fmla="*/ 21 h 34"/>
                <a:gd name="T74" fmla="*/ 22 w 46"/>
                <a:gd name="T75" fmla="*/ 24 h 34"/>
                <a:gd name="T76" fmla="*/ 19 w 46"/>
                <a:gd name="T77" fmla="*/ 24 h 34"/>
                <a:gd name="T78" fmla="*/ 16 w 46"/>
                <a:gd name="T79" fmla="*/ 24 h 34"/>
                <a:gd name="T80" fmla="*/ 16 w 46"/>
                <a:gd name="T81" fmla="*/ 21 h 34"/>
                <a:gd name="T82" fmla="*/ 14 w 46"/>
                <a:gd name="T83" fmla="*/ 24 h 34"/>
                <a:gd name="T84" fmla="*/ 13 w 46"/>
                <a:gd name="T85" fmla="*/ 24 h 34"/>
                <a:gd name="T86" fmla="*/ 11 w 46"/>
                <a:gd name="T87" fmla="*/ 24 h 34"/>
                <a:gd name="T88" fmla="*/ 6 w 46"/>
                <a:gd name="T89" fmla="*/ 34 h 34"/>
                <a:gd name="T90" fmla="*/ 3 w 46"/>
                <a:gd name="T91" fmla="*/ 30 h 34"/>
                <a:gd name="T92" fmla="*/ 3 w 46"/>
                <a:gd name="T93" fmla="*/ 29 h 34"/>
                <a:gd name="T94" fmla="*/ 2 w 46"/>
                <a:gd name="T95" fmla="*/ 27 h 34"/>
                <a:gd name="T96" fmla="*/ 2 w 46"/>
                <a:gd name="T97" fmla="*/ 27 h 34"/>
                <a:gd name="T98" fmla="*/ 2 w 46"/>
                <a:gd name="T99" fmla="*/ 27 h 34"/>
                <a:gd name="T100" fmla="*/ 2 w 46"/>
                <a:gd name="T101" fmla="*/ 27 h 34"/>
                <a:gd name="T102" fmla="*/ 2 w 46"/>
                <a:gd name="T103"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 h="34">
                  <a:moveTo>
                    <a:pt x="2" y="27"/>
                  </a:moveTo>
                  <a:lnTo>
                    <a:pt x="2" y="27"/>
                  </a:lnTo>
                  <a:lnTo>
                    <a:pt x="3" y="24"/>
                  </a:lnTo>
                  <a:lnTo>
                    <a:pt x="3" y="24"/>
                  </a:lnTo>
                  <a:lnTo>
                    <a:pt x="3" y="24"/>
                  </a:lnTo>
                  <a:lnTo>
                    <a:pt x="0" y="18"/>
                  </a:lnTo>
                  <a:lnTo>
                    <a:pt x="0" y="18"/>
                  </a:lnTo>
                  <a:lnTo>
                    <a:pt x="3" y="18"/>
                  </a:lnTo>
                  <a:lnTo>
                    <a:pt x="5" y="15"/>
                  </a:lnTo>
                  <a:lnTo>
                    <a:pt x="3" y="15"/>
                  </a:lnTo>
                  <a:lnTo>
                    <a:pt x="3" y="15"/>
                  </a:lnTo>
                  <a:lnTo>
                    <a:pt x="3" y="15"/>
                  </a:lnTo>
                  <a:lnTo>
                    <a:pt x="5" y="11"/>
                  </a:lnTo>
                  <a:lnTo>
                    <a:pt x="5" y="11"/>
                  </a:lnTo>
                  <a:lnTo>
                    <a:pt x="5" y="10"/>
                  </a:lnTo>
                  <a:lnTo>
                    <a:pt x="5" y="10"/>
                  </a:lnTo>
                  <a:lnTo>
                    <a:pt x="5" y="8"/>
                  </a:lnTo>
                  <a:lnTo>
                    <a:pt x="5" y="7"/>
                  </a:lnTo>
                  <a:lnTo>
                    <a:pt x="5" y="7"/>
                  </a:lnTo>
                  <a:lnTo>
                    <a:pt x="5" y="3"/>
                  </a:lnTo>
                  <a:lnTo>
                    <a:pt x="5" y="2"/>
                  </a:lnTo>
                  <a:lnTo>
                    <a:pt x="5" y="2"/>
                  </a:lnTo>
                  <a:lnTo>
                    <a:pt x="6" y="0"/>
                  </a:lnTo>
                  <a:lnTo>
                    <a:pt x="10" y="0"/>
                  </a:lnTo>
                  <a:lnTo>
                    <a:pt x="13" y="0"/>
                  </a:lnTo>
                  <a:lnTo>
                    <a:pt x="13" y="0"/>
                  </a:lnTo>
                  <a:lnTo>
                    <a:pt x="16" y="0"/>
                  </a:lnTo>
                  <a:lnTo>
                    <a:pt x="16" y="0"/>
                  </a:lnTo>
                  <a:lnTo>
                    <a:pt x="16" y="0"/>
                  </a:lnTo>
                  <a:lnTo>
                    <a:pt x="22" y="2"/>
                  </a:lnTo>
                  <a:lnTo>
                    <a:pt x="22" y="2"/>
                  </a:lnTo>
                  <a:lnTo>
                    <a:pt x="25" y="3"/>
                  </a:lnTo>
                  <a:lnTo>
                    <a:pt x="25" y="3"/>
                  </a:lnTo>
                  <a:lnTo>
                    <a:pt x="27" y="3"/>
                  </a:lnTo>
                  <a:lnTo>
                    <a:pt x="27" y="5"/>
                  </a:lnTo>
                  <a:lnTo>
                    <a:pt x="27" y="5"/>
                  </a:lnTo>
                  <a:lnTo>
                    <a:pt x="29" y="8"/>
                  </a:lnTo>
                  <a:lnTo>
                    <a:pt x="33" y="8"/>
                  </a:lnTo>
                  <a:lnTo>
                    <a:pt x="33" y="8"/>
                  </a:lnTo>
                  <a:lnTo>
                    <a:pt x="35" y="8"/>
                  </a:lnTo>
                  <a:lnTo>
                    <a:pt x="37" y="10"/>
                  </a:lnTo>
                  <a:lnTo>
                    <a:pt x="37" y="10"/>
                  </a:lnTo>
                  <a:lnTo>
                    <a:pt x="35" y="10"/>
                  </a:lnTo>
                  <a:lnTo>
                    <a:pt x="33" y="10"/>
                  </a:lnTo>
                  <a:lnTo>
                    <a:pt x="33" y="10"/>
                  </a:lnTo>
                  <a:lnTo>
                    <a:pt x="32" y="11"/>
                  </a:lnTo>
                  <a:lnTo>
                    <a:pt x="30" y="11"/>
                  </a:lnTo>
                  <a:lnTo>
                    <a:pt x="32" y="11"/>
                  </a:lnTo>
                  <a:lnTo>
                    <a:pt x="32" y="11"/>
                  </a:lnTo>
                  <a:lnTo>
                    <a:pt x="35" y="11"/>
                  </a:lnTo>
                  <a:lnTo>
                    <a:pt x="38" y="11"/>
                  </a:lnTo>
                  <a:lnTo>
                    <a:pt x="38" y="11"/>
                  </a:lnTo>
                  <a:lnTo>
                    <a:pt x="40" y="11"/>
                  </a:lnTo>
                  <a:lnTo>
                    <a:pt x="43" y="15"/>
                  </a:lnTo>
                  <a:lnTo>
                    <a:pt x="45" y="18"/>
                  </a:lnTo>
                  <a:lnTo>
                    <a:pt x="45" y="18"/>
                  </a:lnTo>
                  <a:lnTo>
                    <a:pt x="46" y="18"/>
                  </a:lnTo>
                  <a:lnTo>
                    <a:pt x="46" y="21"/>
                  </a:lnTo>
                  <a:lnTo>
                    <a:pt x="43" y="24"/>
                  </a:lnTo>
                  <a:lnTo>
                    <a:pt x="43" y="24"/>
                  </a:lnTo>
                  <a:lnTo>
                    <a:pt x="41" y="24"/>
                  </a:lnTo>
                  <a:lnTo>
                    <a:pt x="41" y="24"/>
                  </a:lnTo>
                  <a:lnTo>
                    <a:pt x="40" y="21"/>
                  </a:lnTo>
                  <a:lnTo>
                    <a:pt x="40" y="21"/>
                  </a:lnTo>
                  <a:lnTo>
                    <a:pt x="38" y="21"/>
                  </a:lnTo>
                  <a:lnTo>
                    <a:pt x="37" y="21"/>
                  </a:lnTo>
                  <a:lnTo>
                    <a:pt x="37" y="21"/>
                  </a:lnTo>
                  <a:lnTo>
                    <a:pt x="33" y="21"/>
                  </a:lnTo>
                  <a:lnTo>
                    <a:pt x="33" y="21"/>
                  </a:lnTo>
                  <a:lnTo>
                    <a:pt x="32" y="21"/>
                  </a:lnTo>
                  <a:lnTo>
                    <a:pt x="30" y="21"/>
                  </a:lnTo>
                  <a:lnTo>
                    <a:pt x="30" y="21"/>
                  </a:lnTo>
                  <a:lnTo>
                    <a:pt x="27" y="21"/>
                  </a:lnTo>
                  <a:lnTo>
                    <a:pt x="25" y="21"/>
                  </a:lnTo>
                  <a:lnTo>
                    <a:pt x="25" y="24"/>
                  </a:lnTo>
                  <a:lnTo>
                    <a:pt x="22" y="24"/>
                  </a:lnTo>
                  <a:lnTo>
                    <a:pt x="22" y="24"/>
                  </a:lnTo>
                  <a:lnTo>
                    <a:pt x="19" y="24"/>
                  </a:lnTo>
                  <a:lnTo>
                    <a:pt x="19" y="24"/>
                  </a:lnTo>
                  <a:lnTo>
                    <a:pt x="16" y="24"/>
                  </a:lnTo>
                  <a:lnTo>
                    <a:pt x="16" y="21"/>
                  </a:lnTo>
                  <a:lnTo>
                    <a:pt x="16" y="21"/>
                  </a:lnTo>
                  <a:lnTo>
                    <a:pt x="16" y="24"/>
                  </a:lnTo>
                  <a:lnTo>
                    <a:pt x="14" y="24"/>
                  </a:lnTo>
                  <a:lnTo>
                    <a:pt x="14" y="24"/>
                  </a:lnTo>
                  <a:lnTo>
                    <a:pt x="13" y="24"/>
                  </a:lnTo>
                  <a:lnTo>
                    <a:pt x="11" y="24"/>
                  </a:lnTo>
                  <a:lnTo>
                    <a:pt x="11" y="24"/>
                  </a:lnTo>
                  <a:lnTo>
                    <a:pt x="10" y="29"/>
                  </a:lnTo>
                  <a:lnTo>
                    <a:pt x="6" y="34"/>
                  </a:lnTo>
                  <a:lnTo>
                    <a:pt x="6" y="34"/>
                  </a:lnTo>
                  <a:lnTo>
                    <a:pt x="3" y="30"/>
                  </a:lnTo>
                  <a:lnTo>
                    <a:pt x="3" y="30"/>
                  </a:lnTo>
                  <a:lnTo>
                    <a:pt x="3" y="29"/>
                  </a:lnTo>
                  <a:lnTo>
                    <a:pt x="2" y="27"/>
                  </a:lnTo>
                  <a:lnTo>
                    <a:pt x="2" y="27"/>
                  </a:lnTo>
                  <a:lnTo>
                    <a:pt x="2" y="27"/>
                  </a:lnTo>
                  <a:lnTo>
                    <a:pt x="2" y="27"/>
                  </a:lnTo>
                  <a:lnTo>
                    <a:pt x="2" y="27"/>
                  </a:lnTo>
                  <a:lnTo>
                    <a:pt x="2" y="27"/>
                  </a:lnTo>
                  <a:lnTo>
                    <a:pt x="2" y="27"/>
                  </a:lnTo>
                  <a:lnTo>
                    <a:pt x="2" y="27"/>
                  </a:lnTo>
                  <a:lnTo>
                    <a:pt x="2" y="27"/>
                  </a:lnTo>
                  <a:lnTo>
                    <a:pt x="2" y="2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0" name="Freeform 10">
              <a:extLst>
                <a:ext uri="{FF2B5EF4-FFF2-40B4-BE49-F238E27FC236}">
                  <a16:creationId xmlns:a16="http://schemas.microsoft.com/office/drawing/2014/main" id="{81C475E7-7596-B1FF-472F-731A8DF8D903}"/>
                </a:ext>
              </a:extLst>
            </p:cNvPr>
            <p:cNvSpPr>
              <a:spLocks noEditPoints="1"/>
            </p:cNvSpPr>
            <p:nvPr/>
          </p:nvSpPr>
          <p:spPr bwMode="auto">
            <a:xfrm>
              <a:off x="3404975" y="3280409"/>
              <a:ext cx="291599" cy="105424"/>
            </a:xfrm>
            <a:custGeom>
              <a:avLst/>
              <a:gdLst>
                <a:gd name="T0" fmla="*/ 122 w 130"/>
                <a:gd name="T1" fmla="*/ 36 h 47"/>
                <a:gd name="T2" fmla="*/ 110 w 130"/>
                <a:gd name="T3" fmla="*/ 36 h 47"/>
                <a:gd name="T4" fmla="*/ 113 w 130"/>
                <a:gd name="T5" fmla="*/ 33 h 47"/>
                <a:gd name="T6" fmla="*/ 111 w 130"/>
                <a:gd name="T7" fmla="*/ 30 h 47"/>
                <a:gd name="T8" fmla="*/ 103 w 130"/>
                <a:gd name="T9" fmla="*/ 27 h 47"/>
                <a:gd name="T10" fmla="*/ 100 w 130"/>
                <a:gd name="T11" fmla="*/ 27 h 47"/>
                <a:gd name="T12" fmla="*/ 99 w 130"/>
                <a:gd name="T13" fmla="*/ 25 h 47"/>
                <a:gd name="T14" fmla="*/ 94 w 130"/>
                <a:gd name="T15" fmla="*/ 25 h 47"/>
                <a:gd name="T16" fmla="*/ 95 w 130"/>
                <a:gd name="T17" fmla="*/ 22 h 47"/>
                <a:gd name="T18" fmla="*/ 92 w 130"/>
                <a:gd name="T19" fmla="*/ 20 h 47"/>
                <a:gd name="T20" fmla="*/ 89 w 130"/>
                <a:gd name="T21" fmla="*/ 17 h 47"/>
                <a:gd name="T22" fmla="*/ 86 w 130"/>
                <a:gd name="T23" fmla="*/ 16 h 47"/>
                <a:gd name="T24" fmla="*/ 79 w 130"/>
                <a:gd name="T25" fmla="*/ 12 h 47"/>
                <a:gd name="T26" fmla="*/ 68 w 130"/>
                <a:gd name="T27" fmla="*/ 9 h 47"/>
                <a:gd name="T28" fmla="*/ 65 w 130"/>
                <a:gd name="T29" fmla="*/ 3 h 47"/>
                <a:gd name="T30" fmla="*/ 57 w 130"/>
                <a:gd name="T31" fmla="*/ 3 h 47"/>
                <a:gd name="T32" fmla="*/ 51 w 130"/>
                <a:gd name="T33" fmla="*/ 1 h 47"/>
                <a:gd name="T34" fmla="*/ 45 w 130"/>
                <a:gd name="T35" fmla="*/ 3 h 47"/>
                <a:gd name="T36" fmla="*/ 37 w 130"/>
                <a:gd name="T37" fmla="*/ 1 h 47"/>
                <a:gd name="T38" fmla="*/ 21 w 130"/>
                <a:gd name="T39" fmla="*/ 3 h 47"/>
                <a:gd name="T40" fmla="*/ 8 w 130"/>
                <a:gd name="T41" fmla="*/ 11 h 47"/>
                <a:gd name="T42" fmla="*/ 8 w 130"/>
                <a:gd name="T43" fmla="*/ 17 h 47"/>
                <a:gd name="T44" fmla="*/ 0 w 130"/>
                <a:gd name="T45" fmla="*/ 19 h 47"/>
                <a:gd name="T46" fmla="*/ 5 w 130"/>
                <a:gd name="T47" fmla="*/ 20 h 47"/>
                <a:gd name="T48" fmla="*/ 13 w 130"/>
                <a:gd name="T49" fmla="*/ 14 h 47"/>
                <a:gd name="T50" fmla="*/ 19 w 130"/>
                <a:gd name="T51" fmla="*/ 12 h 47"/>
                <a:gd name="T52" fmla="*/ 33 w 130"/>
                <a:gd name="T53" fmla="*/ 6 h 47"/>
                <a:gd name="T54" fmla="*/ 40 w 130"/>
                <a:gd name="T55" fmla="*/ 11 h 47"/>
                <a:gd name="T56" fmla="*/ 38 w 130"/>
                <a:gd name="T57" fmla="*/ 12 h 47"/>
                <a:gd name="T58" fmla="*/ 45 w 130"/>
                <a:gd name="T59" fmla="*/ 14 h 47"/>
                <a:gd name="T60" fmla="*/ 48 w 130"/>
                <a:gd name="T61" fmla="*/ 16 h 47"/>
                <a:gd name="T62" fmla="*/ 56 w 130"/>
                <a:gd name="T63" fmla="*/ 14 h 47"/>
                <a:gd name="T64" fmla="*/ 59 w 130"/>
                <a:gd name="T65" fmla="*/ 20 h 47"/>
                <a:gd name="T66" fmla="*/ 67 w 130"/>
                <a:gd name="T67" fmla="*/ 23 h 47"/>
                <a:gd name="T68" fmla="*/ 76 w 130"/>
                <a:gd name="T69" fmla="*/ 23 h 47"/>
                <a:gd name="T70" fmla="*/ 79 w 130"/>
                <a:gd name="T71" fmla="*/ 30 h 47"/>
                <a:gd name="T72" fmla="*/ 86 w 130"/>
                <a:gd name="T73" fmla="*/ 36 h 47"/>
                <a:gd name="T74" fmla="*/ 92 w 130"/>
                <a:gd name="T75" fmla="*/ 36 h 47"/>
                <a:gd name="T76" fmla="*/ 94 w 130"/>
                <a:gd name="T77" fmla="*/ 39 h 47"/>
                <a:gd name="T78" fmla="*/ 86 w 130"/>
                <a:gd name="T79" fmla="*/ 46 h 47"/>
                <a:gd name="T80" fmla="*/ 106 w 130"/>
                <a:gd name="T81" fmla="*/ 46 h 47"/>
                <a:gd name="T82" fmla="*/ 118 w 130"/>
                <a:gd name="T83" fmla="*/ 46 h 47"/>
                <a:gd name="T84" fmla="*/ 130 w 130"/>
                <a:gd name="T85" fmla="*/ 42 h 47"/>
                <a:gd name="T86" fmla="*/ 129 w 130"/>
                <a:gd name="T87" fmla="*/ 41 h 47"/>
                <a:gd name="T88" fmla="*/ 129 w 130"/>
                <a:gd name="T89" fmla="*/ 41 h 47"/>
                <a:gd name="T90" fmla="*/ 129 w 130"/>
                <a:gd name="T91" fmla="*/ 41 h 47"/>
                <a:gd name="T92" fmla="*/ 21 w 130"/>
                <a:gd name="T93" fmla="*/ 20 h 47"/>
                <a:gd name="T94" fmla="*/ 19 w 130"/>
                <a:gd name="T95" fmla="*/ 23 h 47"/>
                <a:gd name="T96" fmla="*/ 25 w 130"/>
                <a:gd name="T97" fmla="*/ 25 h 47"/>
                <a:gd name="T98" fmla="*/ 27 w 130"/>
                <a:gd name="T99" fmla="*/ 20 h 47"/>
                <a:gd name="T100" fmla="*/ 25 w 130"/>
                <a:gd name="T101" fmla="*/ 19 h 47"/>
                <a:gd name="T102" fmla="*/ 25 w 130"/>
                <a:gd name="T103" fmla="*/ 19 h 47"/>
                <a:gd name="T104" fmla="*/ 25 w 130"/>
                <a:gd name="T105"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47">
                  <a:moveTo>
                    <a:pt x="129" y="41"/>
                  </a:moveTo>
                  <a:lnTo>
                    <a:pt x="126" y="39"/>
                  </a:lnTo>
                  <a:lnTo>
                    <a:pt x="122" y="36"/>
                  </a:lnTo>
                  <a:lnTo>
                    <a:pt x="121" y="36"/>
                  </a:lnTo>
                  <a:lnTo>
                    <a:pt x="116" y="36"/>
                  </a:lnTo>
                  <a:lnTo>
                    <a:pt x="110" y="36"/>
                  </a:lnTo>
                  <a:lnTo>
                    <a:pt x="113" y="33"/>
                  </a:lnTo>
                  <a:lnTo>
                    <a:pt x="111" y="33"/>
                  </a:lnTo>
                  <a:lnTo>
                    <a:pt x="113" y="33"/>
                  </a:lnTo>
                  <a:lnTo>
                    <a:pt x="113" y="30"/>
                  </a:lnTo>
                  <a:lnTo>
                    <a:pt x="113" y="30"/>
                  </a:lnTo>
                  <a:lnTo>
                    <a:pt x="111" y="30"/>
                  </a:lnTo>
                  <a:lnTo>
                    <a:pt x="110" y="30"/>
                  </a:lnTo>
                  <a:lnTo>
                    <a:pt x="106" y="30"/>
                  </a:lnTo>
                  <a:lnTo>
                    <a:pt x="103" y="27"/>
                  </a:lnTo>
                  <a:lnTo>
                    <a:pt x="103" y="27"/>
                  </a:lnTo>
                  <a:lnTo>
                    <a:pt x="103" y="30"/>
                  </a:lnTo>
                  <a:lnTo>
                    <a:pt x="100" y="27"/>
                  </a:lnTo>
                  <a:lnTo>
                    <a:pt x="100" y="27"/>
                  </a:lnTo>
                  <a:lnTo>
                    <a:pt x="99" y="27"/>
                  </a:lnTo>
                  <a:lnTo>
                    <a:pt x="99" y="25"/>
                  </a:lnTo>
                  <a:lnTo>
                    <a:pt x="97" y="23"/>
                  </a:lnTo>
                  <a:lnTo>
                    <a:pt x="95" y="23"/>
                  </a:lnTo>
                  <a:lnTo>
                    <a:pt x="94" y="25"/>
                  </a:lnTo>
                  <a:lnTo>
                    <a:pt x="94" y="22"/>
                  </a:lnTo>
                  <a:lnTo>
                    <a:pt x="95" y="23"/>
                  </a:lnTo>
                  <a:lnTo>
                    <a:pt x="95" y="22"/>
                  </a:lnTo>
                  <a:lnTo>
                    <a:pt x="94" y="20"/>
                  </a:lnTo>
                  <a:lnTo>
                    <a:pt x="91" y="19"/>
                  </a:lnTo>
                  <a:lnTo>
                    <a:pt x="92" y="20"/>
                  </a:lnTo>
                  <a:lnTo>
                    <a:pt x="89" y="20"/>
                  </a:lnTo>
                  <a:lnTo>
                    <a:pt x="89" y="19"/>
                  </a:lnTo>
                  <a:lnTo>
                    <a:pt x="89" y="17"/>
                  </a:lnTo>
                  <a:lnTo>
                    <a:pt x="86" y="19"/>
                  </a:lnTo>
                  <a:lnTo>
                    <a:pt x="86" y="17"/>
                  </a:lnTo>
                  <a:lnTo>
                    <a:pt x="86" y="16"/>
                  </a:lnTo>
                  <a:lnTo>
                    <a:pt x="83" y="16"/>
                  </a:lnTo>
                  <a:lnTo>
                    <a:pt x="83" y="14"/>
                  </a:lnTo>
                  <a:lnTo>
                    <a:pt x="79" y="12"/>
                  </a:lnTo>
                  <a:lnTo>
                    <a:pt x="76" y="11"/>
                  </a:lnTo>
                  <a:lnTo>
                    <a:pt x="72" y="11"/>
                  </a:lnTo>
                  <a:lnTo>
                    <a:pt x="68" y="9"/>
                  </a:lnTo>
                  <a:lnTo>
                    <a:pt x="67" y="6"/>
                  </a:lnTo>
                  <a:lnTo>
                    <a:pt x="64" y="6"/>
                  </a:lnTo>
                  <a:lnTo>
                    <a:pt x="65" y="3"/>
                  </a:lnTo>
                  <a:lnTo>
                    <a:pt x="62" y="3"/>
                  </a:lnTo>
                  <a:lnTo>
                    <a:pt x="59" y="3"/>
                  </a:lnTo>
                  <a:lnTo>
                    <a:pt x="57" y="3"/>
                  </a:lnTo>
                  <a:lnTo>
                    <a:pt x="56" y="3"/>
                  </a:lnTo>
                  <a:lnTo>
                    <a:pt x="54" y="1"/>
                  </a:lnTo>
                  <a:lnTo>
                    <a:pt x="51" y="1"/>
                  </a:lnTo>
                  <a:lnTo>
                    <a:pt x="48" y="1"/>
                  </a:lnTo>
                  <a:lnTo>
                    <a:pt x="48" y="0"/>
                  </a:lnTo>
                  <a:lnTo>
                    <a:pt x="45" y="3"/>
                  </a:lnTo>
                  <a:lnTo>
                    <a:pt x="43" y="1"/>
                  </a:lnTo>
                  <a:lnTo>
                    <a:pt x="40" y="1"/>
                  </a:lnTo>
                  <a:lnTo>
                    <a:pt x="37" y="1"/>
                  </a:lnTo>
                  <a:lnTo>
                    <a:pt x="30" y="1"/>
                  </a:lnTo>
                  <a:lnTo>
                    <a:pt x="24" y="3"/>
                  </a:lnTo>
                  <a:lnTo>
                    <a:pt x="21" y="3"/>
                  </a:lnTo>
                  <a:lnTo>
                    <a:pt x="19" y="3"/>
                  </a:lnTo>
                  <a:lnTo>
                    <a:pt x="13" y="6"/>
                  </a:lnTo>
                  <a:lnTo>
                    <a:pt x="8" y="11"/>
                  </a:lnTo>
                  <a:lnTo>
                    <a:pt x="6" y="12"/>
                  </a:lnTo>
                  <a:lnTo>
                    <a:pt x="6" y="14"/>
                  </a:lnTo>
                  <a:lnTo>
                    <a:pt x="8" y="17"/>
                  </a:lnTo>
                  <a:lnTo>
                    <a:pt x="5" y="17"/>
                  </a:lnTo>
                  <a:lnTo>
                    <a:pt x="3" y="17"/>
                  </a:lnTo>
                  <a:lnTo>
                    <a:pt x="0" y="19"/>
                  </a:lnTo>
                  <a:lnTo>
                    <a:pt x="3" y="19"/>
                  </a:lnTo>
                  <a:lnTo>
                    <a:pt x="5" y="19"/>
                  </a:lnTo>
                  <a:lnTo>
                    <a:pt x="5" y="20"/>
                  </a:lnTo>
                  <a:lnTo>
                    <a:pt x="8" y="19"/>
                  </a:lnTo>
                  <a:lnTo>
                    <a:pt x="10" y="17"/>
                  </a:lnTo>
                  <a:lnTo>
                    <a:pt x="13" y="14"/>
                  </a:lnTo>
                  <a:lnTo>
                    <a:pt x="16" y="14"/>
                  </a:lnTo>
                  <a:lnTo>
                    <a:pt x="19" y="14"/>
                  </a:lnTo>
                  <a:lnTo>
                    <a:pt x="19" y="12"/>
                  </a:lnTo>
                  <a:lnTo>
                    <a:pt x="25" y="8"/>
                  </a:lnTo>
                  <a:lnTo>
                    <a:pt x="29" y="6"/>
                  </a:lnTo>
                  <a:lnTo>
                    <a:pt x="33" y="6"/>
                  </a:lnTo>
                  <a:lnTo>
                    <a:pt x="40" y="8"/>
                  </a:lnTo>
                  <a:lnTo>
                    <a:pt x="41" y="9"/>
                  </a:lnTo>
                  <a:lnTo>
                    <a:pt x="40" y="11"/>
                  </a:lnTo>
                  <a:lnTo>
                    <a:pt x="38" y="11"/>
                  </a:lnTo>
                  <a:lnTo>
                    <a:pt x="35" y="11"/>
                  </a:lnTo>
                  <a:lnTo>
                    <a:pt x="38" y="12"/>
                  </a:lnTo>
                  <a:lnTo>
                    <a:pt x="41" y="14"/>
                  </a:lnTo>
                  <a:lnTo>
                    <a:pt x="43" y="14"/>
                  </a:lnTo>
                  <a:lnTo>
                    <a:pt x="45" y="14"/>
                  </a:lnTo>
                  <a:lnTo>
                    <a:pt x="45" y="16"/>
                  </a:lnTo>
                  <a:lnTo>
                    <a:pt x="48" y="12"/>
                  </a:lnTo>
                  <a:lnTo>
                    <a:pt x="48" y="16"/>
                  </a:lnTo>
                  <a:lnTo>
                    <a:pt x="51" y="16"/>
                  </a:lnTo>
                  <a:lnTo>
                    <a:pt x="54" y="16"/>
                  </a:lnTo>
                  <a:lnTo>
                    <a:pt x="56" y="14"/>
                  </a:lnTo>
                  <a:lnTo>
                    <a:pt x="56" y="17"/>
                  </a:lnTo>
                  <a:lnTo>
                    <a:pt x="57" y="17"/>
                  </a:lnTo>
                  <a:lnTo>
                    <a:pt x="59" y="20"/>
                  </a:lnTo>
                  <a:lnTo>
                    <a:pt x="62" y="22"/>
                  </a:lnTo>
                  <a:lnTo>
                    <a:pt x="64" y="22"/>
                  </a:lnTo>
                  <a:lnTo>
                    <a:pt x="67" y="23"/>
                  </a:lnTo>
                  <a:lnTo>
                    <a:pt x="70" y="23"/>
                  </a:lnTo>
                  <a:lnTo>
                    <a:pt x="73" y="23"/>
                  </a:lnTo>
                  <a:lnTo>
                    <a:pt x="76" y="23"/>
                  </a:lnTo>
                  <a:lnTo>
                    <a:pt x="78" y="23"/>
                  </a:lnTo>
                  <a:lnTo>
                    <a:pt x="78" y="27"/>
                  </a:lnTo>
                  <a:lnTo>
                    <a:pt x="79" y="30"/>
                  </a:lnTo>
                  <a:lnTo>
                    <a:pt x="79" y="30"/>
                  </a:lnTo>
                  <a:lnTo>
                    <a:pt x="83" y="33"/>
                  </a:lnTo>
                  <a:lnTo>
                    <a:pt x="86" y="36"/>
                  </a:lnTo>
                  <a:lnTo>
                    <a:pt x="89" y="36"/>
                  </a:lnTo>
                  <a:lnTo>
                    <a:pt x="91" y="36"/>
                  </a:lnTo>
                  <a:lnTo>
                    <a:pt x="92" y="36"/>
                  </a:lnTo>
                  <a:lnTo>
                    <a:pt x="92" y="36"/>
                  </a:lnTo>
                  <a:lnTo>
                    <a:pt x="92" y="38"/>
                  </a:lnTo>
                  <a:lnTo>
                    <a:pt x="94" y="39"/>
                  </a:lnTo>
                  <a:lnTo>
                    <a:pt x="92" y="41"/>
                  </a:lnTo>
                  <a:lnTo>
                    <a:pt x="89" y="44"/>
                  </a:lnTo>
                  <a:lnTo>
                    <a:pt x="86" y="46"/>
                  </a:lnTo>
                  <a:lnTo>
                    <a:pt x="86" y="47"/>
                  </a:lnTo>
                  <a:lnTo>
                    <a:pt x="95" y="47"/>
                  </a:lnTo>
                  <a:lnTo>
                    <a:pt x="106" y="46"/>
                  </a:lnTo>
                  <a:lnTo>
                    <a:pt x="113" y="47"/>
                  </a:lnTo>
                  <a:lnTo>
                    <a:pt x="116" y="46"/>
                  </a:lnTo>
                  <a:lnTo>
                    <a:pt x="118" y="46"/>
                  </a:lnTo>
                  <a:lnTo>
                    <a:pt x="118" y="47"/>
                  </a:lnTo>
                  <a:lnTo>
                    <a:pt x="126" y="44"/>
                  </a:lnTo>
                  <a:lnTo>
                    <a:pt x="130" y="42"/>
                  </a:lnTo>
                  <a:lnTo>
                    <a:pt x="129" y="41"/>
                  </a:lnTo>
                  <a:lnTo>
                    <a:pt x="129" y="41"/>
                  </a:lnTo>
                  <a:lnTo>
                    <a:pt x="129" y="41"/>
                  </a:lnTo>
                  <a:lnTo>
                    <a:pt x="129" y="41"/>
                  </a:lnTo>
                  <a:lnTo>
                    <a:pt x="129" y="41"/>
                  </a:lnTo>
                  <a:lnTo>
                    <a:pt x="129" y="41"/>
                  </a:lnTo>
                  <a:lnTo>
                    <a:pt x="129" y="41"/>
                  </a:lnTo>
                  <a:lnTo>
                    <a:pt x="129" y="41"/>
                  </a:lnTo>
                  <a:lnTo>
                    <a:pt x="129" y="41"/>
                  </a:lnTo>
                  <a:close/>
                  <a:moveTo>
                    <a:pt x="25" y="19"/>
                  </a:moveTo>
                  <a:lnTo>
                    <a:pt x="22" y="19"/>
                  </a:lnTo>
                  <a:lnTo>
                    <a:pt x="21" y="20"/>
                  </a:lnTo>
                  <a:lnTo>
                    <a:pt x="22" y="23"/>
                  </a:lnTo>
                  <a:lnTo>
                    <a:pt x="21" y="23"/>
                  </a:lnTo>
                  <a:lnTo>
                    <a:pt x="19" y="23"/>
                  </a:lnTo>
                  <a:lnTo>
                    <a:pt x="21" y="25"/>
                  </a:lnTo>
                  <a:lnTo>
                    <a:pt x="22" y="25"/>
                  </a:lnTo>
                  <a:lnTo>
                    <a:pt x="25" y="25"/>
                  </a:lnTo>
                  <a:lnTo>
                    <a:pt x="27" y="23"/>
                  </a:lnTo>
                  <a:lnTo>
                    <a:pt x="29" y="23"/>
                  </a:lnTo>
                  <a:lnTo>
                    <a:pt x="27" y="20"/>
                  </a:lnTo>
                  <a:lnTo>
                    <a:pt x="25" y="19"/>
                  </a:lnTo>
                  <a:lnTo>
                    <a:pt x="25" y="19"/>
                  </a:lnTo>
                  <a:lnTo>
                    <a:pt x="25" y="19"/>
                  </a:lnTo>
                  <a:lnTo>
                    <a:pt x="25" y="19"/>
                  </a:lnTo>
                  <a:lnTo>
                    <a:pt x="25" y="19"/>
                  </a:lnTo>
                  <a:lnTo>
                    <a:pt x="25" y="19"/>
                  </a:lnTo>
                  <a:lnTo>
                    <a:pt x="25" y="19"/>
                  </a:lnTo>
                  <a:lnTo>
                    <a:pt x="25" y="19"/>
                  </a:lnTo>
                  <a:lnTo>
                    <a:pt x="25" y="1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1" name="Freeform 12">
              <a:extLst>
                <a:ext uri="{FF2B5EF4-FFF2-40B4-BE49-F238E27FC236}">
                  <a16:creationId xmlns:a16="http://schemas.microsoft.com/office/drawing/2014/main" id="{F07AC141-42E6-0210-3753-52F23A6CD9E9}"/>
                </a:ext>
              </a:extLst>
            </p:cNvPr>
            <p:cNvSpPr>
              <a:spLocks/>
            </p:cNvSpPr>
            <p:nvPr/>
          </p:nvSpPr>
          <p:spPr bwMode="auto">
            <a:xfrm>
              <a:off x="3683116" y="3385833"/>
              <a:ext cx="80750" cy="60563"/>
            </a:xfrm>
            <a:custGeom>
              <a:avLst/>
              <a:gdLst>
                <a:gd name="T0" fmla="*/ 5 w 36"/>
                <a:gd name="T1" fmla="*/ 18 h 27"/>
                <a:gd name="T2" fmla="*/ 11 w 36"/>
                <a:gd name="T3" fmla="*/ 18 h 27"/>
                <a:gd name="T4" fmla="*/ 11 w 36"/>
                <a:gd name="T5" fmla="*/ 21 h 27"/>
                <a:gd name="T6" fmla="*/ 13 w 36"/>
                <a:gd name="T7" fmla="*/ 21 h 27"/>
                <a:gd name="T8" fmla="*/ 19 w 36"/>
                <a:gd name="T9" fmla="*/ 21 h 27"/>
                <a:gd name="T10" fmla="*/ 22 w 36"/>
                <a:gd name="T11" fmla="*/ 21 h 27"/>
                <a:gd name="T12" fmla="*/ 24 w 36"/>
                <a:gd name="T13" fmla="*/ 21 h 27"/>
                <a:gd name="T14" fmla="*/ 27 w 36"/>
                <a:gd name="T15" fmla="*/ 18 h 27"/>
                <a:gd name="T16" fmla="*/ 27 w 36"/>
                <a:gd name="T17" fmla="*/ 18 h 27"/>
                <a:gd name="T18" fmla="*/ 24 w 36"/>
                <a:gd name="T19" fmla="*/ 15 h 27"/>
                <a:gd name="T20" fmla="*/ 22 w 36"/>
                <a:gd name="T21" fmla="*/ 11 h 27"/>
                <a:gd name="T22" fmla="*/ 22 w 36"/>
                <a:gd name="T23" fmla="*/ 5 h 27"/>
                <a:gd name="T24" fmla="*/ 19 w 36"/>
                <a:gd name="T25" fmla="*/ 3 h 27"/>
                <a:gd name="T26" fmla="*/ 14 w 36"/>
                <a:gd name="T27" fmla="*/ 3 h 27"/>
                <a:gd name="T28" fmla="*/ 16 w 36"/>
                <a:gd name="T29" fmla="*/ 2 h 27"/>
                <a:gd name="T30" fmla="*/ 22 w 36"/>
                <a:gd name="T31" fmla="*/ 0 h 27"/>
                <a:gd name="T32" fmla="*/ 28 w 36"/>
                <a:gd name="T33" fmla="*/ 2 h 27"/>
                <a:gd name="T34" fmla="*/ 36 w 36"/>
                <a:gd name="T35" fmla="*/ 3 h 27"/>
                <a:gd name="T36" fmla="*/ 36 w 36"/>
                <a:gd name="T37" fmla="*/ 5 h 27"/>
                <a:gd name="T38" fmla="*/ 36 w 36"/>
                <a:gd name="T39" fmla="*/ 10 h 27"/>
                <a:gd name="T40" fmla="*/ 36 w 36"/>
                <a:gd name="T41" fmla="*/ 11 h 27"/>
                <a:gd name="T42" fmla="*/ 33 w 36"/>
                <a:gd name="T43" fmla="*/ 15 h 27"/>
                <a:gd name="T44" fmla="*/ 33 w 36"/>
                <a:gd name="T45" fmla="*/ 15 h 27"/>
                <a:gd name="T46" fmla="*/ 36 w 36"/>
                <a:gd name="T47" fmla="*/ 15 h 27"/>
                <a:gd name="T48" fmla="*/ 32 w 36"/>
                <a:gd name="T49" fmla="*/ 18 h 27"/>
                <a:gd name="T50" fmla="*/ 33 w 36"/>
                <a:gd name="T51" fmla="*/ 24 h 27"/>
                <a:gd name="T52" fmla="*/ 33 w 36"/>
                <a:gd name="T53" fmla="*/ 27 h 27"/>
                <a:gd name="T54" fmla="*/ 32 w 36"/>
                <a:gd name="T55" fmla="*/ 24 h 27"/>
                <a:gd name="T56" fmla="*/ 22 w 36"/>
                <a:gd name="T57" fmla="*/ 24 h 27"/>
                <a:gd name="T58" fmla="*/ 19 w 36"/>
                <a:gd name="T59" fmla="*/ 24 h 27"/>
                <a:gd name="T60" fmla="*/ 11 w 36"/>
                <a:gd name="T61" fmla="*/ 24 h 27"/>
                <a:gd name="T62" fmla="*/ 8 w 36"/>
                <a:gd name="T63" fmla="*/ 26 h 27"/>
                <a:gd name="T64" fmla="*/ 5 w 36"/>
                <a:gd name="T65" fmla="*/ 26 h 27"/>
                <a:gd name="T66" fmla="*/ 2 w 36"/>
                <a:gd name="T67" fmla="*/ 24 h 27"/>
                <a:gd name="T68" fmla="*/ 2 w 36"/>
                <a:gd name="T69" fmla="*/ 21 h 27"/>
                <a:gd name="T70" fmla="*/ 5 w 36"/>
                <a:gd name="T71" fmla="*/ 18 h 27"/>
                <a:gd name="T72" fmla="*/ 5 w 36"/>
                <a:gd name="T73" fmla="*/ 18 h 27"/>
                <a:gd name="T74" fmla="*/ 5 w 36"/>
                <a:gd name="T75" fmla="*/ 18 h 27"/>
                <a:gd name="T76" fmla="*/ 5 w 36"/>
                <a:gd name="T77" fmla="*/ 18 h 27"/>
                <a:gd name="T78" fmla="*/ 5 w 36"/>
                <a:gd name="T7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27">
                  <a:moveTo>
                    <a:pt x="5" y="18"/>
                  </a:moveTo>
                  <a:lnTo>
                    <a:pt x="5" y="18"/>
                  </a:lnTo>
                  <a:lnTo>
                    <a:pt x="8" y="18"/>
                  </a:lnTo>
                  <a:lnTo>
                    <a:pt x="11" y="18"/>
                  </a:lnTo>
                  <a:lnTo>
                    <a:pt x="11" y="18"/>
                  </a:lnTo>
                  <a:lnTo>
                    <a:pt x="11" y="21"/>
                  </a:lnTo>
                  <a:lnTo>
                    <a:pt x="11" y="21"/>
                  </a:lnTo>
                  <a:lnTo>
                    <a:pt x="13" y="21"/>
                  </a:lnTo>
                  <a:lnTo>
                    <a:pt x="13" y="21"/>
                  </a:lnTo>
                  <a:lnTo>
                    <a:pt x="19" y="21"/>
                  </a:lnTo>
                  <a:lnTo>
                    <a:pt x="19" y="21"/>
                  </a:lnTo>
                  <a:lnTo>
                    <a:pt x="22" y="21"/>
                  </a:lnTo>
                  <a:lnTo>
                    <a:pt x="24" y="21"/>
                  </a:lnTo>
                  <a:lnTo>
                    <a:pt x="24" y="21"/>
                  </a:lnTo>
                  <a:lnTo>
                    <a:pt x="25" y="21"/>
                  </a:lnTo>
                  <a:lnTo>
                    <a:pt x="27" y="18"/>
                  </a:lnTo>
                  <a:lnTo>
                    <a:pt x="27" y="18"/>
                  </a:lnTo>
                  <a:lnTo>
                    <a:pt x="27" y="18"/>
                  </a:lnTo>
                  <a:lnTo>
                    <a:pt x="25" y="15"/>
                  </a:lnTo>
                  <a:lnTo>
                    <a:pt x="24" y="15"/>
                  </a:lnTo>
                  <a:lnTo>
                    <a:pt x="22" y="11"/>
                  </a:lnTo>
                  <a:lnTo>
                    <a:pt x="22" y="11"/>
                  </a:lnTo>
                  <a:lnTo>
                    <a:pt x="22" y="7"/>
                  </a:lnTo>
                  <a:lnTo>
                    <a:pt x="22" y="5"/>
                  </a:lnTo>
                  <a:lnTo>
                    <a:pt x="19" y="3"/>
                  </a:lnTo>
                  <a:lnTo>
                    <a:pt x="19" y="3"/>
                  </a:lnTo>
                  <a:lnTo>
                    <a:pt x="16" y="3"/>
                  </a:lnTo>
                  <a:lnTo>
                    <a:pt x="14" y="3"/>
                  </a:lnTo>
                  <a:lnTo>
                    <a:pt x="16" y="2"/>
                  </a:lnTo>
                  <a:lnTo>
                    <a:pt x="16" y="2"/>
                  </a:lnTo>
                  <a:lnTo>
                    <a:pt x="19" y="0"/>
                  </a:lnTo>
                  <a:lnTo>
                    <a:pt x="22" y="0"/>
                  </a:lnTo>
                  <a:lnTo>
                    <a:pt x="28" y="2"/>
                  </a:lnTo>
                  <a:lnTo>
                    <a:pt x="28" y="2"/>
                  </a:lnTo>
                  <a:lnTo>
                    <a:pt x="33" y="2"/>
                  </a:lnTo>
                  <a:lnTo>
                    <a:pt x="36" y="3"/>
                  </a:lnTo>
                  <a:lnTo>
                    <a:pt x="36" y="5"/>
                  </a:lnTo>
                  <a:lnTo>
                    <a:pt x="36" y="5"/>
                  </a:lnTo>
                  <a:lnTo>
                    <a:pt x="36" y="8"/>
                  </a:lnTo>
                  <a:lnTo>
                    <a:pt x="36" y="10"/>
                  </a:lnTo>
                  <a:lnTo>
                    <a:pt x="36" y="10"/>
                  </a:lnTo>
                  <a:lnTo>
                    <a:pt x="36" y="11"/>
                  </a:lnTo>
                  <a:lnTo>
                    <a:pt x="36" y="11"/>
                  </a:lnTo>
                  <a:lnTo>
                    <a:pt x="33" y="15"/>
                  </a:lnTo>
                  <a:lnTo>
                    <a:pt x="33" y="15"/>
                  </a:lnTo>
                  <a:lnTo>
                    <a:pt x="33" y="15"/>
                  </a:lnTo>
                  <a:lnTo>
                    <a:pt x="36" y="15"/>
                  </a:lnTo>
                  <a:lnTo>
                    <a:pt x="36" y="15"/>
                  </a:lnTo>
                  <a:lnTo>
                    <a:pt x="33" y="18"/>
                  </a:lnTo>
                  <a:lnTo>
                    <a:pt x="32" y="18"/>
                  </a:lnTo>
                  <a:lnTo>
                    <a:pt x="32" y="18"/>
                  </a:lnTo>
                  <a:lnTo>
                    <a:pt x="33" y="24"/>
                  </a:lnTo>
                  <a:lnTo>
                    <a:pt x="33" y="24"/>
                  </a:lnTo>
                  <a:lnTo>
                    <a:pt x="33" y="27"/>
                  </a:lnTo>
                  <a:lnTo>
                    <a:pt x="33" y="27"/>
                  </a:lnTo>
                  <a:lnTo>
                    <a:pt x="32" y="24"/>
                  </a:lnTo>
                  <a:lnTo>
                    <a:pt x="28" y="24"/>
                  </a:lnTo>
                  <a:lnTo>
                    <a:pt x="22" y="24"/>
                  </a:lnTo>
                  <a:lnTo>
                    <a:pt x="22" y="24"/>
                  </a:lnTo>
                  <a:lnTo>
                    <a:pt x="19" y="24"/>
                  </a:lnTo>
                  <a:lnTo>
                    <a:pt x="14" y="24"/>
                  </a:lnTo>
                  <a:lnTo>
                    <a:pt x="11" y="24"/>
                  </a:lnTo>
                  <a:lnTo>
                    <a:pt x="8" y="26"/>
                  </a:lnTo>
                  <a:lnTo>
                    <a:pt x="8" y="26"/>
                  </a:lnTo>
                  <a:lnTo>
                    <a:pt x="8" y="26"/>
                  </a:lnTo>
                  <a:lnTo>
                    <a:pt x="5" y="26"/>
                  </a:lnTo>
                  <a:lnTo>
                    <a:pt x="2" y="24"/>
                  </a:lnTo>
                  <a:lnTo>
                    <a:pt x="2" y="24"/>
                  </a:lnTo>
                  <a:lnTo>
                    <a:pt x="0" y="21"/>
                  </a:lnTo>
                  <a:lnTo>
                    <a:pt x="2" y="21"/>
                  </a:lnTo>
                  <a:lnTo>
                    <a:pt x="2" y="18"/>
                  </a:lnTo>
                  <a:lnTo>
                    <a:pt x="5" y="18"/>
                  </a:lnTo>
                  <a:lnTo>
                    <a:pt x="5" y="18"/>
                  </a:lnTo>
                  <a:lnTo>
                    <a:pt x="5" y="18"/>
                  </a:lnTo>
                  <a:lnTo>
                    <a:pt x="5" y="18"/>
                  </a:lnTo>
                  <a:lnTo>
                    <a:pt x="5" y="18"/>
                  </a:lnTo>
                  <a:lnTo>
                    <a:pt x="5" y="18"/>
                  </a:lnTo>
                  <a:lnTo>
                    <a:pt x="5" y="18"/>
                  </a:lnTo>
                  <a:lnTo>
                    <a:pt x="5" y="18"/>
                  </a:lnTo>
                  <a:lnTo>
                    <a:pt x="5" y="18"/>
                  </a:lnTo>
                  <a:lnTo>
                    <a:pt x="5" y="1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2" name="Freeform 14">
              <a:extLst>
                <a:ext uri="{FF2B5EF4-FFF2-40B4-BE49-F238E27FC236}">
                  <a16:creationId xmlns:a16="http://schemas.microsoft.com/office/drawing/2014/main" id="{EA850C77-4443-EA19-6AB6-AF940C29C48A}"/>
                </a:ext>
              </a:extLst>
            </p:cNvPr>
            <p:cNvSpPr>
              <a:spLocks noEditPoints="1"/>
            </p:cNvSpPr>
            <p:nvPr/>
          </p:nvSpPr>
          <p:spPr bwMode="auto">
            <a:xfrm>
              <a:off x="3597879" y="3159283"/>
              <a:ext cx="145800" cy="195147"/>
            </a:xfrm>
            <a:custGeom>
              <a:avLst/>
              <a:gdLst>
                <a:gd name="T0" fmla="*/ 8 w 65"/>
                <a:gd name="T1" fmla="*/ 31 h 87"/>
                <a:gd name="T2" fmla="*/ 5 w 65"/>
                <a:gd name="T3" fmla="*/ 28 h 87"/>
                <a:gd name="T4" fmla="*/ 1 w 65"/>
                <a:gd name="T5" fmla="*/ 35 h 87"/>
                <a:gd name="T6" fmla="*/ 5 w 65"/>
                <a:gd name="T7" fmla="*/ 36 h 87"/>
                <a:gd name="T8" fmla="*/ 5 w 65"/>
                <a:gd name="T9" fmla="*/ 36 h 87"/>
                <a:gd name="T10" fmla="*/ 5 w 65"/>
                <a:gd name="T11" fmla="*/ 36 h 87"/>
                <a:gd name="T12" fmla="*/ 1 w 65"/>
                <a:gd name="T13" fmla="*/ 4 h 87"/>
                <a:gd name="T14" fmla="*/ 11 w 65"/>
                <a:gd name="T15" fmla="*/ 3 h 87"/>
                <a:gd name="T16" fmla="*/ 8 w 65"/>
                <a:gd name="T17" fmla="*/ 3 h 87"/>
                <a:gd name="T18" fmla="*/ 8 w 65"/>
                <a:gd name="T19" fmla="*/ 3 h 87"/>
                <a:gd name="T20" fmla="*/ 8 w 65"/>
                <a:gd name="T21" fmla="*/ 39 h 87"/>
                <a:gd name="T22" fmla="*/ 8 w 65"/>
                <a:gd name="T23" fmla="*/ 44 h 87"/>
                <a:gd name="T24" fmla="*/ 11 w 65"/>
                <a:gd name="T25" fmla="*/ 44 h 87"/>
                <a:gd name="T26" fmla="*/ 11 w 65"/>
                <a:gd name="T27" fmla="*/ 39 h 87"/>
                <a:gd name="T28" fmla="*/ 8 w 65"/>
                <a:gd name="T29" fmla="*/ 39 h 87"/>
                <a:gd name="T30" fmla="*/ 8 w 65"/>
                <a:gd name="T31" fmla="*/ 39 h 87"/>
                <a:gd name="T32" fmla="*/ 16 w 65"/>
                <a:gd name="T33" fmla="*/ 1 h 87"/>
                <a:gd name="T34" fmla="*/ 14 w 65"/>
                <a:gd name="T35" fmla="*/ 0 h 87"/>
                <a:gd name="T36" fmla="*/ 14 w 65"/>
                <a:gd name="T37" fmla="*/ 0 h 87"/>
                <a:gd name="T38" fmla="*/ 14 w 65"/>
                <a:gd name="T39" fmla="*/ 0 h 87"/>
                <a:gd name="T40" fmla="*/ 17 w 65"/>
                <a:gd name="T41" fmla="*/ 16 h 87"/>
                <a:gd name="T42" fmla="*/ 20 w 65"/>
                <a:gd name="T43" fmla="*/ 4 h 87"/>
                <a:gd name="T44" fmla="*/ 20 w 65"/>
                <a:gd name="T45" fmla="*/ 6 h 87"/>
                <a:gd name="T46" fmla="*/ 20 w 65"/>
                <a:gd name="T47" fmla="*/ 6 h 87"/>
                <a:gd name="T48" fmla="*/ 28 w 65"/>
                <a:gd name="T49" fmla="*/ 28 h 87"/>
                <a:gd name="T50" fmla="*/ 27 w 65"/>
                <a:gd name="T51" fmla="*/ 31 h 87"/>
                <a:gd name="T52" fmla="*/ 27 w 65"/>
                <a:gd name="T53" fmla="*/ 31 h 87"/>
                <a:gd name="T54" fmla="*/ 27 w 65"/>
                <a:gd name="T55" fmla="*/ 31 h 87"/>
                <a:gd name="T56" fmla="*/ 24 w 65"/>
                <a:gd name="T57" fmla="*/ 22 h 87"/>
                <a:gd name="T58" fmla="*/ 24 w 65"/>
                <a:gd name="T59" fmla="*/ 22 h 87"/>
                <a:gd name="T60" fmla="*/ 24 w 65"/>
                <a:gd name="T61" fmla="*/ 22 h 87"/>
                <a:gd name="T62" fmla="*/ 27 w 65"/>
                <a:gd name="T63" fmla="*/ 25 h 87"/>
                <a:gd name="T64" fmla="*/ 27 w 65"/>
                <a:gd name="T65" fmla="*/ 25 h 87"/>
                <a:gd name="T66" fmla="*/ 27 w 65"/>
                <a:gd name="T67" fmla="*/ 25 h 87"/>
                <a:gd name="T68" fmla="*/ 36 w 65"/>
                <a:gd name="T69" fmla="*/ 36 h 87"/>
                <a:gd name="T70" fmla="*/ 36 w 65"/>
                <a:gd name="T71" fmla="*/ 36 h 87"/>
                <a:gd name="T72" fmla="*/ 36 w 65"/>
                <a:gd name="T73" fmla="*/ 36 h 87"/>
                <a:gd name="T74" fmla="*/ 38 w 65"/>
                <a:gd name="T75" fmla="*/ 52 h 87"/>
                <a:gd name="T76" fmla="*/ 38 w 65"/>
                <a:gd name="T77" fmla="*/ 52 h 87"/>
                <a:gd name="T78" fmla="*/ 38 w 65"/>
                <a:gd name="T79" fmla="*/ 52 h 87"/>
                <a:gd name="T80" fmla="*/ 38 w 65"/>
                <a:gd name="T81" fmla="*/ 57 h 87"/>
                <a:gd name="T82" fmla="*/ 38 w 65"/>
                <a:gd name="T83" fmla="*/ 55 h 87"/>
                <a:gd name="T84" fmla="*/ 38 w 65"/>
                <a:gd name="T85" fmla="*/ 55 h 87"/>
                <a:gd name="T86" fmla="*/ 38 w 65"/>
                <a:gd name="T87" fmla="*/ 55 h 87"/>
                <a:gd name="T88" fmla="*/ 43 w 65"/>
                <a:gd name="T89" fmla="*/ 47 h 87"/>
                <a:gd name="T90" fmla="*/ 43 w 65"/>
                <a:gd name="T91" fmla="*/ 47 h 87"/>
                <a:gd name="T92" fmla="*/ 43 w 65"/>
                <a:gd name="T93" fmla="*/ 47 h 87"/>
                <a:gd name="T94" fmla="*/ 52 w 65"/>
                <a:gd name="T95" fmla="*/ 62 h 87"/>
                <a:gd name="T96" fmla="*/ 52 w 65"/>
                <a:gd name="T97" fmla="*/ 63 h 87"/>
                <a:gd name="T98" fmla="*/ 52 w 65"/>
                <a:gd name="T99" fmla="*/ 63 h 87"/>
                <a:gd name="T100" fmla="*/ 52 w 65"/>
                <a:gd name="T101" fmla="*/ 63 h 87"/>
                <a:gd name="T102" fmla="*/ 47 w 65"/>
                <a:gd name="T103" fmla="*/ 41 h 87"/>
                <a:gd name="T104" fmla="*/ 47 w 65"/>
                <a:gd name="T105" fmla="*/ 41 h 87"/>
                <a:gd name="T106" fmla="*/ 47 w 65"/>
                <a:gd name="T107" fmla="*/ 41 h 87"/>
                <a:gd name="T108" fmla="*/ 52 w 65"/>
                <a:gd name="T109" fmla="*/ 84 h 87"/>
                <a:gd name="T110" fmla="*/ 59 w 65"/>
                <a:gd name="T111" fmla="*/ 84 h 87"/>
                <a:gd name="T112" fmla="*/ 59 w 65"/>
                <a:gd name="T113" fmla="*/ 84 h 87"/>
                <a:gd name="T114" fmla="*/ 59 w 65"/>
                <a:gd name="T115" fmla="*/ 84 h 87"/>
                <a:gd name="T116" fmla="*/ 63 w 65"/>
                <a:gd name="T117" fmla="*/ 65 h 87"/>
                <a:gd name="T118" fmla="*/ 65 w 65"/>
                <a:gd name="T119" fmla="*/ 65 h 87"/>
                <a:gd name="T120" fmla="*/ 63 w 65"/>
                <a:gd name="T121" fmla="*/ 65 h 87"/>
                <a:gd name="T122" fmla="*/ 63 w 65"/>
                <a:gd name="T123"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87">
                  <a:moveTo>
                    <a:pt x="5" y="36"/>
                  </a:moveTo>
                  <a:lnTo>
                    <a:pt x="8" y="35"/>
                  </a:lnTo>
                  <a:lnTo>
                    <a:pt x="8" y="35"/>
                  </a:lnTo>
                  <a:lnTo>
                    <a:pt x="8" y="31"/>
                  </a:lnTo>
                  <a:lnTo>
                    <a:pt x="8" y="28"/>
                  </a:lnTo>
                  <a:lnTo>
                    <a:pt x="8" y="25"/>
                  </a:lnTo>
                  <a:lnTo>
                    <a:pt x="5" y="25"/>
                  </a:lnTo>
                  <a:lnTo>
                    <a:pt x="5" y="28"/>
                  </a:lnTo>
                  <a:lnTo>
                    <a:pt x="5" y="31"/>
                  </a:lnTo>
                  <a:lnTo>
                    <a:pt x="3" y="31"/>
                  </a:lnTo>
                  <a:lnTo>
                    <a:pt x="3" y="35"/>
                  </a:lnTo>
                  <a:lnTo>
                    <a:pt x="1" y="35"/>
                  </a:lnTo>
                  <a:lnTo>
                    <a:pt x="3" y="35"/>
                  </a:lnTo>
                  <a:lnTo>
                    <a:pt x="5" y="35"/>
                  </a:lnTo>
                  <a:lnTo>
                    <a:pt x="5" y="36"/>
                  </a:lnTo>
                  <a:lnTo>
                    <a:pt x="5" y="36"/>
                  </a:lnTo>
                  <a:lnTo>
                    <a:pt x="5" y="36"/>
                  </a:lnTo>
                  <a:lnTo>
                    <a:pt x="5" y="36"/>
                  </a:lnTo>
                  <a:lnTo>
                    <a:pt x="5" y="36"/>
                  </a:lnTo>
                  <a:lnTo>
                    <a:pt x="5" y="36"/>
                  </a:lnTo>
                  <a:lnTo>
                    <a:pt x="5" y="36"/>
                  </a:lnTo>
                  <a:lnTo>
                    <a:pt x="5" y="36"/>
                  </a:lnTo>
                  <a:lnTo>
                    <a:pt x="5" y="36"/>
                  </a:lnTo>
                  <a:lnTo>
                    <a:pt x="5" y="36"/>
                  </a:lnTo>
                  <a:close/>
                  <a:moveTo>
                    <a:pt x="8" y="3"/>
                  </a:moveTo>
                  <a:lnTo>
                    <a:pt x="5" y="3"/>
                  </a:lnTo>
                  <a:lnTo>
                    <a:pt x="3" y="4"/>
                  </a:lnTo>
                  <a:lnTo>
                    <a:pt x="1" y="4"/>
                  </a:lnTo>
                  <a:lnTo>
                    <a:pt x="0" y="4"/>
                  </a:lnTo>
                  <a:lnTo>
                    <a:pt x="3" y="6"/>
                  </a:lnTo>
                  <a:lnTo>
                    <a:pt x="8" y="4"/>
                  </a:lnTo>
                  <a:lnTo>
                    <a:pt x="11" y="3"/>
                  </a:lnTo>
                  <a:lnTo>
                    <a:pt x="14" y="1"/>
                  </a:lnTo>
                  <a:lnTo>
                    <a:pt x="11" y="3"/>
                  </a:lnTo>
                  <a:lnTo>
                    <a:pt x="8" y="3"/>
                  </a:lnTo>
                  <a:lnTo>
                    <a:pt x="8" y="3"/>
                  </a:lnTo>
                  <a:lnTo>
                    <a:pt x="8" y="3"/>
                  </a:lnTo>
                  <a:lnTo>
                    <a:pt x="8" y="3"/>
                  </a:lnTo>
                  <a:lnTo>
                    <a:pt x="8" y="3"/>
                  </a:lnTo>
                  <a:lnTo>
                    <a:pt x="8" y="3"/>
                  </a:lnTo>
                  <a:lnTo>
                    <a:pt x="8" y="3"/>
                  </a:lnTo>
                  <a:lnTo>
                    <a:pt x="8" y="3"/>
                  </a:lnTo>
                  <a:lnTo>
                    <a:pt x="8" y="3"/>
                  </a:lnTo>
                  <a:close/>
                  <a:moveTo>
                    <a:pt x="8" y="39"/>
                  </a:moveTo>
                  <a:lnTo>
                    <a:pt x="8" y="38"/>
                  </a:lnTo>
                  <a:lnTo>
                    <a:pt x="5" y="41"/>
                  </a:lnTo>
                  <a:lnTo>
                    <a:pt x="8" y="43"/>
                  </a:lnTo>
                  <a:lnTo>
                    <a:pt x="8" y="44"/>
                  </a:lnTo>
                  <a:lnTo>
                    <a:pt x="8" y="46"/>
                  </a:lnTo>
                  <a:lnTo>
                    <a:pt x="8" y="46"/>
                  </a:lnTo>
                  <a:lnTo>
                    <a:pt x="8" y="46"/>
                  </a:lnTo>
                  <a:lnTo>
                    <a:pt x="11" y="44"/>
                  </a:lnTo>
                  <a:lnTo>
                    <a:pt x="9" y="44"/>
                  </a:lnTo>
                  <a:lnTo>
                    <a:pt x="11" y="43"/>
                  </a:lnTo>
                  <a:lnTo>
                    <a:pt x="11" y="41"/>
                  </a:lnTo>
                  <a:lnTo>
                    <a:pt x="11" y="39"/>
                  </a:lnTo>
                  <a:lnTo>
                    <a:pt x="8" y="41"/>
                  </a:lnTo>
                  <a:lnTo>
                    <a:pt x="8" y="39"/>
                  </a:lnTo>
                  <a:lnTo>
                    <a:pt x="8" y="39"/>
                  </a:lnTo>
                  <a:lnTo>
                    <a:pt x="8" y="39"/>
                  </a:lnTo>
                  <a:lnTo>
                    <a:pt x="8" y="39"/>
                  </a:lnTo>
                  <a:lnTo>
                    <a:pt x="8" y="39"/>
                  </a:lnTo>
                  <a:lnTo>
                    <a:pt x="8" y="39"/>
                  </a:lnTo>
                  <a:lnTo>
                    <a:pt x="8" y="39"/>
                  </a:lnTo>
                  <a:lnTo>
                    <a:pt x="8" y="39"/>
                  </a:lnTo>
                  <a:lnTo>
                    <a:pt x="8" y="39"/>
                  </a:lnTo>
                  <a:close/>
                  <a:moveTo>
                    <a:pt x="14" y="0"/>
                  </a:moveTo>
                  <a:lnTo>
                    <a:pt x="16" y="1"/>
                  </a:lnTo>
                  <a:lnTo>
                    <a:pt x="17" y="4"/>
                  </a:lnTo>
                  <a:lnTo>
                    <a:pt x="20" y="4"/>
                  </a:lnTo>
                  <a:lnTo>
                    <a:pt x="17" y="0"/>
                  </a:lnTo>
                  <a:lnTo>
                    <a:pt x="14" y="0"/>
                  </a:lnTo>
                  <a:lnTo>
                    <a:pt x="14" y="0"/>
                  </a:lnTo>
                  <a:lnTo>
                    <a:pt x="14" y="0"/>
                  </a:lnTo>
                  <a:lnTo>
                    <a:pt x="14" y="0"/>
                  </a:lnTo>
                  <a:lnTo>
                    <a:pt x="14" y="0"/>
                  </a:lnTo>
                  <a:lnTo>
                    <a:pt x="14" y="0"/>
                  </a:lnTo>
                  <a:lnTo>
                    <a:pt x="14" y="0"/>
                  </a:lnTo>
                  <a:lnTo>
                    <a:pt x="14" y="0"/>
                  </a:lnTo>
                  <a:lnTo>
                    <a:pt x="14" y="0"/>
                  </a:lnTo>
                  <a:close/>
                  <a:moveTo>
                    <a:pt x="20" y="6"/>
                  </a:moveTo>
                  <a:lnTo>
                    <a:pt x="17" y="9"/>
                  </a:lnTo>
                  <a:lnTo>
                    <a:pt x="16" y="14"/>
                  </a:lnTo>
                  <a:lnTo>
                    <a:pt x="17" y="16"/>
                  </a:lnTo>
                  <a:lnTo>
                    <a:pt x="17" y="12"/>
                  </a:lnTo>
                  <a:lnTo>
                    <a:pt x="20" y="9"/>
                  </a:lnTo>
                  <a:lnTo>
                    <a:pt x="20" y="8"/>
                  </a:lnTo>
                  <a:lnTo>
                    <a:pt x="20" y="4"/>
                  </a:lnTo>
                  <a:lnTo>
                    <a:pt x="20" y="6"/>
                  </a:lnTo>
                  <a:lnTo>
                    <a:pt x="20" y="6"/>
                  </a:lnTo>
                  <a:lnTo>
                    <a:pt x="20" y="6"/>
                  </a:lnTo>
                  <a:lnTo>
                    <a:pt x="20" y="6"/>
                  </a:lnTo>
                  <a:lnTo>
                    <a:pt x="20" y="6"/>
                  </a:lnTo>
                  <a:lnTo>
                    <a:pt x="20" y="6"/>
                  </a:lnTo>
                  <a:lnTo>
                    <a:pt x="20" y="6"/>
                  </a:lnTo>
                  <a:lnTo>
                    <a:pt x="20" y="6"/>
                  </a:lnTo>
                  <a:lnTo>
                    <a:pt x="20" y="6"/>
                  </a:lnTo>
                  <a:close/>
                  <a:moveTo>
                    <a:pt x="27" y="31"/>
                  </a:moveTo>
                  <a:lnTo>
                    <a:pt x="27" y="31"/>
                  </a:lnTo>
                  <a:lnTo>
                    <a:pt x="28" y="28"/>
                  </a:lnTo>
                  <a:lnTo>
                    <a:pt x="28" y="28"/>
                  </a:lnTo>
                  <a:lnTo>
                    <a:pt x="28" y="25"/>
                  </a:lnTo>
                  <a:lnTo>
                    <a:pt x="27" y="28"/>
                  </a:lnTo>
                  <a:lnTo>
                    <a:pt x="27" y="31"/>
                  </a:lnTo>
                  <a:lnTo>
                    <a:pt x="27" y="31"/>
                  </a:lnTo>
                  <a:lnTo>
                    <a:pt x="27" y="31"/>
                  </a:lnTo>
                  <a:lnTo>
                    <a:pt x="27" y="31"/>
                  </a:lnTo>
                  <a:lnTo>
                    <a:pt x="27" y="31"/>
                  </a:lnTo>
                  <a:lnTo>
                    <a:pt x="27" y="31"/>
                  </a:lnTo>
                  <a:lnTo>
                    <a:pt x="27" y="31"/>
                  </a:lnTo>
                  <a:lnTo>
                    <a:pt x="27" y="31"/>
                  </a:lnTo>
                  <a:lnTo>
                    <a:pt x="27" y="31"/>
                  </a:lnTo>
                  <a:close/>
                  <a:moveTo>
                    <a:pt x="24" y="22"/>
                  </a:moveTo>
                  <a:lnTo>
                    <a:pt x="24" y="22"/>
                  </a:lnTo>
                  <a:lnTo>
                    <a:pt x="24" y="20"/>
                  </a:lnTo>
                  <a:lnTo>
                    <a:pt x="24" y="22"/>
                  </a:lnTo>
                  <a:lnTo>
                    <a:pt x="24" y="22"/>
                  </a:lnTo>
                  <a:lnTo>
                    <a:pt x="24" y="22"/>
                  </a:lnTo>
                  <a:lnTo>
                    <a:pt x="24" y="22"/>
                  </a:lnTo>
                  <a:lnTo>
                    <a:pt x="24" y="22"/>
                  </a:lnTo>
                  <a:lnTo>
                    <a:pt x="24" y="22"/>
                  </a:lnTo>
                  <a:lnTo>
                    <a:pt x="24" y="22"/>
                  </a:lnTo>
                  <a:lnTo>
                    <a:pt x="24" y="22"/>
                  </a:lnTo>
                  <a:lnTo>
                    <a:pt x="24" y="22"/>
                  </a:lnTo>
                  <a:close/>
                  <a:moveTo>
                    <a:pt x="27" y="25"/>
                  </a:moveTo>
                  <a:lnTo>
                    <a:pt x="28" y="25"/>
                  </a:lnTo>
                  <a:lnTo>
                    <a:pt x="25" y="22"/>
                  </a:lnTo>
                  <a:lnTo>
                    <a:pt x="27" y="25"/>
                  </a:lnTo>
                  <a:lnTo>
                    <a:pt x="27" y="25"/>
                  </a:lnTo>
                  <a:lnTo>
                    <a:pt x="27" y="25"/>
                  </a:lnTo>
                  <a:lnTo>
                    <a:pt x="27" y="25"/>
                  </a:lnTo>
                  <a:lnTo>
                    <a:pt x="27" y="25"/>
                  </a:lnTo>
                  <a:lnTo>
                    <a:pt x="27" y="25"/>
                  </a:lnTo>
                  <a:lnTo>
                    <a:pt x="27" y="25"/>
                  </a:lnTo>
                  <a:lnTo>
                    <a:pt x="27" y="25"/>
                  </a:lnTo>
                  <a:lnTo>
                    <a:pt x="27" y="25"/>
                  </a:lnTo>
                  <a:close/>
                  <a:moveTo>
                    <a:pt x="36" y="36"/>
                  </a:moveTo>
                  <a:lnTo>
                    <a:pt x="33" y="31"/>
                  </a:lnTo>
                  <a:lnTo>
                    <a:pt x="36" y="38"/>
                  </a:lnTo>
                  <a:lnTo>
                    <a:pt x="36" y="36"/>
                  </a:lnTo>
                  <a:lnTo>
                    <a:pt x="36" y="36"/>
                  </a:lnTo>
                  <a:lnTo>
                    <a:pt x="36" y="36"/>
                  </a:lnTo>
                  <a:lnTo>
                    <a:pt x="36" y="36"/>
                  </a:lnTo>
                  <a:lnTo>
                    <a:pt x="36" y="36"/>
                  </a:lnTo>
                  <a:lnTo>
                    <a:pt x="36" y="36"/>
                  </a:lnTo>
                  <a:lnTo>
                    <a:pt x="36" y="36"/>
                  </a:lnTo>
                  <a:lnTo>
                    <a:pt x="36" y="36"/>
                  </a:lnTo>
                  <a:lnTo>
                    <a:pt x="36" y="36"/>
                  </a:lnTo>
                  <a:close/>
                  <a:moveTo>
                    <a:pt x="38" y="52"/>
                  </a:moveTo>
                  <a:lnTo>
                    <a:pt x="38" y="50"/>
                  </a:lnTo>
                  <a:lnTo>
                    <a:pt x="36" y="47"/>
                  </a:lnTo>
                  <a:lnTo>
                    <a:pt x="38" y="52"/>
                  </a:lnTo>
                  <a:lnTo>
                    <a:pt x="38" y="52"/>
                  </a:lnTo>
                  <a:lnTo>
                    <a:pt x="38" y="52"/>
                  </a:lnTo>
                  <a:lnTo>
                    <a:pt x="38" y="52"/>
                  </a:lnTo>
                  <a:lnTo>
                    <a:pt x="38" y="52"/>
                  </a:lnTo>
                  <a:lnTo>
                    <a:pt x="38" y="52"/>
                  </a:lnTo>
                  <a:lnTo>
                    <a:pt x="38" y="52"/>
                  </a:lnTo>
                  <a:lnTo>
                    <a:pt x="38" y="52"/>
                  </a:lnTo>
                  <a:lnTo>
                    <a:pt x="38" y="52"/>
                  </a:lnTo>
                  <a:close/>
                  <a:moveTo>
                    <a:pt x="38" y="55"/>
                  </a:moveTo>
                  <a:lnTo>
                    <a:pt x="38" y="54"/>
                  </a:lnTo>
                  <a:lnTo>
                    <a:pt x="36" y="54"/>
                  </a:lnTo>
                  <a:lnTo>
                    <a:pt x="38" y="57"/>
                  </a:lnTo>
                  <a:lnTo>
                    <a:pt x="41" y="57"/>
                  </a:lnTo>
                  <a:lnTo>
                    <a:pt x="41" y="57"/>
                  </a:lnTo>
                  <a:lnTo>
                    <a:pt x="40" y="57"/>
                  </a:lnTo>
                  <a:lnTo>
                    <a:pt x="38" y="55"/>
                  </a:lnTo>
                  <a:lnTo>
                    <a:pt x="38" y="55"/>
                  </a:lnTo>
                  <a:lnTo>
                    <a:pt x="38" y="55"/>
                  </a:lnTo>
                  <a:lnTo>
                    <a:pt x="38" y="55"/>
                  </a:lnTo>
                  <a:lnTo>
                    <a:pt x="38" y="55"/>
                  </a:lnTo>
                  <a:lnTo>
                    <a:pt x="38" y="55"/>
                  </a:lnTo>
                  <a:lnTo>
                    <a:pt x="38" y="55"/>
                  </a:lnTo>
                  <a:lnTo>
                    <a:pt x="38" y="55"/>
                  </a:lnTo>
                  <a:lnTo>
                    <a:pt x="38" y="55"/>
                  </a:lnTo>
                  <a:close/>
                  <a:moveTo>
                    <a:pt x="43" y="47"/>
                  </a:moveTo>
                  <a:lnTo>
                    <a:pt x="43" y="46"/>
                  </a:lnTo>
                  <a:lnTo>
                    <a:pt x="41" y="47"/>
                  </a:lnTo>
                  <a:lnTo>
                    <a:pt x="43" y="47"/>
                  </a:lnTo>
                  <a:lnTo>
                    <a:pt x="43" y="47"/>
                  </a:lnTo>
                  <a:lnTo>
                    <a:pt x="43" y="47"/>
                  </a:lnTo>
                  <a:lnTo>
                    <a:pt x="43" y="47"/>
                  </a:lnTo>
                  <a:lnTo>
                    <a:pt x="43" y="47"/>
                  </a:lnTo>
                  <a:lnTo>
                    <a:pt x="43" y="47"/>
                  </a:lnTo>
                  <a:lnTo>
                    <a:pt x="43" y="47"/>
                  </a:lnTo>
                  <a:lnTo>
                    <a:pt x="43" y="47"/>
                  </a:lnTo>
                  <a:lnTo>
                    <a:pt x="43" y="47"/>
                  </a:lnTo>
                  <a:close/>
                  <a:moveTo>
                    <a:pt x="52" y="63"/>
                  </a:moveTo>
                  <a:lnTo>
                    <a:pt x="52" y="62"/>
                  </a:lnTo>
                  <a:lnTo>
                    <a:pt x="52" y="60"/>
                  </a:lnTo>
                  <a:lnTo>
                    <a:pt x="52" y="62"/>
                  </a:lnTo>
                  <a:lnTo>
                    <a:pt x="52" y="63"/>
                  </a:lnTo>
                  <a:lnTo>
                    <a:pt x="47" y="68"/>
                  </a:lnTo>
                  <a:lnTo>
                    <a:pt x="52" y="65"/>
                  </a:lnTo>
                  <a:lnTo>
                    <a:pt x="52" y="63"/>
                  </a:lnTo>
                  <a:lnTo>
                    <a:pt x="52" y="63"/>
                  </a:lnTo>
                  <a:lnTo>
                    <a:pt x="52" y="63"/>
                  </a:lnTo>
                  <a:lnTo>
                    <a:pt x="52" y="63"/>
                  </a:lnTo>
                  <a:lnTo>
                    <a:pt x="52" y="63"/>
                  </a:lnTo>
                  <a:lnTo>
                    <a:pt x="52" y="63"/>
                  </a:lnTo>
                  <a:lnTo>
                    <a:pt x="52" y="63"/>
                  </a:lnTo>
                  <a:lnTo>
                    <a:pt x="52" y="63"/>
                  </a:lnTo>
                  <a:lnTo>
                    <a:pt x="52" y="63"/>
                  </a:lnTo>
                  <a:close/>
                  <a:moveTo>
                    <a:pt x="47" y="41"/>
                  </a:moveTo>
                  <a:lnTo>
                    <a:pt x="47" y="43"/>
                  </a:lnTo>
                  <a:lnTo>
                    <a:pt x="49" y="41"/>
                  </a:lnTo>
                  <a:lnTo>
                    <a:pt x="47" y="41"/>
                  </a:lnTo>
                  <a:lnTo>
                    <a:pt x="47" y="41"/>
                  </a:lnTo>
                  <a:lnTo>
                    <a:pt x="47" y="41"/>
                  </a:lnTo>
                  <a:lnTo>
                    <a:pt x="47" y="41"/>
                  </a:lnTo>
                  <a:lnTo>
                    <a:pt x="47" y="41"/>
                  </a:lnTo>
                  <a:lnTo>
                    <a:pt x="47" y="41"/>
                  </a:lnTo>
                  <a:lnTo>
                    <a:pt x="47" y="41"/>
                  </a:lnTo>
                  <a:lnTo>
                    <a:pt x="47" y="41"/>
                  </a:lnTo>
                  <a:lnTo>
                    <a:pt x="47" y="41"/>
                  </a:lnTo>
                  <a:close/>
                  <a:moveTo>
                    <a:pt x="59" y="84"/>
                  </a:moveTo>
                  <a:lnTo>
                    <a:pt x="55" y="81"/>
                  </a:lnTo>
                  <a:lnTo>
                    <a:pt x="52" y="84"/>
                  </a:lnTo>
                  <a:lnTo>
                    <a:pt x="52" y="84"/>
                  </a:lnTo>
                  <a:lnTo>
                    <a:pt x="52" y="87"/>
                  </a:lnTo>
                  <a:lnTo>
                    <a:pt x="55" y="87"/>
                  </a:lnTo>
                  <a:lnTo>
                    <a:pt x="59" y="84"/>
                  </a:lnTo>
                  <a:lnTo>
                    <a:pt x="59" y="84"/>
                  </a:lnTo>
                  <a:lnTo>
                    <a:pt x="60" y="81"/>
                  </a:lnTo>
                  <a:lnTo>
                    <a:pt x="59" y="81"/>
                  </a:lnTo>
                  <a:lnTo>
                    <a:pt x="59" y="84"/>
                  </a:lnTo>
                  <a:lnTo>
                    <a:pt x="59" y="84"/>
                  </a:lnTo>
                  <a:lnTo>
                    <a:pt x="59" y="84"/>
                  </a:lnTo>
                  <a:lnTo>
                    <a:pt x="59" y="84"/>
                  </a:lnTo>
                  <a:lnTo>
                    <a:pt x="59" y="84"/>
                  </a:lnTo>
                  <a:lnTo>
                    <a:pt x="59" y="84"/>
                  </a:lnTo>
                  <a:lnTo>
                    <a:pt x="59" y="84"/>
                  </a:lnTo>
                  <a:lnTo>
                    <a:pt x="59" y="84"/>
                  </a:lnTo>
                  <a:lnTo>
                    <a:pt x="59" y="84"/>
                  </a:lnTo>
                  <a:close/>
                  <a:moveTo>
                    <a:pt x="63" y="65"/>
                  </a:moveTo>
                  <a:lnTo>
                    <a:pt x="62" y="65"/>
                  </a:lnTo>
                  <a:lnTo>
                    <a:pt x="62" y="66"/>
                  </a:lnTo>
                  <a:lnTo>
                    <a:pt x="65" y="66"/>
                  </a:lnTo>
                  <a:lnTo>
                    <a:pt x="65" y="65"/>
                  </a:lnTo>
                  <a:lnTo>
                    <a:pt x="63" y="65"/>
                  </a:lnTo>
                  <a:lnTo>
                    <a:pt x="63" y="65"/>
                  </a:lnTo>
                  <a:lnTo>
                    <a:pt x="63" y="65"/>
                  </a:lnTo>
                  <a:lnTo>
                    <a:pt x="63" y="65"/>
                  </a:lnTo>
                  <a:lnTo>
                    <a:pt x="63" y="65"/>
                  </a:lnTo>
                  <a:lnTo>
                    <a:pt x="63" y="65"/>
                  </a:lnTo>
                  <a:lnTo>
                    <a:pt x="63" y="65"/>
                  </a:lnTo>
                  <a:lnTo>
                    <a:pt x="63" y="65"/>
                  </a:lnTo>
                  <a:lnTo>
                    <a:pt x="63" y="6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3" name="Freeform 16">
              <a:extLst>
                <a:ext uri="{FF2B5EF4-FFF2-40B4-BE49-F238E27FC236}">
                  <a16:creationId xmlns:a16="http://schemas.microsoft.com/office/drawing/2014/main" id="{40D73A3D-2A99-A77B-9CD3-C7EC14D6152A}"/>
                </a:ext>
              </a:extLst>
            </p:cNvPr>
            <p:cNvSpPr>
              <a:spLocks/>
            </p:cNvSpPr>
            <p:nvPr/>
          </p:nvSpPr>
          <p:spPr bwMode="auto">
            <a:xfrm>
              <a:off x="3573206" y="3432938"/>
              <a:ext cx="56077" cy="24674"/>
            </a:xfrm>
            <a:custGeom>
              <a:avLst/>
              <a:gdLst>
                <a:gd name="T0" fmla="*/ 0 w 25"/>
                <a:gd name="T1" fmla="*/ 3 h 11"/>
                <a:gd name="T2" fmla="*/ 0 w 25"/>
                <a:gd name="T3" fmla="*/ 3 h 11"/>
                <a:gd name="T4" fmla="*/ 3 w 25"/>
                <a:gd name="T5" fmla="*/ 0 h 11"/>
                <a:gd name="T6" fmla="*/ 4 w 25"/>
                <a:gd name="T7" fmla="*/ 0 h 11"/>
                <a:gd name="T8" fmla="*/ 14 w 25"/>
                <a:gd name="T9" fmla="*/ 0 h 11"/>
                <a:gd name="T10" fmla="*/ 14 w 25"/>
                <a:gd name="T11" fmla="*/ 0 h 11"/>
                <a:gd name="T12" fmla="*/ 22 w 25"/>
                <a:gd name="T13" fmla="*/ 3 h 11"/>
                <a:gd name="T14" fmla="*/ 22 w 25"/>
                <a:gd name="T15" fmla="*/ 3 h 11"/>
                <a:gd name="T16" fmla="*/ 25 w 25"/>
                <a:gd name="T17" fmla="*/ 5 h 11"/>
                <a:gd name="T18" fmla="*/ 25 w 25"/>
                <a:gd name="T19" fmla="*/ 8 h 11"/>
                <a:gd name="T20" fmla="*/ 25 w 25"/>
                <a:gd name="T21" fmla="*/ 8 h 11"/>
                <a:gd name="T22" fmla="*/ 22 w 25"/>
                <a:gd name="T23" fmla="*/ 8 h 11"/>
                <a:gd name="T24" fmla="*/ 22 w 25"/>
                <a:gd name="T25" fmla="*/ 8 h 11"/>
                <a:gd name="T26" fmla="*/ 22 w 25"/>
                <a:gd name="T27" fmla="*/ 8 h 11"/>
                <a:gd name="T28" fmla="*/ 19 w 25"/>
                <a:gd name="T29" fmla="*/ 8 h 11"/>
                <a:gd name="T30" fmla="*/ 19 w 25"/>
                <a:gd name="T31" fmla="*/ 8 h 11"/>
                <a:gd name="T32" fmla="*/ 19 w 25"/>
                <a:gd name="T33" fmla="*/ 6 h 11"/>
                <a:gd name="T34" fmla="*/ 19 w 25"/>
                <a:gd name="T35" fmla="*/ 6 h 11"/>
                <a:gd name="T36" fmla="*/ 19 w 25"/>
                <a:gd name="T37" fmla="*/ 6 h 11"/>
                <a:gd name="T38" fmla="*/ 16 w 25"/>
                <a:gd name="T39" fmla="*/ 8 h 11"/>
                <a:gd name="T40" fmla="*/ 16 w 25"/>
                <a:gd name="T41" fmla="*/ 8 h 11"/>
                <a:gd name="T42" fmla="*/ 14 w 25"/>
                <a:gd name="T43" fmla="*/ 8 h 11"/>
                <a:gd name="T44" fmla="*/ 14 w 25"/>
                <a:gd name="T45" fmla="*/ 9 h 11"/>
                <a:gd name="T46" fmla="*/ 14 w 25"/>
                <a:gd name="T47" fmla="*/ 11 h 11"/>
                <a:gd name="T48" fmla="*/ 14 w 25"/>
                <a:gd name="T49" fmla="*/ 11 h 11"/>
                <a:gd name="T50" fmla="*/ 12 w 25"/>
                <a:gd name="T51" fmla="*/ 9 h 11"/>
                <a:gd name="T52" fmla="*/ 11 w 25"/>
                <a:gd name="T53" fmla="*/ 9 h 11"/>
                <a:gd name="T54" fmla="*/ 11 w 25"/>
                <a:gd name="T55" fmla="*/ 9 h 11"/>
                <a:gd name="T56" fmla="*/ 8 w 25"/>
                <a:gd name="T57" fmla="*/ 8 h 11"/>
                <a:gd name="T58" fmla="*/ 4 w 25"/>
                <a:gd name="T59" fmla="*/ 8 h 11"/>
                <a:gd name="T60" fmla="*/ 4 w 25"/>
                <a:gd name="T61" fmla="*/ 8 h 11"/>
                <a:gd name="T62" fmla="*/ 4 w 25"/>
                <a:gd name="T63" fmla="*/ 5 h 11"/>
                <a:gd name="T64" fmla="*/ 4 w 25"/>
                <a:gd name="T65" fmla="*/ 5 h 11"/>
                <a:gd name="T66" fmla="*/ 1 w 25"/>
                <a:gd name="T67" fmla="*/ 3 h 11"/>
                <a:gd name="T68" fmla="*/ 0 w 25"/>
                <a:gd name="T69" fmla="*/ 3 h 11"/>
                <a:gd name="T70" fmla="*/ 0 w 25"/>
                <a:gd name="T71" fmla="*/ 3 h 11"/>
                <a:gd name="T72" fmla="*/ 0 w 25"/>
                <a:gd name="T73" fmla="*/ 3 h 11"/>
                <a:gd name="T74" fmla="*/ 0 w 25"/>
                <a:gd name="T75" fmla="*/ 3 h 11"/>
                <a:gd name="T76" fmla="*/ 0 w 25"/>
                <a:gd name="T77" fmla="*/ 3 h 11"/>
                <a:gd name="T78" fmla="*/ 0 w 25"/>
                <a:gd name="T79" fmla="*/ 3 h 11"/>
                <a:gd name="T80" fmla="*/ 0 w 25"/>
                <a:gd name="T81" fmla="*/ 3 h 11"/>
                <a:gd name="T82" fmla="*/ 0 w 25"/>
                <a:gd name="T83" fmla="*/ 3 h 11"/>
                <a:gd name="T84" fmla="*/ 0 w 25"/>
                <a:gd name="T85" fmla="*/ 3 h 11"/>
                <a:gd name="T86" fmla="*/ 0 w 25"/>
                <a:gd name="T8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 h="11">
                  <a:moveTo>
                    <a:pt x="0" y="3"/>
                  </a:moveTo>
                  <a:lnTo>
                    <a:pt x="0" y="3"/>
                  </a:lnTo>
                  <a:lnTo>
                    <a:pt x="3" y="0"/>
                  </a:lnTo>
                  <a:lnTo>
                    <a:pt x="4" y="0"/>
                  </a:lnTo>
                  <a:lnTo>
                    <a:pt x="14" y="0"/>
                  </a:lnTo>
                  <a:lnTo>
                    <a:pt x="14" y="0"/>
                  </a:lnTo>
                  <a:lnTo>
                    <a:pt x="22" y="3"/>
                  </a:lnTo>
                  <a:lnTo>
                    <a:pt x="22" y="3"/>
                  </a:lnTo>
                  <a:lnTo>
                    <a:pt x="25" y="5"/>
                  </a:lnTo>
                  <a:lnTo>
                    <a:pt x="25" y="8"/>
                  </a:lnTo>
                  <a:lnTo>
                    <a:pt x="25" y="8"/>
                  </a:lnTo>
                  <a:lnTo>
                    <a:pt x="22" y="8"/>
                  </a:lnTo>
                  <a:lnTo>
                    <a:pt x="22" y="8"/>
                  </a:lnTo>
                  <a:lnTo>
                    <a:pt x="22" y="8"/>
                  </a:lnTo>
                  <a:lnTo>
                    <a:pt x="19" y="8"/>
                  </a:lnTo>
                  <a:lnTo>
                    <a:pt x="19" y="8"/>
                  </a:lnTo>
                  <a:lnTo>
                    <a:pt x="19" y="6"/>
                  </a:lnTo>
                  <a:lnTo>
                    <a:pt x="19" y="6"/>
                  </a:lnTo>
                  <a:lnTo>
                    <a:pt x="19" y="6"/>
                  </a:lnTo>
                  <a:lnTo>
                    <a:pt x="16" y="8"/>
                  </a:lnTo>
                  <a:lnTo>
                    <a:pt x="16" y="8"/>
                  </a:lnTo>
                  <a:lnTo>
                    <a:pt x="14" y="8"/>
                  </a:lnTo>
                  <a:lnTo>
                    <a:pt x="14" y="9"/>
                  </a:lnTo>
                  <a:lnTo>
                    <a:pt x="14" y="11"/>
                  </a:lnTo>
                  <a:lnTo>
                    <a:pt x="14" y="11"/>
                  </a:lnTo>
                  <a:lnTo>
                    <a:pt x="12" y="9"/>
                  </a:lnTo>
                  <a:lnTo>
                    <a:pt x="11" y="9"/>
                  </a:lnTo>
                  <a:lnTo>
                    <a:pt x="11" y="9"/>
                  </a:lnTo>
                  <a:lnTo>
                    <a:pt x="8" y="8"/>
                  </a:lnTo>
                  <a:lnTo>
                    <a:pt x="4" y="8"/>
                  </a:lnTo>
                  <a:lnTo>
                    <a:pt x="4" y="8"/>
                  </a:lnTo>
                  <a:lnTo>
                    <a:pt x="4" y="5"/>
                  </a:lnTo>
                  <a:lnTo>
                    <a:pt x="4" y="5"/>
                  </a:lnTo>
                  <a:lnTo>
                    <a:pt x="1" y="3"/>
                  </a:lnTo>
                  <a:lnTo>
                    <a:pt x="0" y="3"/>
                  </a:lnTo>
                  <a:lnTo>
                    <a:pt x="0" y="3"/>
                  </a:lnTo>
                  <a:lnTo>
                    <a:pt x="0" y="3"/>
                  </a:lnTo>
                  <a:lnTo>
                    <a:pt x="0" y="3"/>
                  </a:lnTo>
                  <a:lnTo>
                    <a:pt x="0" y="3"/>
                  </a:lnTo>
                  <a:lnTo>
                    <a:pt x="0" y="3"/>
                  </a:lnTo>
                  <a:lnTo>
                    <a:pt x="0" y="3"/>
                  </a:lnTo>
                  <a:lnTo>
                    <a:pt x="0" y="3"/>
                  </a:lnTo>
                  <a:lnTo>
                    <a:pt x="0" y="3"/>
                  </a:lnTo>
                  <a:lnTo>
                    <a:pt x="0"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4" name="Freeform 18">
              <a:extLst>
                <a:ext uri="{FF2B5EF4-FFF2-40B4-BE49-F238E27FC236}">
                  <a16:creationId xmlns:a16="http://schemas.microsoft.com/office/drawing/2014/main" id="{E0981A4D-F3AD-CCD0-0CF1-2E3C489C1D4E}"/>
                </a:ext>
              </a:extLst>
            </p:cNvPr>
            <p:cNvSpPr>
              <a:spLocks/>
            </p:cNvSpPr>
            <p:nvPr/>
          </p:nvSpPr>
          <p:spPr bwMode="auto">
            <a:xfrm>
              <a:off x="3884992" y="3432938"/>
              <a:ext cx="42619" cy="17945"/>
            </a:xfrm>
            <a:custGeom>
              <a:avLst/>
              <a:gdLst>
                <a:gd name="T0" fmla="*/ 15 w 19"/>
                <a:gd name="T1" fmla="*/ 6 h 8"/>
                <a:gd name="T2" fmla="*/ 15 w 19"/>
                <a:gd name="T3" fmla="*/ 6 h 8"/>
                <a:gd name="T4" fmla="*/ 8 w 19"/>
                <a:gd name="T5" fmla="*/ 8 h 8"/>
                <a:gd name="T6" fmla="*/ 2 w 19"/>
                <a:gd name="T7" fmla="*/ 6 h 8"/>
                <a:gd name="T8" fmla="*/ 2 w 19"/>
                <a:gd name="T9" fmla="*/ 6 h 8"/>
                <a:gd name="T10" fmla="*/ 2 w 19"/>
                <a:gd name="T11" fmla="*/ 6 h 8"/>
                <a:gd name="T12" fmla="*/ 0 w 19"/>
                <a:gd name="T13" fmla="*/ 6 h 8"/>
                <a:gd name="T14" fmla="*/ 0 w 19"/>
                <a:gd name="T15" fmla="*/ 5 h 8"/>
                <a:gd name="T16" fmla="*/ 0 w 19"/>
                <a:gd name="T17" fmla="*/ 5 h 8"/>
                <a:gd name="T18" fmla="*/ 2 w 19"/>
                <a:gd name="T19" fmla="*/ 3 h 8"/>
                <a:gd name="T20" fmla="*/ 2 w 19"/>
                <a:gd name="T21" fmla="*/ 3 h 8"/>
                <a:gd name="T22" fmla="*/ 0 w 19"/>
                <a:gd name="T23" fmla="*/ 3 h 8"/>
                <a:gd name="T24" fmla="*/ 0 w 19"/>
                <a:gd name="T25" fmla="*/ 0 h 8"/>
                <a:gd name="T26" fmla="*/ 0 w 19"/>
                <a:gd name="T27" fmla="*/ 0 h 8"/>
                <a:gd name="T28" fmla="*/ 0 w 19"/>
                <a:gd name="T29" fmla="*/ 0 h 8"/>
                <a:gd name="T30" fmla="*/ 2 w 19"/>
                <a:gd name="T31" fmla="*/ 0 h 8"/>
                <a:gd name="T32" fmla="*/ 8 w 19"/>
                <a:gd name="T33" fmla="*/ 0 h 8"/>
                <a:gd name="T34" fmla="*/ 15 w 19"/>
                <a:gd name="T35" fmla="*/ 0 h 8"/>
                <a:gd name="T36" fmla="*/ 15 w 19"/>
                <a:gd name="T37" fmla="*/ 0 h 8"/>
                <a:gd name="T38" fmla="*/ 18 w 19"/>
                <a:gd name="T39" fmla="*/ 0 h 8"/>
                <a:gd name="T40" fmla="*/ 19 w 19"/>
                <a:gd name="T41" fmla="*/ 0 h 8"/>
                <a:gd name="T42" fmla="*/ 19 w 19"/>
                <a:gd name="T43" fmla="*/ 3 h 8"/>
                <a:gd name="T44" fmla="*/ 19 w 19"/>
                <a:gd name="T45" fmla="*/ 3 h 8"/>
                <a:gd name="T46" fmla="*/ 18 w 19"/>
                <a:gd name="T47" fmla="*/ 5 h 8"/>
                <a:gd name="T48" fmla="*/ 15 w 19"/>
                <a:gd name="T49" fmla="*/ 6 h 8"/>
                <a:gd name="T50" fmla="*/ 15 w 19"/>
                <a:gd name="T51" fmla="*/ 6 h 8"/>
                <a:gd name="T52" fmla="*/ 15 w 19"/>
                <a:gd name="T53" fmla="*/ 6 h 8"/>
                <a:gd name="T54" fmla="*/ 15 w 19"/>
                <a:gd name="T55" fmla="*/ 6 h 8"/>
                <a:gd name="T56" fmla="*/ 15 w 19"/>
                <a:gd name="T57" fmla="*/ 6 h 8"/>
                <a:gd name="T58" fmla="*/ 15 w 19"/>
                <a:gd name="T59" fmla="*/ 6 h 8"/>
                <a:gd name="T60" fmla="*/ 15 w 19"/>
                <a:gd name="T61" fmla="*/ 6 h 8"/>
                <a:gd name="T62" fmla="*/ 15 w 19"/>
                <a:gd name="T63" fmla="*/ 6 h 8"/>
                <a:gd name="T64" fmla="*/ 15 w 19"/>
                <a:gd name="T65" fmla="*/ 6 h 8"/>
                <a:gd name="T66" fmla="*/ 15 w 19"/>
                <a:gd name="T6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8">
                  <a:moveTo>
                    <a:pt x="15" y="6"/>
                  </a:moveTo>
                  <a:lnTo>
                    <a:pt x="15" y="6"/>
                  </a:lnTo>
                  <a:lnTo>
                    <a:pt x="8" y="8"/>
                  </a:lnTo>
                  <a:lnTo>
                    <a:pt x="2" y="6"/>
                  </a:lnTo>
                  <a:lnTo>
                    <a:pt x="2" y="6"/>
                  </a:lnTo>
                  <a:lnTo>
                    <a:pt x="2" y="6"/>
                  </a:lnTo>
                  <a:lnTo>
                    <a:pt x="0" y="6"/>
                  </a:lnTo>
                  <a:lnTo>
                    <a:pt x="0" y="5"/>
                  </a:lnTo>
                  <a:lnTo>
                    <a:pt x="0" y="5"/>
                  </a:lnTo>
                  <a:lnTo>
                    <a:pt x="2" y="3"/>
                  </a:lnTo>
                  <a:lnTo>
                    <a:pt x="2" y="3"/>
                  </a:lnTo>
                  <a:lnTo>
                    <a:pt x="0" y="3"/>
                  </a:lnTo>
                  <a:lnTo>
                    <a:pt x="0" y="0"/>
                  </a:lnTo>
                  <a:lnTo>
                    <a:pt x="0" y="0"/>
                  </a:lnTo>
                  <a:lnTo>
                    <a:pt x="0" y="0"/>
                  </a:lnTo>
                  <a:lnTo>
                    <a:pt x="2" y="0"/>
                  </a:lnTo>
                  <a:lnTo>
                    <a:pt x="8" y="0"/>
                  </a:lnTo>
                  <a:lnTo>
                    <a:pt x="15" y="0"/>
                  </a:lnTo>
                  <a:lnTo>
                    <a:pt x="15" y="0"/>
                  </a:lnTo>
                  <a:lnTo>
                    <a:pt x="18" y="0"/>
                  </a:lnTo>
                  <a:lnTo>
                    <a:pt x="19" y="0"/>
                  </a:lnTo>
                  <a:lnTo>
                    <a:pt x="19" y="3"/>
                  </a:lnTo>
                  <a:lnTo>
                    <a:pt x="19" y="3"/>
                  </a:lnTo>
                  <a:lnTo>
                    <a:pt x="18" y="5"/>
                  </a:lnTo>
                  <a:lnTo>
                    <a:pt x="15" y="6"/>
                  </a:lnTo>
                  <a:lnTo>
                    <a:pt x="15" y="6"/>
                  </a:lnTo>
                  <a:lnTo>
                    <a:pt x="15" y="6"/>
                  </a:lnTo>
                  <a:lnTo>
                    <a:pt x="15" y="6"/>
                  </a:lnTo>
                  <a:lnTo>
                    <a:pt x="15" y="6"/>
                  </a:lnTo>
                  <a:lnTo>
                    <a:pt x="15" y="6"/>
                  </a:lnTo>
                  <a:lnTo>
                    <a:pt x="15" y="6"/>
                  </a:lnTo>
                  <a:lnTo>
                    <a:pt x="15" y="6"/>
                  </a:lnTo>
                  <a:lnTo>
                    <a:pt x="15" y="6"/>
                  </a:lnTo>
                  <a:lnTo>
                    <a:pt x="15" y="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5" name="Freeform 56">
              <a:extLst>
                <a:ext uri="{FF2B5EF4-FFF2-40B4-BE49-F238E27FC236}">
                  <a16:creationId xmlns:a16="http://schemas.microsoft.com/office/drawing/2014/main" id="{3F9EA210-0590-36B1-276E-DDBE61ADE249}"/>
                </a:ext>
              </a:extLst>
            </p:cNvPr>
            <p:cNvSpPr>
              <a:spLocks noEditPoints="1"/>
            </p:cNvSpPr>
            <p:nvPr/>
          </p:nvSpPr>
          <p:spPr bwMode="auto">
            <a:xfrm>
              <a:off x="4033035" y="3480043"/>
              <a:ext cx="26917" cy="91966"/>
            </a:xfrm>
            <a:custGeom>
              <a:avLst/>
              <a:gdLst>
                <a:gd name="T0" fmla="*/ 0 w 12"/>
                <a:gd name="T1" fmla="*/ 0 h 41"/>
                <a:gd name="T2" fmla="*/ 0 w 12"/>
                <a:gd name="T3" fmla="*/ 1 h 41"/>
                <a:gd name="T4" fmla="*/ 1 w 12"/>
                <a:gd name="T5" fmla="*/ 0 h 41"/>
                <a:gd name="T6" fmla="*/ 1 w 12"/>
                <a:gd name="T7" fmla="*/ 0 h 41"/>
                <a:gd name="T8" fmla="*/ 1 w 12"/>
                <a:gd name="T9" fmla="*/ 0 h 41"/>
                <a:gd name="T10" fmla="*/ 1 w 12"/>
                <a:gd name="T11" fmla="*/ 0 h 41"/>
                <a:gd name="T12" fmla="*/ 1 w 12"/>
                <a:gd name="T13" fmla="*/ 0 h 41"/>
                <a:gd name="T14" fmla="*/ 11 w 12"/>
                <a:gd name="T15" fmla="*/ 28 h 41"/>
                <a:gd name="T16" fmla="*/ 9 w 12"/>
                <a:gd name="T17" fmla="*/ 27 h 41"/>
                <a:gd name="T18" fmla="*/ 12 w 12"/>
                <a:gd name="T19" fmla="*/ 31 h 41"/>
                <a:gd name="T20" fmla="*/ 12 w 12"/>
                <a:gd name="T21" fmla="*/ 31 h 41"/>
                <a:gd name="T22" fmla="*/ 12 w 12"/>
                <a:gd name="T23" fmla="*/ 31 h 41"/>
                <a:gd name="T24" fmla="*/ 12 w 12"/>
                <a:gd name="T25" fmla="*/ 31 h 41"/>
                <a:gd name="T26" fmla="*/ 12 w 12"/>
                <a:gd name="T27" fmla="*/ 31 h 41"/>
                <a:gd name="T28" fmla="*/ 9 w 12"/>
                <a:gd name="T29" fmla="*/ 19 h 41"/>
                <a:gd name="T30" fmla="*/ 7 w 12"/>
                <a:gd name="T31" fmla="*/ 20 h 41"/>
                <a:gd name="T32" fmla="*/ 9 w 12"/>
                <a:gd name="T33" fmla="*/ 22 h 41"/>
                <a:gd name="T34" fmla="*/ 9 w 12"/>
                <a:gd name="T35" fmla="*/ 20 h 41"/>
                <a:gd name="T36" fmla="*/ 9 w 12"/>
                <a:gd name="T37" fmla="*/ 20 h 41"/>
                <a:gd name="T38" fmla="*/ 9 w 12"/>
                <a:gd name="T39" fmla="*/ 20 h 41"/>
                <a:gd name="T40" fmla="*/ 9 w 12"/>
                <a:gd name="T41" fmla="*/ 20 h 41"/>
                <a:gd name="T42" fmla="*/ 7 w 12"/>
                <a:gd name="T43" fmla="*/ 7 h 41"/>
                <a:gd name="T44" fmla="*/ 6 w 12"/>
                <a:gd name="T45" fmla="*/ 6 h 41"/>
                <a:gd name="T46" fmla="*/ 1 w 12"/>
                <a:gd name="T47" fmla="*/ 7 h 41"/>
                <a:gd name="T48" fmla="*/ 0 w 12"/>
                <a:gd name="T49" fmla="*/ 12 h 41"/>
                <a:gd name="T50" fmla="*/ 3 w 12"/>
                <a:gd name="T51" fmla="*/ 11 h 41"/>
                <a:gd name="T52" fmla="*/ 7 w 12"/>
                <a:gd name="T53" fmla="*/ 9 h 41"/>
                <a:gd name="T54" fmla="*/ 7 w 12"/>
                <a:gd name="T55" fmla="*/ 7 h 41"/>
                <a:gd name="T56" fmla="*/ 7 w 12"/>
                <a:gd name="T57" fmla="*/ 7 h 41"/>
                <a:gd name="T58" fmla="*/ 7 w 12"/>
                <a:gd name="T59" fmla="*/ 7 h 41"/>
                <a:gd name="T60" fmla="*/ 7 w 12"/>
                <a:gd name="T61" fmla="*/ 7 h 41"/>
                <a:gd name="T62" fmla="*/ 12 w 12"/>
                <a:gd name="T63" fmla="*/ 41 h 41"/>
                <a:gd name="T64" fmla="*/ 12 w 12"/>
                <a:gd name="T65" fmla="*/ 38 h 41"/>
                <a:gd name="T66" fmla="*/ 11 w 12"/>
                <a:gd name="T67" fmla="*/ 41 h 41"/>
                <a:gd name="T68" fmla="*/ 12 w 12"/>
                <a:gd name="T69" fmla="*/ 41 h 41"/>
                <a:gd name="T70" fmla="*/ 12 w 12"/>
                <a:gd name="T71" fmla="*/ 41 h 41"/>
                <a:gd name="T72" fmla="*/ 12 w 12"/>
                <a:gd name="T73" fmla="*/ 41 h 41"/>
                <a:gd name="T74" fmla="*/ 12 w 12"/>
                <a:gd name="T7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41">
                  <a:moveTo>
                    <a:pt x="1" y="0"/>
                  </a:moveTo>
                  <a:lnTo>
                    <a:pt x="0" y="0"/>
                  </a:lnTo>
                  <a:lnTo>
                    <a:pt x="0" y="1"/>
                  </a:lnTo>
                  <a:lnTo>
                    <a:pt x="0" y="1"/>
                  </a:lnTo>
                  <a:lnTo>
                    <a:pt x="1" y="1"/>
                  </a:lnTo>
                  <a:lnTo>
                    <a:pt x="1" y="0"/>
                  </a:lnTo>
                  <a:lnTo>
                    <a:pt x="1" y="0"/>
                  </a:lnTo>
                  <a:lnTo>
                    <a:pt x="1" y="0"/>
                  </a:lnTo>
                  <a:lnTo>
                    <a:pt x="1" y="0"/>
                  </a:lnTo>
                  <a:lnTo>
                    <a:pt x="1" y="0"/>
                  </a:lnTo>
                  <a:lnTo>
                    <a:pt x="1" y="0"/>
                  </a:lnTo>
                  <a:lnTo>
                    <a:pt x="1" y="0"/>
                  </a:lnTo>
                  <a:lnTo>
                    <a:pt x="1" y="0"/>
                  </a:lnTo>
                  <a:lnTo>
                    <a:pt x="1" y="0"/>
                  </a:lnTo>
                  <a:close/>
                  <a:moveTo>
                    <a:pt x="12" y="31"/>
                  </a:moveTo>
                  <a:lnTo>
                    <a:pt x="11" y="28"/>
                  </a:lnTo>
                  <a:lnTo>
                    <a:pt x="9" y="27"/>
                  </a:lnTo>
                  <a:lnTo>
                    <a:pt x="9" y="27"/>
                  </a:lnTo>
                  <a:lnTo>
                    <a:pt x="11" y="31"/>
                  </a:lnTo>
                  <a:lnTo>
                    <a:pt x="12" y="31"/>
                  </a:lnTo>
                  <a:lnTo>
                    <a:pt x="12" y="31"/>
                  </a:lnTo>
                  <a:lnTo>
                    <a:pt x="12" y="31"/>
                  </a:lnTo>
                  <a:lnTo>
                    <a:pt x="12" y="31"/>
                  </a:lnTo>
                  <a:lnTo>
                    <a:pt x="12" y="31"/>
                  </a:lnTo>
                  <a:lnTo>
                    <a:pt x="12" y="31"/>
                  </a:lnTo>
                  <a:lnTo>
                    <a:pt x="12" y="31"/>
                  </a:lnTo>
                  <a:lnTo>
                    <a:pt x="12" y="31"/>
                  </a:lnTo>
                  <a:lnTo>
                    <a:pt x="12" y="31"/>
                  </a:lnTo>
                  <a:close/>
                  <a:moveTo>
                    <a:pt x="9" y="20"/>
                  </a:moveTo>
                  <a:lnTo>
                    <a:pt x="9" y="19"/>
                  </a:lnTo>
                  <a:lnTo>
                    <a:pt x="7" y="17"/>
                  </a:lnTo>
                  <a:lnTo>
                    <a:pt x="7" y="20"/>
                  </a:lnTo>
                  <a:lnTo>
                    <a:pt x="7" y="22"/>
                  </a:lnTo>
                  <a:lnTo>
                    <a:pt x="9" y="22"/>
                  </a:lnTo>
                  <a:lnTo>
                    <a:pt x="9" y="20"/>
                  </a:lnTo>
                  <a:lnTo>
                    <a:pt x="9" y="20"/>
                  </a:lnTo>
                  <a:lnTo>
                    <a:pt x="9" y="20"/>
                  </a:lnTo>
                  <a:lnTo>
                    <a:pt x="9" y="20"/>
                  </a:lnTo>
                  <a:lnTo>
                    <a:pt x="9" y="20"/>
                  </a:lnTo>
                  <a:lnTo>
                    <a:pt x="9" y="20"/>
                  </a:lnTo>
                  <a:lnTo>
                    <a:pt x="9" y="20"/>
                  </a:lnTo>
                  <a:lnTo>
                    <a:pt x="9" y="20"/>
                  </a:lnTo>
                  <a:lnTo>
                    <a:pt x="9" y="20"/>
                  </a:lnTo>
                  <a:close/>
                  <a:moveTo>
                    <a:pt x="7" y="7"/>
                  </a:moveTo>
                  <a:lnTo>
                    <a:pt x="6" y="7"/>
                  </a:lnTo>
                  <a:lnTo>
                    <a:pt x="6" y="6"/>
                  </a:lnTo>
                  <a:lnTo>
                    <a:pt x="3" y="7"/>
                  </a:lnTo>
                  <a:lnTo>
                    <a:pt x="1" y="7"/>
                  </a:lnTo>
                  <a:lnTo>
                    <a:pt x="0" y="11"/>
                  </a:lnTo>
                  <a:lnTo>
                    <a:pt x="0" y="12"/>
                  </a:lnTo>
                  <a:lnTo>
                    <a:pt x="3" y="12"/>
                  </a:lnTo>
                  <a:lnTo>
                    <a:pt x="3" y="11"/>
                  </a:lnTo>
                  <a:lnTo>
                    <a:pt x="6" y="11"/>
                  </a:lnTo>
                  <a:lnTo>
                    <a:pt x="7" y="9"/>
                  </a:lnTo>
                  <a:lnTo>
                    <a:pt x="7" y="7"/>
                  </a:lnTo>
                  <a:lnTo>
                    <a:pt x="7" y="7"/>
                  </a:lnTo>
                  <a:lnTo>
                    <a:pt x="7" y="7"/>
                  </a:lnTo>
                  <a:lnTo>
                    <a:pt x="7" y="7"/>
                  </a:lnTo>
                  <a:lnTo>
                    <a:pt x="7" y="7"/>
                  </a:lnTo>
                  <a:lnTo>
                    <a:pt x="7" y="7"/>
                  </a:lnTo>
                  <a:lnTo>
                    <a:pt x="7" y="7"/>
                  </a:lnTo>
                  <a:lnTo>
                    <a:pt x="7" y="7"/>
                  </a:lnTo>
                  <a:lnTo>
                    <a:pt x="7" y="7"/>
                  </a:lnTo>
                  <a:close/>
                  <a:moveTo>
                    <a:pt x="12" y="41"/>
                  </a:moveTo>
                  <a:lnTo>
                    <a:pt x="12" y="41"/>
                  </a:lnTo>
                  <a:lnTo>
                    <a:pt x="12" y="38"/>
                  </a:lnTo>
                  <a:lnTo>
                    <a:pt x="12" y="38"/>
                  </a:lnTo>
                  <a:lnTo>
                    <a:pt x="11" y="41"/>
                  </a:lnTo>
                  <a:lnTo>
                    <a:pt x="12" y="41"/>
                  </a:lnTo>
                  <a:lnTo>
                    <a:pt x="12" y="41"/>
                  </a:lnTo>
                  <a:lnTo>
                    <a:pt x="12" y="41"/>
                  </a:lnTo>
                  <a:lnTo>
                    <a:pt x="12" y="41"/>
                  </a:lnTo>
                  <a:lnTo>
                    <a:pt x="12" y="41"/>
                  </a:lnTo>
                  <a:lnTo>
                    <a:pt x="12" y="41"/>
                  </a:lnTo>
                  <a:lnTo>
                    <a:pt x="12" y="41"/>
                  </a:lnTo>
                  <a:lnTo>
                    <a:pt x="12" y="41"/>
                  </a:lnTo>
                  <a:lnTo>
                    <a:pt x="12" y="4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6" name="Freeform 61">
              <a:extLst>
                <a:ext uri="{FF2B5EF4-FFF2-40B4-BE49-F238E27FC236}">
                  <a16:creationId xmlns:a16="http://schemas.microsoft.com/office/drawing/2014/main" id="{E3D0673A-83BB-31FF-4EC5-858543976A56}"/>
                </a:ext>
              </a:extLst>
            </p:cNvPr>
            <p:cNvSpPr>
              <a:spLocks/>
            </p:cNvSpPr>
            <p:nvPr/>
          </p:nvSpPr>
          <p:spPr bwMode="auto">
            <a:xfrm>
              <a:off x="3945555" y="3444153"/>
              <a:ext cx="8972" cy="2244"/>
            </a:xfrm>
            <a:custGeom>
              <a:avLst/>
              <a:gdLst>
                <a:gd name="T0" fmla="*/ 4 w 4"/>
                <a:gd name="T1" fmla="*/ 0 h 1"/>
                <a:gd name="T2" fmla="*/ 0 w 4"/>
                <a:gd name="T3" fmla="*/ 0 h 1"/>
                <a:gd name="T4" fmla="*/ 0 w 4"/>
                <a:gd name="T5" fmla="*/ 1 h 1"/>
                <a:gd name="T6" fmla="*/ 4 w 4"/>
                <a:gd name="T7" fmla="*/ 1 h 1"/>
                <a:gd name="T8" fmla="*/ 4 w 4"/>
                <a:gd name="T9" fmla="*/ 0 h 1"/>
                <a:gd name="T10" fmla="*/ 4 w 4"/>
                <a:gd name="T11" fmla="*/ 0 h 1"/>
                <a:gd name="T12" fmla="*/ 4 w 4"/>
                <a:gd name="T13" fmla="*/ 0 h 1"/>
                <a:gd name="T14" fmla="*/ 4 w 4"/>
                <a:gd name="T15" fmla="*/ 0 h 1"/>
                <a:gd name="T16" fmla="*/ 4 w 4"/>
                <a:gd name="T17" fmla="*/ 0 h 1"/>
                <a:gd name="T18" fmla="*/ 4 w 4"/>
                <a:gd name="T19" fmla="*/ 0 h 1"/>
                <a:gd name="T20" fmla="*/ 4 w 4"/>
                <a:gd name="T21" fmla="*/ 0 h 1"/>
                <a:gd name="T22" fmla="*/ 4 w 4"/>
                <a:gd name="T23" fmla="*/ 0 h 1"/>
                <a:gd name="T24" fmla="*/ 4 w 4"/>
                <a:gd name="T25" fmla="*/ 0 h 1"/>
                <a:gd name="T26" fmla="*/ 4 w 4"/>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
                  <a:moveTo>
                    <a:pt x="4" y="0"/>
                  </a:moveTo>
                  <a:lnTo>
                    <a:pt x="0" y="0"/>
                  </a:lnTo>
                  <a:lnTo>
                    <a:pt x="0" y="1"/>
                  </a:lnTo>
                  <a:lnTo>
                    <a:pt x="4" y="1"/>
                  </a:lnTo>
                  <a:lnTo>
                    <a:pt x="4" y="0"/>
                  </a:lnTo>
                  <a:lnTo>
                    <a:pt x="4" y="0"/>
                  </a:lnTo>
                  <a:lnTo>
                    <a:pt x="4" y="0"/>
                  </a:lnTo>
                  <a:lnTo>
                    <a:pt x="4" y="0"/>
                  </a:lnTo>
                  <a:lnTo>
                    <a:pt x="4" y="0"/>
                  </a:lnTo>
                  <a:lnTo>
                    <a:pt x="4" y="0"/>
                  </a:lnTo>
                  <a:lnTo>
                    <a:pt x="4" y="0"/>
                  </a:lnTo>
                  <a:lnTo>
                    <a:pt x="4" y="0"/>
                  </a:lnTo>
                  <a:lnTo>
                    <a:pt x="4" y="0"/>
                  </a:lnTo>
                  <a:lnTo>
                    <a:pt x="4" y="0"/>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7" name="Freeform 62">
              <a:extLst>
                <a:ext uri="{FF2B5EF4-FFF2-40B4-BE49-F238E27FC236}">
                  <a16:creationId xmlns:a16="http://schemas.microsoft.com/office/drawing/2014/main" id="{3B82AD86-90C6-B770-76A1-BD68CABBB221}"/>
                </a:ext>
              </a:extLst>
            </p:cNvPr>
            <p:cNvSpPr>
              <a:spLocks noEditPoints="1"/>
            </p:cNvSpPr>
            <p:nvPr/>
          </p:nvSpPr>
          <p:spPr bwMode="auto">
            <a:xfrm>
              <a:off x="3840131" y="3607898"/>
              <a:ext cx="24674" cy="6730"/>
            </a:xfrm>
            <a:custGeom>
              <a:avLst/>
              <a:gdLst>
                <a:gd name="T0" fmla="*/ 1 w 11"/>
                <a:gd name="T1" fmla="*/ 0 h 3"/>
                <a:gd name="T2" fmla="*/ 0 w 11"/>
                <a:gd name="T3" fmla="*/ 0 h 3"/>
                <a:gd name="T4" fmla="*/ 0 w 11"/>
                <a:gd name="T5" fmla="*/ 0 h 3"/>
                <a:gd name="T6" fmla="*/ 1 w 11"/>
                <a:gd name="T7" fmla="*/ 1 h 3"/>
                <a:gd name="T8" fmla="*/ 5 w 11"/>
                <a:gd name="T9" fmla="*/ 3 h 3"/>
                <a:gd name="T10" fmla="*/ 1 w 11"/>
                <a:gd name="T11" fmla="*/ 1 h 3"/>
                <a:gd name="T12" fmla="*/ 1 w 11"/>
                <a:gd name="T13" fmla="*/ 0 h 3"/>
                <a:gd name="T14" fmla="*/ 1 w 11"/>
                <a:gd name="T15" fmla="*/ 0 h 3"/>
                <a:gd name="T16" fmla="*/ 1 w 11"/>
                <a:gd name="T17" fmla="*/ 0 h 3"/>
                <a:gd name="T18" fmla="*/ 1 w 11"/>
                <a:gd name="T19" fmla="*/ 0 h 3"/>
                <a:gd name="T20" fmla="*/ 1 w 11"/>
                <a:gd name="T21" fmla="*/ 0 h 3"/>
                <a:gd name="T22" fmla="*/ 1 w 11"/>
                <a:gd name="T23" fmla="*/ 0 h 3"/>
                <a:gd name="T24" fmla="*/ 1 w 11"/>
                <a:gd name="T25" fmla="*/ 0 h 3"/>
                <a:gd name="T26" fmla="*/ 1 w 11"/>
                <a:gd name="T27" fmla="*/ 0 h 3"/>
                <a:gd name="T28" fmla="*/ 1 w 11"/>
                <a:gd name="T29" fmla="*/ 0 h 3"/>
                <a:gd name="T30" fmla="*/ 11 w 11"/>
                <a:gd name="T31" fmla="*/ 0 h 3"/>
                <a:gd name="T32" fmla="*/ 9 w 11"/>
                <a:gd name="T33" fmla="*/ 0 h 3"/>
                <a:gd name="T34" fmla="*/ 8 w 11"/>
                <a:gd name="T35" fmla="*/ 0 h 3"/>
                <a:gd name="T36" fmla="*/ 8 w 11"/>
                <a:gd name="T37" fmla="*/ 1 h 3"/>
                <a:gd name="T38" fmla="*/ 9 w 11"/>
                <a:gd name="T39" fmla="*/ 1 h 3"/>
                <a:gd name="T40" fmla="*/ 11 w 11"/>
                <a:gd name="T41" fmla="*/ 3 h 3"/>
                <a:gd name="T42" fmla="*/ 11 w 11"/>
                <a:gd name="T43" fmla="*/ 1 h 3"/>
                <a:gd name="T44" fmla="*/ 11 w 11"/>
                <a:gd name="T45" fmla="*/ 0 h 3"/>
                <a:gd name="T46" fmla="*/ 11 w 11"/>
                <a:gd name="T47" fmla="*/ 0 h 3"/>
                <a:gd name="T48" fmla="*/ 11 w 11"/>
                <a:gd name="T49" fmla="*/ 0 h 3"/>
                <a:gd name="T50" fmla="*/ 11 w 11"/>
                <a:gd name="T51" fmla="*/ 0 h 3"/>
                <a:gd name="T52" fmla="*/ 11 w 11"/>
                <a:gd name="T53" fmla="*/ 0 h 3"/>
                <a:gd name="T54" fmla="*/ 11 w 11"/>
                <a:gd name="T55" fmla="*/ 0 h 3"/>
                <a:gd name="T56" fmla="*/ 11 w 11"/>
                <a:gd name="T57" fmla="*/ 0 h 3"/>
                <a:gd name="T58" fmla="*/ 11 w 11"/>
                <a:gd name="T59" fmla="*/ 0 h 3"/>
                <a:gd name="T60" fmla="*/ 11 w 11"/>
                <a:gd name="T6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3">
                  <a:moveTo>
                    <a:pt x="1" y="0"/>
                  </a:moveTo>
                  <a:lnTo>
                    <a:pt x="0" y="0"/>
                  </a:lnTo>
                  <a:lnTo>
                    <a:pt x="0" y="0"/>
                  </a:lnTo>
                  <a:lnTo>
                    <a:pt x="1" y="1"/>
                  </a:lnTo>
                  <a:lnTo>
                    <a:pt x="5" y="3"/>
                  </a:lnTo>
                  <a:lnTo>
                    <a:pt x="1" y="1"/>
                  </a:lnTo>
                  <a:lnTo>
                    <a:pt x="1" y="0"/>
                  </a:lnTo>
                  <a:lnTo>
                    <a:pt x="1" y="0"/>
                  </a:lnTo>
                  <a:lnTo>
                    <a:pt x="1" y="0"/>
                  </a:lnTo>
                  <a:lnTo>
                    <a:pt x="1" y="0"/>
                  </a:lnTo>
                  <a:lnTo>
                    <a:pt x="1" y="0"/>
                  </a:lnTo>
                  <a:lnTo>
                    <a:pt x="1" y="0"/>
                  </a:lnTo>
                  <a:lnTo>
                    <a:pt x="1" y="0"/>
                  </a:lnTo>
                  <a:lnTo>
                    <a:pt x="1" y="0"/>
                  </a:lnTo>
                  <a:lnTo>
                    <a:pt x="1" y="0"/>
                  </a:lnTo>
                  <a:close/>
                  <a:moveTo>
                    <a:pt x="11" y="0"/>
                  </a:moveTo>
                  <a:lnTo>
                    <a:pt x="9" y="0"/>
                  </a:lnTo>
                  <a:lnTo>
                    <a:pt x="8" y="0"/>
                  </a:lnTo>
                  <a:lnTo>
                    <a:pt x="8" y="1"/>
                  </a:lnTo>
                  <a:lnTo>
                    <a:pt x="9" y="1"/>
                  </a:lnTo>
                  <a:lnTo>
                    <a:pt x="11" y="3"/>
                  </a:lnTo>
                  <a:lnTo>
                    <a:pt x="11" y="1"/>
                  </a:lnTo>
                  <a:lnTo>
                    <a:pt x="11" y="0"/>
                  </a:lnTo>
                  <a:lnTo>
                    <a:pt x="11" y="0"/>
                  </a:lnTo>
                  <a:lnTo>
                    <a:pt x="11" y="0"/>
                  </a:lnTo>
                  <a:lnTo>
                    <a:pt x="11" y="0"/>
                  </a:lnTo>
                  <a:lnTo>
                    <a:pt x="11" y="0"/>
                  </a:lnTo>
                  <a:lnTo>
                    <a:pt x="11" y="0"/>
                  </a:lnTo>
                  <a:lnTo>
                    <a:pt x="11" y="0"/>
                  </a:lnTo>
                  <a:lnTo>
                    <a:pt x="11" y="0"/>
                  </a:lnTo>
                  <a:lnTo>
                    <a:pt x="11"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8" name="Freeform 23">
              <a:extLst>
                <a:ext uri="{FF2B5EF4-FFF2-40B4-BE49-F238E27FC236}">
                  <a16:creationId xmlns:a16="http://schemas.microsoft.com/office/drawing/2014/main" id="{D22E6240-8ED7-FD35-0BB7-78FC8F1BF5D1}"/>
                </a:ext>
              </a:extLst>
            </p:cNvPr>
            <p:cNvSpPr>
              <a:spLocks/>
            </p:cNvSpPr>
            <p:nvPr/>
          </p:nvSpPr>
          <p:spPr bwMode="auto">
            <a:xfrm>
              <a:off x="3223286" y="3565279"/>
              <a:ext cx="67292" cy="38133"/>
            </a:xfrm>
            <a:custGeom>
              <a:avLst/>
              <a:gdLst>
                <a:gd name="T0" fmla="*/ 30 w 30"/>
                <a:gd name="T1" fmla="*/ 6 h 17"/>
                <a:gd name="T2" fmla="*/ 29 w 30"/>
                <a:gd name="T3" fmla="*/ 6 h 17"/>
                <a:gd name="T4" fmla="*/ 27 w 30"/>
                <a:gd name="T5" fmla="*/ 6 h 17"/>
                <a:gd name="T6" fmla="*/ 26 w 30"/>
                <a:gd name="T7" fmla="*/ 6 h 17"/>
                <a:gd name="T8" fmla="*/ 26 w 30"/>
                <a:gd name="T9" fmla="*/ 4 h 17"/>
                <a:gd name="T10" fmla="*/ 21 w 30"/>
                <a:gd name="T11" fmla="*/ 6 h 17"/>
                <a:gd name="T12" fmla="*/ 21 w 30"/>
                <a:gd name="T13" fmla="*/ 4 h 17"/>
                <a:gd name="T14" fmla="*/ 18 w 30"/>
                <a:gd name="T15" fmla="*/ 3 h 17"/>
                <a:gd name="T16" fmla="*/ 18 w 30"/>
                <a:gd name="T17" fmla="*/ 1 h 17"/>
                <a:gd name="T18" fmla="*/ 11 w 30"/>
                <a:gd name="T19" fmla="*/ 0 h 17"/>
                <a:gd name="T20" fmla="*/ 10 w 30"/>
                <a:gd name="T21" fmla="*/ 0 h 17"/>
                <a:gd name="T22" fmla="*/ 6 w 30"/>
                <a:gd name="T23" fmla="*/ 0 h 17"/>
                <a:gd name="T24" fmla="*/ 6 w 30"/>
                <a:gd name="T25" fmla="*/ 1 h 17"/>
                <a:gd name="T26" fmla="*/ 3 w 30"/>
                <a:gd name="T27" fmla="*/ 4 h 17"/>
                <a:gd name="T28" fmla="*/ 3 w 30"/>
                <a:gd name="T29" fmla="*/ 4 h 17"/>
                <a:gd name="T30" fmla="*/ 0 w 30"/>
                <a:gd name="T31" fmla="*/ 6 h 17"/>
                <a:gd name="T32" fmla="*/ 0 w 30"/>
                <a:gd name="T33" fmla="*/ 6 h 17"/>
                <a:gd name="T34" fmla="*/ 0 w 30"/>
                <a:gd name="T35" fmla="*/ 9 h 17"/>
                <a:gd name="T36" fmla="*/ 3 w 30"/>
                <a:gd name="T37" fmla="*/ 12 h 17"/>
                <a:gd name="T38" fmla="*/ 6 w 30"/>
                <a:gd name="T39" fmla="*/ 12 h 17"/>
                <a:gd name="T40" fmla="*/ 10 w 30"/>
                <a:gd name="T41" fmla="*/ 12 h 17"/>
                <a:gd name="T42" fmla="*/ 14 w 30"/>
                <a:gd name="T43" fmla="*/ 16 h 17"/>
                <a:gd name="T44" fmla="*/ 18 w 30"/>
                <a:gd name="T45" fmla="*/ 16 h 17"/>
                <a:gd name="T46" fmla="*/ 21 w 30"/>
                <a:gd name="T47" fmla="*/ 16 h 17"/>
                <a:gd name="T48" fmla="*/ 21 w 30"/>
                <a:gd name="T49" fmla="*/ 17 h 17"/>
                <a:gd name="T50" fmla="*/ 24 w 30"/>
                <a:gd name="T51" fmla="*/ 17 h 17"/>
                <a:gd name="T52" fmla="*/ 26 w 30"/>
                <a:gd name="T53" fmla="*/ 17 h 17"/>
                <a:gd name="T54" fmla="*/ 27 w 30"/>
                <a:gd name="T55" fmla="*/ 17 h 17"/>
                <a:gd name="T56" fmla="*/ 29 w 30"/>
                <a:gd name="T57" fmla="*/ 16 h 17"/>
                <a:gd name="T58" fmla="*/ 29 w 30"/>
                <a:gd name="T59" fmla="*/ 14 h 17"/>
                <a:gd name="T60" fmla="*/ 29 w 30"/>
                <a:gd name="T61" fmla="*/ 12 h 17"/>
                <a:gd name="T62" fmla="*/ 29 w 30"/>
                <a:gd name="T63" fmla="*/ 12 h 17"/>
                <a:gd name="T64" fmla="*/ 30 w 30"/>
                <a:gd name="T65" fmla="*/ 11 h 17"/>
                <a:gd name="T66" fmla="*/ 30 w 30"/>
                <a:gd name="T67" fmla="*/ 8 h 17"/>
                <a:gd name="T68" fmla="*/ 30 w 30"/>
                <a:gd name="T69" fmla="*/ 6 h 17"/>
                <a:gd name="T70" fmla="*/ 30 w 30"/>
                <a:gd name="T71" fmla="*/ 6 h 17"/>
                <a:gd name="T72" fmla="*/ 30 w 30"/>
                <a:gd name="T73" fmla="*/ 6 h 17"/>
                <a:gd name="T74" fmla="*/ 30 w 30"/>
                <a:gd name="T75" fmla="*/ 6 h 17"/>
                <a:gd name="T76" fmla="*/ 30 w 30"/>
                <a:gd name="T77" fmla="*/ 6 h 17"/>
                <a:gd name="T78" fmla="*/ 30 w 30"/>
                <a:gd name="T79" fmla="*/ 6 h 17"/>
                <a:gd name="T80" fmla="*/ 30 w 30"/>
                <a:gd name="T81" fmla="*/ 6 h 17"/>
                <a:gd name="T82" fmla="*/ 30 w 30"/>
                <a:gd name="T83" fmla="*/ 6 h 17"/>
                <a:gd name="T84" fmla="*/ 30 w 30"/>
                <a:gd name="T85"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 h="17">
                  <a:moveTo>
                    <a:pt x="30" y="6"/>
                  </a:moveTo>
                  <a:lnTo>
                    <a:pt x="29" y="6"/>
                  </a:lnTo>
                  <a:lnTo>
                    <a:pt x="27" y="6"/>
                  </a:lnTo>
                  <a:lnTo>
                    <a:pt x="26" y="6"/>
                  </a:lnTo>
                  <a:lnTo>
                    <a:pt x="26" y="4"/>
                  </a:lnTo>
                  <a:lnTo>
                    <a:pt x="21" y="6"/>
                  </a:lnTo>
                  <a:lnTo>
                    <a:pt x="21" y="4"/>
                  </a:lnTo>
                  <a:lnTo>
                    <a:pt x="18" y="3"/>
                  </a:lnTo>
                  <a:lnTo>
                    <a:pt x="18" y="1"/>
                  </a:lnTo>
                  <a:lnTo>
                    <a:pt x="11" y="0"/>
                  </a:lnTo>
                  <a:lnTo>
                    <a:pt x="10" y="0"/>
                  </a:lnTo>
                  <a:lnTo>
                    <a:pt x="6" y="0"/>
                  </a:lnTo>
                  <a:lnTo>
                    <a:pt x="6" y="1"/>
                  </a:lnTo>
                  <a:lnTo>
                    <a:pt x="3" y="4"/>
                  </a:lnTo>
                  <a:lnTo>
                    <a:pt x="3" y="4"/>
                  </a:lnTo>
                  <a:lnTo>
                    <a:pt x="0" y="6"/>
                  </a:lnTo>
                  <a:lnTo>
                    <a:pt x="0" y="6"/>
                  </a:lnTo>
                  <a:lnTo>
                    <a:pt x="0" y="9"/>
                  </a:lnTo>
                  <a:lnTo>
                    <a:pt x="3" y="12"/>
                  </a:lnTo>
                  <a:lnTo>
                    <a:pt x="6" y="12"/>
                  </a:lnTo>
                  <a:lnTo>
                    <a:pt x="10" y="12"/>
                  </a:lnTo>
                  <a:lnTo>
                    <a:pt x="14" y="16"/>
                  </a:lnTo>
                  <a:lnTo>
                    <a:pt x="18" y="16"/>
                  </a:lnTo>
                  <a:lnTo>
                    <a:pt x="21" y="16"/>
                  </a:lnTo>
                  <a:lnTo>
                    <a:pt x="21" y="17"/>
                  </a:lnTo>
                  <a:lnTo>
                    <a:pt x="24" y="17"/>
                  </a:lnTo>
                  <a:lnTo>
                    <a:pt x="26" y="17"/>
                  </a:lnTo>
                  <a:lnTo>
                    <a:pt x="27" y="17"/>
                  </a:lnTo>
                  <a:lnTo>
                    <a:pt x="29" y="16"/>
                  </a:lnTo>
                  <a:lnTo>
                    <a:pt x="29" y="14"/>
                  </a:lnTo>
                  <a:lnTo>
                    <a:pt x="29" y="12"/>
                  </a:lnTo>
                  <a:lnTo>
                    <a:pt x="29" y="12"/>
                  </a:lnTo>
                  <a:lnTo>
                    <a:pt x="30" y="11"/>
                  </a:lnTo>
                  <a:lnTo>
                    <a:pt x="30" y="8"/>
                  </a:lnTo>
                  <a:lnTo>
                    <a:pt x="30" y="6"/>
                  </a:lnTo>
                  <a:lnTo>
                    <a:pt x="30" y="6"/>
                  </a:lnTo>
                  <a:lnTo>
                    <a:pt x="30" y="6"/>
                  </a:lnTo>
                  <a:lnTo>
                    <a:pt x="30" y="6"/>
                  </a:lnTo>
                  <a:lnTo>
                    <a:pt x="30" y="6"/>
                  </a:lnTo>
                  <a:lnTo>
                    <a:pt x="30" y="6"/>
                  </a:lnTo>
                  <a:lnTo>
                    <a:pt x="30" y="6"/>
                  </a:lnTo>
                  <a:lnTo>
                    <a:pt x="30" y="6"/>
                  </a:lnTo>
                  <a:lnTo>
                    <a:pt x="30" y="6"/>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39" name="Freeform 21">
              <a:extLst>
                <a:ext uri="{FF2B5EF4-FFF2-40B4-BE49-F238E27FC236}">
                  <a16:creationId xmlns:a16="http://schemas.microsoft.com/office/drawing/2014/main" id="{6B4D7324-DFD9-0B5C-6B1F-34F3C9CE2249}"/>
                </a:ext>
              </a:extLst>
            </p:cNvPr>
            <p:cNvSpPr>
              <a:spLocks/>
            </p:cNvSpPr>
            <p:nvPr/>
          </p:nvSpPr>
          <p:spPr bwMode="auto">
            <a:xfrm>
              <a:off x="3254689" y="3432938"/>
              <a:ext cx="42619" cy="85236"/>
            </a:xfrm>
            <a:custGeom>
              <a:avLst/>
              <a:gdLst>
                <a:gd name="T0" fmla="*/ 12 w 19"/>
                <a:gd name="T1" fmla="*/ 3 h 38"/>
                <a:gd name="T2" fmla="*/ 8 w 19"/>
                <a:gd name="T3" fmla="*/ 8 h 38"/>
                <a:gd name="T4" fmla="*/ 7 w 19"/>
                <a:gd name="T5" fmla="*/ 6 h 38"/>
                <a:gd name="T6" fmla="*/ 7 w 19"/>
                <a:gd name="T7" fmla="*/ 8 h 38"/>
                <a:gd name="T8" fmla="*/ 7 w 19"/>
                <a:gd name="T9" fmla="*/ 11 h 38"/>
                <a:gd name="T10" fmla="*/ 5 w 19"/>
                <a:gd name="T11" fmla="*/ 13 h 38"/>
                <a:gd name="T12" fmla="*/ 4 w 19"/>
                <a:gd name="T13" fmla="*/ 19 h 38"/>
                <a:gd name="T14" fmla="*/ 0 w 19"/>
                <a:gd name="T15" fmla="*/ 38 h 38"/>
                <a:gd name="T16" fmla="*/ 4 w 19"/>
                <a:gd name="T17" fmla="*/ 38 h 38"/>
                <a:gd name="T18" fmla="*/ 7 w 19"/>
                <a:gd name="T19" fmla="*/ 35 h 38"/>
                <a:gd name="T20" fmla="*/ 8 w 19"/>
                <a:gd name="T21" fmla="*/ 32 h 38"/>
                <a:gd name="T22" fmla="*/ 12 w 19"/>
                <a:gd name="T23" fmla="*/ 28 h 38"/>
                <a:gd name="T24" fmla="*/ 13 w 19"/>
                <a:gd name="T25" fmla="*/ 25 h 38"/>
                <a:gd name="T26" fmla="*/ 13 w 19"/>
                <a:gd name="T27" fmla="*/ 28 h 38"/>
                <a:gd name="T28" fmla="*/ 15 w 19"/>
                <a:gd name="T29" fmla="*/ 24 h 38"/>
                <a:gd name="T30" fmla="*/ 15 w 19"/>
                <a:gd name="T31" fmla="*/ 19 h 38"/>
                <a:gd name="T32" fmla="*/ 16 w 19"/>
                <a:gd name="T33" fmla="*/ 11 h 38"/>
                <a:gd name="T34" fmla="*/ 18 w 19"/>
                <a:gd name="T35" fmla="*/ 5 h 38"/>
                <a:gd name="T36" fmla="*/ 19 w 19"/>
                <a:gd name="T37" fmla="*/ 3 h 38"/>
                <a:gd name="T38" fmla="*/ 18 w 19"/>
                <a:gd name="T39" fmla="*/ 3 h 38"/>
                <a:gd name="T40" fmla="*/ 16 w 19"/>
                <a:gd name="T41" fmla="*/ 3 h 38"/>
                <a:gd name="T42" fmla="*/ 18 w 19"/>
                <a:gd name="T43" fmla="*/ 0 h 38"/>
                <a:gd name="T44" fmla="*/ 15 w 19"/>
                <a:gd name="T45" fmla="*/ 0 h 38"/>
                <a:gd name="T46" fmla="*/ 12 w 19"/>
                <a:gd name="T47" fmla="*/ 3 h 38"/>
                <a:gd name="T48" fmla="*/ 12 w 19"/>
                <a:gd name="T49" fmla="*/ 3 h 38"/>
                <a:gd name="T50" fmla="*/ 12 w 19"/>
                <a:gd name="T51" fmla="*/ 3 h 38"/>
                <a:gd name="T52" fmla="*/ 12 w 19"/>
                <a:gd name="T53" fmla="*/ 3 h 38"/>
                <a:gd name="T54" fmla="*/ 12 w 19"/>
                <a:gd name="T55" fmla="*/ 3 h 38"/>
                <a:gd name="T56" fmla="*/ 12 w 19"/>
                <a:gd name="T57" fmla="*/ 3 h 38"/>
                <a:gd name="T58" fmla="*/ 12 w 19"/>
                <a:gd name="T59" fmla="*/ 3 h 38"/>
                <a:gd name="T60" fmla="*/ 12 w 19"/>
                <a:gd name="T61" fmla="*/ 3 h 38"/>
                <a:gd name="T62" fmla="*/ 12 w 19"/>
                <a:gd name="T6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38">
                  <a:moveTo>
                    <a:pt x="12" y="3"/>
                  </a:moveTo>
                  <a:lnTo>
                    <a:pt x="8" y="8"/>
                  </a:lnTo>
                  <a:lnTo>
                    <a:pt x="7" y="6"/>
                  </a:lnTo>
                  <a:lnTo>
                    <a:pt x="7" y="8"/>
                  </a:lnTo>
                  <a:lnTo>
                    <a:pt x="7" y="11"/>
                  </a:lnTo>
                  <a:lnTo>
                    <a:pt x="5" y="13"/>
                  </a:lnTo>
                  <a:lnTo>
                    <a:pt x="4" y="19"/>
                  </a:lnTo>
                  <a:lnTo>
                    <a:pt x="0" y="38"/>
                  </a:lnTo>
                  <a:lnTo>
                    <a:pt x="4" y="38"/>
                  </a:lnTo>
                  <a:lnTo>
                    <a:pt x="7" y="35"/>
                  </a:lnTo>
                  <a:lnTo>
                    <a:pt x="8" y="32"/>
                  </a:lnTo>
                  <a:lnTo>
                    <a:pt x="12" y="28"/>
                  </a:lnTo>
                  <a:lnTo>
                    <a:pt x="13" y="25"/>
                  </a:lnTo>
                  <a:lnTo>
                    <a:pt x="13" y="28"/>
                  </a:lnTo>
                  <a:lnTo>
                    <a:pt x="15" y="24"/>
                  </a:lnTo>
                  <a:lnTo>
                    <a:pt x="15" y="19"/>
                  </a:lnTo>
                  <a:lnTo>
                    <a:pt x="16" y="11"/>
                  </a:lnTo>
                  <a:lnTo>
                    <a:pt x="18" y="5"/>
                  </a:lnTo>
                  <a:lnTo>
                    <a:pt x="19" y="3"/>
                  </a:lnTo>
                  <a:lnTo>
                    <a:pt x="18" y="3"/>
                  </a:lnTo>
                  <a:lnTo>
                    <a:pt x="16" y="3"/>
                  </a:lnTo>
                  <a:lnTo>
                    <a:pt x="18" y="0"/>
                  </a:lnTo>
                  <a:lnTo>
                    <a:pt x="15" y="0"/>
                  </a:lnTo>
                  <a:lnTo>
                    <a:pt x="12" y="3"/>
                  </a:lnTo>
                  <a:lnTo>
                    <a:pt x="12" y="3"/>
                  </a:lnTo>
                  <a:lnTo>
                    <a:pt x="12" y="3"/>
                  </a:lnTo>
                  <a:lnTo>
                    <a:pt x="12" y="3"/>
                  </a:lnTo>
                  <a:lnTo>
                    <a:pt x="12" y="3"/>
                  </a:lnTo>
                  <a:lnTo>
                    <a:pt x="12" y="3"/>
                  </a:lnTo>
                  <a:lnTo>
                    <a:pt x="12" y="3"/>
                  </a:lnTo>
                  <a:lnTo>
                    <a:pt x="12" y="3"/>
                  </a:lnTo>
                  <a:lnTo>
                    <a:pt x="12" y="3"/>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0" name="Freeform 24">
              <a:extLst>
                <a:ext uri="{FF2B5EF4-FFF2-40B4-BE49-F238E27FC236}">
                  <a16:creationId xmlns:a16="http://schemas.microsoft.com/office/drawing/2014/main" id="{E26D4B3F-0BFE-DF28-35CE-70289D1A197E}"/>
                </a:ext>
              </a:extLst>
            </p:cNvPr>
            <p:cNvSpPr>
              <a:spLocks noEditPoints="1"/>
            </p:cNvSpPr>
            <p:nvPr/>
          </p:nvSpPr>
          <p:spPr bwMode="auto">
            <a:xfrm>
              <a:off x="3247960" y="3495744"/>
              <a:ext cx="179446" cy="114397"/>
            </a:xfrm>
            <a:custGeom>
              <a:avLst/>
              <a:gdLst>
                <a:gd name="T0" fmla="*/ 38 w 80"/>
                <a:gd name="T1" fmla="*/ 4 h 51"/>
                <a:gd name="T2" fmla="*/ 38 w 80"/>
                <a:gd name="T3" fmla="*/ 0 h 51"/>
                <a:gd name="T4" fmla="*/ 38 w 80"/>
                <a:gd name="T5" fmla="*/ 0 h 51"/>
                <a:gd name="T6" fmla="*/ 38 w 80"/>
                <a:gd name="T7" fmla="*/ 0 h 51"/>
                <a:gd name="T8" fmla="*/ 38 w 80"/>
                <a:gd name="T9" fmla="*/ 0 h 51"/>
                <a:gd name="T10" fmla="*/ 38 w 80"/>
                <a:gd name="T11" fmla="*/ 0 h 51"/>
                <a:gd name="T12" fmla="*/ 76 w 80"/>
                <a:gd name="T13" fmla="*/ 20 h 51"/>
                <a:gd name="T14" fmla="*/ 76 w 80"/>
                <a:gd name="T15" fmla="*/ 20 h 51"/>
                <a:gd name="T16" fmla="*/ 73 w 80"/>
                <a:gd name="T17" fmla="*/ 18 h 51"/>
                <a:gd name="T18" fmla="*/ 70 w 80"/>
                <a:gd name="T19" fmla="*/ 16 h 51"/>
                <a:gd name="T20" fmla="*/ 70 w 80"/>
                <a:gd name="T21" fmla="*/ 18 h 51"/>
                <a:gd name="T22" fmla="*/ 67 w 80"/>
                <a:gd name="T23" fmla="*/ 13 h 51"/>
                <a:gd name="T24" fmla="*/ 73 w 80"/>
                <a:gd name="T25" fmla="*/ 16 h 51"/>
                <a:gd name="T26" fmla="*/ 67 w 80"/>
                <a:gd name="T27" fmla="*/ 10 h 51"/>
                <a:gd name="T28" fmla="*/ 61 w 80"/>
                <a:gd name="T29" fmla="*/ 10 h 51"/>
                <a:gd name="T30" fmla="*/ 57 w 80"/>
                <a:gd name="T31" fmla="*/ 10 h 51"/>
                <a:gd name="T32" fmla="*/ 48 w 80"/>
                <a:gd name="T33" fmla="*/ 7 h 51"/>
                <a:gd name="T34" fmla="*/ 45 w 80"/>
                <a:gd name="T35" fmla="*/ 10 h 51"/>
                <a:gd name="T36" fmla="*/ 38 w 80"/>
                <a:gd name="T37" fmla="*/ 10 h 51"/>
                <a:gd name="T38" fmla="*/ 29 w 80"/>
                <a:gd name="T39" fmla="*/ 10 h 51"/>
                <a:gd name="T40" fmla="*/ 22 w 80"/>
                <a:gd name="T41" fmla="*/ 10 h 51"/>
                <a:gd name="T42" fmla="*/ 18 w 80"/>
                <a:gd name="T43" fmla="*/ 10 h 51"/>
                <a:gd name="T44" fmla="*/ 15 w 80"/>
                <a:gd name="T45" fmla="*/ 12 h 51"/>
                <a:gd name="T46" fmla="*/ 10 w 80"/>
                <a:gd name="T47" fmla="*/ 18 h 51"/>
                <a:gd name="T48" fmla="*/ 3 w 80"/>
                <a:gd name="T49" fmla="*/ 21 h 51"/>
                <a:gd name="T50" fmla="*/ 3 w 80"/>
                <a:gd name="T51" fmla="*/ 26 h 51"/>
                <a:gd name="T52" fmla="*/ 0 w 80"/>
                <a:gd name="T53" fmla="*/ 31 h 51"/>
                <a:gd name="T54" fmla="*/ 7 w 80"/>
                <a:gd name="T55" fmla="*/ 34 h 51"/>
                <a:gd name="T56" fmla="*/ 10 w 80"/>
                <a:gd name="T57" fmla="*/ 37 h 51"/>
                <a:gd name="T58" fmla="*/ 15 w 80"/>
                <a:gd name="T59" fmla="*/ 37 h 51"/>
                <a:gd name="T60" fmla="*/ 18 w 80"/>
                <a:gd name="T61" fmla="*/ 37 h 51"/>
                <a:gd name="T62" fmla="*/ 19 w 80"/>
                <a:gd name="T63" fmla="*/ 39 h 51"/>
                <a:gd name="T64" fmla="*/ 19 w 80"/>
                <a:gd name="T65" fmla="*/ 43 h 51"/>
                <a:gd name="T66" fmla="*/ 22 w 80"/>
                <a:gd name="T67" fmla="*/ 45 h 51"/>
                <a:gd name="T68" fmla="*/ 22 w 80"/>
                <a:gd name="T69" fmla="*/ 48 h 51"/>
                <a:gd name="T70" fmla="*/ 24 w 80"/>
                <a:gd name="T71" fmla="*/ 51 h 51"/>
                <a:gd name="T72" fmla="*/ 29 w 80"/>
                <a:gd name="T73" fmla="*/ 48 h 51"/>
                <a:gd name="T74" fmla="*/ 30 w 80"/>
                <a:gd name="T75" fmla="*/ 47 h 51"/>
                <a:gd name="T76" fmla="*/ 32 w 80"/>
                <a:gd name="T77" fmla="*/ 42 h 51"/>
                <a:gd name="T78" fmla="*/ 34 w 80"/>
                <a:gd name="T79" fmla="*/ 39 h 51"/>
                <a:gd name="T80" fmla="*/ 38 w 80"/>
                <a:gd name="T81" fmla="*/ 39 h 51"/>
                <a:gd name="T82" fmla="*/ 42 w 80"/>
                <a:gd name="T83" fmla="*/ 35 h 51"/>
                <a:gd name="T84" fmla="*/ 45 w 80"/>
                <a:gd name="T85" fmla="*/ 35 h 51"/>
                <a:gd name="T86" fmla="*/ 51 w 80"/>
                <a:gd name="T87" fmla="*/ 31 h 51"/>
                <a:gd name="T88" fmla="*/ 53 w 80"/>
                <a:gd name="T89" fmla="*/ 27 h 51"/>
                <a:gd name="T90" fmla="*/ 56 w 80"/>
                <a:gd name="T91" fmla="*/ 24 h 51"/>
                <a:gd name="T92" fmla="*/ 59 w 80"/>
                <a:gd name="T93" fmla="*/ 24 h 51"/>
                <a:gd name="T94" fmla="*/ 62 w 80"/>
                <a:gd name="T95" fmla="*/ 27 h 51"/>
                <a:gd name="T96" fmla="*/ 73 w 80"/>
                <a:gd name="T97" fmla="*/ 24 h 51"/>
                <a:gd name="T98" fmla="*/ 76 w 80"/>
                <a:gd name="T99" fmla="*/ 23 h 51"/>
                <a:gd name="T100" fmla="*/ 76 w 80"/>
                <a:gd name="T101" fmla="*/ 21 h 51"/>
                <a:gd name="T102" fmla="*/ 76 w 80"/>
                <a:gd name="T103" fmla="*/ 21 h 51"/>
                <a:gd name="T104" fmla="*/ 76 w 80"/>
                <a:gd name="T105" fmla="*/ 21 h 51"/>
                <a:gd name="T106" fmla="*/ 76 w 80"/>
                <a:gd name="T107" fmla="*/ 21 h 51"/>
                <a:gd name="T108" fmla="*/ 76 w 80"/>
                <a:gd name="T109"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 h="51">
                  <a:moveTo>
                    <a:pt x="38" y="0"/>
                  </a:moveTo>
                  <a:lnTo>
                    <a:pt x="38" y="4"/>
                  </a:lnTo>
                  <a:lnTo>
                    <a:pt x="42" y="0"/>
                  </a:lnTo>
                  <a:lnTo>
                    <a:pt x="38" y="0"/>
                  </a:lnTo>
                  <a:lnTo>
                    <a:pt x="38" y="0"/>
                  </a:lnTo>
                  <a:lnTo>
                    <a:pt x="38" y="0"/>
                  </a:lnTo>
                  <a:lnTo>
                    <a:pt x="38" y="0"/>
                  </a:lnTo>
                  <a:lnTo>
                    <a:pt x="38" y="0"/>
                  </a:lnTo>
                  <a:lnTo>
                    <a:pt x="38" y="0"/>
                  </a:lnTo>
                  <a:lnTo>
                    <a:pt x="38" y="0"/>
                  </a:lnTo>
                  <a:lnTo>
                    <a:pt x="38" y="0"/>
                  </a:lnTo>
                  <a:lnTo>
                    <a:pt x="38" y="0"/>
                  </a:lnTo>
                  <a:close/>
                  <a:moveTo>
                    <a:pt x="76" y="21"/>
                  </a:moveTo>
                  <a:lnTo>
                    <a:pt x="76" y="20"/>
                  </a:lnTo>
                  <a:lnTo>
                    <a:pt x="76" y="18"/>
                  </a:lnTo>
                  <a:lnTo>
                    <a:pt x="76" y="20"/>
                  </a:lnTo>
                  <a:lnTo>
                    <a:pt x="73" y="20"/>
                  </a:lnTo>
                  <a:lnTo>
                    <a:pt x="73" y="18"/>
                  </a:lnTo>
                  <a:lnTo>
                    <a:pt x="73" y="18"/>
                  </a:lnTo>
                  <a:lnTo>
                    <a:pt x="70" y="16"/>
                  </a:lnTo>
                  <a:lnTo>
                    <a:pt x="70" y="16"/>
                  </a:lnTo>
                  <a:lnTo>
                    <a:pt x="70" y="18"/>
                  </a:lnTo>
                  <a:lnTo>
                    <a:pt x="68" y="16"/>
                  </a:lnTo>
                  <a:lnTo>
                    <a:pt x="67" y="13"/>
                  </a:lnTo>
                  <a:lnTo>
                    <a:pt x="70" y="15"/>
                  </a:lnTo>
                  <a:lnTo>
                    <a:pt x="73" y="16"/>
                  </a:lnTo>
                  <a:lnTo>
                    <a:pt x="70" y="13"/>
                  </a:lnTo>
                  <a:lnTo>
                    <a:pt x="67" y="10"/>
                  </a:lnTo>
                  <a:lnTo>
                    <a:pt x="64" y="10"/>
                  </a:lnTo>
                  <a:lnTo>
                    <a:pt x="61" y="10"/>
                  </a:lnTo>
                  <a:lnTo>
                    <a:pt x="59" y="7"/>
                  </a:lnTo>
                  <a:lnTo>
                    <a:pt x="57" y="10"/>
                  </a:lnTo>
                  <a:lnTo>
                    <a:pt x="53" y="10"/>
                  </a:lnTo>
                  <a:lnTo>
                    <a:pt x="48" y="7"/>
                  </a:lnTo>
                  <a:lnTo>
                    <a:pt x="45" y="7"/>
                  </a:lnTo>
                  <a:lnTo>
                    <a:pt x="45" y="10"/>
                  </a:lnTo>
                  <a:lnTo>
                    <a:pt x="42" y="10"/>
                  </a:lnTo>
                  <a:lnTo>
                    <a:pt x="38" y="10"/>
                  </a:lnTo>
                  <a:lnTo>
                    <a:pt x="34" y="10"/>
                  </a:lnTo>
                  <a:lnTo>
                    <a:pt x="29" y="10"/>
                  </a:lnTo>
                  <a:lnTo>
                    <a:pt x="24" y="10"/>
                  </a:lnTo>
                  <a:lnTo>
                    <a:pt x="22" y="10"/>
                  </a:lnTo>
                  <a:lnTo>
                    <a:pt x="21" y="10"/>
                  </a:lnTo>
                  <a:lnTo>
                    <a:pt x="18" y="10"/>
                  </a:lnTo>
                  <a:lnTo>
                    <a:pt x="16" y="12"/>
                  </a:lnTo>
                  <a:lnTo>
                    <a:pt x="15" y="12"/>
                  </a:lnTo>
                  <a:lnTo>
                    <a:pt x="11" y="13"/>
                  </a:lnTo>
                  <a:lnTo>
                    <a:pt x="10" y="18"/>
                  </a:lnTo>
                  <a:lnTo>
                    <a:pt x="3" y="20"/>
                  </a:lnTo>
                  <a:lnTo>
                    <a:pt x="3" y="21"/>
                  </a:lnTo>
                  <a:lnTo>
                    <a:pt x="3" y="24"/>
                  </a:lnTo>
                  <a:lnTo>
                    <a:pt x="3" y="26"/>
                  </a:lnTo>
                  <a:lnTo>
                    <a:pt x="0" y="27"/>
                  </a:lnTo>
                  <a:lnTo>
                    <a:pt x="0" y="31"/>
                  </a:lnTo>
                  <a:lnTo>
                    <a:pt x="7" y="32"/>
                  </a:lnTo>
                  <a:lnTo>
                    <a:pt x="7" y="34"/>
                  </a:lnTo>
                  <a:lnTo>
                    <a:pt x="10" y="35"/>
                  </a:lnTo>
                  <a:lnTo>
                    <a:pt x="10" y="37"/>
                  </a:lnTo>
                  <a:lnTo>
                    <a:pt x="15" y="35"/>
                  </a:lnTo>
                  <a:lnTo>
                    <a:pt x="15" y="37"/>
                  </a:lnTo>
                  <a:lnTo>
                    <a:pt x="16" y="37"/>
                  </a:lnTo>
                  <a:lnTo>
                    <a:pt x="18" y="37"/>
                  </a:lnTo>
                  <a:lnTo>
                    <a:pt x="19" y="37"/>
                  </a:lnTo>
                  <a:lnTo>
                    <a:pt x="19" y="39"/>
                  </a:lnTo>
                  <a:lnTo>
                    <a:pt x="19" y="42"/>
                  </a:lnTo>
                  <a:lnTo>
                    <a:pt x="19" y="43"/>
                  </a:lnTo>
                  <a:lnTo>
                    <a:pt x="21" y="45"/>
                  </a:lnTo>
                  <a:lnTo>
                    <a:pt x="22" y="45"/>
                  </a:lnTo>
                  <a:lnTo>
                    <a:pt x="22" y="47"/>
                  </a:lnTo>
                  <a:lnTo>
                    <a:pt x="22" y="48"/>
                  </a:lnTo>
                  <a:lnTo>
                    <a:pt x="24" y="50"/>
                  </a:lnTo>
                  <a:lnTo>
                    <a:pt x="24" y="51"/>
                  </a:lnTo>
                  <a:lnTo>
                    <a:pt x="27" y="50"/>
                  </a:lnTo>
                  <a:lnTo>
                    <a:pt x="29" y="48"/>
                  </a:lnTo>
                  <a:lnTo>
                    <a:pt x="29" y="47"/>
                  </a:lnTo>
                  <a:lnTo>
                    <a:pt x="30" y="47"/>
                  </a:lnTo>
                  <a:lnTo>
                    <a:pt x="32" y="45"/>
                  </a:lnTo>
                  <a:lnTo>
                    <a:pt x="32" y="42"/>
                  </a:lnTo>
                  <a:lnTo>
                    <a:pt x="32" y="39"/>
                  </a:lnTo>
                  <a:lnTo>
                    <a:pt x="34" y="39"/>
                  </a:lnTo>
                  <a:lnTo>
                    <a:pt x="35" y="39"/>
                  </a:lnTo>
                  <a:lnTo>
                    <a:pt x="38" y="39"/>
                  </a:lnTo>
                  <a:lnTo>
                    <a:pt x="38" y="37"/>
                  </a:lnTo>
                  <a:lnTo>
                    <a:pt x="42" y="35"/>
                  </a:lnTo>
                  <a:lnTo>
                    <a:pt x="45" y="39"/>
                  </a:lnTo>
                  <a:lnTo>
                    <a:pt x="45" y="35"/>
                  </a:lnTo>
                  <a:lnTo>
                    <a:pt x="46" y="34"/>
                  </a:lnTo>
                  <a:lnTo>
                    <a:pt x="51" y="31"/>
                  </a:lnTo>
                  <a:lnTo>
                    <a:pt x="53" y="31"/>
                  </a:lnTo>
                  <a:lnTo>
                    <a:pt x="53" y="27"/>
                  </a:lnTo>
                  <a:lnTo>
                    <a:pt x="54" y="27"/>
                  </a:lnTo>
                  <a:lnTo>
                    <a:pt x="56" y="24"/>
                  </a:lnTo>
                  <a:lnTo>
                    <a:pt x="57" y="24"/>
                  </a:lnTo>
                  <a:lnTo>
                    <a:pt x="59" y="24"/>
                  </a:lnTo>
                  <a:lnTo>
                    <a:pt x="61" y="26"/>
                  </a:lnTo>
                  <a:lnTo>
                    <a:pt x="62" y="27"/>
                  </a:lnTo>
                  <a:lnTo>
                    <a:pt x="65" y="26"/>
                  </a:lnTo>
                  <a:lnTo>
                    <a:pt x="73" y="24"/>
                  </a:lnTo>
                  <a:lnTo>
                    <a:pt x="76" y="23"/>
                  </a:lnTo>
                  <a:lnTo>
                    <a:pt x="76" y="23"/>
                  </a:lnTo>
                  <a:lnTo>
                    <a:pt x="80" y="23"/>
                  </a:lnTo>
                  <a:lnTo>
                    <a:pt x="76" y="21"/>
                  </a:lnTo>
                  <a:lnTo>
                    <a:pt x="76" y="21"/>
                  </a:lnTo>
                  <a:lnTo>
                    <a:pt x="76" y="21"/>
                  </a:lnTo>
                  <a:lnTo>
                    <a:pt x="76" y="21"/>
                  </a:lnTo>
                  <a:lnTo>
                    <a:pt x="76" y="21"/>
                  </a:lnTo>
                  <a:lnTo>
                    <a:pt x="76" y="21"/>
                  </a:lnTo>
                  <a:lnTo>
                    <a:pt x="76" y="21"/>
                  </a:lnTo>
                  <a:lnTo>
                    <a:pt x="76" y="21"/>
                  </a:lnTo>
                  <a:lnTo>
                    <a:pt x="76" y="2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1" name="Freeform 6">
              <a:extLst>
                <a:ext uri="{FF2B5EF4-FFF2-40B4-BE49-F238E27FC236}">
                  <a16:creationId xmlns:a16="http://schemas.microsoft.com/office/drawing/2014/main" id="{3033FBF9-2244-DE0A-BBF2-0C5196B1740F}"/>
                </a:ext>
              </a:extLst>
            </p:cNvPr>
            <p:cNvSpPr>
              <a:spLocks/>
            </p:cNvSpPr>
            <p:nvPr/>
          </p:nvSpPr>
          <p:spPr bwMode="auto">
            <a:xfrm>
              <a:off x="3167210" y="3450883"/>
              <a:ext cx="116639" cy="134584"/>
            </a:xfrm>
            <a:custGeom>
              <a:avLst/>
              <a:gdLst>
                <a:gd name="T0" fmla="*/ 25 w 52"/>
                <a:gd name="T1" fmla="*/ 0 h 60"/>
                <a:gd name="T2" fmla="*/ 22 w 52"/>
                <a:gd name="T3" fmla="*/ 1 h 60"/>
                <a:gd name="T4" fmla="*/ 20 w 52"/>
                <a:gd name="T5" fmla="*/ 8 h 60"/>
                <a:gd name="T6" fmla="*/ 17 w 52"/>
                <a:gd name="T7" fmla="*/ 9 h 60"/>
                <a:gd name="T8" fmla="*/ 17 w 52"/>
                <a:gd name="T9" fmla="*/ 13 h 60"/>
                <a:gd name="T10" fmla="*/ 22 w 52"/>
                <a:gd name="T11" fmla="*/ 17 h 60"/>
                <a:gd name="T12" fmla="*/ 25 w 52"/>
                <a:gd name="T13" fmla="*/ 20 h 60"/>
                <a:gd name="T14" fmla="*/ 20 w 52"/>
                <a:gd name="T15" fmla="*/ 27 h 60"/>
                <a:gd name="T16" fmla="*/ 11 w 52"/>
                <a:gd name="T17" fmla="*/ 27 h 60"/>
                <a:gd name="T18" fmla="*/ 8 w 52"/>
                <a:gd name="T19" fmla="*/ 27 h 60"/>
                <a:gd name="T20" fmla="*/ 3 w 52"/>
                <a:gd name="T21" fmla="*/ 38 h 60"/>
                <a:gd name="T22" fmla="*/ 1 w 52"/>
                <a:gd name="T23" fmla="*/ 43 h 60"/>
                <a:gd name="T24" fmla="*/ 0 w 52"/>
                <a:gd name="T25" fmla="*/ 47 h 60"/>
                <a:gd name="T26" fmla="*/ 6 w 52"/>
                <a:gd name="T27" fmla="*/ 54 h 60"/>
                <a:gd name="T28" fmla="*/ 14 w 52"/>
                <a:gd name="T29" fmla="*/ 57 h 60"/>
                <a:gd name="T30" fmla="*/ 25 w 52"/>
                <a:gd name="T31" fmla="*/ 60 h 60"/>
                <a:gd name="T32" fmla="*/ 25 w 52"/>
                <a:gd name="T33" fmla="*/ 57 h 60"/>
                <a:gd name="T34" fmla="*/ 28 w 52"/>
                <a:gd name="T35" fmla="*/ 55 h 60"/>
                <a:gd name="T36" fmla="*/ 31 w 52"/>
                <a:gd name="T37" fmla="*/ 51 h 60"/>
                <a:gd name="T38" fmla="*/ 35 w 52"/>
                <a:gd name="T39" fmla="*/ 51 h 60"/>
                <a:gd name="T40" fmla="*/ 38 w 52"/>
                <a:gd name="T41" fmla="*/ 46 h 60"/>
                <a:gd name="T42" fmla="*/ 38 w 52"/>
                <a:gd name="T43" fmla="*/ 41 h 60"/>
                <a:gd name="T44" fmla="*/ 44 w 52"/>
                <a:gd name="T45" fmla="*/ 38 h 60"/>
                <a:gd name="T46" fmla="*/ 51 w 52"/>
                <a:gd name="T47" fmla="*/ 32 h 60"/>
                <a:gd name="T48" fmla="*/ 47 w 52"/>
                <a:gd name="T49" fmla="*/ 30 h 60"/>
                <a:gd name="T50" fmla="*/ 47 w 52"/>
                <a:gd name="T51" fmla="*/ 32 h 60"/>
                <a:gd name="T52" fmla="*/ 44 w 52"/>
                <a:gd name="T53" fmla="*/ 30 h 60"/>
                <a:gd name="T54" fmla="*/ 39 w 52"/>
                <a:gd name="T55" fmla="*/ 30 h 60"/>
                <a:gd name="T56" fmla="*/ 44 w 52"/>
                <a:gd name="T57" fmla="*/ 5 h 60"/>
                <a:gd name="T58" fmla="*/ 31 w 52"/>
                <a:gd name="T59" fmla="*/ 1 h 60"/>
                <a:gd name="T60" fmla="*/ 31 w 52"/>
                <a:gd name="T61" fmla="*/ 1 h 60"/>
                <a:gd name="T62" fmla="*/ 31 w 52"/>
                <a:gd name="T63" fmla="*/ 1 h 60"/>
                <a:gd name="T64" fmla="*/ 31 w 52"/>
                <a:gd name="T65" fmla="*/ 1 h 60"/>
                <a:gd name="T66" fmla="*/ 31 w 52"/>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60">
                  <a:moveTo>
                    <a:pt x="31" y="1"/>
                  </a:moveTo>
                  <a:lnTo>
                    <a:pt x="25" y="0"/>
                  </a:lnTo>
                  <a:lnTo>
                    <a:pt x="24" y="0"/>
                  </a:lnTo>
                  <a:lnTo>
                    <a:pt x="22" y="1"/>
                  </a:lnTo>
                  <a:lnTo>
                    <a:pt x="20" y="5"/>
                  </a:lnTo>
                  <a:lnTo>
                    <a:pt x="20" y="8"/>
                  </a:lnTo>
                  <a:lnTo>
                    <a:pt x="19" y="9"/>
                  </a:lnTo>
                  <a:lnTo>
                    <a:pt x="17" y="9"/>
                  </a:lnTo>
                  <a:lnTo>
                    <a:pt x="14" y="9"/>
                  </a:lnTo>
                  <a:lnTo>
                    <a:pt x="17" y="13"/>
                  </a:lnTo>
                  <a:lnTo>
                    <a:pt x="20" y="16"/>
                  </a:lnTo>
                  <a:lnTo>
                    <a:pt x="22" y="17"/>
                  </a:lnTo>
                  <a:lnTo>
                    <a:pt x="24" y="20"/>
                  </a:lnTo>
                  <a:lnTo>
                    <a:pt x="25" y="20"/>
                  </a:lnTo>
                  <a:lnTo>
                    <a:pt x="25" y="27"/>
                  </a:lnTo>
                  <a:lnTo>
                    <a:pt x="20" y="27"/>
                  </a:lnTo>
                  <a:lnTo>
                    <a:pt x="16" y="27"/>
                  </a:lnTo>
                  <a:lnTo>
                    <a:pt x="11" y="27"/>
                  </a:lnTo>
                  <a:lnTo>
                    <a:pt x="8" y="27"/>
                  </a:lnTo>
                  <a:lnTo>
                    <a:pt x="8" y="27"/>
                  </a:lnTo>
                  <a:lnTo>
                    <a:pt x="3" y="36"/>
                  </a:lnTo>
                  <a:lnTo>
                    <a:pt x="3" y="38"/>
                  </a:lnTo>
                  <a:lnTo>
                    <a:pt x="3" y="41"/>
                  </a:lnTo>
                  <a:lnTo>
                    <a:pt x="1" y="43"/>
                  </a:lnTo>
                  <a:lnTo>
                    <a:pt x="1" y="46"/>
                  </a:lnTo>
                  <a:lnTo>
                    <a:pt x="0" y="47"/>
                  </a:lnTo>
                  <a:lnTo>
                    <a:pt x="0" y="47"/>
                  </a:lnTo>
                  <a:lnTo>
                    <a:pt x="6" y="54"/>
                  </a:lnTo>
                  <a:lnTo>
                    <a:pt x="8" y="55"/>
                  </a:lnTo>
                  <a:lnTo>
                    <a:pt x="14" y="57"/>
                  </a:lnTo>
                  <a:lnTo>
                    <a:pt x="19" y="57"/>
                  </a:lnTo>
                  <a:lnTo>
                    <a:pt x="25" y="60"/>
                  </a:lnTo>
                  <a:lnTo>
                    <a:pt x="25" y="57"/>
                  </a:lnTo>
                  <a:lnTo>
                    <a:pt x="25" y="57"/>
                  </a:lnTo>
                  <a:lnTo>
                    <a:pt x="28" y="55"/>
                  </a:lnTo>
                  <a:lnTo>
                    <a:pt x="28" y="55"/>
                  </a:lnTo>
                  <a:lnTo>
                    <a:pt x="31" y="52"/>
                  </a:lnTo>
                  <a:lnTo>
                    <a:pt x="31" y="51"/>
                  </a:lnTo>
                  <a:lnTo>
                    <a:pt x="35" y="51"/>
                  </a:lnTo>
                  <a:lnTo>
                    <a:pt x="35" y="51"/>
                  </a:lnTo>
                  <a:lnTo>
                    <a:pt x="36" y="47"/>
                  </a:lnTo>
                  <a:lnTo>
                    <a:pt x="38" y="46"/>
                  </a:lnTo>
                  <a:lnTo>
                    <a:pt x="38" y="44"/>
                  </a:lnTo>
                  <a:lnTo>
                    <a:pt x="38" y="41"/>
                  </a:lnTo>
                  <a:lnTo>
                    <a:pt x="39" y="40"/>
                  </a:lnTo>
                  <a:lnTo>
                    <a:pt x="44" y="38"/>
                  </a:lnTo>
                  <a:lnTo>
                    <a:pt x="47" y="33"/>
                  </a:lnTo>
                  <a:lnTo>
                    <a:pt x="51" y="32"/>
                  </a:lnTo>
                  <a:lnTo>
                    <a:pt x="52" y="32"/>
                  </a:lnTo>
                  <a:lnTo>
                    <a:pt x="47" y="30"/>
                  </a:lnTo>
                  <a:lnTo>
                    <a:pt x="49" y="30"/>
                  </a:lnTo>
                  <a:lnTo>
                    <a:pt x="47" y="32"/>
                  </a:lnTo>
                  <a:lnTo>
                    <a:pt x="46" y="30"/>
                  </a:lnTo>
                  <a:lnTo>
                    <a:pt x="44" y="30"/>
                  </a:lnTo>
                  <a:lnTo>
                    <a:pt x="43" y="30"/>
                  </a:lnTo>
                  <a:lnTo>
                    <a:pt x="39" y="30"/>
                  </a:lnTo>
                  <a:lnTo>
                    <a:pt x="43" y="11"/>
                  </a:lnTo>
                  <a:lnTo>
                    <a:pt x="44" y="5"/>
                  </a:lnTo>
                  <a:lnTo>
                    <a:pt x="44" y="1"/>
                  </a:lnTo>
                  <a:lnTo>
                    <a:pt x="31" y="1"/>
                  </a:lnTo>
                  <a:lnTo>
                    <a:pt x="31" y="1"/>
                  </a:lnTo>
                  <a:lnTo>
                    <a:pt x="31" y="1"/>
                  </a:lnTo>
                  <a:lnTo>
                    <a:pt x="31" y="1"/>
                  </a:lnTo>
                  <a:lnTo>
                    <a:pt x="31" y="1"/>
                  </a:lnTo>
                  <a:lnTo>
                    <a:pt x="31" y="1"/>
                  </a:lnTo>
                  <a:lnTo>
                    <a:pt x="31" y="1"/>
                  </a:lnTo>
                  <a:lnTo>
                    <a:pt x="31" y="1"/>
                  </a:lnTo>
                  <a:lnTo>
                    <a:pt x="31" y="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2" name="Freeform 26">
              <a:extLst>
                <a:ext uri="{FF2B5EF4-FFF2-40B4-BE49-F238E27FC236}">
                  <a16:creationId xmlns:a16="http://schemas.microsoft.com/office/drawing/2014/main" id="{F214770D-16B6-C64B-E98E-1745F1D75137}"/>
                </a:ext>
              </a:extLst>
            </p:cNvPr>
            <p:cNvSpPr>
              <a:spLocks/>
            </p:cNvSpPr>
            <p:nvPr/>
          </p:nvSpPr>
          <p:spPr bwMode="auto">
            <a:xfrm>
              <a:off x="3290579" y="3547335"/>
              <a:ext cx="136827" cy="134584"/>
            </a:xfrm>
            <a:custGeom>
              <a:avLst/>
              <a:gdLst>
                <a:gd name="T0" fmla="*/ 26 w 61"/>
                <a:gd name="T1" fmla="*/ 54 h 60"/>
                <a:gd name="T2" fmla="*/ 19 w 61"/>
                <a:gd name="T3" fmla="*/ 46 h 60"/>
                <a:gd name="T4" fmla="*/ 23 w 61"/>
                <a:gd name="T5" fmla="*/ 43 h 60"/>
                <a:gd name="T6" fmla="*/ 23 w 61"/>
                <a:gd name="T7" fmla="*/ 39 h 60"/>
                <a:gd name="T8" fmla="*/ 29 w 61"/>
                <a:gd name="T9" fmla="*/ 46 h 60"/>
                <a:gd name="T10" fmla="*/ 34 w 61"/>
                <a:gd name="T11" fmla="*/ 54 h 60"/>
                <a:gd name="T12" fmla="*/ 30 w 61"/>
                <a:gd name="T13" fmla="*/ 55 h 60"/>
                <a:gd name="T14" fmla="*/ 29 w 61"/>
                <a:gd name="T15" fmla="*/ 55 h 60"/>
                <a:gd name="T16" fmla="*/ 35 w 61"/>
                <a:gd name="T17" fmla="*/ 55 h 60"/>
                <a:gd name="T18" fmla="*/ 38 w 61"/>
                <a:gd name="T19" fmla="*/ 57 h 60"/>
                <a:gd name="T20" fmla="*/ 40 w 61"/>
                <a:gd name="T21" fmla="*/ 58 h 60"/>
                <a:gd name="T22" fmla="*/ 43 w 61"/>
                <a:gd name="T23" fmla="*/ 60 h 60"/>
                <a:gd name="T24" fmla="*/ 46 w 61"/>
                <a:gd name="T25" fmla="*/ 60 h 60"/>
                <a:gd name="T26" fmla="*/ 48 w 61"/>
                <a:gd name="T27" fmla="*/ 58 h 60"/>
                <a:gd name="T28" fmla="*/ 46 w 61"/>
                <a:gd name="T29" fmla="*/ 54 h 60"/>
                <a:gd name="T30" fmla="*/ 48 w 61"/>
                <a:gd name="T31" fmla="*/ 47 h 60"/>
                <a:gd name="T32" fmla="*/ 49 w 61"/>
                <a:gd name="T33" fmla="*/ 44 h 60"/>
                <a:gd name="T34" fmla="*/ 49 w 61"/>
                <a:gd name="T35" fmla="*/ 39 h 60"/>
                <a:gd name="T36" fmla="*/ 49 w 61"/>
                <a:gd name="T37" fmla="*/ 36 h 60"/>
                <a:gd name="T38" fmla="*/ 51 w 61"/>
                <a:gd name="T39" fmla="*/ 33 h 60"/>
                <a:gd name="T40" fmla="*/ 54 w 61"/>
                <a:gd name="T41" fmla="*/ 24 h 60"/>
                <a:gd name="T42" fmla="*/ 57 w 61"/>
                <a:gd name="T43" fmla="*/ 12 h 60"/>
                <a:gd name="T44" fmla="*/ 57 w 61"/>
                <a:gd name="T45" fmla="*/ 8 h 60"/>
                <a:gd name="T46" fmla="*/ 57 w 61"/>
                <a:gd name="T47" fmla="*/ 3 h 60"/>
                <a:gd name="T48" fmla="*/ 57 w 61"/>
                <a:gd name="T49" fmla="*/ 1 h 60"/>
                <a:gd name="T50" fmla="*/ 61 w 61"/>
                <a:gd name="T51" fmla="*/ 0 h 60"/>
                <a:gd name="T52" fmla="*/ 57 w 61"/>
                <a:gd name="T53" fmla="*/ 0 h 60"/>
                <a:gd name="T54" fmla="*/ 46 w 61"/>
                <a:gd name="T55" fmla="*/ 3 h 60"/>
                <a:gd name="T56" fmla="*/ 42 w 61"/>
                <a:gd name="T57" fmla="*/ 3 h 60"/>
                <a:gd name="T58" fmla="*/ 38 w 61"/>
                <a:gd name="T59" fmla="*/ 1 h 60"/>
                <a:gd name="T60" fmla="*/ 35 w 61"/>
                <a:gd name="T61" fmla="*/ 4 h 60"/>
                <a:gd name="T62" fmla="*/ 34 w 61"/>
                <a:gd name="T63" fmla="*/ 8 h 60"/>
                <a:gd name="T64" fmla="*/ 27 w 61"/>
                <a:gd name="T65" fmla="*/ 11 h 60"/>
                <a:gd name="T66" fmla="*/ 26 w 61"/>
                <a:gd name="T67" fmla="*/ 16 h 60"/>
                <a:gd name="T68" fmla="*/ 19 w 61"/>
                <a:gd name="T69" fmla="*/ 14 h 60"/>
                <a:gd name="T70" fmla="*/ 16 w 61"/>
                <a:gd name="T71" fmla="*/ 16 h 60"/>
                <a:gd name="T72" fmla="*/ 13 w 61"/>
                <a:gd name="T73" fmla="*/ 16 h 60"/>
                <a:gd name="T74" fmla="*/ 13 w 61"/>
                <a:gd name="T75" fmla="*/ 22 h 60"/>
                <a:gd name="T76" fmla="*/ 10 w 61"/>
                <a:gd name="T77" fmla="*/ 24 h 60"/>
                <a:gd name="T78" fmla="*/ 8 w 61"/>
                <a:gd name="T79" fmla="*/ 27 h 60"/>
                <a:gd name="T80" fmla="*/ 3 w 61"/>
                <a:gd name="T81" fmla="*/ 28 h 60"/>
                <a:gd name="T82" fmla="*/ 0 w 61"/>
                <a:gd name="T83" fmla="*/ 30 h 60"/>
                <a:gd name="T84" fmla="*/ 7 w 61"/>
                <a:gd name="T85" fmla="*/ 36 h 60"/>
                <a:gd name="T86" fmla="*/ 16 w 61"/>
                <a:gd name="T87" fmla="*/ 47 h 60"/>
                <a:gd name="T88" fmla="*/ 23 w 61"/>
                <a:gd name="T89" fmla="*/ 54 h 60"/>
                <a:gd name="T90" fmla="*/ 23 w 61"/>
                <a:gd name="T91" fmla="*/ 55 h 60"/>
                <a:gd name="T92" fmla="*/ 23 w 61"/>
                <a:gd name="T93" fmla="*/ 54 h 60"/>
                <a:gd name="T94" fmla="*/ 23 w 61"/>
                <a:gd name="T95" fmla="*/ 54 h 60"/>
                <a:gd name="T96" fmla="*/ 23 w 61"/>
                <a:gd name="T97" fmla="*/ 54 h 60"/>
                <a:gd name="T98" fmla="*/ 23 w 61"/>
                <a:gd name="T9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60">
                  <a:moveTo>
                    <a:pt x="23" y="54"/>
                  </a:moveTo>
                  <a:lnTo>
                    <a:pt x="26" y="54"/>
                  </a:lnTo>
                  <a:lnTo>
                    <a:pt x="23" y="49"/>
                  </a:lnTo>
                  <a:lnTo>
                    <a:pt x="19" y="46"/>
                  </a:lnTo>
                  <a:lnTo>
                    <a:pt x="19" y="43"/>
                  </a:lnTo>
                  <a:lnTo>
                    <a:pt x="23" y="43"/>
                  </a:lnTo>
                  <a:lnTo>
                    <a:pt x="23" y="39"/>
                  </a:lnTo>
                  <a:lnTo>
                    <a:pt x="23" y="39"/>
                  </a:lnTo>
                  <a:lnTo>
                    <a:pt x="26" y="43"/>
                  </a:lnTo>
                  <a:lnTo>
                    <a:pt x="29" y="46"/>
                  </a:lnTo>
                  <a:lnTo>
                    <a:pt x="34" y="52"/>
                  </a:lnTo>
                  <a:lnTo>
                    <a:pt x="34" y="54"/>
                  </a:lnTo>
                  <a:lnTo>
                    <a:pt x="34" y="55"/>
                  </a:lnTo>
                  <a:lnTo>
                    <a:pt x="30" y="55"/>
                  </a:lnTo>
                  <a:lnTo>
                    <a:pt x="26" y="54"/>
                  </a:lnTo>
                  <a:lnTo>
                    <a:pt x="29" y="55"/>
                  </a:lnTo>
                  <a:lnTo>
                    <a:pt x="32" y="57"/>
                  </a:lnTo>
                  <a:lnTo>
                    <a:pt x="35" y="55"/>
                  </a:lnTo>
                  <a:lnTo>
                    <a:pt x="37" y="55"/>
                  </a:lnTo>
                  <a:lnTo>
                    <a:pt x="38" y="57"/>
                  </a:lnTo>
                  <a:lnTo>
                    <a:pt x="40" y="57"/>
                  </a:lnTo>
                  <a:lnTo>
                    <a:pt x="40" y="58"/>
                  </a:lnTo>
                  <a:lnTo>
                    <a:pt x="42" y="60"/>
                  </a:lnTo>
                  <a:lnTo>
                    <a:pt x="43" y="60"/>
                  </a:lnTo>
                  <a:lnTo>
                    <a:pt x="45" y="60"/>
                  </a:lnTo>
                  <a:lnTo>
                    <a:pt x="46" y="60"/>
                  </a:lnTo>
                  <a:lnTo>
                    <a:pt x="48" y="60"/>
                  </a:lnTo>
                  <a:lnTo>
                    <a:pt x="48" y="58"/>
                  </a:lnTo>
                  <a:lnTo>
                    <a:pt x="48" y="57"/>
                  </a:lnTo>
                  <a:lnTo>
                    <a:pt x="46" y="54"/>
                  </a:lnTo>
                  <a:lnTo>
                    <a:pt x="46" y="52"/>
                  </a:lnTo>
                  <a:lnTo>
                    <a:pt x="48" y="47"/>
                  </a:lnTo>
                  <a:lnTo>
                    <a:pt x="49" y="46"/>
                  </a:lnTo>
                  <a:lnTo>
                    <a:pt x="49" y="44"/>
                  </a:lnTo>
                  <a:lnTo>
                    <a:pt x="48" y="44"/>
                  </a:lnTo>
                  <a:lnTo>
                    <a:pt x="49" y="39"/>
                  </a:lnTo>
                  <a:lnTo>
                    <a:pt x="49" y="39"/>
                  </a:lnTo>
                  <a:lnTo>
                    <a:pt x="49" y="36"/>
                  </a:lnTo>
                  <a:lnTo>
                    <a:pt x="49" y="33"/>
                  </a:lnTo>
                  <a:lnTo>
                    <a:pt x="51" y="33"/>
                  </a:lnTo>
                  <a:lnTo>
                    <a:pt x="51" y="30"/>
                  </a:lnTo>
                  <a:lnTo>
                    <a:pt x="54" y="24"/>
                  </a:lnTo>
                  <a:lnTo>
                    <a:pt x="54" y="17"/>
                  </a:lnTo>
                  <a:lnTo>
                    <a:pt x="57" y="12"/>
                  </a:lnTo>
                  <a:lnTo>
                    <a:pt x="57" y="9"/>
                  </a:lnTo>
                  <a:lnTo>
                    <a:pt x="57" y="8"/>
                  </a:lnTo>
                  <a:lnTo>
                    <a:pt x="57" y="4"/>
                  </a:lnTo>
                  <a:lnTo>
                    <a:pt x="57" y="3"/>
                  </a:lnTo>
                  <a:lnTo>
                    <a:pt x="57" y="1"/>
                  </a:lnTo>
                  <a:lnTo>
                    <a:pt x="57" y="1"/>
                  </a:lnTo>
                  <a:lnTo>
                    <a:pt x="61" y="1"/>
                  </a:lnTo>
                  <a:lnTo>
                    <a:pt x="61" y="0"/>
                  </a:lnTo>
                  <a:lnTo>
                    <a:pt x="57" y="0"/>
                  </a:lnTo>
                  <a:lnTo>
                    <a:pt x="57" y="0"/>
                  </a:lnTo>
                  <a:lnTo>
                    <a:pt x="54" y="1"/>
                  </a:lnTo>
                  <a:lnTo>
                    <a:pt x="46" y="3"/>
                  </a:lnTo>
                  <a:lnTo>
                    <a:pt x="43" y="4"/>
                  </a:lnTo>
                  <a:lnTo>
                    <a:pt x="42" y="3"/>
                  </a:lnTo>
                  <a:lnTo>
                    <a:pt x="40" y="1"/>
                  </a:lnTo>
                  <a:lnTo>
                    <a:pt x="38" y="1"/>
                  </a:lnTo>
                  <a:lnTo>
                    <a:pt x="37" y="1"/>
                  </a:lnTo>
                  <a:lnTo>
                    <a:pt x="35" y="4"/>
                  </a:lnTo>
                  <a:lnTo>
                    <a:pt x="34" y="4"/>
                  </a:lnTo>
                  <a:lnTo>
                    <a:pt x="34" y="8"/>
                  </a:lnTo>
                  <a:lnTo>
                    <a:pt x="32" y="8"/>
                  </a:lnTo>
                  <a:lnTo>
                    <a:pt x="27" y="11"/>
                  </a:lnTo>
                  <a:lnTo>
                    <a:pt x="26" y="12"/>
                  </a:lnTo>
                  <a:lnTo>
                    <a:pt x="26" y="16"/>
                  </a:lnTo>
                  <a:lnTo>
                    <a:pt x="23" y="12"/>
                  </a:lnTo>
                  <a:lnTo>
                    <a:pt x="19" y="14"/>
                  </a:lnTo>
                  <a:lnTo>
                    <a:pt x="19" y="16"/>
                  </a:lnTo>
                  <a:lnTo>
                    <a:pt x="16" y="16"/>
                  </a:lnTo>
                  <a:lnTo>
                    <a:pt x="15" y="16"/>
                  </a:lnTo>
                  <a:lnTo>
                    <a:pt x="13" y="16"/>
                  </a:lnTo>
                  <a:lnTo>
                    <a:pt x="13" y="19"/>
                  </a:lnTo>
                  <a:lnTo>
                    <a:pt x="13" y="22"/>
                  </a:lnTo>
                  <a:lnTo>
                    <a:pt x="11" y="24"/>
                  </a:lnTo>
                  <a:lnTo>
                    <a:pt x="10" y="24"/>
                  </a:lnTo>
                  <a:lnTo>
                    <a:pt x="10" y="25"/>
                  </a:lnTo>
                  <a:lnTo>
                    <a:pt x="8" y="27"/>
                  </a:lnTo>
                  <a:lnTo>
                    <a:pt x="5" y="28"/>
                  </a:lnTo>
                  <a:lnTo>
                    <a:pt x="3" y="28"/>
                  </a:lnTo>
                  <a:lnTo>
                    <a:pt x="0" y="27"/>
                  </a:lnTo>
                  <a:lnTo>
                    <a:pt x="0" y="30"/>
                  </a:lnTo>
                  <a:lnTo>
                    <a:pt x="2" y="31"/>
                  </a:lnTo>
                  <a:lnTo>
                    <a:pt x="7" y="36"/>
                  </a:lnTo>
                  <a:lnTo>
                    <a:pt x="11" y="43"/>
                  </a:lnTo>
                  <a:lnTo>
                    <a:pt x="16" y="47"/>
                  </a:lnTo>
                  <a:lnTo>
                    <a:pt x="19" y="51"/>
                  </a:lnTo>
                  <a:lnTo>
                    <a:pt x="23" y="54"/>
                  </a:lnTo>
                  <a:lnTo>
                    <a:pt x="23" y="55"/>
                  </a:lnTo>
                  <a:lnTo>
                    <a:pt x="23" y="55"/>
                  </a:lnTo>
                  <a:lnTo>
                    <a:pt x="23" y="54"/>
                  </a:lnTo>
                  <a:lnTo>
                    <a:pt x="23" y="54"/>
                  </a:lnTo>
                  <a:lnTo>
                    <a:pt x="23" y="54"/>
                  </a:lnTo>
                  <a:lnTo>
                    <a:pt x="23" y="54"/>
                  </a:lnTo>
                  <a:lnTo>
                    <a:pt x="23" y="54"/>
                  </a:lnTo>
                  <a:lnTo>
                    <a:pt x="23" y="54"/>
                  </a:lnTo>
                  <a:lnTo>
                    <a:pt x="23" y="54"/>
                  </a:lnTo>
                  <a:lnTo>
                    <a:pt x="23" y="54"/>
                  </a:lnTo>
                  <a:lnTo>
                    <a:pt x="23" y="5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3" name="Freeform 28">
              <a:extLst>
                <a:ext uri="{FF2B5EF4-FFF2-40B4-BE49-F238E27FC236}">
                  <a16:creationId xmlns:a16="http://schemas.microsoft.com/office/drawing/2014/main" id="{D7FE4404-403A-DB86-043C-3B8BE33AF321}"/>
                </a:ext>
              </a:extLst>
            </p:cNvPr>
            <p:cNvSpPr>
              <a:spLocks/>
            </p:cNvSpPr>
            <p:nvPr/>
          </p:nvSpPr>
          <p:spPr bwMode="auto">
            <a:xfrm>
              <a:off x="3333197" y="3668460"/>
              <a:ext cx="94209" cy="98695"/>
            </a:xfrm>
            <a:custGeom>
              <a:avLst/>
              <a:gdLst>
                <a:gd name="T0" fmla="*/ 35 w 42"/>
                <a:gd name="T1" fmla="*/ 41 h 44"/>
                <a:gd name="T2" fmla="*/ 38 w 42"/>
                <a:gd name="T3" fmla="*/ 38 h 44"/>
                <a:gd name="T4" fmla="*/ 38 w 42"/>
                <a:gd name="T5" fmla="*/ 33 h 44"/>
                <a:gd name="T6" fmla="*/ 38 w 42"/>
                <a:gd name="T7" fmla="*/ 31 h 44"/>
                <a:gd name="T8" fmla="*/ 38 w 42"/>
                <a:gd name="T9" fmla="*/ 23 h 44"/>
                <a:gd name="T10" fmla="*/ 40 w 42"/>
                <a:gd name="T11" fmla="*/ 23 h 44"/>
                <a:gd name="T12" fmla="*/ 42 w 42"/>
                <a:gd name="T13" fmla="*/ 23 h 44"/>
                <a:gd name="T14" fmla="*/ 38 w 42"/>
                <a:gd name="T15" fmla="*/ 20 h 44"/>
                <a:gd name="T16" fmla="*/ 32 w 42"/>
                <a:gd name="T17" fmla="*/ 14 h 44"/>
                <a:gd name="T18" fmla="*/ 30 w 42"/>
                <a:gd name="T19" fmla="*/ 8 h 44"/>
                <a:gd name="T20" fmla="*/ 29 w 42"/>
                <a:gd name="T21" fmla="*/ 4 h 44"/>
                <a:gd name="T22" fmla="*/ 27 w 42"/>
                <a:gd name="T23" fmla="*/ 6 h 44"/>
                <a:gd name="T24" fmla="*/ 24 w 42"/>
                <a:gd name="T25" fmla="*/ 6 h 44"/>
                <a:gd name="T26" fmla="*/ 21 w 42"/>
                <a:gd name="T27" fmla="*/ 4 h 44"/>
                <a:gd name="T28" fmla="*/ 19 w 42"/>
                <a:gd name="T29" fmla="*/ 3 h 44"/>
                <a:gd name="T30" fmla="*/ 16 w 42"/>
                <a:gd name="T31" fmla="*/ 1 h 44"/>
                <a:gd name="T32" fmla="*/ 10 w 42"/>
                <a:gd name="T33" fmla="*/ 1 h 44"/>
                <a:gd name="T34" fmla="*/ 4 w 42"/>
                <a:gd name="T35" fmla="*/ 0 h 44"/>
                <a:gd name="T36" fmla="*/ 4 w 42"/>
                <a:gd name="T37" fmla="*/ 1 h 44"/>
                <a:gd name="T38" fmla="*/ 0 w 42"/>
                <a:gd name="T39" fmla="*/ 4 h 44"/>
                <a:gd name="T40" fmla="*/ 4 w 42"/>
                <a:gd name="T41" fmla="*/ 8 h 44"/>
                <a:gd name="T42" fmla="*/ 0 w 42"/>
                <a:gd name="T43" fmla="*/ 14 h 44"/>
                <a:gd name="T44" fmla="*/ 4 w 42"/>
                <a:gd name="T45" fmla="*/ 17 h 44"/>
                <a:gd name="T46" fmla="*/ 7 w 42"/>
                <a:gd name="T47" fmla="*/ 20 h 44"/>
                <a:gd name="T48" fmla="*/ 10 w 42"/>
                <a:gd name="T49" fmla="*/ 23 h 44"/>
                <a:gd name="T50" fmla="*/ 11 w 42"/>
                <a:gd name="T51" fmla="*/ 17 h 44"/>
                <a:gd name="T52" fmla="*/ 8 w 42"/>
                <a:gd name="T53" fmla="*/ 14 h 44"/>
                <a:gd name="T54" fmla="*/ 10 w 42"/>
                <a:gd name="T55" fmla="*/ 14 h 44"/>
                <a:gd name="T56" fmla="*/ 15 w 42"/>
                <a:gd name="T57" fmla="*/ 17 h 44"/>
                <a:gd name="T58" fmla="*/ 16 w 42"/>
                <a:gd name="T59" fmla="*/ 23 h 44"/>
                <a:gd name="T60" fmla="*/ 21 w 42"/>
                <a:gd name="T61" fmla="*/ 23 h 44"/>
                <a:gd name="T62" fmla="*/ 27 w 42"/>
                <a:gd name="T63" fmla="*/ 28 h 44"/>
                <a:gd name="T64" fmla="*/ 29 w 42"/>
                <a:gd name="T65" fmla="*/ 33 h 44"/>
                <a:gd name="T66" fmla="*/ 27 w 42"/>
                <a:gd name="T67" fmla="*/ 36 h 44"/>
                <a:gd name="T68" fmla="*/ 32 w 42"/>
                <a:gd name="T69" fmla="*/ 41 h 44"/>
                <a:gd name="T70" fmla="*/ 32 w 42"/>
                <a:gd name="T71" fmla="*/ 38 h 44"/>
                <a:gd name="T72" fmla="*/ 32 w 42"/>
                <a:gd name="T73" fmla="*/ 35 h 44"/>
                <a:gd name="T74" fmla="*/ 35 w 42"/>
                <a:gd name="T75" fmla="*/ 39 h 44"/>
                <a:gd name="T76" fmla="*/ 35 w 42"/>
                <a:gd name="T77" fmla="*/ 43 h 44"/>
                <a:gd name="T78" fmla="*/ 35 w 42"/>
                <a:gd name="T79" fmla="*/ 43 h 44"/>
                <a:gd name="T80" fmla="*/ 35 w 42"/>
                <a:gd name="T81" fmla="*/ 43 h 44"/>
                <a:gd name="T82" fmla="*/ 35 w 42"/>
                <a:gd name="T83" fmla="*/ 43 h 44"/>
                <a:gd name="T84" fmla="*/ 35 w 42"/>
                <a:gd name="T85" fmla="*/ 43 h 44"/>
                <a:gd name="T86" fmla="*/ 35 w 42"/>
                <a:gd name="T87"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44">
                  <a:moveTo>
                    <a:pt x="35" y="43"/>
                  </a:moveTo>
                  <a:lnTo>
                    <a:pt x="35" y="41"/>
                  </a:lnTo>
                  <a:lnTo>
                    <a:pt x="35" y="39"/>
                  </a:lnTo>
                  <a:lnTo>
                    <a:pt x="38" y="38"/>
                  </a:lnTo>
                  <a:lnTo>
                    <a:pt x="38" y="35"/>
                  </a:lnTo>
                  <a:lnTo>
                    <a:pt x="38" y="33"/>
                  </a:lnTo>
                  <a:lnTo>
                    <a:pt x="38" y="33"/>
                  </a:lnTo>
                  <a:lnTo>
                    <a:pt x="38" y="31"/>
                  </a:lnTo>
                  <a:lnTo>
                    <a:pt x="35" y="30"/>
                  </a:lnTo>
                  <a:lnTo>
                    <a:pt x="38" y="23"/>
                  </a:lnTo>
                  <a:lnTo>
                    <a:pt x="38" y="23"/>
                  </a:lnTo>
                  <a:lnTo>
                    <a:pt x="40" y="23"/>
                  </a:lnTo>
                  <a:lnTo>
                    <a:pt x="42" y="23"/>
                  </a:lnTo>
                  <a:lnTo>
                    <a:pt x="42" y="23"/>
                  </a:lnTo>
                  <a:lnTo>
                    <a:pt x="42" y="23"/>
                  </a:lnTo>
                  <a:lnTo>
                    <a:pt x="38" y="20"/>
                  </a:lnTo>
                  <a:lnTo>
                    <a:pt x="35" y="17"/>
                  </a:lnTo>
                  <a:lnTo>
                    <a:pt x="32" y="14"/>
                  </a:lnTo>
                  <a:lnTo>
                    <a:pt x="32" y="11"/>
                  </a:lnTo>
                  <a:lnTo>
                    <a:pt x="30" y="8"/>
                  </a:lnTo>
                  <a:lnTo>
                    <a:pt x="30" y="8"/>
                  </a:lnTo>
                  <a:lnTo>
                    <a:pt x="29" y="4"/>
                  </a:lnTo>
                  <a:lnTo>
                    <a:pt x="29" y="6"/>
                  </a:lnTo>
                  <a:lnTo>
                    <a:pt x="27" y="6"/>
                  </a:lnTo>
                  <a:lnTo>
                    <a:pt x="26" y="6"/>
                  </a:lnTo>
                  <a:lnTo>
                    <a:pt x="24" y="6"/>
                  </a:lnTo>
                  <a:lnTo>
                    <a:pt x="23" y="6"/>
                  </a:lnTo>
                  <a:lnTo>
                    <a:pt x="21" y="4"/>
                  </a:lnTo>
                  <a:lnTo>
                    <a:pt x="21" y="3"/>
                  </a:lnTo>
                  <a:lnTo>
                    <a:pt x="19" y="3"/>
                  </a:lnTo>
                  <a:lnTo>
                    <a:pt x="18" y="1"/>
                  </a:lnTo>
                  <a:lnTo>
                    <a:pt x="16" y="1"/>
                  </a:lnTo>
                  <a:lnTo>
                    <a:pt x="13" y="3"/>
                  </a:lnTo>
                  <a:lnTo>
                    <a:pt x="10" y="1"/>
                  </a:lnTo>
                  <a:lnTo>
                    <a:pt x="7" y="0"/>
                  </a:lnTo>
                  <a:lnTo>
                    <a:pt x="4" y="0"/>
                  </a:lnTo>
                  <a:lnTo>
                    <a:pt x="4" y="1"/>
                  </a:lnTo>
                  <a:lnTo>
                    <a:pt x="4" y="1"/>
                  </a:lnTo>
                  <a:lnTo>
                    <a:pt x="0" y="3"/>
                  </a:lnTo>
                  <a:lnTo>
                    <a:pt x="0" y="4"/>
                  </a:lnTo>
                  <a:lnTo>
                    <a:pt x="4" y="4"/>
                  </a:lnTo>
                  <a:lnTo>
                    <a:pt x="4" y="8"/>
                  </a:lnTo>
                  <a:lnTo>
                    <a:pt x="0" y="11"/>
                  </a:lnTo>
                  <a:lnTo>
                    <a:pt x="0" y="14"/>
                  </a:lnTo>
                  <a:lnTo>
                    <a:pt x="0" y="17"/>
                  </a:lnTo>
                  <a:lnTo>
                    <a:pt x="4" y="17"/>
                  </a:lnTo>
                  <a:lnTo>
                    <a:pt x="7" y="20"/>
                  </a:lnTo>
                  <a:lnTo>
                    <a:pt x="7" y="20"/>
                  </a:lnTo>
                  <a:lnTo>
                    <a:pt x="8" y="23"/>
                  </a:lnTo>
                  <a:lnTo>
                    <a:pt x="10" y="23"/>
                  </a:lnTo>
                  <a:lnTo>
                    <a:pt x="11" y="20"/>
                  </a:lnTo>
                  <a:lnTo>
                    <a:pt x="11" y="17"/>
                  </a:lnTo>
                  <a:lnTo>
                    <a:pt x="10" y="17"/>
                  </a:lnTo>
                  <a:lnTo>
                    <a:pt x="8" y="14"/>
                  </a:lnTo>
                  <a:lnTo>
                    <a:pt x="7" y="11"/>
                  </a:lnTo>
                  <a:lnTo>
                    <a:pt x="10" y="14"/>
                  </a:lnTo>
                  <a:lnTo>
                    <a:pt x="11" y="17"/>
                  </a:lnTo>
                  <a:lnTo>
                    <a:pt x="15" y="17"/>
                  </a:lnTo>
                  <a:lnTo>
                    <a:pt x="15" y="20"/>
                  </a:lnTo>
                  <a:lnTo>
                    <a:pt x="16" y="23"/>
                  </a:lnTo>
                  <a:lnTo>
                    <a:pt x="18" y="23"/>
                  </a:lnTo>
                  <a:lnTo>
                    <a:pt x="21" y="23"/>
                  </a:lnTo>
                  <a:lnTo>
                    <a:pt x="23" y="25"/>
                  </a:lnTo>
                  <a:lnTo>
                    <a:pt x="27" y="28"/>
                  </a:lnTo>
                  <a:lnTo>
                    <a:pt x="29" y="30"/>
                  </a:lnTo>
                  <a:lnTo>
                    <a:pt x="29" y="33"/>
                  </a:lnTo>
                  <a:lnTo>
                    <a:pt x="27" y="35"/>
                  </a:lnTo>
                  <a:lnTo>
                    <a:pt x="27" y="36"/>
                  </a:lnTo>
                  <a:lnTo>
                    <a:pt x="29" y="39"/>
                  </a:lnTo>
                  <a:lnTo>
                    <a:pt x="32" y="41"/>
                  </a:lnTo>
                  <a:lnTo>
                    <a:pt x="32" y="39"/>
                  </a:lnTo>
                  <a:lnTo>
                    <a:pt x="32" y="38"/>
                  </a:lnTo>
                  <a:lnTo>
                    <a:pt x="30" y="35"/>
                  </a:lnTo>
                  <a:lnTo>
                    <a:pt x="32" y="35"/>
                  </a:lnTo>
                  <a:lnTo>
                    <a:pt x="32" y="36"/>
                  </a:lnTo>
                  <a:lnTo>
                    <a:pt x="35" y="39"/>
                  </a:lnTo>
                  <a:lnTo>
                    <a:pt x="32" y="41"/>
                  </a:lnTo>
                  <a:lnTo>
                    <a:pt x="35" y="43"/>
                  </a:lnTo>
                  <a:lnTo>
                    <a:pt x="35" y="44"/>
                  </a:lnTo>
                  <a:lnTo>
                    <a:pt x="35" y="43"/>
                  </a:lnTo>
                  <a:lnTo>
                    <a:pt x="35" y="43"/>
                  </a:lnTo>
                  <a:lnTo>
                    <a:pt x="35" y="43"/>
                  </a:lnTo>
                  <a:lnTo>
                    <a:pt x="35" y="43"/>
                  </a:lnTo>
                  <a:lnTo>
                    <a:pt x="35" y="43"/>
                  </a:lnTo>
                  <a:lnTo>
                    <a:pt x="35" y="43"/>
                  </a:lnTo>
                  <a:lnTo>
                    <a:pt x="35" y="43"/>
                  </a:lnTo>
                  <a:lnTo>
                    <a:pt x="35" y="43"/>
                  </a:lnTo>
                  <a:lnTo>
                    <a:pt x="35" y="43"/>
                  </a:lnTo>
                  <a:lnTo>
                    <a:pt x="35" y="4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4" name="Freeform 30">
              <a:extLst>
                <a:ext uri="{FF2B5EF4-FFF2-40B4-BE49-F238E27FC236}">
                  <a16:creationId xmlns:a16="http://schemas.microsoft.com/office/drawing/2014/main" id="{F6B32633-ACA4-CEB9-46F9-A64616574D70}"/>
                </a:ext>
              </a:extLst>
            </p:cNvPr>
            <p:cNvSpPr>
              <a:spLocks noEditPoints="1"/>
            </p:cNvSpPr>
            <p:nvPr/>
          </p:nvSpPr>
          <p:spPr bwMode="auto">
            <a:xfrm>
              <a:off x="3409461" y="3717808"/>
              <a:ext cx="165988" cy="78508"/>
            </a:xfrm>
            <a:custGeom>
              <a:avLst/>
              <a:gdLst>
                <a:gd name="T0" fmla="*/ 17 w 74"/>
                <a:gd name="T1" fmla="*/ 33 h 35"/>
                <a:gd name="T2" fmla="*/ 14 w 74"/>
                <a:gd name="T3" fmla="*/ 30 h 35"/>
                <a:gd name="T4" fmla="*/ 14 w 74"/>
                <a:gd name="T5" fmla="*/ 30 h 35"/>
                <a:gd name="T6" fmla="*/ 14 w 74"/>
                <a:gd name="T7" fmla="*/ 30 h 35"/>
                <a:gd name="T8" fmla="*/ 52 w 74"/>
                <a:gd name="T9" fmla="*/ 21 h 35"/>
                <a:gd name="T10" fmla="*/ 52 w 74"/>
                <a:gd name="T11" fmla="*/ 19 h 35"/>
                <a:gd name="T12" fmla="*/ 52 w 74"/>
                <a:gd name="T13" fmla="*/ 21 h 35"/>
                <a:gd name="T14" fmla="*/ 52 w 74"/>
                <a:gd name="T15" fmla="*/ 21 h 35"/>
                <a:gd name="T16" fmla="*/ 52 w 74"/>
                <a:gd name="T17" fmla="*/ 21 h 35"/>
                <a:gd name="T18" fmla="*/ 71 w 74"/>
                <a:gd name="T19" fmla="*/ 14 h 35"/>
                <a:gd name="T20" fmla="*/ 68 w 74"/>
                <a:gd name="T21" fmla="*/ 11 h 35"/>
                <a:gd name="T22" fmla="*/ 58 w 74"/>
                <a:gd name="T23" fmla="*/ 3 h 35"/>
                <a:gd name="T24" fmla="*/ 46 w 74"/>
                <a:gd name="T25" fmla="*/ 0 h 35"/>
                <a:gd name="T26" fmla="*/ 38 w 74"/>
                <a:gd name="T27" fmla="*/ 6 h 35"/>
                <a:gd name="T28" fmla="*/ 25 w 74"/>
                <a:gd name="T29" fmla="*/ 13 h 35"/>
                <a:gd name="T30" fmla="*/ 17 w 74"/>
                <a:gd name="T31" fmla="*/ 9 h 35"/>
                <a:gd name="T32" fmla="*/ 17 w 74"/>
                <a:gd name="T33" fmla="*/ 9 h 35"/>
                <a:gd name="T34" fmla="*/ 11 w 74"/>
                <a:gd name="T35" fmla="*/ 6 h 35"/>
                <a:gd name="T36" fmla="*/ 8 w 74"/>
                <a:gd name="T37" fmla="*/ 0 h 35"/>
                <a:gd name="T38" fmla="*/ 4 w 74"/>
                <a:gd name="T39" fmla="*/ 0 h 35"/>
                <a:gd name="T40" fmla="*/ 1 w 74"/>
                <a:gd name="T41" fmla="*/ 8 h 35"/>
                <a:gd name="T42" fmla="*/ 3 w 74"/>
                <a:gd name="T43" fmla="*/ 11 h 35"/>
                <a:gd name="T44" fmla="*/ 1 w 74"/>
                <a:gd name="T45" fmla="*/ 17 h 35"/>
                <a:gd name="T46" fmla="*/ 1 w 74"/>
                <a:gd name="T47" fmla="*/ 21 h 35"/>
                <a:gd name="T48" fmla="*/ 3 w 74"/>
                <a:gd name="T49" fmla="*/ 22 h 35"/>
                <a:gd name="T50" fmla="*/ 8 w 74"/>
                <a:gd name="T51" fmla="*/ 19 h 35"/>
                <a:gd name="T52" fmla="*/ 11 w 74"/>
                <a:gd name="T53" fmla="*/ 21 h 35"/>
                <a:gd name="T54" fmla="*/ 17 w 74"/>
                <a:gd name="T55" fmla="*/ 27 h 35"/>
                <a:gd name="T56" fmla="*/ 22 w 74"/>
                <a:gd name="T57" fmla="*/ 27 h 35"/>
                <a:gd name="T58" fmla="*/ 23 w 74"/>
                <a:gd name="T59" fmla="*/ 24 h 35"/>
                <a:gd name="T60" fmla="*/ 27 w 74"/>
                <a:gd name="T61" fmla="*/ 35 h 35"/>
                <a:gd name="T62" fmla="*/ 33 w 74"/>
                <a:gd name="T63" fmla="*/ 33 h 35"/>
                <a:gd name="T64" fmla="*/ 38 w 74"/>
                <a:gd name="T65" fmla="*/ 30 h 35"/>
                <a:gd name="T66" fmla="*/ 33 w 74"/>
                <a:gd name="T67" fmla="*/ 21 h 35"/>
                <a:gd name="T68" fmla="*/ 39 w 74"/>
                <a:gd name="T69" fmla="*/ 17 h 35"/>
                <a:gd name="T70" fmla="*/ 46 w 74"/>
                <a:gd name="T71" fmla="*/ 9 h 35"/>
                <a:gd name="T72" fmla="*/ 52 w 74"/>
                <a:gd name="T73" fmla="*/ 9 h 35"/>
                <a:gd name="T74" fmla="*/ 58 w 74"/>
                <a:gd name="T75" fmla="*/ 19 h 35"/>
                <a:gd name="T76" fmla="*/ 62 w 74"/>
                <a:gd name="T77" fmla="*/ 17 h 35"/>
                <a:gd name="T78" fmla="*/ 65 w 74"/>
                <a:gd name="T79" fmla="*/ 21 h 35"/>
                <a:gd name="T80" fmla="*/ 62 w 74"/>
                <a:gd name="T81" fmla="*/ 19 h 35"/>
                <a:gd name="T82" fmla="*/ 58 w 74"/>
                <a:gd name="T83" fmla="*/ 24 h 35"/>
                <a:gd name="T84" fmla="*/ 63 w 74"/>
                <a:gd name="T85" fmla="*/ 33 h 35"/>
                <a:gd name="T86" fmla="*/ 65 w 74"/>
                <a:gd name="T87" fmla="*/ 33 h 35"/>
                <a:gd name="T88" fmla="*/ 66 w 74"/>
                <a:gd name="T89" fmla="*/ 27 h 35"/>
                <a:gd name="T90" fmla="*/ 74 w 74"/>
                <a:gd name="T91" fmla="*/ 24 h 35"/>
                <a:gd name="T92" fmla="*/ 71 w 74"/>
                <a:gd name="T93" fmla="*/ 17 h 35"/>
                <a:gd name="T94" fmla="*/ 71 w 74"/>
                <a:gd name="T95" fmla="*/ 17 h 35"/>
                <a:gd name="T96" fmla="*/ 71 w 74"/>
                <a:gd name="T9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 h="35">
                  <a:moveTo>
                    <a:pt x="14" y="30"/>
                  </a:moveTo>
                  <a:lnTo>
                    <a:pt x="14" y="33"/>
                  </a:lnTo>
                  <a:lnTo>
                    <a:pt x="17" y="33"/>
                  </a:lnTo>
                  <a:lnTo>
                    <a:pt x="17" y="30"/>
                  </a:lnTo>
                  <a:lnTo>
                    <a:pt x="14" y="30"/>
                  </a:lnTo>
                  <a:lnTo>
                    <a:pt x="14" y="30"/>
                  </a:lnTo>
                  <a:lnTo>
                    <a:pt x="14" y="30"/>
                  </a:lnTo>
                  <a:lnTo>
                    <a:pt x="14" y="30"/>
                  </a:lnTo>
                  <a:lnTo>
                    <a:pt x="14" y="30"/>
                  </a:lnTo>
                  <a:lnTo>
                    <a:pt x="14" y="30"/>
                  </a:lnTo>
                  <a:lnTo>
                    <a:pt x="14" y="30"/>
                  </a:lnTo>
                  <a:lnTo>
                    <a:pt x="14" y="30"/>
                  </a:lnTo>
                  <a:lnTo>
                    <a:pt x="14" y="30"/>
                  </a:lnTo>
                  <a:lnTo>
                    <a:pt x="14" y="30"/>
                  </a:lnTo>
                  <a:close/>
                  <a:moveTo>
                    <a:pt x="52" y="21"/>
                  </a:moveTo>
                  <a:lnTo>
                    <a:pt x="52" y="19"/>
                  </a:lnTo>
                  <a:lnTo>
                    <a:pt x="52" y="17"/>
                  </a:lnTo>
                  <a:lnTo>
                    <a:pt x="52" y="19"/>
                  </a:lnTo>
                  <a:lnTo>
                    <a:pt x="52" y="21"/>
                  </a:lnTo>
                  <a:lnTo>
                    <a:pt x="52" y="21"/>
                  </a:lnTo>
                  <a:lnTo>
                    <a:pt x="52" y="21"/>
                  </a:lnTo>
                  <a:lnTo>
                    <a:pt x="52" y="21"/>
                  </a:lnTo>
                  <a:lnTo>
                    <a:pt x="52" y="21"/>
                  </a:lnTo>
                  <a:lnTo>
                    <a:pt x="52" y="21"/>
                  </a:lnTo>
                  <a:lnTo>
                    <a:pt x="52" y="21"/>
                  </a:lnTo>
                  <a:lnTo>
                    <a:pt x="52" y="21"/>
                  </a:lnTo>
                  <a:lnTo>
                    <a:pt x="52" y="21"/>
                  </a:lnTo>
                  <a:close/>
                  <a:moveTo>
                    <a:pt x="71" y="17"/>
                  </a:moveTo>
                  <a:lnTo>
                    <a:pt x="71" y="16"/>
                  </a:lnTo>
                  <a:lnTo>
                    <a:pt x="71" y="14"/>
                  </a:lnTo>
                  <a:lnTo>
                    <a:pt x="73" y="14"/>
                  </a:lnTo>
                  <a:lnTo>
                    <a:pt x="70" y="13"/>
                  </a:lnTo>
                  <a:lnTo>
                    <a:pt x="68" y="11"/>
                  </a:lnTo>
                  <a:lnTo>
                    <a:pt x="65" y="6"/>
                  </a:lnTo>
                  <a:lnTo>
                    <a:pt x="62" y="5"/>
                  </a:lnTo>
                  <a:lnTo>
                    <a:pt x="58" y="3"/>
                  </a:lnTo>
                  <a:lnTo>
                    <a:pt x="52" y="1"/>
                  </a:lnTo>
                  <a:lnTo>
                    <a:pt x="52" y="0"/>
                  </a:lnTo>
                  <a:lnTo>
                    <a:pt x="46" y="0"/>
                  </a:lnTo>
                  <a:lnTo>
                    <a:pt x="43" y="1"/>
                  </a:lnTo>
                  <a:lnTo>
                    <a:pt x="43" y="3"/>
                  </a:lnTo>
                  <a:lnTo>
                    <a:pt x="38" y="6"/>
                  </a:lnTo>
                  <a:lnTo>
                    <a:pt x="33" y="8"/>
                  </a:lnTo>
                  <a:lnTo>
                    <a:pt x="27" y="11"/>
                  </a:lnTo>
                  <a:lnTo>
                    <a:pt x="25" y="13"/>
                  </a:lnTo>
                  <a:lnTo>
                    <a:pt x="20" y="13"/>
                  </a:lnTo>
                  <a:lnTo>
                    <a:pt x="19" y="11"/>
                  </a:lnTo>
                  <a:lnTo>
                    <a:pt x="17" y="9"/>
                  </a:lnTo>
                  <a:lnTo>
                    <a:pt x="17" y="8"/>
                  </a:lnTo>
                  <a:lnTo>
                    <a:pt x="14" y="8"/>
                  </a:lnTo>
                  <a:lnTo>
                    <a:pt x="17" y="9"/>
                  </a:lnTo>
                  <a:lnTo>
                    <a:pt x="11" y="9"/>
                  </a:lnTo>
                  <a:lnTo>
                    <a:pt x="11" y="9"/>
                  </a:lnTo>
                  <a:lnTo>
                    <a:pt x="11" y="6"/>
                  </a:lnTo>
                  <a:lnTo>
                    <a:pt x="8" y="6"/>
                  </a:lnTo>
                  <a:lnTo>
                    <a:pt x="8" y="3"/>
                  </a:lnTo>
                  <a:lnTo>
                    <a:pt x="8" y="0"/>
                  </a:lnTo>
                  <a:lnTo>
                    <a:pt x="6" y="0"/>
                  </a:lnTo>
                  <a:lnTo>
                    <a:pt x="6" y="1"/>
                  </a:lnTo>
                  <a:lnTo>
                    <a:pt x="4" y="0"/>
                  </a:lnTo>
                  <a:lnTo>
                    <a:pt x="4" y="0"/>
                  </a:lnTo>
                  <a:lnTo>
                    <a:pt x="3" y="0"/>
                  </a:lnTo>
                  <a:lnTo>
                    <a:pt x="1" y="8"/>
                  </a:lnTo>
                  <a:lnTo>
                    <a:pt x="4" y="9"/>
                  </a:lnTo>
                  <a:lnTo>
                    <a:pt x="4" y="11"/>
                  </a:lnTo>
                  <a:lnTo>
                    <a:pt x="3" y="11"/>
                  </a:lnTo>
                  <a:lnTo>
                    <a:pt x="3" y="13"/>
                  </a:lnTo>
                  <a:lnTo>
                    <a:pt x="3" y="16"/>
                  </a:lnTo>
                  <a:lnTo>
                    <a:pt x="1" y="17"/>
                  </a:lnTo>
                  <a:lnTo>
                    <a:pt x="0" y="19"/>
                  </a:lnTo>
                  <a:lnTo>
                    <a:pt x="1" y="21"/>
                  </a:lnTo>
                  <a:lnTo>
                    <a:pt x="1" y="21"/>
                  </a:lnTo>
                  <a:lnTo>
                    <a:pt x="1" y="22"/>
                  </a:lnTo>
                  <a:lnTo>
                    <a:pt x="1" y="24"/>
                  </a:lnTo>
                  <a:lnTo>
                    <a:pt x="3" y="22"/>
                  </a:lnTo>
                  <a:lnTo>
                    <a:pt x="3" y="19"/>
                  </a:lnTo>
                  <a:lnTo>
                    <a:pt x="6" y="19"/>
                  </a:lnTo>
                  <a:lnTo>
                    <a:pt x="8" y="19"/>
                  </a:lnTo>
                  <a:lnTo>
                    <a:pt x="8" y="19"/>
                  </a:lnTo>
                  <a:lnTo>
                    <a:pt x="11" y="21"/>
                  </a:lnTo>
                  <a:lnTo>
                    <a:pt x="11" y="21"/>
                  </a:lnTo>
                  <a:lnTo>
                    <a:pt x="14" y="21"/>
                  </a:lnTo>
                  <a:lnTo>
                    <a:pt x="17" y="24"/>
                  </a:lnTo>
                  <a:lnTo>
                    <a:pt x="17" y="27"/>
                  </a:lnTo>
                  <a:lnTo>
                    <a:pt x="19" y="27"/>
                  </a:lnTo>
                  <a:lnTo>
                    <a:pt x="22" y="30"/>
                  </a:lnTo>
                  <a:lnTo>
                    <a:pt x="22" y="27"/>
                  </a:lnTo>
                  <a:lnTo>
                    <a:pt x="22" y="24"/>
                  </a:lnTo>
                  <a:lnTo>
                    <a:pt x="23" y="27"/>
                  </a:lnTo>
                  <a:lnTo>
                    <a:pt x="23" y="24"/>
                  </a:lnTo>
                  <a:lnTo>
                    <a:pt x="25" y="27"/>
                  </a:lnTo>
                  <a:lnTo>
                    <a:pt x="25" y="30"/>
                  </a:lnTo>
                  <a:lnTo>
                    <a:pt x="27" y="35"/>
                  </a:lnTo>
                  <a:lnTo>
                    <a:pt x="28" y="35"/>
                  </a:lnTo>
                  <a:lnTo>
                    <a:pt x="30" y="33"/>
                  </a:lnTo>
                  <a:lnTo>
                    <a:pt x="33" y="33"/>
                  </a:lnTo>
                  <a:lnTo>
                    <a:pt x="36" y="33"/>
                  </a:lnTo>
                  <a:lnTo>
                    <a:pt x="38" y="30"/>
                  </a:lnTo>
                  <a:lnTo>
                    <a:pt x="38" y="30"/>
                  </a:lnTo>
                  <a:lnTo>
                    <a:pt x="36" y="27"/>
                  </a:lnTo>
                  <a:lnTo>
                    <a:pt x="33" y="22"/>
                  </a:lnTo>
                  <a:lnTo>
                    <a:pt x="33" y="21"/>
                  </a:lnTo>
                  <a:lnTo>
                    <a:pt x="35" y="19"/>
                  </a:lnTo>
                  <a:lnTo>
                    <a:pt x="36" y="19"/>
                  </a:lnTo>
                  <a:lnTo>
                    <a:pt x="39" y="17"/>
                  </a:lnTo>
                  <a:lnTo>
                    <a:pt x="43" y="13"/>
                  </a:lnTo>
                  <a:lnTo>
                    <a:pt x="43" y="11"/>
                  </a:lnTo>
                  <a:lnTo>
                    <a:pt x="46" y="9"/>
                  </a:lnTo>
                  <a:lnTo>
                    <a:pt x="49" y="9"/>
                  </a:lnTo>
                  <a:lnTo>
                    <a:pt x="52" y="9"/>
                  </a:lnTo>
                  <a:lnTo>
                    <a:pt x="52" y="9"/>
                  </a:lnTo>
                  <a:lnTo>
                    <a:pt x="55" y="13"/>
                  </a:lnTo>
                  <a:lnTo>
                    <a:pt x="57" y="16"/>
                  </a:lnTo>
                  <a:lnTo>
                    <a:pt x="58" y="19"/>
                  </a:lnTo>
                  <a:lnTo>
                    <a:pt x="58" y="16"/>
                  </a:lnTo>
                  <a:lnTo>
                    <a:pt x="60" y="17"/>
                  </a:lnTo>
                  <a:lnTo>
                    <a:pt x="62" y="17"/>
                  </a:lnTo>
                  <a:lnTo>
                    <a:pt x="62" y="16"/>
                  </a:lnTo>
                  <a:lnTo>
                    <a:pt x="63" y="17"/>
                  </a:lnTo>
                  <a:lnTo>
                    <a:pt x="65" y="21"/>
                  </a:lnTo>
                  <a:lnTo>
                    <a:pt x="66" y="22"/>
                  </a:lnTo>
                  <a:lnTo>
                    <a:pt x="63" y="21"/>
                  </a:lnTo>
                  <a:lnTo>
                    <a:pt x="62" y="19"/>
                  </a:lnTo>
                  <a:lnTo>
                    <a:pt x="60" y="22"/>
                  </a:lnTo>
                  <a:lnTo>
                    <a:pt x="60" y="24"/>
                  </a:lnTo>
                  <a:lnTo>
                    <a:pt x="58" y="24"/>
                  </a:lnTo>
                  <a:lnTo>
                    <a:pt x="60" y="30"/>
                  </a:lnTo>
                  <a:lnTo>
                    <a:pt x="62" y="30"/>
                  </a:lnTo>
                  <a:lnTo>
                    <a:pt x="63" y="33"/>
                  </a:lnTo>
                  <a:lnTo>
                    <a:pt x="63" y="33"/>
                  </a:lnTo>
                  <a:lnTo>
                    <a:pt x="65" y="35"/>
                  </a:lnTo>
                  <a:lnTo>
                    <a:pt x="65" y="33"/>
                  </a:lnTo>
                  <a:lnTo>
                    <a:pt x="66" y="33"/>
                  </a:lnTo>
                  <a:lnTo>
                    <a:pt x="66" y="30"/>
                  </a:lnTo>
                  <a:lnTo>
                    <a:pt x="66" y="27"/>
                  </a:lnTo>
                  <a:lnTo>
                    <a:pt x="68" y="30"/>
                  </a:lnTo>
                  <a:lnTo>
                    <a:pt x="73" y="27"/>
                  </a:lnTo>
                  <a:lnTo>
                    <a:pt x="74" y="24"/>
                  </a:lnTo>
                  <a:lnTo>
                    <a:pt x="74" y="22"/>
                  </a:lnTo>
                  <a:lnTo>
                    <a:pt x="71" y="17"/>
                  </a:lnTo>
                  <a:lnTo>
                    <a:pt x="71" y="17"/>
                  </a:lnTo>
                  <a:lnTo>
                    <a:pt x="71" y="17"/>
                  </a:lnTo>
                  <a:lnTo>
                    <a:pt x="71" y="17"/>
                  </a:lnTo>
                  <a:lnTo>
                    <a:pt x="71" y="17"/>
                  </a:lnTo>
                  <a:lnTo>
                    <a:pt x="71" y="17"/>
                  </a:lnTo>
                  <a:lnTo>
                    <a:pt x="71" y="17"/>
                  </a:lnTo>
                  <a:lnTo>
                    <a:pt x="71" y="17"/>
                  </a:lnTo>
                  <a:lnTo>
                    <a:pt x="71" y="1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5" name="Freeform 235">
              <a:extLst>
                <a:ext uri="{FF2B5EF4-FFF2-40B4-BE49-F238E27FC236}">
                  <a16:creationId xmlns:a16="http://schemas.microsoft.com/office/drawing/2014/main" id="{41D527A3-E8B3-CB5E-CBE1-67D979033DDE}"/>
                </a:ext>
              </a:extLst>
            </p:cNvPr>
            <p:cNvSpPr>
              <a:spLocks noEditPoints="1"/>
            </p:cNvSpPr>
            <p:nvPr/>
          </p:nvSpPr>
          <p:spPr bwMode="auto">
            <a:xfrm>
              <a:off x="2604198" y="2973109"/>
              <a:ext cx="744700" cy="583198"/>
            </a:xfrm>
            <a:custGeom>
              <a:avLst/>
              <a:gdLst>
                <a:gd name="T0" fmla="*/ 300 w 332"/>
                <a:gd name="T1" fmla="*/ 164 h 260"/>
                <a:gd name="T2" fmla="*/ 284 w 332"/>
                <a:gd name="T3" fmla="*/ 184 h 260"/>
                <a:gd name="T4" fmla="*/ 267 w 332"/>
                <a:gd name="T5" fmla="*/ 205 h 260"/>
                <a:gd name="T6" fmla="*/ 252 w 332"/>
                <a:gd name="T7" fmla="*/ 205 h 260"/>
                <a:gd name="T8" fmla="*/ 224 w 332"/>
                <a:gd name="T9" fmla="*/ 202 h 260"/>
                <a:gd name="T10" fmla="*/ 209 w 332"/>
                <a:gd name="T11" fmla="*/ 191 h 260"/>
                <a:gd name="T12" fmla="*/ 197 w 332"/>
                <a:gd name="T13" fmla="*/ 153 h 260"/>
                <a:gd name="T14" fmla="*/ 203 w 332"/>
                <a:gd name="T15" fmla="*/ 121 h 260"/>
                <a:gd name="T16" fmla="*/ 209 w 332"/>
                <a:gd name="T17" fmla="*/ 105 h 260"/>
                <a:gd name="T18" fmla="*/ 208 w 332"/>
                <a:gd name="T19" fmla="*/ 95 h 260"/>
                <a:gd name="T20" fmla="*/ 192 w 332"/>
                <a:gd name="T21" fmla="*/ 83 h 260"/>
                <a:gd name="T22" fmla="*/ 181 w 332"/>
                <a:gd name="T23" fmla="*/ 48 h 260"/>
                <a:gd name="T24" fmla="*/ 154 w 332"/>
                <a:gd name="T25" fmla="*/ 52 h 260"/>
                <a:gd name="T26" fmla="*/ 136 w 332"/>
                <a:gd name="T27" fmla="*/ 29 h 260"/>
                <a:gd name="T28" fmla="*/ 101 w 332"/>
                <a:gd name="T29" fmla="*/ 14 h 260"/>
                <a:gd name="T30" fmla="*/ 1 w 332"/>
                <a:gd name="T31" fmla="*/ 11 h 260"/>
                <a:gd name="T32" fmla="*/ 3 w 332"/>
                <a:gd name="T33" fmla="*/ 25 h 260"/>
                <a:gd name="T34" fmla="*/ 5 w 332"/>
                <a:gd name="T35" fmla="*/ 45 h 260"/>
                <a:gd name="T36" fmla="*/ 14 w 332"/>
                <a:gd name="T37" fmla="*/ 72 h 260"/>
                <a:gd name="T38" fmla="*/ 11 w 332"/>
                <a:gd name="T39" fmla="*/ 72 h 260"/>
                <a:gd name="T40" fmla="*/ 8 w 332"/>
                <a:gd name="T41" fmla="*/ 76 h 260"/>
                <a:gd name="T42" fmla="*/ 16 w 332"/>
                <a:gd name="T43" fmla="*/ 86 h 260"/>
                <a:gd name="T44" fmla="*/ 30 w 332"/>
                <a:gd name="T45" fmla="*/ 105 h 260"/>
                <a:gd name="T46" fmla="*/ 43 w 332"/>
                <a:gd name="T47" fmla="*/ 130 h 260"/>
                <a:gd name="T48" fmla="*/ 55 w 332"/>
                <a:gd name="T49" fmla="*/ 133 h 260"/>
                <a:gd name="T50" fmla="*/ 43 w 332"/>
                <a:gd name="T51" fmla="*/ 118 h 260"/>
                <a:gd name="T52" fmla="*/ 40 w 332"/>
                <a:gd name="T53" fmla="*/ 87 h 260"/>
                <a:gd name="T54" fmla="*/ 36 w 332"/>
                <a:gd name="T55" fmla="*/ 79 h 260"/>
                <a:gd name="T56" fmla="*/ 28 w 332"/>
                <a:gd name="T57" fmla="*/ 57 h 260"/>
                <a:gd name="T58" fmla="*/ 19 w 332"/>
                <a:gd name="T59" fmla="*/ 33 h 260"/>
                <a:gd name="T60" fmla="*/ 30 w 332"/>
                <a:gd name="T61" fmla="*/ 18 h 260"/>
                <a:gd name="T62" fmla="*/ 43 w 332"/>
                <a:gd name="T63" fmla="*/ 24 h 260"/>
                <a:gd name="T64" fmla="*/ 43 w 332"/>
                <a:gd name="T65" fmla="*/ 48 h 260"/>
                <a:gd name="T66" fmla="*/ 49 w 332"/>
                <a:gd name="T67" fmla="*/ 67 h 260"/>
                <a:gd name="T68" fmla="*/ 55 w 332"/>
                <a:gd name="T69" fmla="*/ 76 h 260"/>
                <a:gd name="T70" fmla="*/ 67 w 332"/>
                <a:gd name="T71" fmla="*/ 86 h 260"/>
                <a:gd name="T72" fmla="*/ 65 w 332"/>
                <a:gd name="T73" fmla="*/ 95 h 260"/>
                <a:gd name="T74" fmla="*/ 70 w 332"/>
                <a:gd name="T75" fmla="*/ 103 h 260"/>
                <a:gd name="T76" fmla="*/ 78 w 332"/>
                <a:gd name="T77" fmla="*/ 118 h 260"/>
                <a:gd name="T78" fmla="*/ 100 w 332"/>
                <a:gd name="T79" fmla="*/ 156 h 260"/>
                <a:gd name="T80" fmla="*/ 98 w 332"/>
                <a:gd name="T81" fmla="*/ 175 h 260"/>
                <a:gd name="T82" fmla="*/ 106 w 332"/>
                <a:gd name="T83" fmla="*/ 195 h 260"/>
                <a:gd name="T84" fmla="*/ 133 w 332"/>
                <a:gd name="T85" fmla="*/ 211 h 260"/>
                <a:gd name="T86" fmla="*/ 165 w 332"/>
                <a:gd name="T87" fmla="*/ 230 h 260"/>
                <a:gd name="T88" fmla="*/ 186 w 332"/>
                <a:gd name="T89" fmla="*/ 243 h 260"/>
                <a:gd name="T90" fmla="*/ 219 w 332"/>
                <a:gd name="T91" fmla="*/ 237 h 260"/>
                <a:gd name="T92" fmla="*/ 227 w 332"/>
                <a:gd name="T93" fmla="*/ 237 h 260"/>
                <a:gd name="T94" fmla="*/ 251 w 332"/>
                <a:gd name="T95" fmla="*/ 260 h 260"/>
                <a:gd name="T96" fmla="*/ 259 w 332"/>
                <a:gd name="T97" fmla="*/ 240 h 260"/>
                <a:gd name="T98" fmla="*/ 271 w 332"/>
                <a:gd name="T99" fmla="*/ 229 h 260"/>
                <a:gd name="T100" fmla="*/ 275 w 332"/>
                <a:gd name="T101" fmla="*/ 213 h 260"/>
                <a:gd name="T102" fmla="*/ 298 w 332"/>
                <a:gd name="T103" fmla="*/ 213 h 260"/>
                <a:gd name="T104" fmla="*/ 311 w 332"/>
                <a:gd name="T105" fmla="*/ 208 h 260"/>
                <a:gd name="T106" fmla="*/ 317 w 332"/>
                <a:gd name="T107" fmla="*/ 189 h 260"/>
                <a:gd name="T108" fmla="*/ 332 w 332"/>
                <a:gd name="T109" fmla="*/ 164 h 260"/>
                <a:gd name="T110" fmla="*/ 330 w 332"/>
                <a:gd name="T111" fmla="*/ 160 h 260"/>
                <a:gd name="T112" fmla="*/ 200 w 332"/>
                <a:gd name="T113" fmla="*/ 1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2" h="260">
                  <a:moveTo>
                    <a:pt x="330" y="160"/>
                  </a:moveTo>
                  <a:lnTo>
                    <a:pt x="325" y="160"/>
                  </a:lnTo>
                  <a:lnTo>
                    <a:pt x="324" y="162"/>
                  </a:lnTo>
                  <a:lnTo>
                    <a:pt x="322" y="162"/>
                  </a:lnTo>
                  <a:lnTo>
                    <a:pt x="317" y="160"/>
                  </a:lnTo>
                  <a:lnTo>
                    <a:pt x="314" y="160"/>
                  </a:lnTo>
                  <a:lnTo>
                    <a:pt x="311" y="160"/>
                  </a:lnTo>
                  <a:lnTo>
                    <a:pt x="300" y="164"/>
                  </a:lnTo>
                  <a:lnTo>
                    <a:pt x="294" y="164"/>
                  </a:lnTo>
                  <a:lnTo>
                    <a:pt x="287" y="167"/>
                  </a:lnTo>
                  <a:lnTo>
                    <a:pt x="287" y="170"/>
                  </a:lnTo>
                  <a:lnTo>
                    <a:pt x="287" y="170"/>
                  </a:lnTo>
                  <a:lnTo>
                    <a:pt x="286" y="173"/>
                  </a:lnTo>
                  <a:lnTo>
                    <a:pt x="284" y="178"/>
                  </a:lnTo>
                  <a:lnTo>
                    <a:pt x="284" y="181"/>
                  </a:lnTo>
                  <a:lnTo>
                    <a:pt x="284" y="184"/>
                  </a:lnTo>
                  <a:lnTo>
                    <a:pt x="279" y="187"/>
                  </a:lnTo>
                  <a:lnTo>
                    <a:pt x="278" y="192"/>
                  </a:lnTo>
                  <a:lnTo>
                    <a:pt x="275" y="195"/>
                  </a:lnTo>
                  <a:lnTo>
                    <a:pt x="271" y="195"/>
                  </a:lnTo>
                  <a:lnTo>
                    <a:pt x="268" y="199"/>
                  </a:lnTo>
                  <a:lnTo>
                    <a:pt x="270" y="202"/>
                  </a:lnTo>
                  <a:lnTo>
                    <a:pt x="268" y="205"/>
                  </a:lnTo>
                  <a:lnTo>
                    <a:pt x="267" y="205"/>
                  </a:lnTo>
                  <a:lnTo>
                    <a:pt x="265" y="205"/>
                  </a:lnTo>
                  <a:lnTo>
                    <a:pt x="262" y="205"/>
                  </a:lnTo>
                  <a:lnTo>
                    <a:pt x="262" y="205"/>
                  </a:lnTo>
                  <a:lnTo>
                    <a:pt x="262" y="202"/>
                  </a:lnTo>
                  <a:lnTo>
                    <a:pt x="262" y="202"/>
                  </a:lnTo>
                  <a:lnTo>
                    <a:pt x="257" y="202"/>
                  </a:lnTo>
                  <a:lnTo>
                    <a:pt x="254" y="202"/>
                  </a:lnTo>
                  <a:lnTo>
                    <a:pt x="252" y="205"/>
                  </a:lnTo>
                  <a:lnTo>
                    <a:pt x="251" y="205"/>
                  </a:lnTo>
                  <a:lnTo>
                    <a:pt x="246" y="205"/>
                  </a:lnTo>
                  <a:lnTo>
                    <a:pt x="240" y="206"/>
                  </a:lnTo>
                  <a:lnTo>
                    <a:pt x="238" y="208"/>
                  </a:lnTo>
                  <a:lnTo>
                    <a:pt x="235" y="208"/>
                  </a:lnTo>
                  <a:lnTo>
                    <a:pt x="232" y="208"/>
                  </a:lnTo>
                  <a:lnTo>
                    <a:pt x="228" y="208"/>
                  </a:lnTo>
                  <a:lnTo>
                    <a:pt x="224" y="202"/>
                  </a:lnTo>
                  <a:lnTo>
                    <a:pt x="219" y="202"/>
                  </a:lnTo>
                  <a:lnTo>
                    <a:pt x="214" y="202"/>
                  </a:lnTo>
                  <a:lnTo>
                    <a:pt x="213" y="202"/>
                  </a:lnTo>
                  <a:lnTo>
                    <a:pt x="213" y="199"/>
                  </a:lnTo>
                  <a:lnTo>
                    <a:pt x="214" y="199"/>
                  </a:lnTo>
                  <a:lnTo>
                    <a:pt x="213" y="199"/>
                  </a:lnTo>
                  <a:lnTo>
                    <a:pt x="211" y="195"/>
                  </a:lnTo>
                  <a:lnTo>
                    <a:pt x="209" y="191"/>
                  </a:lnTo>
                  <a:lnTo>
                    <a:pt x="206" y="183"/>
                  </a:lnTo>
                  <a:lnTo>
                    <a:pt x="203" y="176"/>
                  </a:lnTo>
                  <a:lnTo>
                    <a:pt x="200" y="170"/>
                  </a:lnTo>
                  <a:lnTo>
                    <a:pt x="200" y="164"/>
                  </a:lnTo>
                  <a:lnTo>
                    <a:pt x="200" y="162"/>
                  </a:lnTo>
                  <a:lnTo>
                    <a:pt x="197" y="160"/>
                  </a:lnTo>
                  <a:lnTo>
                    <a:pt x="197" y="156"/>
                  </a:lnTo>
                  <a:lnTo>
                    <a:pt x="197" y="153"/>
                  </a:lnTo>
                  <a:lnTo>
                    <a:pt x="197" y="148"/>
                  </a:lnTo>
                  <a:lnTo>
                    <a:pt x="200" y="143"/>
                  </a:lnTo>
                  <a:lnTo>
                    <a:pt x="200" y="138"/>
                  </a:lnTo>
                  <a:lnTo>
                    <a:pt x="203" y="133"/>
                  </a:lnTo>
                  <a:lnTo>
                    <a:pt x="203" y="130"/>
                  </a:lnTo>
                  <a:lnTo>
                    <a:pt x="200" y="129"/>
                  </a:lnTo>
                  <a:lnTo>
                    <a:pt x="203" y="127"/>
                  </a:lnTo>
                  <a:lnTo>
                    <a:pt x="203" y="121"/>
                  </a:lnTo>
                  <a:lnTo>
                    <a:pt x="203" y="118"/>
                  </a:lnTo>
                  <a:lnTo>
                    <a:pt x="203" y="118"/>
                  </a:lnTo>
                  <a:lnTo>
                    <a:pt x="206" y="114"/>
                  </a:lnTo>
                  <a:lnTo>
                    <a:pt x="206" y="111"/>
                  </a:lnTo>
                  <a:lnTo>
                    <a:pt x="206" y="108"/>
                  </a:lnTo>
                  <a:lnTo>
                    <a:pt x="206" y="105"/>
                  </a:lnTo>
                  <a:lnTo>
                    <a:pt x="208" y="105"/>
                  </a:lnTo>
                  <a:lnTo>
                    <a:pt x="209" y="105"/>
                  </a:lnTo>
                  <a:lnTo>
                    <a:pt x="209" y="105"/>
                  </a:lnTo>
                  <a:lnTo>
                    <a:pt x="209" y="108"/>
                  </a:lnTo>
                  <a:lnTo>
                    <a:pt x="216" y="97"/>
                  </a:lnTo>
                  <a:lnTo>
                    <a:pt x="213" y="99"/>
                  </a:lnTo>
                  <a:lnTo>
                    <a:pt x="213" y="99"/>
                  </a:lnTo>
                  <a:lnTo>
                    <a:pt x="213" y="99"/>
                  </a:lnTo>
                  <a:lnTo>
                    <a:pt x="209" y="97"/>
                  </a:lnTo>
                  <a:lnTo>
                    <a:pt x="208" y="95"/>
                  </a:lnTo>
                  <a:lnTo>
                    <a:pt x="206" y="95"/>
                  </a:lnTo>
                  <a:lnTo>
                    <a:pt x="203" y="95"/>
                  </a:lnTo>
                  <a:lnTo>
                    <a:pt x="200" y="92"/>
                  </a:lnTo>
                  <a:lnTo>
                    <a:pt x="197" y="91"/>
                  </a:lnTo>
                  <a:lnTo>
                    <a:pt x="195" y="91"/>
                  </a:lnTo>
                  <a:lnTo>
                    <a:pt x="194" y="89"/>
                  </a:lnTo>
                  <a:lnTo>
                    <a:pt x="192" y="84"/>
                  </a:lnTo>
                  <a:lnTo>
                    <a:pt x="192" y="83"/>
                  </a:lnTo>
                  <a:lnTo>
                    <a:pt x="192" y="76"/>
                  </a:lnTo>
                  <a:lnTo>
                    <a:pt x="192" y="73"/>
                  </a:lnTo>
                  <a:lnTo>
                    <a:pt x="190" y="72"/>
                  </a:lnTo>
                  <a:lnTo>
                    <a:pt x="187" y="65"/>
                  </a:lnTo>
                  <a:lnTo>
                    <a:pt x="184" y="59"/>
                  </a:lnTo>
                  <a:lnTo>
                    <a:pt x="184" y="52"/>
                  </a:lnTo>
                  <a:lnTo>
                    <a:pt x="182" y="49"/>
                  </a:lnTo>
                  <a:lnTo>
                    <a:pt x="181" y="48"/>
                  </a:lnTo>
                  <a:lnTo>
                    <a:pt x="176" y="41"/>
                  </a:lnTo>
                  <a:lnTo>
                    <a:pt x="175" y="41"/>
                  </a:lnTo>
                  <a:lnTo>
                    <a:pt x="168" y="41"/>
                  </a:lnTo>
                  <a:lnTo>
                    <a:pt x="162" y="41"/>
                  </a:lnTo>
                  <a:lnTo>
                    <a:pt x="160" y="45"/>
                  </a:lnTo>
                  <a:lnTo>
                    <a:pt x="159" y="48"/>
                  </a:lnTo>
                  <a:lnTo>
                    <a:pt x="155" y="51"/>
                  </a:lnTo>
                  <a:lnTo>
                    <a:pt x="154" y="52"/>
                  </a:lnTo>
                  <a:lnTo>
                    <a:pt x="151" y="52"/>
                  </a:lnTo>
                  <a:lnTo>
                    <a:pt x="148" y="51"/>
                  </a:lnTo>
                  <a:lnTo>
                    <a:pt x="143" y="48"/>
                  </a:lnTo>
                  <a:lnTo>
                    <a:pt x="140" y="45"/>
                  </a:lnTo>
                  <a:lnTo>
                    <a:pt x="140" y="38"/>
                  </a:lnTo>
                  <a:lnTo>
                    <a:pt x="140" y="37"/>
                  </a:lnTo>
                  <a:lnTo>
                    <a:pt x="140" y="32"/>
                  </a:lnTo>
                  <a:lnTo>
                    <a:pt x="136" y="29"/>
                  </a:lnTo>
                  <a:lnTo>
                    <a:pt x="133" y="27"/>
                  </a:lnTo>
                  <a:lnTo>
                    <a:pt x="133" y="24"/>
                  </a:lnTo>
                  <a:lnTo>
                    <a:pt x="130" y="21"/>
                  </a:lnTo>
                  <a:lnTo>
                    <a:pt x="127" y="18"/>
                  </a:lnTo>
                  <a:lnTo>
                    <a:pt x="125" y="14"/>
                  </a:lnTo>
                  <a:lnTo>
                    <a:pt x="125" y="14"/>
                  </a:lnTo>
                  <a:lnTo>
                    <a:pt x="124" y="14"/>
                  </a:lnTo>
                  <a:lnTo>
                    <a:pt x="101" y="14"/>
                  </a:lnTo>
                  <a:lnTo>
                    <a:pt x="101" y="21"/>
                  </a:lnTo>
                  <a:lnTo>
                    <a:pt x="68" y="21"/>
                  </a:lnTo>
                  <a:lnTo>
                    <a:pt x="28" y="3"/>
                  </a:lnTo>
                  <a:lnTo>
                    <a:pt x="30" y="0"/>
                  </a:lnTo>
                  <a:lnTo>
                    <a:pt x="0" y="3"/>
                  </a:lnTo>
                  <a:lnTo>
                    <a:pt x="1" y="6"/>
                  </a:lnTo>
                  <a:lnTo>
                    <a:pt x="0" y="10"/>
                  </a:lnTo>
                  <a:lnTo>
                    <a:pt x="1" y="11"/>
                  </a:lnTo>
                  <a:lnTo>
                    <a:pt x="3" y="13"/>
                  </a:lnTo>
                  <a:lnTo>
                    <a:pt x="1" y="14"/>
                  </a:lnTo>
                  <a:lnTo>
                    <a:pt x="1" y="14"/>
                  </a:lnTo>
                  <a:lnTo>
                    <a:pt x="1" y="18"/>
                  </a:lnTo>
                  <a:lnTo>
                    <a:pt x="1" y="21"/>
                  </a:lnTo>
                  <a:lnTo>
                    <a:pt x="3" y="21"/>
                  </a:lnTo>
                  <a:lnTo>
                    <a:pt x="1" y="24"/>
                  </a:lnTo>
                  <a:lnTo>
                    <a:pt x="3" y="25"/>
                  </a:lnTo>
                  <a:lnTo>
                    <a:pt x="3" y="27"/>
                  </a:lnTo>
                  <a:lnTo>
                    <a:pt x="3" y="29"/>
                  </a:lnTo>
                  <a:lnTo>
                    <a:pt x="3" y="32"/>
                  </a:lnTo>
                  <a:lnTo>
                    <a:pt x="5" y="33"/>
                  </a:lnTo>
                  <a:lnTo>
                    <a:pt x="5" y="37"/>
                  </a:lnTo>
                  <a:lnTo>
                    <a:pt x="3" y="38"/>
                  </a:lnTo>
                  <a:lnTo>
                    <a:pt x="3" y="38"/>
                  </a:lnTo>
                  <a:lnTo>
                    <a:pt x="5" y="45"/>
                  </a:lnTo>
                  <a:lnTo>
                    <a:pt x="8" y="48"/>
                  </a:lnTo>
                  <a:lnTo>
                    <a:pt x="14" y="52"/>
                  </a:lnTo>
                  <a:lnTo>
                    <a:pt x="16" y="59"/>
                  </a:lnTo>
                  <a:lnTo>
                    <a:pt x="16" y="62"/>
                  </a:lnTo>
                  <a:lnTo>
                    <a:pt x="16" y="65"/>
                  </a:lnTo>
                  <a:lnTo>
                    <a:pt x="14" y="68"/>
                  </a:lnTo>
                  <a:lnTo>
                    <a:pt x="14" y="70"/>
                  </a:lnTo>
                  <a:lnTo>
                    <a:pt x="14" y="72"/>
                  </a:lnTo>
                  <a:lnTo>
                    <a:pt x="14" y="72"/>
                  </a:lnTo>
                  <a:lnTo>
                    <a:pt x="14" y="68"/>
                  </a:lnTo>
                  <a:lnTo>
                    <a:pt x="16" y="70"/>
                  </a:lnTo>
                  <a:lnTo>
                    <a:pt x="16" y="73"/>
                  </a:lnTo>
                  <a:lnTo>
                    <a:pt x="14" y="76"/>
                  </a:lnTo>
                  <a:lnTo>
                    <a:pt x="14" y="73"/>
                  </a:lnTo>
                  <a:lnTo>
                    <a:pt x="14" y="73"/>
                  </a:lnTo>
                  <a:lnTo>
                    <a:pt x="11" y="72"/>
                  </a:lnTo>
                  <a:lnTo>
                    <a:pt x="11" y="70"/>
                  </a:lnTo>
                  <a:lnTo>
                    <a:pt x="8" y="72"/>
                  </a:lnTo>
                  <a:lnTo>
                    <a:pt x="8" y="72"/>
                  </a:lnTo>
                  <a:lnTo>
                    <a:pt x="3" y="70"/>
                  </a:lnTo>
                  <a:lnTo>
                    <a:pt x="3" y="73"/>
                  </a:lnTo>
                  <a:lnTo>
                    <a:pt x="5" y="73"/>
                  </a:lnTo>
                  <a:lnTo>
                    <a:pt x="5" y="76"/>
                  </a:lnTo>
                  <a:lnTo>
                    <a:pt x="8" y="76"/>
                  </a:lnTo>
                  <a:lnTo>
                    <a:pt x="8" y="79"/>
                  </a:lnTo>
                  <a:lnTo>
                    <a:pt x="8" y="79"/>
                  </a:lnTo>
                  <a:lnTo>
                    <a:pt x="11" y="79"/>
                  </a:lnTo>
                  <a:lnTo>
                    <a:pt x="11" y="83"/>
                  </a:lnTo>
                  <a:lnTo>
                    <a:pt x="14" y="83"/>
                  </a:lnTo>
                  <a:lnTo>
                    <a:pt x="14" y="84"/>
                  </a:lnTo>
                  <a:lnTo>
                    <a:pt x="14" y="86"/>
                  </a:lnTo>
                  <a:lnTo>
                    <a:pt x="16" y="86"/>
                  </a:lnTo>
                  <a:lnTo>
                    <a:pt x="17" y="86"/>
                  </a:lnTo>
                  <a:lnTo>
                    <a:pt x="19" y="84"/>
                  </a:lnTo>
                  <a:lnTo>
                    <a:pt x="21" y="84"/>
                  </a:lnTo>
                  <a:lnTo>
                    <a:pt x="24" y="89"/>
                  </a:lnTo>
                  <a:lnTo>
                    <a:pt x="27" y="92"/>
                  </a:lnTo>
                  <a:lnTo>
                    <a:pt x="30" y="95"/>
                  </a:lnTo>
                  <a:lnTo>
                    <a:pt x="30" y="100"/>
                  </a:lnTo>
                  <a:lnTo>
                    <a:pt x="30" y="105"/>
                  </a:lnTo>
                  <a:lnTo>
                    <a:pt x="27" y="108"/>
                  </a:lnTo>
                  <a:lnTo>
                    <a:pt x="27" y="111"/>
                  </a:lnTo>
                  <a:lnTo>
                    <a:pt x="27" y="114"/>
                  </a:lnTo>
                  <a:lnTo>
                    <a:pt x="28" y="114"/>
                  </a:lnTo>
                  <a:lnTo>
                    <a:pt x="32" y="118"/>
                  </a:lnTo>
                  <a:lnTo>
                    <a:pt x="36" y="121"/>
                  </a:lnTo>
                  <a:lnTo>
                    <a:pt x="40" y="124"/>
                  </a:lnTo>
                  <a:lnTo>
                    <a:pt x="43" y="130"/>
                  </a:lnTo>
                  <a:lnTo>
                    <a:pt x="46" y="133"/>
                  </a:lnTo>
                  <a:lnTo>
                    <a:pt x="46" y="138"/>
                  </a:lnTo>
                  <a:lnTo>
                    <a:pt x="46" y="140"/>
                  </a:lnTo>
                  <a:lnTo>
                    <a:pt x="49" y="140"/>
                  </a:lnTo>
                  <a:lnTo>
                    <a:pt x="51" y="140"/>
                  </a:lnTo>
                  <a:lnTo>
                    <a:pt x="55" y="137"/>
                  </a:lnTo>
                  <a:lnTo>
                    <a:pt x="55" y="135"/>
                  </a:lnTo>
                  <a:lnTo>
                    <a:pt x="55" y="133"/>
                  </a:lnTo>
                  <a:lnTo>
                    <a:pt x="54" y="130"/>
                  </a:lnTo>
                  <a:lnTo>
                    <a:pt x="52" y="126"/>
                  </a:lnTo>
                  <a:lnTo>
                    <a:pt x="49" y="119"/>
                  </a:lnTo>
                  <a:lnTo>
                    <a:pt x="49" y="122"/>
                  </a:lnTo>
                  <a:lnTo>
                    <a:pt x="46" y="122"/>
                  </a:lnTo>
                  <a:lnTo>
                    <a:pt x="46" y="121"/>
                  </a:lnTo>
                  <a:lnTo>
                    <a:pt x="43" y="119"/>
                  </a:lnTo>
                  <a:lnTo>
                    <a:pt x="43" y="118"/>
                  </a:lnTo>
                  <a:lnTo>
                    <a:pt x="43" y="114"/>
                  </a:lnTo>
                  <a:lnTo>
                    <a:pt x="46" y="111"/>
                  </a:lnTo>
                  <a:lnTo>
                    <a:pt x="43" y="108"/>
                  </a:lnTo>
                  <a:lnTo>
                    <a:pt x="43" y="103"/>
                  </a:lnTo>
                  <a:lnTo>
                    <a:pt x="43" y="103"/>
                  </a:lnTo>
                  <a:lnTo>
                    <a:pt x="43" y="100"/>
                  </a:lnTo>
                  <a:lnTo>
                    <a:pt x="40" y="94"/>
                  </a:lnTo>
                  <a:lnTo>
                    <a:pt x="40" y="87"/>
                  </a:lnTo>
                  <a:lnTo>
                    <a:pt x="40" y="84"/>
                  </a:lnTo>
                  <a:lnTo>
                    <a:pt x="38" y="83"/>
                  </a:lnTo>
                  <a:lnTo>
                    <a:pt x="38" y="86"/>
                  </a:lnTo>
                  <a:lnTo>
                    <a:pt x="38" y="87"/>
                  </a:lnTo>
                  <a:lnTo>
                    <a:pt x="36" y="84"/>
                  </a:lnTo>
                  <a:lnTo>
                    <a:pt x="36" y="83"/>
                  </a:lnTo>
                  <a:lnTo>
                    <a:pt x="38" y="79"/>
                  </a:lnTo>
                  <a:lnTo>
                    <a:pt x="36" y="79"/>
                  </a:lnTo>
                  <a:lnTo>
                    <a:pt x="35" y="76"/>
                  </a:lnTo>
                  <a:lnTo>
                    <a:pt x="32" y="73"/>
                  </a:lnTo>
                  <a:lnTo>
                    <a:pt x="32" y="70"/>
                  </a:lnTo>
                  <a:lnTo>
                    <a:pt x="30" y="67"/>
                  </a:lnTo>
                  <a:lnTo>
                    <a:pt x="32" y="62"/>
                  </a:lnTo>
                  <a:lnTo>
                    <a:pt x="32" y="60"/>
                  </a:lnTo>
                  <a:lnTo>
                    <a:pt x="30" y="60"/>
                  </a:lnTo>
                  <a:lnTo>
                    <a:pt x="28" y="57"/>
                  </a:lnTo>
                  <a:lnTo>
                    <a:pt x="28" y="54"/>
                  </a:lnTo>
                  <a:lnTo>
                    <a:pt x="27" y="54"/>
                  </a:lnTo>
                  <a:lnTo>
                    <a:pt x="25" y="54"/>
                  </a:lnTo>
                  <a:lnTo>
                    <a:pt x="25" y="48"/>
                  </a:lnTo>
                  <a:lnTo>
                    <a:pt x="22" y="45"/>
                  </a:lnTo>
                  <a:lnTo>
                    <a:pt x="19" y="38"/>
                  </a:lnTo>
                  <a:lnTo>
                    <a:pt x="17" y="37"/>
                  </a:lnTo>
                  <a:lnTo>
                    <a:pt x="19" y="33"/>
                  </a:lnTo>
                  <a:lnTo>
                    <a:pt x="21" y="27"/>
                  </a:lnTo>
                  <a:lnTo>
                    <a:pt x="19" y="24"/>
                  </a:lnTo>
                  <a:lnTo>
                    <a:pt x="21" y="21"/>
                  </a:lnTo>
                  <a:lnTo>
                    <a:pt x="24" y="14"/>
                  </a:lnTo>
                  <a:lnTo>
                    <a:pt x="22" y="13"/>
                  </a:lnTo>
                  <a:lnTo>
                    <a:pt x="22" y="11"/>
                  </a:lnTo>
                  <a:lnTo>
                    <a:pt x="28" y="14"/>
                  </a:lnTo>
                  <a:lnTo>
                    <a:pt x="30" y="18"/>
                  </a:lnTo>
                  <a:lnTo>
                    <a:pt x="32" y="18"/>
                  </a:lnTo>
                  <a:lnTo>
                    <a:pt x="35" y="14"/>
                  </a:lnTo>
                  <a:lnTo>
                    <a:pt x="36" y="18"/>
                  </a:lnTo>
                  <a:lnTo>
                    <a:pt x="36" y="18"/>
                  </a:lnTo>
                  <a:lnTo>
                    <a:pt x="36" y="21"/>
                  </a:lnTo>
                  <a:lnTo>
                    <a:pt x="38" y="21"/>
                  </a:lnTo>
                  <a:lnTo>
                    <a:pt x="40" y="21"/>
                  </a:lnTo>
                  <a:lnTo>
                    <a:pt x="43" y="24"/>
                  </a:lnTo>
                  <a:lnTo>
                    <a:pt x="40" y="24"/>
                  </a:lnTo>
                  <a:lnTo>
                    <a:pt x="40" y="27"/>
                  </a:lnTo>
                  <a:lnTo>
                    <a:pt x="40" y="32"/>
                  </a:lnTo>
                  <a:lnTo>
                    <a:pt x="40" y="37"/>
                  </a:lnTo>
                  <a:lnTo>
                    <a:pt x="40" y="38"/>
                  </a:lnTo>
                  <a:lnTo>
                    <a:pt x="43" y="45"/>
                  </a:lnTo>
                  <a:lnTo>
                    <a:pt x="43" y="48"/>
                  </a:lnTo>
                  <a:lnTo>
                    <a:pt x="43" y="48"/>
                  </a:lnTo>
                  <a:lnTo>
                    <a:pt x="43" y="48"/>
                  </a:lnTo>
                  <a:lnTo>
                    <a:pt x="43" y="51"/>
                  </a:lnTo>
                  <a:lnTo>
                    <a:pt x="43" y="52"/>
                  </a:lnTo>
                  <a:lnTo>
                    <a:pt x="43" y="54"/>
                  </a:lnTo>
                  <a:lnTo>
                    <a:pt x="46" y="57"/>
                  </a:lnTo>
                  <a:lnTo>
                    <a:pt x="46" y="60"/>
                  </a:lnTo>
                  <a:lnTo>
                    <a:pt x="49" y="64"/>
                  </a:lnTo>
                  <a:lnTo>
                    <a:pt x="49" y="67"/>
                  </a:lnTo>
                  <a:lnTo>
                    <a:pt x="52" y="68"/>
                  </a:lnTo>
                  <a:lnTo>
                    <a:pt x="54" y="70"/>
                  </a:lnTo>
                  <a:lnTo>
                    <a:pt x="54" y="68"/>
                  </a:lnTo>
                  <a:lnTo>
                    <a:pt x="55" y="70"/>
                  </a:lnTo>
                  <a:lnTo>
                    <a:pt x="59" y="70"/>
                  </a:lnTo>
                  <a:lnTo>
                    <a:pt x="57" y="72"/>
                  </a:lnTo>
                  <a:lnTo>
                    <a:pt x="55" y="73"/>
                  </a:lnTo>
                  <a:lnTo>
                    <a:pt x="55" y="76"/>
                  </a:lnTo>
                  <a:lnTo>
                    <a:pt x="57" y="79"/>
                  </a:lnTo>
                  <a:lnTo>
                    <a:pt x="59" y="79"/>
                  </a:lnTo>
                  <a:lnTo>
                    <a:pt x="62" y="79"/>
                  </a:lnTo>
                  <a:lnTo>
                    <a:pt x="62" y="83"/>
                  </a:lnTo>
                  <a:lnTo>
                    <a:pt x="62" y="83"/>
                  </a:lnTo>
                  <a:lnTo>
                    <a:pt x="63" y="86"/>
                  </a:lnTo>
                  <a:lnTo>
                    <a:pt x="65" y="86"/>
                  </a:lnTo>
                  <a:lnTo>
                    <a:pt x="67" y="86"/>
                  </a:lnTo>
                  <a:lnTo>
                    <a:pt x="68" y="89"/>
                  </a:lnTo>
                  <a:lnTo>
                    <a:pt x="68" y="91"/>
                  </a:lnTo>
                  <a:lnTo>
                    <a:pt x="70" y="91"/>
                  </a:lnTo>
                  <a:lnTo>
                    <a:pt x="70" y="92"/>
                  </a:lnTo>
                  <a:lnTo>
                    <a:pt x="68" y="92"/>
                  </a:lnTo>
                  <a:lnTo>
                    <a:pt x="68" y="94"/>
                  </a:lnTo>
                  <a:lnTo>
                    <a:pt x="67" y="94"/>
                  </a:lnTo>
                  <a:lnTo>
                    <a:pt x="65" y="95"/>
                  </a:lnTo>
                  <a:lnTo>
                    <a:pt x="63" y="102"/>
                  </a:lnTo>
                  <a:lnTo>
                    <a:pt x="65" y="100"/>
                  </a:lnTo>
                  <a:lnTo>
                    <a:pt x="65" y="102"/>
                  </a:lnTo>
                  <a:lnTo>
                    <a:pt x="67" y="102"/>
                  </a:lnTo>
                  <a:lnTo>
                    <a:pt x="70" y="102"/>
                  </a:lnTo>
                  <a:lnTo>
                    <a:pt x="68" y="103"/>
                  </a:lnTo>
                  <a:lnTo>
                    <a:pt x="68" y="105"/>
                  </a:lnTo>
                  <a:lnTo>
                    <a:pt x="70" y="103"/>
                  </a:lnTo>
                  <a:lnTo>
                    <a:pt x="71" y="105"/>
                  </a:lnTo>
                  <a:lnTo>
                    <a:pt x="74" y="108"/>
                  </a:lnTo>
                  <a:lnTo>
                    <a:pt x="74" y="108"/>
                  </a:lnTo>
                  <a:lnTo>
                    <a:pt x="74" y="108"/>
                  </a:lnTo>
                  <a:lnTo>
                    <a:pt x="78" y="108"/>
                  </a:lnTo>
                  <a:lnTo>
                    <a:pt x="78" y="111"/>
                  </a:lnTo>
                  <a:lnTo>
                    <a:pt x="78" y="114"/>
                  </a:lnTo>
                  <a:lnTo>
                    <a:pt x="78" y="118"/>
                  </a:lnTo>
                  <a:lnTo>
                    <a:pt x="81" y="118"/>
                  </a:lnTo>
                  <a:lnTo>
                    <a:pt x="86" y="126"/>
                  </a:lnTo>
                  <a:lnTo>
                    <a:pt x="92" y="133"/>
                  </a:lnTo>
                  <a:lnTo>
                    <a:pt x="97" y="140"/>
                  </a:lnTo>
                  <a:lnTo>
                    <a:pt x="100" y="143"/>
                  </a:lnTo>
                  <a:lnTo>
                    <a:pt x="100" y="148"/>
                  </a:lnTo>
                  <a:lnTo>
                    <a:pt x="100" y="153"/>
                  </a:lnTo>
                  <a:lnTo>
                    <a:pt x="100" y="156"/>
                  </a:lnTo>
                  <a:lnTo>
                    <a:pt x="105" y="162"/>
                  </a:lnTo>
                  <a:lnTo>
                    <a:pt x="105" y="164"/>
                  </a:lnTo>
                  <a:lnTo>
                    <a:pt x="101" y="167"/>
                  </a:lnTo>
                  <a:lnTo>
                    <a:pt x="98" y="173"/>
                  </a:lnTo>
                  <a:lnTo>
                    <a:pt x="100" y="173"/>
                  </a:lnTo>
                  <a:lnTo>
                    <a:pt x="101" y="173"/>
                  </a:lnTo>
                  <a:lnTo>
                    <a:pt x="101" y="173"/>
                  </a:lnTo>
                  <a:lnTo>
                    <a:pt x="98" y="175"/>
                  </a:lnTo>
                  <a:lnTo>
                    <a:pt x="97" y="175"/>
                  </a:lnTo>
                  <a:lnTo>
                    <a:pt x="95" y="176"/>
                  </a:lnTo>
                  <a:lnTo>
                    <a:pt x="95" y="179"/>
                  </a:lnTo>
                  <a:lnTo>
                    <a:pt x="97" y="183"/>
                  </a:lnTo>
                  <a:lnTo>
                    <a:pt x="100" y="189"/>
                  </a:lnTo>
                  <a:lnTo>
                    <a:pt x="101" y="192"/>
                  </a:lnTo>
                  <a:lnTo>
                    <a:pt x="106" y="195"/>
                  </a:lnTo>
                  <a:lnTo>
                    <a:pt x="106" y="195"/>
                  </a:lnTo>
                  <a:lnTo>
                    <a:pt x="109" y="195"/>
                  </a:lnTo>
                  <a:lnTo>
                    <a:pt x="113" y="199"/>
                  </a:lnTo>
                  <a:lnTo>
                    <a:pt x="116" y="202"/>
                  </a:lnTo>
                  <a:lnTo>
                    <a:pt x="116" y="205"/>
                  </a:lnTo>
                  <a:lnTo>
                    <a:pt x="121" y="208"/>
                  </a:lnTo>
                  <a:lnTo>
                    <a:pt x="125" y="210"/>
                  </a:lnTo>
                  <a:lnTo>
                    <a:pt x="130" y="211"/>
                  </a:lnTo>
                  <a:lnTo>
                    <a:pt x="133" y="211"/>
                  </a:lnTo>
                  <a:lnTo>
                    <a:pt x="133" y="211"/>
                  </a:lnTo>
                  <a:lnTo>
                    <a:pt x="136" y="213"/>
                  </a:lnTo>
                  <a:lnTo>
                    <a:pt x="140" y="216"/>
                  </a:lnTo>
                  <a:lnTo>
                    <a:pt x="143" y="221"/>
                  </a:lnTo>
                  <a:lnTo>
                    <a:pt x="149" y="224"/>
                  </a:lnTo>
                  <a:lnTo>
                    <a:pt x="157" y="227"/>
                  </a:lnTo>
                  <a:lnTo>
                    <a:pt x="162" y="230"/>
                  </a:lnTo>
                  <a:lnTo>
                    <a:pt x="165" y="230"/>
                  </a:lnTo>
                  <a:lnTo>
                    <a:pt x="171" y="230"/>
                  </a:lnTo>
                  <a:lnTo>
                    <a:pt x="171" y="233"/>
                  </a:lnTo>
                  <a:lnTo>
                    <a:pt x="175" y="233"/>
                  </a:lnTo>
                  <a:lnTo>
                    <a:pt x="176" y="237"/>
                  </a:lnTo>
                  <a:lnTo>
                    <a:pt x="178" y="237"/>
                  </a:lnTo>
                  <a:lnTo>
                    <a:pt x="181" y="240"/>
                  </a:lnTo>
                  <a:lnTo>
                    <a:pt x="182" y="240"/>
                  </a:lnTo>
                  <a:lnTo>
                    <a:pt x="186" y="243"/>
                  </a:lnTo>
                  <a:lnTo>
                    <a:pt x="190" y="243"/>
                  </a:lnTo>
                  <a:lnTo>
                    <a:pt x="194" y="243"/>
                  </a:lnTo>
                  <a:lnTo>
                    <a:pt x="197" y="245"/>
                  </a:lnTo>
                  <a:lnTo>
                    <a:pt x="200" y="245"/>
                  </a:lnTo>
                  <a:lnTo>
                    <a:pt x="211" y="243"/>
                  </a:lnTo>
                  <a:lnTo>
                    <a:pt x="216" y="240"/>
                  </a:lnTo>
                  <a:lnTo>
                    <a:pt x="222" y="237"/>
                  </a:lnTo>
                  <a:lnTo>
                    <a:pt x="219" y="237"/>
                  </a:lnTo>
                  <a:lnTo>
                    <a:pt x="221" y="233"/>
                  </a:lnTo>
                  <a:lnTo>
                    <a:pt x="222" y="233"/>
                  </a:lnTo>
                  <a:lnTo>
                    <a:pt x="222" y="237"/>
                  </a:lnTo>
                  <a:lnTo>
                    <a:pt x="225" y="237"/>
                  </a:lnTo>
                  <a:lnTo>
                    <a:pt x="222" y="237"/>
                  </a:lnTo>
                  <a:lnTo>
                    <a:pt x="228" y="240"/>
                  </a:lnTo>
                  <a:lnTo>
                    <a:pt x="227" y="237"/>
                  </a:lnTo>
                  <a:lnTo>
                    <a:pt x="227" y="237"/>
                  </a:lnTo>
                  <a:lnTo>
                    <a:pt x="232" y="240"/>
                  </a:lnTo>
                  <a:lnTo>
                    <a:pt x="238" y="245"/>
                  </a:lnTo>
                  <a:lnTo>
                    <a:pt x="241" y="249"/>
                  </a:lnTo>
                  <a:lnTo>
                    <a:pt x="244" y="251"/>
                  </a:lnTo>
                  <a:lnTo>
                    <a:pt x="246" y="254"/>
                  </a:lnTo>
                  <a:lnTo>
                    <a:pt x="248" y="257"/>
                  </a:lnTo>
                  <a:lnTo>
                    <a:pt x="251" y="260"/>
                  </a:lnTo>
                  <a:lnTo>
                    <a:pt x="251" y="260"/>
                  </a:lnTo>
                  <a:lnTo>
                    <a:pt x="251" y="260"/>
                  </a:lnTo>
                  <a:lnTo>
                    <a:pt x="252" y="259"/>
                  </a:lnTo>
                  <a:lnTo>
                    <a:pt x="252" y="256"/>
                  </a:lnTo>
                  <a:lnTo>
                    <a:pt x="254" y="254"/>
                  </a:lnTo>
                  <a:lnTo>
                    <a:pt x="254" y="251"/>
                  </a:lnTo>
                  <a:lnTo>
                    <a:pt x="254" y="249"/>
                  </a:lnTo>
                  <a:lnTo>
                    <a:pt x="259" y="240"/>
                  </a:lnTo>
                  <a:lnTo>
                    <a:pt x="259" y="240"/>
                  </a:lnTo>
                  <a:lnTo>
                    <a:pt x="262" y="240"/>
                  </a:lnTo>
                  <a:lnTo>
                    <a:pt x="267" y="240"/>
                  </a:lnTo>
                  <a:lnTo>
                    <a:pt x="271" y="240"/>
                  </a:lnTo>
                  <a:lnTo>
                    <a:pt x="276" y="240"/>
                  </a:lnTo>
                  <a:lnTo>
                    <a:pt x="276" y="233"/>
                  </a:lnTo>
                  <a:lnTo>
                    <a:pt x="275" y="233"/>
                  </a:lnTo>
                  <a:lnTo>
                    <a:pt x="273" y="230"/>
                  </a:lnTo>
                  <a:lnTo>
                    <a:pt x="271" y="229"/>
                  </a:lnTo>
                  <a:lnTo>
                    <a:pt x="268" y="226"/>
                  </a:lnTo>
                  <a:lnTo>
                    <a:pt x="265" y="222"/>
                  </a:lnTo>
                  <a:lnTo>
                    <a:pt x="268" y="222"/>
                  </a:lnTo>
                  <a:lnTo>
                    <a:pt x="270" y="222"/>
                  </a:lnTo>
                  <a:lnTo>
                    <a:pt x="271" y="221"/>
                  </a:lnTo>
                  <a:lnTo>
                    <a:pt x="271" y="218"/>
                  </a:lnTo>
                  <a:lnTo>
                    <a:pt x="273" y="214"/>
                  </a:lnTo>
                  <a:lnTo>
                    <a:pt x="275" y="213"/>
                  </a:lnTo>
                  <a:lnTo>
                    <a:pt x="278" y="213"/>
                  </a:lnTo>
                  <a:lnTo>
                    <a:pt x="284" y="214"/>
                  </a:lnTo>
                  <a:lnTo>
                    <a:pt x="295" y="214"/>
                  </a:lnTo>
                  <a:lnTo>
                    <a:pt x="295" y="218"/>
                  </a:lnTo>
                  <a:lnTo>
                    <a:pt x="295" y="216"/>
                  </a:lnTo>
                  <a:lnTo>
                    <a:pt x="297" y="213"/>
                  </a:lnTo>
                  <a:lnTo>
                    <a:pt x="297" y="211"/>
                  </a:lnTo>
                  <a:lnTo>
                    <a:pt x="298" y="213"/>
                  </a:lnTo>
                  <a:lnTo>
                    <a:pt x="302" y="208"/>
                  </a:lnTo>
                  <a:lnTo>
                    <a:pt x="305" y="205"/>
                  </a:lnTo>
                  <a:lnTo>
                    <a:pt x="308" y="205"/>
                  </a:lnTo>
                  <a:lnTo>
                    <a:pt x="308" y="202"/>
                  </a:lnTo>
                  <a:lnTo>
                    <a:pt x="311" y="199"/>
                  </a:lnTo>
                  <a:lnTo>
                    <a:pt x="311" y="205"/>
                  </a:lnTo>
                  <a:lnTo>
                    <a:pt x="311" y="208"/>
                  </a:lnTo>
                  <a:lnTo>
                    <a:pt x="311" y="208"/>
                  </a:lnTo>
                  <a:lnTo>
                    <a:pt x="314" y="205"/>
                  </a:lnTo>
                  <a:lnTo>
                    <a:pt x="314" y="199"/>
                  </a:lnTo>
                  <a:lnTo>
                    <a:pt x="321" y="192"/>
                  </a:lnTo>
                  <a:lnTo>
                    <a:pt x="317" y="194"/>
                  </a:lnTo>
                  <a:lnTo>
                    <a:pt x="317" y="192"/>
                  </a:lnTo>
                  <a:lnTo>
                    <a:pt x="317" y="191"/>
                  </a:lnTo>
                  <a:lnTo>
                    <a:pt x="321" y="189"/>
                  </a:lnTo>
                  <a:lnTo>
                    <a:pt x="317" y="189"/>
                  </a:lnTo>
                  <a:lnTo>
                    <a:pt x="321" y="186"/>
                  </a:lnTo>
                  <a:lnTo>
                    <a:pt x="321" y="184"/>
                  </a:lnTo>
                  <a:lnTo>
                    <a:pt x="321" y="183"/>
                  </a:lnTo>
                  <a:lnTo>
                    <a:pt x="321" y="181"/>
                  </a:lnTo>
                  <a:lnTo>
                    <a:pt x="324" y="176"/>
                  </a:lnTo>
                  <a:lnTo>
                    <a:pt x="329" y="173"/>
                  </a:lnTo>
                  <a:lnTo>
                    <a:pt x="332" y="167"/>
                  </a:lnTo>
                  <a:lnTo>
                    <a:pt x="332" y="164"/>
                  </a:lnTo>
                  <a:lnTo>
                    <a:pt x="332" y="162"/>
                  </a:lnTo>
                  <a:lnTo>
                    <a:pt x="330" y="160"/>
                  </a:lnTo>
                  <a:lnTo>
                    <a:pt x="330" y="160"/>
                  </a:lnTo>
                  <a:lnTo>
                    <a:pt x="330" y="160"/>
                  </a:lnTo>
                  <a:lnTo>
                    <a:pt x="330" y="160"/>
                  </a:lnTo>
                  <a:lnTo>
                    <a:pt x="330" y="160"/>
                  </a:lnTo>
                  <a:lnTo>
                    <a:pt x="330" y="160"/>
                  </a:lnTo>
                  <a:lnTo>
                    <a:pt x="330" y="160"/>
                  </a:lnTo>
                  <a:lnTo>
                    <a:pt x="330" y="160"/>
                  </a:lnTo>
                  <a:lnTo>
                    <a:pt x="330" y="160"/>
                  </a:lnTo>
                  <a:close/>
                  <a:moveTo>
                    <a:pt x="200" y="157"/>
                  </a:moveTo>
                  <a:lnTo>
                    <a:pt x="197" y="153"/>
                  </a:lnTo>
                  <a:lnTo>
                    <a:pt x="200" y="160"/>
                  </a:lnTo>
                  <a:lnTo>
                    <a:pt x="200" y="157"/>
                  </a:lnTo>
                  <a:lnTo>
                    <a:pt x="200" y="157"/>
                  </a:lnTo>
                  <a:lnTo>
                    <a:pt x="200" y="157"/>
                  </a:lnTo>
                  <a:lnTo>
                    <a:pt x="200" y="157"/>
                  </a:lnTo>
                  <a:lnTo>
                    <a:pt x="200" y="157"/>
                  </a:lnTo>
                  <a:lnTo>
                    <a:pt x="200" y="157"/>
                  </a:lnTo>
                  <a:lnTo>
                    <a:pt x="200" y="157"/>
                  </a:lnTo>
                  <a:lnTo>
                    <a:pt x="200" y="157"/>
                  </a:lnTo>
                  <a:lnTo>
                    <a:pt x="200" y="15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6" name="Freeform 58">
              <a:extLst>
                <a:ext uri="{FF2B5EF4-FFF2-40B4-BE49-F238E27FC236}">
                  <a16:creationId xmlns:a16="http://schemas.microsoft.com/office/drawing/2014/main" id="{307D9620-3793-D6C8-57D5-ECE560A5DABE}"/>
                </a:ext>
              </a:extLst>
            </p:cNvPr>
            <p:cNvSpPr>
              <a:spLocks noEditPoints="1"/>
            </p:cNvSpPr>
            <p:nvPr/>
          </p:nvSpPr>
          <p:spPr bwMode="auto">
            <a:xfrm>
              <a:off x="4033035" y="3652759"/>
              <a:ext cx="33646" cy="35889"/>
            </a:xfrm>
            <a:custGeom>
              <a:avLst/>
              <a:gdLst>
                <a:gd name="T0" fmla="*/ 15 w 15"/>
                <a:gd name="T1" fmla="*/ 0 h 16"/>
                <a:gd name="T2" fmla="*/ 12 w 15"/>
                <a:gd name="T3" fmla="*/ 4 h 16"/>
                <a:gd name="T4" fmla="*/ 12 w 15"/>
                <a:gd name="T5" fmla="*/ 5 h 16"/>
                <a:gd name="T6" fmla="*/ 15 w 15"/>
                <a:gd name="T7" fmla="*/ 2 h 16"/>
                <a:gd name="T8" fmla="*/ 15 w 15"/>
                <a:gd name="T9" fmla="*/ 0 h 16"/>
                <a:gd name="T10" fmla="*/ 15 w 15"/>
                <a:gd name="T11" fmla="*/ 0 h 16"/>
                <a:gd name="T12" fmla="*/ 15 w 15"/>
                <a:gd name="T13" fmla="*/ 0 h 16"/>
                <a:gd name="T14" fmla="*/ 15 w 15"/>
                <a:gd name="T15" fmla="*/ 0 h 16"/>
                <a:gd name="T16" fmla="*/ 15 w 15"/>
                <a:gd name="T17" fmla="*/ 0 h 16"/>
                <a:gd name="T18" fmla="*/ 15 w 15"/>
                <a:gd name="T19" fmla="*/ 0 h 16"/>
                <a:gd name="T20" fmla="*/ 15 w 15"/>
                <a:gd name="T21" fmla="*/ 0 h 16"/>
                <a:gd name="T22" fmla="*/ 15 w 15"/>
                <a:gd name="T23" fmla="*/ 0 h 16"/>
                <a:gd name="T24" fmla="*/ 15 w 15"/>
                <a:gd name="T25" fmla="*/ 0 h 16"/>
                <a:gd name="T26" fmla="*/ 15 w 15"/>
                <a:gd name="T27" fmla="*/ 0 h 16"/>
                <a:gd name="T28" fmla="*/ 15 w 15"/>
                <a:gd name="T29" fmla="*/ 0 h 16"/>
                <a:gd name="T30" fmla="*/ 3 w 15"/>
                <a:gd name="T31" fmla="*/ 8 h 16"/>
                <a:gd name="T32" fmla="*/ 3 w 15"/>
                <a:gd name="T33" fmla="*/ 8 h 16"/>
                <a:gd name="T34" fmla="*/ 3 w 15"/>
                <a:gd name="T35" fmla="*/ 10 h 16"/>
                <a:gd name="T36" fmla="*/ 4 w 15"/>
                <a:gd name="T37" fmla="*/ 10 h 16"/>
                <a:gd name="T38" fmla="*/ 4 w 15"/>
                <a:gd name="T39" fmla="*/ 10 h 16"/>
                <a:gd name="T40" fmla="*/ 4 w 15"/>
                <a:gd name="T41" fmla="*/ 10 h 16"/>
                <a:gd name="T42" fmla="*/ 4 w 15"/>
                <a:gd name="T43" fmla="*/ 13 h 16"/>
                <a:gd name="T44" fmla="*/ 3 w 15"/>
                <a:gd name="T45" fmla="*/ 15 h 16"/>
                <a:gd name="T46" fmla="*/ 0 w 15"/>
                <a:gd name="T47" fmla="*/ 15 h 16"/>
                <a:gd name="T48" fmla="*/ 0 w 15"/>
                <a:gd name="T49" fmla="*/ 16 h 16"/>
                <a:gd name="T50" fmla="*/ 9 w 15"/>
                <a:gd name="T51" fmla="*/ 15 h 16"/>
                <a:gd name="T52" fmla="*/ 9 w 15"/>
                <a:gd name="T53" fmla="*/ 15 h 16"/>
                <a:gd name="T54" fmla="*/ 11 w 15"/>
                <a:gd name="T55" fmla="*/ 13 h 16"/>
                <a:gd name="T56" fmla="*/ 9 w 15"/>
                <a:gd name="T57" fmla="*/ 13 h 16"/>
                <a:gd name="T58" fmla="*/ 9 w 15"/>
                <a:gd name="T59" fmla="*/ 11 h 16"/>
                <a:gd name="T60" fmla="*/ 9 w 15"/>
                <a:gd name="T61" fmla="*/ 8 h 16"/>
                <a:gd name="T62" fmla="*/ 11 w 15"/>
                <a:gd name="T63" fmla="*/ 8 h 16"/>
                <a:gd name="T64" fmla="*/ 11 w 15"/>
                <a:gd name="T65" fmla="*/ 8 h 16"/>
                <a:gd name="T66" fmla="*/ 4 w 15"/>
                <a:gd name="T67" fmla="*/ 8 h 16"/>
                <a:gd name="T68" fmla="*/ 3 w 15"/>
                <a:gd name="T69" fmla="*/ 8 h 16"/>
                <a:gd name="T70" fmla="*/ 3 w 15"/>
                <a:gd name="T71" fmla="*/ 8 h 16"/>
                <a:gd name="T72" fmla="*/ 3 w 15"/>
                <a:gd name="T73" fmla="*/ 8 h 16"/>
                <a:gd name="T74" fmla="*/ 3 w 15"/>
                <a:gd name="T75" fmla="*/ 8 h 16"/>
                <a:gd name="T76" fmla="*/ 3 w 15"/>
                <a:gd name="T77" fmla="*/ 8 h 16"/>
                <a:gd name="T78" fmla="*/ 3 w 15"/>
                <a:gd name="T79" fmla="*/ 8 h 16"/>
                <a:gd name="T80" fmla="*/ 3 w 15"/>
                <a:gd name="T81" fmla="*/ 8 h 16"/>
                <a:gd name="T82" fmla="*/ 3 w 15"/>
                <a:gd name="T83" fmla="*/ 8 h 16"/>
                <a:gd name="T84" fmla="*/ 3 w 15"/>
                <a:gd name="T85" fmla="*/ 8 h 16"/>
                <a:gd name="T86" fmla="*/ 3 w 15"/>
                <a:gd name="T8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6">
                  <a:moveTo>
                    <a:pt x="15" y="0"/>
                  </a:moveTo>
                  <a:lnTo>
                    <a:pt x="12" y="4"/>
                  </a:lnTo>
                  <a:lnTo>
                    <a:pt x="12" y="5"/>
                  </a:lnTo>
                  <a:lnTo>
                    <a:pt x="15" y="2"/>
                  </a:lnTo>
                  <a:lnTo>
                    <a:pt x="15" y="0"/>
                  </a:lnTo>
                  <a:lnTo>
                    <a:pt x="15" y="0"/>
                  </a:lnTo>
                  <a:lnTo>
                    <a:pt x="15" y="0"/>
                  </a:lnTo>
                  <a:lnTo>
                    <a:pt x="15" y="0"/>
                  </a:lnTo>
                  <a:lnTo>
                    <a:pt x="15" y="0"/>
                  </a:lnTo>
                  <a:lnTo>
                    <a:pt x="15" y="0"/>
                  </a:lnTo>
                  <a:lnTo>
                    <a:pt x="15" y="0"/>
                  </a:lnTo>
                  <a:lnTo>
                    <a:pt x="15" y="0"/>
                  </a:lnTo>
                  <a:lnTo>
                    <a:pt x="15" y="0"/>
                  </a:lnTo>
                  <a:lnTo>
                    <a:pt x="15" y="0"/>
                  </a:lnTo>
                  <a:lnTo>
                    <a:pt x="15" y="0"/>
                  </a:lnTo>
                  <a:close/>
                  <a:moveTo>
                    <a:pt x="3" y="8"/>
                  </a:moveTo>
                  <a:lnTo>
                    <a:pt x="3" y="8"/>
                  </a:lnTo>
                  <a:lnTo>
                    <a:pt x="3" y="10"/>
                  </a:lnTo>
                  <a:lnTo>
                    <a:pt x="4" y="10"/>
                  </a:lnTo>
                  <a:lnTo>
                    <a:pt x="4" y="10"/>
                  </a:lnTo>
                  <a:lnTo>
                    <a:pt x="4" y="10"/>
                  </a:lnTo>
                  <a:lnTo>
                    <a:pt x="4" y="13"/>
                  </a:lnTo>
                  <a:lnTo>
                    <a:pt x="3" y="15"/>
                  </a:lnTo>
                  <a:lnTo>
                    <a:pt x="0" y="15"/>
                  </a:lnTo>
                  <a:lnTo>
                    <a:pt x="0" y="16"/>
                  </a:lnTo>
                  <a:lnTo>
                    <a:pt x="9" y="15"/>
                  </a:lnTo>
                  <a:lnTo>
                    <a:pt x="9" y="15"/>
                  </a:lnTo>
                  <a:lnTo>
                    <a:pt x="11" y="13"/>
                  </a:lnTo>
                  <a:lnTo>
                    <a:pt x="9" y="13"/>
                  </a:lnTo>
                  <a:lnTo>
                    <a:pt x="9" y="11"/>
                  </a:lnTo>
                  <a:lnTo>
                    <a:pt x="9" y="8"/>
                  </a:lnTo>
                  <a:lnTo>
                    <a:pt x="11" y="8"/>
                  </a:lnTo>
                  <a:lnTo>
                    <a:pt x="11" y="8"/>
                  </a:lnTo>
                  <a:lnTo>
                    <a:pt x="4" y="8"/>
                  </a:lnTo>
                  <a:lnTo>
                    <a:pt x="3" y="8"/>
                  </a:lnTo>
                  <a:lnTo>
                    <a:pt x="3" y="8"/>
                  </a:lnTo>
                  <a:lnTo>
                    <a:pt x="3" y="8"/>
                  </a:lnTo>
                  <a:lnTo>
                    <a:pt x="3" y="8"/>
                  </a:lnTo>
                  <a:lnTo>
                    <a:pt x="3" y="8"/>
                  </a:lnTo>
                  <a:lnTo>
                    <a:pt x="3" y="8"/>
                  </a:lnTo>
                  <a:lnTo>
                    <a:pt x="3" y="8"/>
                  </a:lnTo>
                  <a:lnTo>
                    <a:pt x="3" y="8"/>
                  </a:lnTo>
                  <a:lnTo>
                    <a:pt x="3" y="8"/>
                  </a:lnTo>
                  <a:lnTo>
                    <a:pt x="3"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7" name="Freeform 32">
              <a:extLst>
                <a:ext uri="{FF2B5EF4-FFF2-40B4-BE49-F238E27FC236}">
                  <a16:creationId xmlns:a16="http://schemas.microsoft.com/office/drawing/2014/main" id="{A06729C4-45A7-20FA-39CC-BB06BCA96C7C}"/>
                </a:ext>
              </a:extLst>
            </p:cNvPr>
            <p:cNvSpPr>
              <a:spLocks noEditPoints="1"/>
            </p:cNvSpPr>
            <p:nvPr/>
          </p:nvSpPr>
          <p:spPr bwMode="auto">
            <a:xfrm>
              <a:off x="3687603" y="3632571"/>
              <a:ext cx="383565" cy="372349"/>
            </a:xfrm>
            <a:custGeom>
              <a:avLst/>
              <a:gdLst>
                <a:gd name="T0" fmla="*/ 166 w 171"/>
                <a:gd name="T1" fmla="*/ 52 h 166"/>
                <a:gd name="T2" fmla="*/ 154 w 171"/>
                <a:gd name="T3" fmla="*/ 55 h 166"/>
                <a:gd name="T4" fmla="*/ 155 w 171"/>
                <a:gd name="T5" fmla="*/ 52 h 166"/>
                <a:gd name="T6" fmla="*/ 155 w 171"/>
                <a:gd name="T7" fmla="*/ 39 h 166"/>
                <a:gd name="T8" fmla="*/ 146 w 171"/>
                <a:gd name="T9" fmla="*/ 39 h 166"/>
                <a:gd name="T10" fmla="*/ 142 w 171"/>
                <a:gd name="T11" fmla="*/ 36 h 166"/>
                <a:gd name="T12" fmla="*/ 136 w 171"/>
                <a:gd name="T13" fmla="*/ 30 h 166"/>
                <a:gd name="T14" fmla="*/ 134 w 171"/>
                <a:gd name="T15" fmla="*/ 27 h 166"/>
                <a:gd name="T16" fmla="*/ 147 w 171"/>
                <a:gd name="T17" fmla="*/ 22 h 166"/>
                <a:gd name="T18" fmla="*/ 115 w 171"/>
                <a:gd name="T19" fmla="*/ 24 h 166"/>
                <a:gd name="T20" fmla="*/ 117 w 171"/>
                <a:gd name="T21" fmla="*/ 27 h 166"/>
                <a:gd name="T22" fmla="*/ 103 w 171"/>
                <a:gd name="T23" fmla="*/ 30 h 166"/>
                <a:gd name="T24" fmla="*/ 84 w 171"/>
                <a:gd name="T25" fmla="*/ 24 h 166"/>
                <a:gd name="T26" fmla="*/ 65 w 171"/>
                <a:gd name="T27" fmla="*/ 14 h 166"/>
                <a:gd name="T28" fmla="*/ 47 w 171"/>
                <a:gd name="T29" fmla="*/ 9 h 166"/>
                <a:gd name="T30" fmla="*/ 41 w 171"/>
                <a:gd name="T31" fmla="*/ 13 h 166"/>
                <a:gd name="T32" fmla="*/ 25 w 171"/>
                <a:gd name="T33" fmla="*/ 24 h 166"/>
                <a:gd name="T34" fmla="*/ 25 w 171"/>
                <a:gd name="T35" fmla="*/ 46 h 166"/>
                <a:gd name="T36" fmla="*/ 17 w 171"/>
                <a:gd name="T37" fmla="*/ 33 h 166"/>
                <a:gd name="T38" fmla="*/ 22 w 171"/>
                <a:gd name="T39" fmla="*/ 19 h 166"/>
                <a:gd name="T40" fmla="*/ 20 w 171"/>
                <a:gd name="T41" fmla="*/ 9 h 166"/>
                <a:gd name="T42" fmla="*/ 23 w 171"/>
                <a:gd name="T43" fmla="*/ 6 h 166"/>
                <a:gd name="T44" fmla="*/ 6 w 171"/>
                <a:gd name="T45" fmla="*/ 33 h 166"/>
                <a:gd name="T46" fmla="*/ 6 w 171"/>
                <a:gd name="T47" fmla="*/ 46 h 166"/>
                <a:gd name="T48" fmla="*/ 9 w 171"/>
                <a:gd name="T49" fmla="*/ 65 h 166"/>
                <a:gd name="T50" fmla="*/ 19 w 171"/>
                <a:gd name="T51" fmla="*/ 76 h 166"/>
                <a:gd name="T52" fmla="*/ 31 w 171"/>
                <a:gd name="T53" fmla="*/ 74 h 166"/>
                <a:gd name="T54" fmla="*/ 46 w 171"/>
                <a:gd name="T55" fmla="*/ 86 h 166"/>
                <a:gd name="T56" fmla="*/ 61 w 171"/>
                <a:gd name="T57" fmla="*/ 86 h 166"/>
                <a:gd name="T58" fmla="*/ 69 w 171"/>
                <a:gd name="T59" fmla="*/ 92 h 166"/>
                <a:gd name="T60" fmla="*/ 69 w 171"/>
                <a:gd name="T61" fmla="*/ 124 h 166"/>
                <a:gd name="T62" fmla="*/ 65 w 171"/>
                <a:gd name="T63" fmla="*/ 136 h 166"/>
                <a:gd name="T64" fmla="*/ 77 w 171"/>
                <a:gd name="T65" fmla="*/ 155 h 166"/>
                <a:gd name="T66" fmla="*/ 87 w 171"/>
                <a:gd name="T67" fmla="*/ 165 h 166"/>
                <a:gd name="T68" fmla="*/ 96 w 171"/>
                <a:gd name="T69" fmla="*/ 165 h 166"/>
                <a:gd name="T70" fmla="*/ 111 w 171"/>
                <a:gd name="T71" fmla="*/ 155 h 166"/>
                <a:gd name="T72" fmla="*/ 123 w 171"/>
                <a:gd name="T73" fmla="*/ 143 h 166"/>
                <a:gd name="T74" fmla="*/ 112 w 171"/>
                <a:gd name="T75" fmla="*/ 127 h 166"/>
                <a:gd name="T76" fmla="*/ 107 w 171"/>
                <a:gd name="T77" fmla="*/ 116 h 166"/>
                <a:gd name="T78" fmla="*/ 117 w 171"/>
                <a:gd name="T79" fmla="*/ 120 h 166"/>
                <a:gd name="T80" fmla="*/ 131 w 171"/>
                <a:gd name="T81" fmla="*/ 124 h 166"/>
                <a:gd name="T82" fmla="*/ 136 w 171"/>
                <a:gd name="T83" fmla="*/ 117 h 166"/>
                <a:gd name="T84" fmla="*/ 155 w 171"/>
                <a:gd name="T85" fmla="*/ 111 h 166"/>
                <a:gd name="T86" fmla="*/ 154 w 171"/>
                <a:gd name="T87" fmla="*/ 97 h 166"/>
                <a:gd name="T88" fmla="*/ 157 w 171"/>
                <a:gd name="T89" fmla="*/ 79 h 166"/>
                <a:gd name="T90" fmla="*/ 163 w 171"/>
                <a:gd name="T91" fmla="*/ 73 h 166"/>
                <a:gd name="T92" fmla="*/ 169 w 171"/>
                <a:gd name="T93" fmla="*/ 59 h 166"/>
                <a:gd name="T94" fmla="*/ 169 w 171"/>
                <a:gd name="T95" fmla="*/ 55 h 166"/>
                <a:gd name="T96" fmla="*/ 169 w 171"/>
                <a:gd name="T97" fmla="*/ 55 h 166"/>
                <a:gd name="T98" fmla="*/ 134 w 171"/>
                <a:gd name="T99" fmla="*/ 33 h 166"/>
                <a:gd name="T100" fmla="*/ 134 w 171"/>
                <a:gd name="T101" fmla="*/ 33 h 166"/>
                <a:gd name="T102" fmla="*/ 41 w 171"/>
                <a:gd name="T103" fmla="*/ 9 h 166"/>
                <a:gd name="T104" fmla="*/ 47 w 171"/>
                <a:gd name="T105" fmla="*/ 1 h 166"/>
                <a:gd name="T106" fmla="*/ 47 w 171"/>
                <a:gd name="T107" fmla="*/ 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66">
                  <a:moveTo>
                    <a:pt x="169" y="55"/>
                  </a:moveTo>
                  <a:lnTo>
                    <a:pt x="169" y="54"/>
                  </a:lnTo>
                  <a:lnTo>
                    <a:pt x="168" y="52"/>
                  </a:lnTo>
                  <a:lnTo>
                    <a:pt x="168" y="52"/>
                  </a:lnTo>
                  <a:lnTo>
                    <a:pt x="168" y="52"/>
                  </a:lnTo>
                  <a:lnTo>
                    <a:pt x="166" y="52"/>
                  </a:lnTo>
                  <a:lnTo>
                    <a:pt x="163" y="54"/>
                  </a:lnTo>
                  <a:lnTo>
                    <a:pt x="163" y="54"/>
                  </a:lnTo>
                  <a:lnTo>
                    <a:pt x="160" y="54"/>
                  </a:lnTo>
                  <a:lnTo>
                    <a:pt x="157" y="54"/>
                  </a:lnTo>
                  <a:lnTo>
                    <a:pt x="155" y="55"/>
                  </a:lnTo>
                  <a:lnTo>
                    <a:pt x="154" y="55"/>
                  </a:lnTo>
                  <a:lnTo>
                    <a:pt x="150" y="54"/>
                  </a:lnTo>
                  <a:lnTo>
                    <a:pt x="147" y="54"/>
                  </a:lnTo>
                  <a:lnTo>
                    <a:pt x="150" y="52"/>
                  </a:lnTo>
                  <a:lnTo>
                    <a:pt x="154" y="54"/>
                  </a:lnTo>
                  <a:lnTo>
                    <a:pt x="154" y="52"/>
                  </a:lnTo>
                  <a:lnTo>
                    <a:pt x="155" y="52"/>
                  </a:lnTo>
                  <a:lnTo>
                    <a:pt x="157" y="49"/>
                  </a:lnTo>
                  <a:lnTo>
                    <a:pt x="157" y="44"/>
                  </a:lnTo>
                  <a:lnTo>
                    <a:pt x="160" y="43"/>
                  </a:lnTo>
                  <a:lnTo>
                    <a:pt x="160" y="41"/>
                  </a:lnTo>
                  <a:lnTo>
                    <a:pt x="157" y="39"/>
                  </a:lnTo>
                  <a:lnTo>
                    <a:pt x="155" y="39"/>
                  </a:lnTo>
                  <a:lnTo>
                    <a:pt x="152" y="36"/>
                  </a:lnTo>
                  <a:lnTo>
                    <a:pt x="150" y="36"/>
                  </a:lnTo>
                  <a:lnTo>
                    <a:pt x="149" y="36"/>
                  </a:lnTo>
                  <a:lnTo>
                    <a:pt x="147" y="36"/>
                  </a:lnTo>
                  <a:lnTo>
                    <a:pt x="147" y="36"/>
                  </a:lnTo>
                  <a:lnTo>
                    <a:pt x="146" y="39"/>
                  </a:lnTo>
                  <a:lnTo>
                    <a:pt x="147" y="36"/>
                  </a:lnTo>
                  <a:lnTo>
                    <a:pt x="146" y="33"/>
                  </a:lnTo>
                  <a:lnTo>
                    <a:pt x="142" y="33"/>
                  </a:lnTo>
                  <a:lnTo>
                    <a:pt x="141" y="33"/>
                  </a:lnTo>
                  <a:lnTo>
                    <a:pt x="142" y="33"/>
                  </a:lnTo>
                  <a:lnTo>
                    <a:pt x="142" y="36"/>
                  </a:lnTo>
                  <a:lnTo>
                    <a:pt x="141" y="33"/>
                  </a:lnTo>
                  <a:lnTo>
                    <a:pt x="141" y="36"/>
                  </a:lnTo>
                  <a:lnTo>
                    <a:pt x="139" y="36"/>
                  </a:lnTo>
                  <a:lnTo>
                    <a:pt x="139" y="33"/>
                  </a:lnTo>
                  <a:lnTo>
                    <a:pt x="138" y="30"/>
                  </a:lnTo>
                  <a:lnTo>
                    <a:pt x="136" y="30"/>
                  </a:lnTo>
                  <a:lnTo>
                    <a:pt x="136" y="30"/>
                  </a:lnTo>
                  <a:lnTo>
                    <a:pt x="134" y="27"/>
                  </a:lnTo>
                  <a:lnTo>
                    <a:pt x="134" y="27"/>
                  </a:lnTo>
                  <a:lnTo>
                    <a:pt x="131" y="27"/>
                  </a:lnTo>
                  <a:lnTo>
                    <a:pt x="134" y="27"/>
                  </a:lnTo>
                  <a:lnTo>
                    <a:pt x="134" y="27"/>
                  </a:lnTo>
                  <a:lnTo>
                    <a:pt x="134" y="25"/>
                  </a:lnTo>
                  <a:lnTo>
                    <a:pt x="134" y="25"/>
                  </a:lnTo>
                  <a:lnTo>
                    <a:pt x="136" y="25"/>
                  </a:lnTo>
                  <a:lnTo>
                    <a:pt x="141" y="25"/>
                  </a:lnTo>
                  <a:lnTo>
                    <a:pt x="144" y="24"/>
                  </a:lnTo>
                  <a:lnTo>
                    <a:pt x="147" y="22"/>
                  </a:lnTo>
                  <a:lnTo>
                    <a:pt x="138" y="24"/>
                  </a:lnTo>
                  <a:lnTo>
                    <a:pt x="128" y="24"/>
                  </a:lnTo>
                  <a:lnTo>
                    <a:pt x="123" y="24"/>
                  </a:lnTo>
                  <a:lnTo>
                    <a:pt x="122" y="24"/>
                  </a:lnTo>
                  <a:lnTo>
                    <a:pt x="119" y="24"/>
                  </a:lnTo>
                  <a:lnTo>
                    <a:pt x="115" y="24"/>
                  </a:lnTo>
                  <a:lnTo>
                    <a:pt x="117" y="25"/>
                  </a:lnTo>
                  <a:lnTo>
                    <a:pt x="120" y="25"/>
                  </a:lnTo>
                  <a:lnTo>
                    <a:pt x="122" y="25"/>
                  </a:lnTo>
                  <a:lnTo>
                    <a:pt x="123" y="27"/>
                  </a:lnTo>
                  <a:lnTo>
                    <a:pt x="120" y="27"/>
                  </a:lnTo>
                  <a:lnTo>
                    <a:pt x="117" y="27"/>
                  </a:lnTo>
                  <a:lnTo>
                    <a:pt x="115" y="27"/>
                  </a:lnTo>
                  <a:lnTo>
                    <a:pt x="112" y="30"/>
                  </a:lnTo>
                  <a:lnTo>
                    <a:pt x="109" y="30"/>
                  </a:lnTo>
                  <a:lnTo>
                    <a:pt x="106" y="33"/>
                  </a:lnTo>
                  <a:lnTo>
                    <a:pt x="104" y="30"/>
                  </a:lnTo>
                  <a:lnTo>
                    <a:pt x="103" y="30"/>
                  </a:lnTo>
                  <a:lnTo>
                    <a:pt x="101" y="30"/>
                  </a:lnTo>
                  <a:lnTo>
                    <a:pt x="96" y="30"/>
                  </a:lnTo>
                  <a:lnTo>
                    <a:pt x="93" y="27"/>
                  </a:lnTo>
                  <a:lnTo>
                    <a:pt x="90" y="25"/>
                  </a:lnTo>
                  <a:lnTo>
                    <a:pt x="90" y="24"/>
                  </a:lnTo>
                  <a:lnTo>
                    <a:pt x="84" y="24"/>
                  </a:lnTo>
                  <a:lnTo>
                    <a:pt x="76" y="25"/>
                  </a:lnTo>
                  <a:lnTo>
                    <a:pt x="66" y="27"/>
                  </a:lnTo>
                  <a:lnTo>
                    <a:pt x="65" y="25"/>
                  </a:lnTo>
                  <a:lnTo>
                    <a:pt x="65" y="22"/>
                  </a:lnTo>
                  <a:lnTo>
                    <a:pt x="65" y="17"/>
                  </a:lnTo>
                  <a:lnTo>
                    <a:pt x="65" y="14"/>
                  </a:lnTo>
                  <a:lnTo>
                    <a:pt x="61" y="13"/>
                  </a:lnTo>
                  <a:lnTo>
                    <a:pt x="55" y="11"/>
                  </a:lnTo>
                  <a:lnTo>
                    <a:pt x="52" y="11"/>
                  </a:lnTo>
                  <a:lnTo>
                    <a:pt x="49" y="11"/>
                  </a:lnTo>
                  <a:lnTo>
                    <a:pt x="47" y="8"/>
                  </a:lnTo>
                  <a:lnTo>
                    <a:pt x="47" y="9"/>
                  </a:lnTo>
                  <a:lnTo>
                    <a:pt x="47" y="11"/>
                  </a:lnTo>
                  <a:lnTo>
                    <a:pt x="46" y="11"/>
                  </a:lnTo>
                  <a:lnTo>
                    <a:pt x="42" y="9"/>
                  </a:lnTo>
                  <a:lnTo>
                    <a:pt x="44" y="11"/>
                  </a:lnTo>
                  <a:lnTo>
                    <a:pt x="41" y="13"/>
                  </a:lnTo>
                  <a:lnTo>
                    <a:pt x="41" y="13"/>
                  </a:lnTo>
                  <a:lnTo>
                    <a:pt x="34" y="16"/>
                  </a:lnTo>
                  <a:lnTo>
                    <a:pt x="31" y="16"/>
                  </a:lnTo>
                  <a:lnTo>
                    <a:pt x="28" y="19"/>
                  </a:lnTo>
                  <a:lnTo>
                    <a:pt x="26" y="20"/>
                  </a:lnTo>
                  <a:lnTo>
                    <a:pt x="25" y="22"/>
                  </a:lnTo>
                  <a:lnTo>
                    <a:pt x="25" y="24"/>
                  </a:lnTo>
                  <a:lnTo>
                    <a:pt x="25" y="25"/>
                  </a:lnTo>
                  <a:lnTo>
                    <a:pt x="26" y="30"/>
                  </a:lnTo>
                  <a:lnTo>
                    <a:pt x="30" y="33"/>
                  </a:lnTo>
                  <a:lnTo>
                    <a:pt x="30" y="39"/>
                  </a:lnTo>
                  <a:lnTo>
                    <a:pt x="28" y="43"/>
                  </a:lnTo>
                  <a:lnTo>
                    <a:pt x="25" y="46"/>
                  </a:lnTo>
                  <a:lnTo>
                    <a:pt x="22" y="46"/>
                  </a:lnTo>
                  <a:lnTo>
                    <a:pt x="20" y="44"/>
                  </a:lnTo>
                  <a:lnTo>
                    <a:pt x="20" y="43"/>
                  </a:lnTo>
                  <a:lnTo>
                    <a:pt x="20" y="41"/>
                  </a:lnTo>
                  <a:lnTo>
                    <a:pt x="17" y="39"/>
                  </a:lnTo>
                  <a:lnTo>
                    <a:pt x="17" y="33"/>
                  </a:lnTo>
                  <a:lnTo>
                    <a:pt x="20" y="30"/>
                  </a:lnTo>
                  <a:lnTo>
                    <a:pt x="22" y="27"/>
                  </a:lnTo>
                  <a:lnTo>
                    <a:pt x="23" y="25"/>
                  </a:lnTo>
                  <a:lnTo>
                    <a:pt x="23" y="24"/>
                  </a:lnTo>
                  <a:lnTo>
                    <a:pt x="23" y="20"/>
                  </a:lnTo>
                  <a:lnTo>
                    <a:pt x="22" y="19"/>
                  </a:lnTo>
                  <a:lnTo>
                    <a:pt x="23" y="17"/>
                  </a:lnTo>
                  <a:lnTo>
                    <a:pt x="22" y="16"/>
                  </a:lnTo>
                  <a:lnTo>
                    <a:pt x="20" y="14"/>
                  </a:lnTo>
                  <a:lnTo>
                    <a:pt x="20" y="14"/>
                  </a:lnTo>
                  <a:lnTo>
                    <a:pt x="20" y="13"/>
                  </a:lnTo>
                  <a:lnTo>
                    <a:pt x="20" y="9"/>
                  </a:lnTo>
                  <a:lnTo>
                    <a:pt x="23" y="8"/>
                  </a:lnTo>
                  <a:lnTo>
                    <a:pt x="25" y="8"/>
                  </a:lnTo>
                  <a:lnTo>
                    <a:pt x="25" y="8"/>
                  </a:lnTo>
                  <a:lnTo>
                    <a:pt x="26" y="6"/>
                  </a:lnTo>
                  <a:lnTo>
                    <a:pt x="28" y="5"/>
                  </a:lnTo>
                  <a:lnTo>
                    <a:pt x="23" y="6"/>
                  </a:lnTo>
                  <a:lnTo>
                    <a:pt x="20" y="8"/>
                  </a:lnTo>
                  <a:lnTo>
                    <a:pt x="19" y="11"/>
                  </a:lnTo>
                  <a:lnTo>
                    <a:pt x="14" y="14"/>
                  </a:lnTo>
                  <a:lnTo>
                    <a:pt x="9" y="19"/>
                  </a:lnTo>
                  <a:lnTo>
                    <a:pt x="9" y="25"/>
                  </a:lnTo>
                  <a:lnTo>
                    <a:pt x="6" y="33"/>
                  </a:lnTo>
                  <a:lnTo>
                    <a:pt x="3" y="39"/>
                  </a:lnTo>
                  <a:lnTo>
                    <a:pt x="0" y="44"/>
                  </a:lnTo>
                  <a:lnTo>
                    <a:pt x="3" y="44"/>
                  </a:lnTo>
                  <a:lnTo>
                    <a:pt x="6" y="43"/>
                  </a:lnTo>
                  <a:lnTo>
                    <a:pt x="6" y="44"/>
                  </a:lnTo>
                  <a:lnTo>
                    <a:pt x="6" y="46"/>
                  </a:lnTo>
                  <a:lnTo>
                    <a:pt x="9" y="47"/>
                  </a:lnTo>
                  <a:lnTo>
                    <a:pt x="9" y="52"/>
                  </a:lnTo>
                  <a:lnTo>
                    <a:pt x="11" y="57"/>
                  </a:lnTo>
                  <a:lnTo>
                    <a:pt x="12" y="59"/>
                  </a:lnTo>
                  <a:lnTo>
                    <a:pt x="11" y="62"/>
                  </a:lnTo>
                  <a:lnTo>
                    <a:pt x="9" y="65"/>
                  </a:lnTo>
                  <a:lnTo>
                    <a:pt x="9" y="68"/>
                  </a:lnTo>
                  <a:lnTo>
                    <a:pt x="12" y="71"/>
                  </a:lnTo>
                  <a:lnTo>
                    <a:pt x="14" y="71"/>
                  </a:lnTo>
                  <a:lnTo>
                    <a:pt x="14" y="74"/>
                  </a:lnTo>
                  <a:lnTo>
                    <a:pt x="15" y="76"/>
                  </a:lnTo>
                  <a:lnTo>
                    <a:pt x="19" y="76"/>
                  </a:lnTo>
                  <a:lnTo>
                    <a:pt x="20" y="74"/>
                  </a:lnTo>
                  <a:lnTo>
                    <a:pt x="22" y="76"/>
                  </a:lnTo>
                  <a:lnTo>
                    <a:pt x="25" y="76"/>
                  </a:lnTo>
                  <a:lnTo>
                    <a:pt x="28" y="76"/>
                  </a:lnTo>
                  <a:lnTo>
                    <a:pt x="31" y="74"/>
                  </a:lnTo>
                  <a:lnTo>
                    <a:pt x="31" y="74"/>
                  </a:lnTo>
                  <a:lnTo>
                    <a:pt x="34" y="76"/>
                  </a:lnTo>
                  <a:lnTo>
                    <a:pt x="38" y="76"/>
                  </a:lnTo>
                  <a:lnTo>
                    <a:pt x="41" y="76"/>
                  </a:lnTo>
                  <a:lnTo>
                    <a:pt x="41" y="78"/>
                  </a:lnTo>
                  <a:lnTo>
                    <a:pt x="44" y="84"/>
                  </a:lnTo>
                  <a:lnTo>
                    <a:pt x="46" y="86"/>
                  </a:lnTo>
                  <a:lnTo>
                    <a:pt x="47" y="89"/>
                  </a:lnTo>
                  <a:lnTo>
                    <a:pt x="50" y="89"/>
                  </a:lnTo>
                  <a:lnTo>
                    <a:pt x="53" y="89"/>
                  </a:lnTo>
                  <a:lnTo>
                    <a:pt x="55" y="89"/>
                  </a:lnTo>
                  <a:lnTo>
                    <a:pt x="58" y="89"/>
                  </a:lnTo>
                  <a:lnTo>
                    <a:pt x="61" y="86"/>
                  </a:lnTo>
                  <a:lnTo>
                    <a:pt x="65" y="86"/>
                  </a:lnTo>
                  <a:lnTo>
                    <a:pt x="69" y="86"/>
                  </a:lnTo>
                  <a:lnTo>
                    <a:pt x="71" y="86"/>
                  </a:lnTo>
                  <a:lnTo>
                    <a:pt x="73" y="89"/>
                  </a:lnTo>
                  <a:lnTo>
                    <a:pt x="73" y="89"/>
                  </a:lnTo>
                  <a:lnTo>
                    <a:pt x="69" y="92"/>
                  </a:lnTo>
                  <a:lnTo>
                    <a:pt x="69" y="97"/>
                  </a:lnTo>
                  <a:lnTo>
                    <a:pt x="68" y="100"/>
                  </a:lnTo>
                  <a:lnTo>
                    <a:pt x="66" y="101"/>
                  </a:lnTo>
                  <a:lnTo>
                    <a:pt x="66" y="113"/>
                  </a:lnTo>
                  <a:lnTo>
                    <a:pt x="68" y="117"/>
                  </a:lnTo>
                  <a:lnTo>
                    <a:pt x="69" y="124"/>
                  </a:lnTo>
                  <a:lnTo>
                    <a:pt x="73" y="127"/>
                  </a:lnTo>
                  <a:lnTo>
                    <a:pt x="73" y="130"/>
                  </a:lnTo>
                  <a:lnTo>
                    <a:pt x="71" y="130"/>
                  </a:lnTo>
                  <a:lnTo>
                    <a:pt x="68" y="133"/>
                  </a:lnTo>
                  <a:lnTo>
                    <a:pt x="66" y="135"/>
                  </a:lnTo>
                  <a:lnTo>
                    <a:pt x="65" y="136"/>
                  </a:lnTo>
                  <a:lnTo>
                    <a:pt x="68" y="136"/>
                  </a:lnTo>
                  <a:lnTo>
                    <a:pt x="71" y="138"/>
                  </a:lnTo>
                  <a:lnTo>
                    <a:pt x="74" y="144"/>
                  </a:lnTo>
                  <a:lnTo>
                    <a:pt x="76" y="149"/>
                  </a:lnTo>
                  <a:lnTo>
                    <a:pt x="77" y="152"/>
                  </a:lnTo>
                  <a:lnTo>
                    <a:pt x="77" y="155"/>
                  </a:lnTo>
                  <a:lnTo>
                    <a:pt x="79" y="159"/>
                  </a:lnTo>
                  <a:lnTo>
                    <a:pt x="82" y="162"/>
                  </a:lnTo>
                  <a:lnTo>
                    <a:pt x="82" y="162"/>
                  </a:lnTo>
                  <a:lnTo>
                    <a:pt x="82" y="162"/>
                  </a:lnTo>
                  <a:lnTo>
                    <a:pt x="85" y="165"/>
                  </a:lnTo>
                  <a:lnTo>
                    <a:pt x="87" y="165"/>
                  </a:lnTo>
                  <a:lnTo>
                    <a:pt x="88" y="165"/>
                  </a:lnTo>
                  <a:lnTo>
                    <a:pt x="93" y="162"/>
                  </a:lnTo>
                  <a:lnTo>
                    <a:pt x="93" y="162"/>
                  </a:lnTo>
                  <a:lnTo>
                    <a:pt x="96" y="163"/>
                  </a:lnTo>
                  <a:lnTo>
                    <a:pt x="96" y="166"/>
                  </a:lnTo>
                  <a:lnTo>
                    <a:pt x="96" y="165"/>
                  </a:lnTo>
                  <a:lnTo>
                    <a:pt x="100" y="162"/>
                  </a:lnTo>
                  <a:lnTo>
                    <a:pt x="100" y="162"/>
                  </a:lnTo>
                  <a:lnTo>
                    <a:pt x="103" y="159"/>
                  </a:lnTo>
                  <a:lnTo>
                    <a:pt x="107" y="155"/>
                  </a:lnTo>
                  <a:lnTo>
                    <a:pt x="109" y="155"/>
                  </a:lnTo>
                  <a:lnTo>
                    <a:pt x="111" y="155"/>
                  </a:lnTo>
                  <a:lnTo>
                    <a:pt x="112" y="152"/>
                  </a:lnTo>
                  <a:lnTo>
                    <a:pt x="114" y="151"/>
                  </a:lnTo>
                  <a:lnTo>
                    <a:pt x="115" y="149"/>
                  </a:lnTo>
                  <a:lnTo>
                    <a:pt x="119" y="147"/>
                  </a:lnTo>
                  <a:lnTo>
                    <a:pt x="122" y="146"/>
                  </a:lnTo>
                  <a:lnTo>
                    <a:pt x="123" y="143"/>
                  </a:lnTo>
                  <a:lnTo>
                    <a:pt x="120" y="141"/>
                  </a:lnTo>
                  <a:lnTo>
                    <a:pt x="117" y="141"/>
                  </a:lnTo>
                  <a:lnTo>
                    <a:pt x="115" y="141"/>
                  </a:lnTo>
                  <a:lnTo>
                    <a:pt x="115" y="136"/>
                  </a:lnTo>
                  <a:lnTo>
                    <a:pt x="114" y="133"/>
                  </a:lnTo>
                  <a:lnTo>
                    <a:pt x="112" y="127"/>
                  </a:lnTo>
                  <a:lnTo>
                    <a:pt x="112" y="124"/>
                  </a:lnTo>
                  <a:lnTo>
                    <a:pt x="109" y="120"/>
                  </a:lnTo>
                  <a:lnTo>
                    <a:pt x="106" y="117"/>
                  </a:lnTo>
                  <a:lnTo>
                    <a:pt x="106" y="117"/>
                  </a:lnTo>
                  <a:lnTo>
                    <a:pt x="106" y="116"/>
                  </a:lnTo>
                  <a:lnTo>
                    <a:pt x="107" y="116"/>
                  </a:lnTo>
                  <a:lnTo>
                    <a:pt x="109" y="117"/>
                  </a:lnTo>
                  <a:lnTo>
                    <a:pt x="112" y="117"/>
                  </a:lnTo>
                  <a:lnTo>
                    <a:pt x="114" y="117"/>
                  </a:lnTo>
                  <a:lnTo>
                    <a:pt x="115" y="117"/>
                  </a:lnTo>
                  <a:lnTo>
                    <a:pt x="115" y="120"/>
                  </a:lnTo>
                  <a:lnTo>
                    <a:pt x="117" y="120"/>
                  </a:lnTo>
                  <a:lnTo>
                    <a:pt x="122" y="120"/>
                  </a:lnTo>
                  <a:lnTo>
                    <a:pt x="123" y="120"/>
                  </a:lnTo>
                  <a:lnTo>
                    <a:pt x="125" y="120"/>
                  </a:lnTo>
                  <a:lnTo>
                    <a:pt x="125" y="120"/>
                  </a:lnTo>
                  <a:lnTo>
                    <a:pt x="128" y="124"/>
                  </a:lnTo>
                  <a:lnTo>
                    <a:pt x="131" y="124"/>
                  </a:lnTo>
                  <a:lnTo>
                    <a:pt x="131" y="124"/>
                  </a:lnTo>
                  <a:lnTo>
                    <a:pt x="131" y="124"/>
                  </a:lnTo>
                  <a:lnTo>
                    <a:pt x="131" y="117"/>
                  </a:lnTo>
                  <a:lnTo>
                    <a:pt x="134" y="117"/>
                  </a:lnTo>
                  <a:lnTo>
                    <a:pt x="134" y="117"/>
                  </a:lnTo>
                  <a:lnTo>
                    <a:pt x="136" y="117"/>
                  </a:lnTo>
                  <a:lnTo>
                    <a:pt x="139" y="117"/>
                  </a:lnTo>
                  <a:lnTo>
                    <a:pt x="144" y="116"/>
                  </a:lnTo>
                  <a:lnTo>
                    <a:pt x="147" y="113"/>
                  </a:lnTo>
                  <a:lnTo>
                    <a:pt x="152" y="111"/>
                  </a:lnTo>
                  <a:lnTo>
                    <a:pt x="154" y="113"/>
                  </a:lnTo>
                  <a:lnTo>
                    <a:pt x="155" y="111"/>
                  </a:lnTo>
                  <a:lnTo>
                    <a:pt x="157" y="106"/>
                  </a:lnTo>
                  <a:lnTo>
                    <a:pt x="158" y="106"/>
                  </a:lnTo>
                  <a:lnTo>
                    <a:pt x="158" y="106"/>
                  </a:lnTo>
                  <a:lnTo>
                    <a:pt x="158" y="103"/>
                  </a:lnTo>
                  <a:lnTo>
                    <a:pt x="157" y="101"/>
                  </a:lnTo>
                  <a:lnTo>
                    <a:pt x="154" y="97"/>
                  </a:lnTo>
                  <a:lnTo>
                    <a:pt x="150" y="92"/>
                  </a:lnTo>
                  <a:lnTo>
                    <a:pt x="152" y="89"/>
                  </a:lnTo>
                  <a:lnTo>
                    <a:pt x="154" y="84"/>
                  </a:lnTo>
                  <a:lnTo>
                    <a:pt x="154" y="81"/>
                  </a:lnTo>
                  <a:lnTo>
                    <a:pt x="155" y="79"/>
                  </a:lnTo>
                  <a:lnTo>
                    <a:pt x="157" y="79"/>
                  </a:lnTo>
                  <a:lnTo>
                    <a:pt x="157" y="79"/>
                  </a:lnTo>
                  <a:lnTo>
                    <a:pt x="160" y="79"/>
                  </a:lnTo>
                  <a:lnTo>
                    <a:pt x="160" y="78"/>
                  </a:lnTo>
                  <a:lnTo>
                    <a:pt x="163" y="76"/>
                  </a:lnTo>
                  <a:lnTo>
                    <a:pt x="163" y="74"/>
                  </a:lnTo>
                  <a:lnTo>
                    <a:pt x="163" y="73"/>
                  </a:lnTo>
                  <a:lnTo>
                    <a:pt x="160" y="73"/>
                  </a:lnTo>
                  <a:lnTo>
                    <a:pt x="160" y="71"/>
                  </a:lnTo>
                  <a:lnTo>
                    <a:pt x="160" y="68"/>
                  </a:lnTo>
                  <a:lnTo>
                    <a:pt x="160" y="65"/>
                  </a:lnTo>
                  <a:lnTo>
                    <a:pt x="163" y="62"/>
                  </a:lnTo>
                  <a:lnTo>
                    <a:pt x="169" y="59"/>
                  </a:lnTo>
                  <a:lnTo>
                    <a:pt x="171" y="59"/>
                  </a:lnTo>
                  <a:lnTo>
                    <a:pt x="171" y="57"/>
                  </a:lnTo>
                  <a:lnTo>
                    <a:pt x="171" y="57"/>
                  </a:lnTo>
                  <a:lnTo>
                    <a:pt x="169" y="55"/>
                  </a:lnTo>
                  <a:lnTo>
                    <a:pt x="169" y="55"/>
                  </a:lnTo>
                  <a:lnTo>
                    <a:pt x="169" y="55"/>
                  </a:lnTo>
                  <a:lnTo>
                    <a:pt x="169" y="55"/>
                  </a:lnTo>
                  <a:lnTo>
                    <a:pt x="169" y="55"/>
                  </a:lnTo>
                  <a:lnTo>
                    <a:pt x="169" y="55"/>
                  </a:lnTo>
                  <a:lnTo>
                    <a:pt x="169" y="55"/>
                  </a:lnTo>
                  <a:lnTo>
                    <a:pt x="169" y="55"/>
                  </a:lnTo>
                  <a:lnTo>
                    <a:pt x="169" y="55"/>
                  </a:lnTo>
                  <a:close/>
                  <a:moveTo>
                    <a:pt x="134" y="33"/>
                  </a:moveTo>
                  <a:lnTo>
                    <a:pt x="131" y="30"/>
                  </a:lnTo>
                  <a:lnTo>
                    <a:pt x="134" y="33"/>
                  </a:lnTo>
                  <a:lnTo>
                    <a:pt x="134" y="33"/>
                  </a:lnTo>
                  <a:lnTo>
                    <a:pt x="134" y="33"/>
                  </a:lnTo>
                  <a:lnTo>
                    <a:pt x="134" y="33"/>
                  </a:lnTo>
                  <a:lnTo>
                    <a:pt x="134" y="33"/>
                  </a:lnTo>
                  <a:lnTo>
                    <a:pt x="134" y="33"/>
                  </a:lnTo>
                  <a:lnTo>
                    <a:pt x="134" y="33"/>
                  </a:lnTo>
                  <a:lnTo>
                    <a:pt x="134" y="33"/>
                  </a:lnTo>
                  <a:lnTo>
                    <a:pt x="134" y="33"/>
                  </a:lnTo>
                  <a:lnTo>
                    <a:pt x="134" y="33"/>
                  </a:lnTo>
                  <a:close/>
                  <a:moveTo>
                    <a:pt x="47" y="1"/>
                  </a:moveTo>
                  <a:lnTo>
                    <a:pt x="46" y="0"/>
                  </a:lnTo>
                  <a:lnTo>
                    <a:pt x="44" y="0"/>
                  </a:lnTo>
                  <a:lnTo>
                    <a:pt x="42" y="0"/>
                  </a:lnTo>
                  <a:lnTo>
                    <a:pt x="42" y="5"/>
                  </a:lnTo>
                  <a:lnTo>
                    <a:pt x="41" y="9"/>
                  </a:lnTo>
                  <a:lnTo>
                    <a:pt x="44" y="8"/>
                  </a:lnTo>
                  <a:lnTo>
                    <a:pt x="47" y="8"/>
                  </a:lnTo>
                  <a:lnTo>
                    <a:pt x="47" y="5"/>
                  </a:lnTo>
                  <a:lnTo>
                    <a:pt x="47" y="1"/>
                  </a:lnTo>
                  <a:lnTo>
                    <a:pt x="47" y="1"/>
                  </a:lnTo>
                  <a:lnTo>
                    <a:pt x="47" y="1"/>
                  </a:lnTo>
                  <a:lnTo>
                    <a:pt x="47" y="1"/>
                  </a:lnTo>
                  <a:lnTo>
                    <a:pt x="47" y="1"/>
                  </a:lnTo>
                  <a:lnTo>
                    <a:pt x="47" y="1"/>
                  </a:lnTo>
                  <a:lnTo>
                    <a:pt x="47" y="1"/>
                  </a:lnTo>
                  <a:lnTo>
                    <a:pt x="47" y="1"/>
                  </a:lnTo>
                  <a:lnTo>
                    <a:pt x="47" y="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8" name="Freeform 35">
              <a:extLst>
                <a:ext uri="{FF2B5EF4-FFF2-40B4-BE49-F238E27FC236}">
                  <a16:creationId xmlns:a16="http://schemas.microsoft.com/office/drawing/2014/main" id="{41EBB23D-608E-E949-86DC-7166451EBD95}"/>
                </a:ext>
              </a:extLst>
            </p:cNvPr>
            <p:cNvSpPr>
              <a:spLocks/>
            </p:cNvSpPr>
            <p:nvPr/>
          </p:nvSpPr>
          <p:spPr bwMode="auto">
            <a:xfrm>
              <a:off x="4118272" y="3832204"/>
              <a:ext cx="116639" cy="139071"/>
            </a:xfrm>
            <a:custGeom>
              <a:avLst/>
              <a:gdLst>
                <a:gd name="T0" fmla="*/ 27 w 52"/>
                <a:gd name="T1" fmla="*/ 60 h 62"/>
                <a:gd name="T2" fmla="*/ 23 w 52"/>
                <a:gd name="T3" fmla="*/ 57 h 62"/>
                <a:gd name="T4" fmla="*/ 23 w 52"/>
                <a:gd name="T5" fmla="*/ 54 h 62"/>
                <a:gd name="T6" fmla="*/ 27 w 52"/>
                <a:gd name="T7" fmla="*/ 52 h 62"/>
                <a:gd name="T8" fmla="*/ 33 w 52"/>
                <a:gd name="T9" fmla="*/ 51 h 62"/>
                <a:gd name="T10" fmla="*/ 38 w 52"/>
                <a:gd name="T11" fmla="*/ 51 h 62"/>
                <a:gd name="T12" fmla="*/ 41 w 52"/>
                <a:gd name="T13" fmla="*/ 52 h 62"/>
                <a:gd name="T14" fmla="*/ 46 w 52"/>
                <a:gd name="T15" fmla="*/ 51 h 62"/>
                <a:gd name="T16" fmla="*/ 49 w 52"/>
                <a:gd name="T17" fmla="*/ 44 h 62"/>
                <a:gd name="T18" fmla="*/ 50 w 52"/>
                <a:gd name="T19" fmla="*/ 38 h 62"/>
                <a:gd name="T20" fmla="*/ 47 w 52"/>
                <a:gd name="T21" fmla="*/ 31 h 62"/>
                <a:gd name="T22" fmla="*/ 46 w 52"/>
                <a:gd name="T23" fmla="*/ 20 h 62"/>
                <a:gd name="T24" fmla="*/ 49 w 52"/>
                <a:gd name="T25" fmla="*/ 11 h 62"/>
                <a:gd name="T26" fmla="*/ 50 w 52"/>
                <a:gd name="T27" fmla="*/ 8 h 62"/>
                <a:gd name="T28" fmla="*/ 50 w 52"/>
                <a:gd name="T29" fmla="*/ 3 h 62"/>
                <a:gd name="T30" fmla="*/ 42 w 52"/>
                <a:gd name="T31" fmla="*/ 0 h 62"/>
                <a:gd name="T32" fmla="*/ 38 w 52"/>
                <a:gd name="T33" fmla="*/ 3 h 62"/>
                <a:gd name="T34" fmla="*/ 38 w 52"/>
                <a:gd name="T35" fmla="*/ 3 h 62"/>
                <a:gd name="T36" fmla="*/ 36 w 52"/>
                <a:gd name="T37" fmla="*/ 3 h 62"/>
                <a:gd name="T38" fmla="*/ 30 w 52"/>
                <a:gd name="T39" fmla="*/ 3 h 62"/>
                <a:gd name="T40" fmla="*/ 27 w 52"/>
                <a:gd name="T41" fmla="*/ 3 h 62"/>
                <a:gd name="T42" fmla="*/ 27 w 52"/>
                <a:gd name="T43" fmla="*/ 3 h 62"/>
                <a:gd name="T44" fmla="*/ 17 w 52"/>
                <a:gd name="T45" fmla="*/ 3 h 62"/>
                <a:gd name="T46" fmla="*/ 11 w 52"/>
                <a:gd name="T47" fmla="*/ 6 h 62"/>
                <a:gd name="T48" fmla="*/ 11 w 52"/>
                <a:gd name="T49" fmla="*/ 8 h 62"/>
                <a:gd name="T50" fmla="*/ 9 w 52"/>
                <a:gd name="T51" fmla="*/ 12 h 62"/>
                <a:gd name="T52" fmla="*/ 3 w 52"/>
                <a:gd name="T53" fmla="*/ 16 h 62"/>
                <a:gd name="T54" fmla="*/ 0 w 52"/>
                <a:gd name="T55" fmla="*/ 19 h 62"/>
                <a:gd name="T56" fmla="*/ 0 w 52"/>
                <a:gd name="T57" fmla="*/ 31 h 62"/>
                <a:gd name="T58" fmla="*/ 4 w 52"/>
                <a:gd name="T59" fmla="*/ 38 h 62"/>
                <a:gd name="T60" fmla="*/ 8 w 52"/>
                <a:gd name="T61" fmla="*/ 38 h 62"/>
                <a:gd name="T62" fmla="*/ 9 w 52"/>
                <a:gd name="T63" fmla="*/ 46 h 62"/>
                <a:gd name="T64" fmla="*/ 14 w 52"/>
                <a:gd name="T65" fmla="*/ 54 h 62"/>
                <a:gd name="T66" fmla="*/ 15 w 52"/>
                <a:gd name="T67" fmla="*/ 57 h 62"/>
                <a:gd name="T68" fmla="*/ 23 w 52"/>
                <a:gd name="T69" fmla="*/ 62 h 62"/>
                <a:gd name="T70" fmla="*/ 23 w 52"/>
                <a:gd name="T71" fmla="*/ 62 h 62"/>
                <a:gd name="T72" fmla="*/ 23 w 52"/>
                <a:gd name="T73" fmla="*/ 62 h 62"/>
                <a:gd name="T74" fmla="*/ 23 w 52"/>
                <a:gd name="T75" fmla="*/ 62 h 62"/>
                <a:gd name="T76" fmla="*/ 23 w 52"/>
                <a:gd name="T7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62">
                  <a:moveTo>
                    <a:pt x="23" y="62"/>
                  </a:moveTo>
                  <a:lnTo>
                    <a:pt x="27" y="60"/>
                  </a:lnTo>
                  <a:lnTo>
                    <a:pt x="27" y="58"/>
                  </a:lnTo>
                  <a:lnTo>
                    <a:pt x="23" y="57"/>
                  </a:lnTo>
                  <a:lnTo>
                    <a:pt x="23" y="55"/>
                  </a:lnTo>
                  <a:lnTo>
                    <a:pt x="23" y="54"/>
                  </a:lnTo>
                  <a:lnTo>
                    <a:pt x="27" y="52"/>
                  </a:lnTo>
                  <a:lnTo>
                    <a:pt x="27" y="52"/>
                  </a:lnTo>
                  <a:lnTo>
                    <a:pt x="30" y="52"/>
                  </a:lnTo>
                  <a:lnTo>
                    <a:pt x="33" y="51"/>
                  </a:lnTo>
                  <a:lnTo>
                    <a:pt x="38" y="51"/>
                  </a:lnTo>
                  <a:lnTo>
                    <a:pt x="38" y="51"/>
                  </a:lnTo>
                  <a:lnTo>
                    <a:pt x="39" y="52"/>
                  </a:lnTo>
                  <a:lnTo>
                    <a:pt x="41" y="52"/>
                  </a:lnTo>
                  <a:lnTo>
                    <a:pt x="42" y="54"/>
                  </a:lnTo>
                  <a:lnTo>
                    <a:pt x="46" y="51"/>
                  </a:lnTo>
                  <a:lnTo>
                    <a:pt x="47" y="49"/>
                  </a:lnTo>
                  <a:lnTo>
                    <a:pt x="49" y="44"/>
                  </a:lnTo>
                  <a:lnTo>
                    <a:pt x="49" y="41"/>
                  </a:lnTo>
                  <a:lnTo>
                    <a:pt x="50" y="38"/>
                  </a:lnTo>
                  <a:lnTo>
                    <a:pt x="50" y="35"/>
                  </a:lnTo>
                  <a:lnTo>
                    <a:pt x="47" y="31"/>
                  </a:lnTo>
                  <a:lnTo>
                    <a:pt x="46" y="27"/>
                  </a:lnTo>
                  <a:lnTo>
                    <a:pt x="46" y="20"/>
                  </a:lnTo>
                  <a:lnTo>
                    <a:pt x="46" y="16"/>
                  </a:lnTo>
                  <a:lnTo>
                    <a:pt x="49" y="11"/>
                  </a:lnTo>
                  <a:lnTo>
                    <a:pt x="50" y="9"/>
                  </a:lnTo>
                  <a:lnTo>
                    <a:pt x="50" y="8"/>
                  </a:lnTo>
                  <a:lnTo>
                    <a:pt x="52" y="6"/>
                  </a:lnTo>
                  <a:lnTo>
                    <a:pt x="50" y="3"/>
                  </a:lnTo>
                  <a:lnTo>
                    <a:pt x="47" y="3"/>
                  </a:lnTo>
                  <a:lnTo>
                    <a:pt x="42" y="0"/>
                  </a:lnTo>
                  <a:lnTo>
                    <a:pt x="39" y="0"/>
                  </a:lnTo>
                  <a:lnTo>
                    <a:pt x="38" y="3"/>
                  </a:lnTo>
                  <a:lnTo>
                    <a:pt x="41" y="3"/>
                  </a:lnTo>
                  <a:lnTo>
                    <a:pt x="38" y="3"/>
                  </a:lnTo>
                  <a:lnTo>
                    <a:pt x="36" y="3"/>
                  </a:lnTo>
                  <a:lnTo>
                    <a:pt x="36" y="3"/>
                  </a:lnTo>
                  <a:lnTo>
                    <a:pt x="35" y="3"/>
                  </a:lnTo>
                  <a:lnTo>
                    <a:pt x="30" y="3"/>
                  </a:lnTo>
                  <a:lnTo>
                    <a:pt x="30" y="3"/>
                  </a:lnTo>
                  <a:lnTo>
                    <a:pt x="27" y="3"/>
                  </a:lnTo>
                  <a:lnTo>
                    <a:pt x="27" y="6"/>
                  </a:lnTo>
                  <a:lnTo>
                    <a:pt x="27" y="3"/>
                  </a:lnTo>
                  <a:lnTo>
                    <a:pt x="23" y="3"/>
                  </a:lnTo>
                  <a:lnTo>
                    <a:pt x="17" y="3"/>
                  </a:lnTo>
                  <a:lnTo>
                    <a:pt x="14" y="3"/>
                  </a:lnTo>
                  <a:lnTo>
                    <a:pt x="11" y="6"/>
                  </a:lnTo>
                  <a:lnTo>
                    <a:pt x="11" y="6"/>
                  </a:lnTo>
                  <a:lnTo>
                    <a:pt x="11" y="8"/>
                  </a:lnTo>
                  <a:lnTo>
                    <a:pt x="9" y="11"/>
                  </a:lnTo>
                  <a:lnTo>
                    <a:pt x="9" y="12"/>
                  </a:lnTo>
                  <a:lnTo>
                    <a:pt x="8" y="16"/>
                  </a:lnTo>
                  <a:lnTo>
                    <a:pt x="3" y="16"/>
                  </a:lnTo>
                  <a:lnTo>
                    <a:pt x="0" y="16"/>
                  </a:lnTo>
                  <a:lnTo>
                    <a:pt x="0" y="19"/>
                  </a:lnTo>
                  <a:lnTo>
                    <a:pt x="0" y="28"/>
                  </a:lnTo>
                  <a:lnTo>
                    <a:pt x="0" y="31"/>
                  </a:lnTo>
                  <a:lnTo>
                    <a:pt x="3" y="35"/>
                  </a:lnTo>
                  <a:lnTo>
                    <a:pt x="4" y="38"/>
                  </a:lnTo>
                  <a:lnTo>
                    <a:pt x="6" y="41"/>
                  </a:lnTo>
                  <a:lnTo>
                    <a:pt x="8" y="38"/>
                  </a:lnTo>
                  <a:lnTo>
                    <a:pt x="9" y="41"/>
                  </a:lnTo>
                  <a:lnTo>
                    <a:pt x="9" y="46"/>
                  </a:lnTo>
                  <a:lnTo>
                    <a:pt x="11" y="49"/>
                  </a:lnTo>
                  <a:lnTo>
                    <a:pt x="14" y="54"/>
                  </a:lnTo>
                  <a:lnTo>
                    <a:pt x="14" y="55"/>
                  </a:lnTo>
                  <a:lnTo>
                    <a:pt x="15" y="57"/>
                  </a:lnTo>
                  <a:lnTo>
                    <a:pt x="19" y="60"/>
                  </a:lnTo>
                  <a:lnTo>
                    <a:pt x="23" y="62"/>
                  </a:lnTo>
                  <a:lnTo>
                    <a:pt x="23" y="62"/>
                  </a:lnTo>
                  <a:lnTo>
                    <a:pt x="23" y="62"/>
                  </a:lnTo>
                  <a:lnTo>
                    <a:pt x="23" y="62"/>
                  </a:lnTo>
                  <a:lnTo>
                    <a:pt x="23" y="62"/>
                  </a:lnTo>
                  <a:lnTo>
                    <a:pt x="23" y="62"/>
                  </a:lnTo>
                  <a:lnTo>
                    <a:pt x="23" y="62"/>
                  </a:lnTo>
                  <a:lnTo>
                    <a:pt x="23" y="62"/>
                  </a:lnTo>
                  <a:lnTo>
                    <a:pt x="23" y="62"/>
                  </a:lnTo>
                  <a:lnTo>
                    <a:pt x="23" y="62"/>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49" name="Freeform 36">
              <a:extLst>
                <a:ext uri="{FF2B5EF4-FFF2-40B4-BE49-F238E27FC236}">
                  <a16:creationId xmlns:a16="http://schemas.microsoft.com/office/drawing/2014/main" id="{5ECA2406-67DF-B43A-306D-76F2B6C078BE}"/>
                </a:ext>
              </a:extLst>
            </p:cNvPr>
            <p:cNvSpPr>
              <a:spLocks/>
            </p:cNvSpPr>
            <p:nvPr/>
          </p:nvSpPr>
          <p:spPr bwMode="auto">
            <a:xfrm>
              <a:off x="4212480" y="3845663"/>
              <a:ext cx="82994" cy="114397"/>
            </a:xfrm>
            <a:custGeom>
              <a:avLst/>
              <a:gdLst>
                <a:gd name="T0" fmla="*/ 7 w 37"/>
                <a:gd name="T1" fmla="*/ 3 h 51"/>
                <a:gd name="T2" fmla="*/ 5 w 37"/>
                <a:gd name="T3" fmla="*/ 5 h 51"/>
                <a:gd name="T4" fmla="*/ 2 w 37"/>
                <a:gd name="T5" fmla="*/ 10 h 51"/>
                <a:gd name="T6" fmla="*/ 2 w 37"/>
                <a:gd name="T7" fmla="*/ 14 h 51"/>
                <a:gd name="T8" fmla="*/ 2 w 37"/>
                <a:gd name="T9" fmla="*/ 21 h 51"/>
                <a:gd name="T10" fmla="*/ 5 w 37"/>
                <a:gd name="T11" fmla="*/ 25 h 51"/>
                <a:gd name="T12" fmla="*/ 7 w 37"/>
                <a:gd name="T13" fmla="*/ 29 h 51"/>
                <a:gd name="T14" fmla="*/ 7 w 37"/>
                <a:gd name="T15" fmla="*/ 32 h 51"/>
                <a:gd name="T16" fmla="*/ 5 w 37"/>
                <a:gd name="T17" fmla="*/ 35 h 51"/>
                <a:gd name="T18" fmla="*/ 5 w 37"/>
                <a:gd name="T19" fmla="*/ 38 h 51"/>
                <a:gd name="T20" fmla="*/ 5 w 37"/>
                <a:gd name="T21" fmla="*/ 43 h 51"/>
                <a:gd name="T22" fmla="*/ 4 w 37"/>
                <a:gd name="T23" fmla="*/ 45 h 51"/>
                <a:gd name="T24" fmla="*/ 0 w 37"/>
                <a:gd name="T25" fmla="*/ 48 h 51"/>
                <a:gd name="T26" fmla="*/ 2 w 37"/>
                <a:gd name="T27" fmla="*/ 49 h 51"/>
                <a:gd name="T28" fmla="*/ 5 w 37"/>
                <a:gd name="T29" fmla="*/ 51 h 51"/>
                <a:gd name="T30" fmla="*/ 5 w 37"/>
                <a:gd name="T31" fmla="*/ 51 h 51"/>
                <a:gd name="T32" fmla="*/ 10 w 37"/>
                <a:gd name="T33" fmla="*/ 48 h 51"/>
                <a:gd name="T34" fmla="*/ 12 w 37"/>
                <a:gd name="T35" fmla="*/ 49 h 51"/>
                <a:gd name="T36" fmla="*/ 15 w 37"/>
                <a:gd name="T37" fmla="*/ 49 h 51"/>
                <a:gd name="T38" fmla="*/ 16 w 37"/>
                <a:gd name="T39" fmla="*/ 49 h 51"/>
                <a:gd name="T40" fmla="*/ 20 w 37"/>
                <a:gd name="T41" fmla="*/ 49 h 51"/>
                <a:gd name="T42" fmla="*/ 21 w 37"/>
                <a:gd name="T43" fmla="*/ 49 h 51"/>
                <a:gd name="T44" fmla="*/ 24 w 37"/>
                <a:gd name="T45" fmla="*/ 46 h 51"/>
                <a:gd name="T46" fmla="*/ 29 w 37"/>
                <a:gd name="T47" fmla="*/ 35 h 51"/>
                <a:gd name="T48" fmla="*/ 35 w 37"/>
                <a:gd name="T49" fmla="*/ 25 h 51"/>
                <a:gd name="T50" fmla="*/ 37 w 37"/>
                <a:gd name="T51" fmla="*/ 21 h 51"/>
                <a:gd name="T52" fmla="*/ 37 w 37"/>
                <a:gd name="T53" fmla="*/ 19 h 51"/>
                <a:gd name="T54" fmla="*/ 35 w 37"/>
                <a:gd name="T55" fmla="*/ 16 h 51"/>
                <a:gd name="T56" fmla="*/ 35 w 37"/>
                <a:gd name="T57" fmla="*/ 14 h 51"/>
                <a:gd name="T58" fmla="*/ 35 w 37"/>
                <a:gd name="T59" fmla="*/ 16 h 51"/>
                <a:gd name="T60" fmla="*/ 32 w 37"/>
                <a:gd name="T61" fmla="*/ 14 h 51"/>
                <a:gd name="T62" fmla="*/ 29 w 37"/>
                <a:gd name="T63" fmla="*/ 13 h 51"/>
                <a:gd name="T64" fmla="*/ 29 w 37"/>
                <a:gd name="T65" fmla="*/ 13 h 51"/>
                <a:gd name="T66" fmla="*/ 29 w 37"/>
                <a:gd name="T67" fmla="*/ 11 h 51"/>
                <a:gd name="T68" fmla="*/ 29 w 37"/>
                <a:gd name="T69" fmla="*/ 10 h 51"/>
                <a:gd name="T70" fmla="*/ 26 w 37"/>
                <a:gd name="T71" fmla="*/ 8 h 51"/>
                <a:gd name="T72" fmla="*/ 23 w 37"/>
                <a:gd name="T73" fmla="*/ 3 h 51"/>
                <a:gd name="T74" fmla="*/ 20 w 37"/>
                <a:gd name="T75" fmla="*/ 2 h 51"/>
                <a:gd name="T76" fmla="*/ 16 w 37"/>
                <a:gd name="T77" fmla="*/ 2 h 51"/>
                <a:gd name="T78" fmla="*/ 12 w 37"/>
                <a:gd name="T79" fmla="*/ 0 h 51"/>
                <a:gd name="T80" fmla="*/ 10 w 37"/>
                <a:gd name="T81" fmla="*/ 0 h 51"/>
                <a:gd name="T82" fmla="*/ 8 w 37"/>
                <a:gd name="T83" fmla="*/ 0 h 51"/>
                <a:gd name="T84" fmla="*/ 7 w 37"/>
                <a:gd name="T85" fmla="*/ 2 h 51"/>
                <a:gd name="T86" fmla="*/ 7 w 37"/>
                <a:gd name="T87" fmla="*/ 3 h 51"/>
                <a:gd name="T88" fmla="*/ 7 w 37"/>
                <a:gd name="T89" fmla="*/ 3 h 51"/>
                <a:gd name="T90" fmla="*/ 7 w 37"/>
                <a:gd name="T91" fmla="*/ 3 h 51"/>
                <a:gd name="T92" fmla="*/ 7 w 37"/>
                <a:gd name="T93" fmla="*/ 3 h 51"/>
                <a:gd name="T94" fmla="*/ 7 w 37"/>
                <a:gd name="T95" fmla="*/ 3 h 51"/>
                <a:gd name="T96" fmla="*/ 7 w 37"/>
                <a:gd name="T97" fmla="*/ 3 h 51"/>
                <a:gd name="T98" fmla="*/ 7 w 37"/>
                <a:gd name="T99" fmla="*/ 3 h 51"/>
                <a:gd name="T100" fmla="*/ 7 w 37"/>
                <a:gd name="T101" fmla="*/ 3 h 51"/>
                <a:gd name="T102" fmla="*/ 7 w 37"/>
                <a:gd name="T103"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51">
                  <a:moveTo>
                    <a:pt x="7" y="3"/>
                  </a:moveTo>
                  <a:lnTo>
                    <a:pt x="5" y="5"/>
                  </a:lnTo>
                  <a:lnTo>
                    <a:pt x="2" y="10"/>
                  </a:lnTo>
                  <a:lnTo>
                    <a:pt x="2" y="14"/>
                  </a:lnTo>
                  <a:lnTo>
                    <a:pt x="2" y="21"/>
                  </a:lnTo>
                  <a:lnTo>
                    <a:pt x="5" y="25"/>
                  </a:lnTo>
                  <a:lnTo>
                    <a:pt x="7" y="29"/>
                  </a:lnTo>
                  <a:lnTo>
                    <a:pt x="7" y="32"/>
                  </a:lnTo>
                  <a:lnTo>
                    <a:pt x="5" y="35"/>
                  </a:lnTo>
                  <a:lnTo>
                    <a:pt x="5" y="38"/>
                  </a:lnTo>
                  <a:lnTo>
                    <a:pt x="5" y="43"/>
                  </a:lnTo>
                  <a:lnTo>
                    <a:pt x="4" y="45"/>
                  </a:lnTo>
                  <a:lnTo>
                    <a:pt x="0" y="48"/>
                  </a:lnTo>
                  <a:lnTo>
                    <a:pt x="2" y="49"/>
                  </a:lnTo>
                  <a:lnTo>
                    <a:pt x="5" y="51"/>
                  </a:lnTo>
                  <a:lnTo>
                    <a:pt x="5" y="51"/>
                  </a:lnTo>
                  <a:lnTo>
                    <a:pt x="10" y="48"/>
                  </a:lnTo>
                  <a:lnTo>
                    <a:pt x="12" y="49"/>
                  </a:lnTo>
                  <a:lnTo>
                    <a:pt x="15" y="49"/>
                  </a:lnTo>
                  <a:lnTo>
                    <a:pt x="16" y="49"/>
                  </a:lnTo>
                  <a:lnTo>
                    <a:pt x="20" y="49"/>
                  </a:lnTo>
                  <a:lnTo>
                    <a:pt x="21" y="49"/>
                  </a:lnTo>
                  <a:lnTo>
                    <a:pt x="24" y="46"/>
                  </a:lnTo>
                  <a:lnTo>
                    <a:pt x="29" y="35"/>
                  </a:lnTo>
                  <a:lnTo>
                    <a:pt x="35" y="25"/>
                  </a:lnTo>
                  <a:lnTo>
                    <a:pt x="37" y="21"/>
                  </a:lnTo>
                  <a:lnTo>
                    <a:pt x="37" y="19"/>
                  </a:lnTo>
                  <a:lnTo>
                    <a:pt x="35" y="16"/>
                  </a:lnTo>
                  <a:lnTo>
                    <a:pt x="35" y="14"/>
                  </a:lnTo>
                  <a:lnTo>
                    <a:pt x="35" y="16"/>
                  </a:lnTo>
                  <a:lnTo>
                    <a:pt x="32" y="14"/>
                  </a:lnTo>
                  <a:lnTo>
                    <a:pt x="29" y="13"/>
                  </a:lnTo>
                  <a:lnTo>
                    <a:pt x="29" y="13"/>
                  </a:lnTo>
                  <a:lnTo>
                    <a:pt x="29" y="11"/>
                  </a:lnTo>
                  <a:lnTo>
                    <a:pt x="29" y="10"/>
                  </a:lnTo>
                  <a:lnTo>
                    <a:pt x="26" y="8"/>
                  </a:lnTo>
                  <a:lnTo>
                    <a:pt x="23" y="3"/>
                  </a:lnTo>
                  <a:lnTo>
                    <a:pt x="20" y="2"/>
                  </a:lnTo>
                  <a:lnTo>
                    <a:pt x="16" y="2"/>
                  </a:lnTo>
                  <a:lnTo>
                    <a:pt x="12" y="0"/>
                  </a:lnTo>
                  <a:lnTo>
                    <a:pt x="10" y="0"/>
                  </a:lnTo>
                  <a:lnTo>
                    <a:pt x="8" y="0"/>
                  </a:lnTo>
                  <a:lnTo>
                    <a:pt x="7" y="2"/>
                  </a:lnTo>
                  <a:lnTo>
                    <a:pt x="7" y="3"/>
                  </a:lnTo>
                  <a:lnTo>
                    <a:pt x="7" y="3"/>
                  </a:lnTo>
                  <a:lnTo>
                    <a:pt x="7" y="3"/>
                  </a:lnTo>
                  <a:lnTo>
                    <a:pt x="7" y="3"/>
                  </a:lnTo>
                  <a:lnTo>
                    <a:pt x="7" y="3"/>
                  </a:lnTo>
                  <a:lnTo>
                    <a:pt x="7" y="3"/>
                  </a:lnTo>
                  <a:lnTo>
                    <a:pt x="7" y="3"/>
                  </a:lnTo>
                  <a:lnTo>
                    <a:pt x="7" y="3"/>
                  </a:lnTo>
                  <a:lnTo>
                    <a:pt x="7"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0" name="Freeform 38">
              <a:extLst>
                <a:ext uri="{FF2B5EF4-FFF2-40B4-BE49-F238E27FC236}">
                  <a16:creationId xmlns:a16="http://schemas.microsoft.com/office/drawing/2014/main" id="{0A6C6252-3F17-F200-03A9-619A423A4687}"/>
                </a:ext>
              </a:extLst>
            </p:cNvPr>
            <p:cNvSpPr>
              <a:spLocks/>
            </p:cNvSpPr>
            <p:nvPr/>
          </p:nvSpPr>
          <p:spPr bwMode="auto">
            <a:xfrm>
              <a:off x="4024063" y="3753698"/>
              <a:ext cx="136827" cy="235522"/>
            </a:xfrm>
            <a:custGeom>
              <a:avLst/>
              <a:gdLst>
                <a:gd name="T0" fmla="*/ 16 w 61"/>
                <a:gd name="T1" fmla="*/ 46 h 105"/>
                <a:gd name="T2" fmla="*/ 16 w 61"/>
                <a:gd name="T3" fmla="*/ 51 h 105"/>
                <a:gd name="T4" fmla="*/ 16 w 61"/>
                <a:gd name="T5" fmla="*/ 57 h 105"/>
                <a:gd name="T6" fmla="*/ 21 w 61"/>
                <a:gd name="T7" fmla="*/ 60 h 105"/>
                <a:gd name="T8" fmla="*/ 23 w 61"/>
                <a:gd name="T9" fmla="*/ 66 h 105"/>
                <a:gd name="T10" fmla="*/ 21 w 61"/>
                <a:gd name="T11" fmla="*/ 70 h 105"/>
                <a:gd name="T12" fmla="*/ 19 w 61"/>
                <a:gd name="T13" fmla="*/ 76 h 105"/>
                <a:gd name="T14" fmla="*/ 16 w 61"/>
                <a:gd name="T15" fmla="*/ 86 h 105"/>
                <a:gd name="T16" fmla="*/ 19 w 61"/>
                <a:gd name="T17" fmla="*/ 92 h 105"/>
                <a:gd name="T18" fmla="*/ 19 w 61"/>
                <a:gd name="T19" fmla="*/ 95 h 105"/>
                <a:gd name="T20" fmla="*/ 19 w 61"/>
                <a:gd name="T21" fmla="*/ 98 h 105"/>
                <a:gd name="T22" fmla="*/ 26 w 61"/>
                <a:gd name="T23" fmla="*/ 101 h 105"/>
                <a:gd name="T24" fmla="*/ 29 w 61"/>
                <a:gd name="T25" fmla="*/ 105 h 105"/>
                <a:gd name="T26" fmla="*/ 31 w 61"/>
                <a:gd name="T27" fmla="*/ 105 h 105"/>
                <a:gd name="T28" fmla="*/ 34 w 61"/>
                <a:gd name="T29" fmla="*/ 101 h 105"/>
                <a:gd name="T30" fmla="*/ 43 w 61"/>
                <a:gd name="T31" fmla="*/ 98 h 105"/>
                <a:gd name="T32" fmla="*/ 46 w 61"/>
                <a:gd name="T33" fmla="*/ 97 h 105"/>
                <a:gd name="T34" fmla="*/ 54 w 61"/>
                <a:gd name="T35" fmla="*/ 95 h 105"/>
                <a:gd name="T36" fmla="*/ 61 w 61"/>
                <a:gd name="T37" fmla="*/ 95 h 105"/>
                <a:gd name="T38" fmla="*/ 54 w 61"/>
                <a:gd name="T39" fmla="*/ 90 h 105"/>
                <a:gd name="T40" fmla="*/ 51 w 61"/>
                <a:gd name="T41" fmla="*/ 84 h 105"/>
                <a:gd name="T42" fmla="*/ 51 w 61"/>
                <a:gd name="T43" fmla="*/ 76 h 105"/>
                <a:gd name="T44" fmla="*/ 48 w 61"/>
                <a:gd name="T45" fmla="*/ 76 h 105"/>
                <a:gd name="T46" fmla="*/ 45 w 61"/>
                <a:gd name="T47" fmla="*/ 70 h 105"/>
                <a:gd name="T48" fmla="*/ 42 w 61"/>
                <a:gd name="T49" fmla="*/ 63 h 105"/>
                <a:gd name="T50" fmla="*/ 42 w 61"/>
                <a:gd name="T51" fmla="*/ 51 h 105"/>
                <a:gd name="T52" fmla="*/ 50 w 61"/>
                <a:gd name="T53" fmla="*/ 51 h 105"/>
                <a:gd name="T54" fmla="*/ 51 w 61"/>
                <a:gd name="T55" fmla="*/ 46 h 105"/>
                <a:gd name="T56" fmla="*/ 51 w 61"/>
                <a:gd name="T57" fmla="*/ 41 h 105"/>
                <a:gd name="T58" fmla="*/ 51 w 61"/>
                <a:gd name="T59" fmla="*/ 35 h 105"/>
                <a:gd name="T60" fmla="*/ 51 w 61"/>
                <a:gd name="T61" fmla="*/ 32 h 105"/>
                <a:gd name="T62" fmla="*/ 48 w 61"/>
                <a:gd name="T63" fmla="*/ 30 h 105"/>
                <a:gd name="T64" fmla="*/ 40 w 61"/>
                <a:gd name="T65" fmla="*/ 24 h 105"/>
                <a:gd name="T66" fmla="*/ 37 w 61"/>
                <a:gd name="T67" fmla="*/ 27 h 105"/>
                <a:gd name="T68" fmla="*/ 34 w 61"/>
                <a:gd name="T69" fmla="*/ 32 h 105"/>
                <a:gd name="T70" fmla="*/ 37 w 61"/>
                <a:gd name="T71" fmla="*/ 20 h 105"/>
                <a:gd name="T72" fmla="*/ 37 w 61"/>
                <a:gd name="T73" fmla="*/ 14 h 105"/>
                <a:gd name="T74" fmla="*/ 31 w 61"/>
                <a:gd name="T75" fmla="*/ 11 h 105"/>
                <a:gd name="T76" fmla="*/ 26 w 61"/>
                <a:gd name="T77" fmla="*/ 5 h 105"/>
                <a:gd name="T78" fmla="*/ 24 w 61"/>
                <a:gd name="T79" fmla="*/ 5 h 105"/>
                <a:gd name="T80" fmla="*/ 19 w 61"/>
                <a:gd name="T81" fmla="*/ 0 h 105"/>
                <a:gd name="T82" fmla="*/ 21 w 61"/>
                <a:gd name="T83" fmla="*/ 3 h 105"/>
                <a:gd name="T84" fmla="*/ 21 w 61"/>
                <a:gd name="T85" fmla="*/ 5 h 105"/>
                <a:gd name="T86" fmla="*/ 13 w 61"/>
                <a:gd name="T87" fmla="*/ 8 h 105"/>
                <a:gd name="T88" fmla="*/ 10 w 61"/>
                <a:gd name="T89" fmla="*/ 14 h 105"/>
                <a:gd name="T90" fmla="*/ 10 w 61"/>
                <a:gd name="T91" fmla="*/ 19 h 105"/>
                <a:gd name="T92" fmla="*/ 13 w 61"/>
                <a:gd name="T93" fmla="*/ 20 h 105"/>
                <a:gd name="T94" fmla="*/ 10 w 61"/>
                <a:gd name="T95" fmla="*/ 24 h 105"/>
                <a:gd name="T96" fmla="*/ 7 w 61"/>
                <a:gd name="T97" fmla="*/ 25 h 105"/>
                <a:gd name="T98" fmla="*/ 5 w 61"/>
                <a:gd name="T99" fmla="*/ 25 h 105"/>
                <a:gd name="T100" fmla="*/ 4 w 61"/>
                <a:gd name="T101" fmla="*/ 30 h 105"/>
                <a:gd name="T102" fmla="*/ 0 w 61"/>
                <a:gd name="T103" fmla="*/ 38 h 105"/>
                <a:gd name="T104" fmla="*/ 7 w 61"/>
                <a:gd name="T105" fmla="*/ 47 h 105"/>
                <a:gd name="T106" fmla="*/ 13 w 61"/>
                <a:gd name="T107" fmla="*/ 46 h 105"/>
                <a:gd name="T108" fmla="*/ 13 w 61"/>
                <a:gd name="T109" fmla="*/ 46 h 105"/>
                <a:gd name="T110" fmla="*/ 13 w 61"/>
                <a:gd name="T111" fmla="*/ 46 h 105"/>
                <a:gd name="T112" fmla="*/ 13 w 61"/>
                <a:gd name="T113" fmla="*/ 46 h 105"/>
                <a:gd name="T114" fmla="*/ 13 w 61"/>
                <a:gd name="T115" fmla="*/ 4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 h="105">
                  <a:moveTo>
                    <a:pt x="13" y="46"/>
                  </a:moveTo>
                  <a:lnTo>
                    <a:pt x="16" y="46"/>
                  </a:lnTo>
                  <a:lnTo>
                    <a:pt x="16" y="47"/>
                  </a:lnTo>
                  <a:lnTo>
                    <a:pt x="16" y="51"/>
                  </a:lnTo>
                  <a:lnTo>
                    <a:pt x="16" y="52"/>
                  </a:lnTo>
                  <a:lnTo>
                    <a:pt x="16" y="57"/>
                  </a:lnTo>
                  <a:lnTo>
                    <a:pt x="16" y="59"/>
                  </a:lnTo>
                  <a:lnTo>
                    <a:pt x="21" y="60"/>
                  </a:lnTo>
                  <a:lnTo>
                    <a:pt x="19" y="62"/>
                  </a:lnTo>
                  <a:lnTo>
                    <a:pt x="23" y="66"/>
                  </a:lnTo>
                  <a:lnTo>
                    <a:pt x="23" y="66"/>
                  </a:lnTo>
                  <a:lnTo>
                    <a:pt x="21" y="70"/>
                  </a:lnTo>
                  <a:lnTo>
                    <a:pt x="19" y="73"/>
                  </a:lnTo>
                  <a:lnTo>
                    <a:pt x="19" y="76"/>
                  </a:lnTo>
                  <a:lnTo>
                    <a:pt x="16" y="81"/>
                  </a:lnTo>
                  <a:lnTo>
                    <a:pt x="16" y="86"/>
                  </a:lnTo>
                  <a:lnTo>
                    <a:pt x="19" y="90"/>
                  </a:lnTo>
                  <a:lnTo>
                    <a:pt x="19" y="92"/>
                  </a:lnTo>
                  <a:lnTo>
                    <a:pt x="19" y="93"/>
                  </a:lnTo>
                  <a:lnTo>
                    <a:pt x="19" y="95"/>
                  </a:lnTo>
                  <a:lnTo>
                    <a:pt x="21" y="97"/>
                  </a:lnTo>
                  <a:lnTo>
                    <a:pt x="19" y="98"/>
                  </a:lnTo>
                  <a:lnTo>
                    <a:pt x="23" y="98"/>
                  </a:lnTo>
                  <a:lnTo>
                    <a:pt x="26" y="101"/>
                  </a:lnTo>
                  <a:lnTo>
                    <a:pt x="27" y="105"/>
                  </a:lnTo>
                  <a:lnTo>
                    <a:pt x="29" y="105"/>
                  </a:lnTo>
                  <a:lnTo>
                    <a:pt x="31" y="105"/>
                  </a:lnTo>
                  <a:lnTo>
                    <a:pt x="31" y="105"/>
                  </a:lnTo>
                  <a:lnTo>
                    <a:pt x="34" y="105"/>
                  </a:lnTo>
                  <a:lnTo>
                    <a:pt x="34" y="101"/>
                  </a:lnTo>
                  <a:lnTo>
                    <a:pt x="40" y="98"/>
                  </a:lnTo>
                  <a:lnTo>
                    <a:pt x="43" y="98"/>
                  </a:lnTo>
                  <a:lnTo>
                    <a:pt x="45" y="98"/>
                  </a:lnTo>
                  <a:lnTo>
                    <a:pt x="46" y="97"/>
                  </a:lnTo>
                  <a:lnTo>
                    <a:pt x="50" y="95"/>
                  </a:lnTo>
                  <a:lnTo>
                    <a:pt x="54" y="95"/>
                  </a:lnTo>
                  <a:lnTo>
                    <a:pt x="57" y="95"/>
                  </a:lnTo>
                  <a:lnTo>
                    <a:pt x="61" y="95"/>
                  </a:lnTo>
                  <a:lnTo>
                    <a:pt x="57" y="92"/>
                  </a:lnTo>
                  <a:lnTo>
                    <a:pt x="54" y="90"/>
                  </a:lnTo>
                  <a:lnTo>
                    <a:pt x="54" y="89"/>
                  </a:lnTo>
                  <a:lnTo>
                    <a:pt x="51" y="84"/>
                  </a:lnTo>
                  <a:lnTo>
                    <a:pt x="51" y="81"/>
                  </a:lnTo>
                  <a:lnTo>
                    <a:pt x="51" y="76"/>
                  </a:lnTo>
                  <a:lnTo>
                    <a:pt x="50" y="73"/>
                  </a:lnTo>
                  <a:lnTo>
                    <a:pt x="48" y="76"/>
                  </a:lnTo>
                  <a:lnTo>
                    <a:pt x="46" y="73"/>
                  </a:lnTo>
                  <a:lnTo>
                    <a:pt x="45" y="70"/>
                  </a:lnTo>
                  <a:lnTo>
                    <a:pt x="42" y="66"/>
                  </a:lnTo>
                  <a:lnTo>
                    <a:pt x="42" y="63"/>
                  </a:lnTo>
                  <a:lnTo>
                    <a:pt x="42" y="54"/>
                  </a:lnTo>
                  <a:lnTo>
                    <a:pt x="42" y="51"/>
                  </a:lnTo>
                  <a:lnTo>
                    <a:pt x="45" y="51"/>
                  </a:lnTo>
                  <a:lnTo>
                    <a:pt x="50" y="51"/>
                  </a:lnTo>
                  <a:lnTo>
                    <a:pt x="51" y="47"/>
                  </a:lnTo>
                  <a:lnTo>
                    <a:pt x="51" y="46"/>
                  </a:lnTo>
                  <a:lnTo>
                    <a:pt x="51" y="43"/>
                  </a:lnTo>
                  <a:lnTo>
                    <a:pt x="51" y="41"/>
                  </a:lnTo>
                  <a:lnTo>
                    <a:pt x="51" y="41"/>
                  </a:lnTo>
                  <a:lnTo>
                    <a:pt x="51" y="35"/>
                  </a:lnTo>
                  <a:lnTo>
                    <a:pt x="51" y="32"/>
                  </a:lnTo>
                  <a:lnTo>
                    <a:pt x="51" y="32"/>
                  </a:lnTo>
                  <a:lnTo>
                    <a:pt x="48" y="32"/>
                  </a:lnTo>
                  <a:lnTo>
                    <a:pt x="48" y="30"/>
                  </a:lnTo>
                  <a:lnTo>
                    <a:pt x="45" y="27"/>
                  </a:lnTo>
                  <a:lnTo>
                    <a:pt x="40" y="24"/>
                  </a:lnTo>
                  <a:lnTo>
                    <a:pt x="37" y="24"/>
                  </a:lnTo>
                  <a:lnTo>
                    <a:pt x="37" y="27"/>
                  </a:lnTo>
                  <a:lnTo>
                    <a:pt x="37" y="30"/>
                  </a:lnTo>
                  <a:lnTo>
                    <a:pt x="34" y="32"/>
                  </a:lnTo>
                  <a:lnTo>
                    <a:pt x="34" y="27"/>
                  </a:lnTo>
                  <a:lnTo>
                    <a:pt x="37" y="20"/>
                  </a:lnTo>
                  <a:lnTo>
                    <a:pt x="37" y="17"/>
                  </a:lnTo>
                  <a:lnTo>
                    <a:pt x="37" y="14"/>
                  </a:lnTo>
                  <a:lnTo>
                    <a:pt x="34" y="14"/>
                  </a:lnTo>
                  <a:lnTo>
                    <a:pt x="31" y="11"/>
                  </a:lnTo>
                  <a:lnTo>
                    <a:pt x="29" y="8"/>
                  </a:lnTo>
                  <a:lnTo>
                    <a:pt x="26" y="5"/>
                  </a:lnTo>
                  <a:lnTo>
                    <a:pt x="21" y="1"/>
                  </a:lnTo>
                  <a:lnTo>
                    <a:pt x="24" y="5"/>
                  </a:lnTo>
                  <a:lnTo>
                    <a:pt x="26" y="6"/>
                  </a:lnTo>
                  <a:lnTo>
                    <a:pt x="19" y="0"/>
                  </a:lnTo>
                  <a:lnTo>
                    <a:pt x="19" y="1"/>
                  </a:lnTo>
                  <a:lnTo>
                    <a:pt x="21" y="3"/>
                  </a:lnTo>
                  <a:lnTo>
                    <a:pt x="21" y="3"/>
                  </a:lnTo>
                  <a:lnTo>
                    <a:pt x="21" y="5"/>
                  </a:lnTo>
                  <a:lnTo>
                    <a:pt x="19" y="5"/>
                  </a:lnTo>
                  <a:lnTo>
                    <a:pt x="13" y="8"/>
                  </a:lnTo>
                  <a:lnTo>
                    <a:pt x="10" y="11"/>
                  </a:lnTo>
                  <a:lnTo>
                    <a:pt x="10" y="14"/>
                  </a:lnTo>
                  <a:lnTo>
                    <a:pt x="10" y="17"/>
                  </a:lnTo>
                  <a:lnTo>
                    <a:pt x="10" y="19"/>
                  </a:lnTo>
                  <a:lnTo>
                    <a:pt x="13" y="19"/>
                  </a:lnTo>
                  <a:lnTo>
                    <a:pt x="13" y="20"/>
                  </a:lnTo>
                  <a:lnTo>
                    <a:pt x="13" y="22"/>
                  </a:lnTo>
                  <a:lnTo>
                    <a:pt x="10" y="24"/>
                  </a:lnTo>
                  <a:lnTo>
                    <a:pt x="10" y="25"/>
                  </a:lnTo>
                  <a:lnTo>
                    <a:pt x="7" y="25"/>
                  </a:lnTo>
                  <a:lnTo>
                    <a:pt x="7" y="25"/>
                  </a:lnTo>
                  <a:lnTo>
                    <a:pt x="5" y="25"/>
                  </a:lnTo>
                  <a:lnTo>
                    <a:pt x="4" y="27"/>
                  </a:lnTo>
                  <a:lnTo>
                    <a:pt x="4" y="30"/>
                  </a:lnTo>
                  <a:lnTo>
                    <a:pt x="2" y="35"/>
                  </a:lnTo>
                  <a:lnTo>
                    <a:pt x="0" y="38"/>
                  </a:lnTo>
                  <a:lnTo>
                    <a:pt x="4" y="43"/>
                  </a:lnTo>
                  <a:lnTo>
                    <a:pt x="7" y="47"/>
                  </a:lnTo>
                  <a:lnTo>
                    <a:pt x="8" y="47"/>
                  </a:lnTo>
                  <a:lnTo>
                    <a:pt x="13" y="46"/>
                  </a:lnTo>
                  <a:lnTo>
                    <a:pt x="13" y="46"/>
                  </a:lnTo>
                  <a:lnTo>
                    <a:pt x="13" y="46"/>
                  </a:lnTo>
                  <a:lnTo>
                    <a:pt x="13" y="46"/>
                  </a:lnTo>
                  <a:lnTo>
                    <a:pt x="13" y="46"/>
                  </a:lnTo>
                  <a:lnTo>
                    <a:pt x="13" y="46"/>
                  </a:lnTo>
                  <a:lnTo>
                    <a:pt x="13" y="46"/>
                  </a:lnTo>
                  <a:lnTo>
                    <a:pt x="13" y="46"/>
                  </a:lnTo>
                  <a:lnTo>
                    <a:pt x="13" y="4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1" name="Freeform 40">
              <a:extLst>
                <a:ext uri="{FF2B5EF4-FFF2-40B4-BE49-F238E27FC236}">
                  <a16:creationId xmlns:a16="http://schemas.microsoft.com/office/drawing/2014/main" id="{1A7C788A-15AB-4F29-63B7-AEC5B08A2A8A}"/>
                </a:ext>
              </a:extLst>
            </p:cNvPr>
            <p:cNvSpPr>
              <a:spLocks/>
            </p:cNvSpPr>
            <p:nvPr/>
          </p:nvSpPr>
          <p:spPr bwMode="auto">
            <a:xfrm>
              <a:off x="3514885" y="3628085"/>
              <a:ext cx="349919" cy="538337"/>
            </a:xfrm>
            <a:custGeom>
              <a:avLst/>
              <a:gdLst>
                <a:gd name="T0" fmla="*/ 148 w 156"/>
                <a:gd name="T1" fmla="*/ 140 h 240"/>
                <a:gd name="T2" fmla="*/ 148 w 156"/>
                <a:gd name="T3" fmla="*/ 132 h 240"/>
                <a:gd name="T4" fmla="*/ 143 w 156"/>
                <a:gd name="T5" fmla="*/ 115 h 240"/>
                <a:gd name="T6" fmla="*/ 150 w 156"/>
                <a:gd name="T7" fmla="*/ 91 h 240"/>
                <a:gd name="T8" fmla="*/ 137 w 156"/>
                <a:gd name="T9" fmla="*/ 88 h 240"/>
                <a:gd name="T10" fmla="*/ 124 w 156"/>
                <a:gd name="T11" fmla="*/ 91 h 240"/>
                <a:gd name="T12" fmla="*/ 115 w 156"/>
                <a:gd name="T13" fmla="*/ 78 h 240"/>
                <a:gd name="T14" fmla="*/ 100 w 156"/>
                <a:gd name="T15" fmla="*/ 78 h 240"/>
                <a:gd name="T16" fmla="*/ 89 w 156"/>
                <a:gd name="T17" fmla="*/ 76 h 240"/>
                <a:gd name="T18" fmla="*/ 86 w 156"/>
                <a:gd name="T19" fmla="*/ 64 h 240"/>
                <a:gd name="T20" fmla="*/ 83 w 156"/>
                <a:gd name="T21" fmla="*/ 48 h 240"/>
                <a:gd name="T22" fmla="*/ 80 w 156"/>
                <a:gd name="T23" fmla="*/ 41 h 240"/>
                <a:gd name="T24" fmla="*/ 96 w 156"/>
                <a:gd name="T25" fmla="*/ 13 h 240"/>
                <a:gd name="T26" fmla="*/ 107 w 156"/>
                <a:gd name="T27" fmla="*/ 3 h 240"/>
                <a:gd name="T28" fmla="*/ 96 w 156"/>
                <a:gd name="T29" fmla="*/ 3 h 240"/>
                <a:gd name="T30" fmla="*/ 86 w 156"/>
                <a:gd name="T31" fmla="*/ 10 h 240"/>
                <a:gd name="T32" fmla="*/ 67 w 156"/>
                <a:gd name="T33" fmla="*/ 16 h 240"/>
                <a:gd name="T34" fmla="*/ 62 w 156"/>
                <a:gd name="T35" fmla="*/ 21 h 240"/>
                <a:gd name="T36" fmla="*/ 54 w 156"/>
                <a:gd name="T37" fmla="*/ 24 h 240"/>
                <a:gd name="T38" fmla="*/ 51 w 156"/>
                <a:gd name="T39" fmla="*/ 32 h 240"/>
                <a:gd name="T40" fmla="*/ 48 w 156"/>
                <a:gd name="T41" fmla="*/ 41 h 240"/>
                <a:gd name="T42" fmla="*/ 35 w 156"/>
                <a:gd name="T43" fmla="*/ 53 h 240"/>
                <a:gd name="T44" fmla="*/ 29 w 156"/>
                <a:gd name="T45" fmla="*/ 59 h 240"/>
                <a:gd name="T46" fmla="*/ 24 w 156"/>
                <a:gd name="T47" fmla="*/ 57 h 240"/>
                <a:gd name="T48" fmla="*/ 19 w 156"/>
                <a:gd name="T49" fmla="*/ 67 h 240"/>
                <a:gd name="T50" fmla="*/ 21 w 156"/>
                <a:gd name="T51" fmla="*/ 78 h 240"/>
                <a:gd name="T52" fmla="*/ 23 w 156"/>
                <a:gd name="T53" fmla="*/ 91 h 240"/>
                <a:gd name="T54" fmla="*/ 23 w 156"/>
                <a:gd name="T55" fmla="*/ 103 h 240"/>
                <a:gd name="T56" fmla="*/ 24 w 156"/>
                <a:gd name="T57" fmla="*/ 118 h 240"/>
                <a:gd name="T58" fmla="*/ 24 w 156"/>
                <a:gd name="T59" fmla="*/ 122 h 240"/>
                <a:gd name="T60" fmla="*/ 24 w 156"/>
                <a:gd name="T61" fmla="*/ 126 h 240"/>
                <a:gd name="T62" fmla="*/ 18 w 156"/>
                <a:gd name="T63" fmla="*/ 135 h 240"/>
                <a:gd name="T64" fmla="*/ 13 w 156"/>
                <a:gd name="T65" fmla="*/ 142 h 240"/>
                <a:gd name="T66" fmla="*/ 7 w 156"/>
                <a:gd name="T67" fmla="*/ 149 h 240"/>
                <a:gd name="T68" fmla="*/ 0 w 156"/>
                <a:gd name="T69" fmla="*/ 154 h 240"/>
                <a:gd name="T70" fmla="*/ 16 w 156"/>
                <a:gd name="T71" fmla="*/ 167 h 240"/>
                <a:gd name="T72" fmla="*/ 21 w 156"/>
                <a:gd name="T73" fmla="*/ 173 h 240"/>
                <a:gd name="T74" fmla="*/ 34 w 156"/>
                <a:gd name="T75" fmla="*/ 173 h 240"/>
                <a:gd name="T76" fmla="*/ 45 w 156"/>
                <a:gd name="T77" fmla="*/ 178 h 240"/>
                <a:gd name="T78" fmla="*/ 56 w 156"/>
                <a:gd name="T79" fmla="*/ 184 h 240"/>
                <a:gd name="T80" fmla="*/ 62 w 156"/>
                <a:gd name="T81" fmla="*/ 195 h 240"/>
                <a:gd name="T82" fmla="*/ 70 w 156"/>
                <a:gd name="T83" fmla="*/ 203 h 240"/>
                <a:gd name="T84" fmla="*/ 77 w 156"/>
                <a:gd name="T85" fmla="*/ 213 h 240"/>
                <a:gd name="T86" fmla="*/ 89 w 156"/>
                <a:gd name="T87" fmla="*/ 213 h 240"/>
                <a:gd name="T88" fmla="*/ 100 w 156"/>
                <a:gd name="T89" fmla="*/ 211 h 240"/>
                <a:gd name="T90" fmla="*/ 113 w 156"/>
                <a:gd name="T91" fmla="*/ 222 h 240"/>
                <a:gd name="T92" fmla="*/ 111 w 156"/>
                <a:gd name="T93" fmla="*/ 234 h 240"/>
                <a:gd name="T94" fmla="*/ 119 w 156"/>
                <a:gd name="T95" fmla="*/ 222 h 240"/>
                <a:gd name="T96" fmla="*/ 121 w 156"/>
                <a:gd name="T97" fmla="*/ 189 h 240"/>
                <a:gd name="T98" fmla="*/ 115 w 156"/>
                <a:gd name="T99" fmla="*/ 173 h 240"/>
                <a:gd name="T100" fmla="*/ 124 w 156"/>
                <a:gd name="T101" fmla="*/ 168 h 240"/>
                <a:gd name="T102" fmla="*/ 118 w 156"/>
                <a:gd name="T103" fmla="*/ 164 h 240"/>
                <a:gd name="T104" fmla="*/ 124 w 156"/>
                <a:gd name="T105" fmla="*/ 154 h 240"/>
                <a:gd name="T106" fmla="*/ 138 w 156"/>
                <a:gd name="T107" fmla="*/ 151 h 240"/>
                <a:gd name="T108" fmla="*/ 148 w 156"/>
                <a:gd name="T109" fmla="*/ 148 h 240"/>
                <a:gd name="T110" fmla="*/ 153 w 156"/>
                <a:gd name="T111" fmla="*/ 161 h 240"/>
                <a:gd name="T112" fmla="*/ 153 w 156"/>
                <a:gd name="T113" fmla="*/ 157 h 240"/>
                <a:gd name="T114" fmla="*/ 153 w 156"/>
                <a:gd name="T115" fmla="*/ 15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40">
                  <a:moveTo>
                    <a:pt x="153" y="157"/>
                  </a:moveTo>
                  <a:lnTo>
                    <a:pt x="153" y="154"/>
                  </a:lnTo>
                  <a:lnTo>
                    <a:pt x="153" y="151"/>
                  </a:lnTo>
                  <a:lnTo>
                    <a:pt x="151" y="146"/>
                  </a:lnTo>
                  <a:lnTo>
                    <a:pt x="148" y="140"/>
                  </a:lnTo>
                  <a:lnTo>
                    <a:pt x="145" y="138"/>
                  </a:lnTo>
                  <a:lnTo>
                    <a:pt x="142" y="138"/>
                  </a:lnTo>
                  <a:lnTo>
                    <a:pt x="143" y="137"/>
                  </a:lnTo>
                  <a:lnTo>
                    <a:pt x="145" y="135"/>
                  </a:lnTo>
                  <a:lnTo>
                    <a:pt x="148" y="132"/>
                  </a:lnTo>
                  <a:lnTo>
                    <a:pt x="150" y="132"/>
                  </a:lnTo>
                  <a:lnTo>
                    <a:pt x="150" y="129"/>
                  </a:lnTo>
                  <a:lnTo>
                    <a:pt x="146" y="126"/>
                  </a:lnTo>
                  <a:lnTo>
                    <a:pt x="145" y="119"/>
                  </a:lnTo>
                  <a:lnTo>
                    <a:pt x="143" y="115"/>
                  </a:lnTo>
                  <a:lnTo>
                    <a:pt x="143" y="103"/>
                  </a:lnTo>
                  <a:lnTo>
                    <a:pt x="145" y="102"/>
                  </a:lnTo>
                  <a:lnTo>
                    <a:pt x="146" y="99"/>
                  </a:lnTo>
                  <a:lnTo>
                    <a:pt x="146" y="94"/>
                  </a:lnTo>
                  <a:lnTo>
                    <a:pt x="150" y="91"/>
                  </a:lnTo>
                  <a:lnTo>
                    <a:pt x="150" y="91"/>
                  </a:lnTo>
                  <a:lnTo>
                    <a:pt x="148" y="88"/>
                  </a:lnTo>
                  <a:lnTo>
                    <a:pt x="146" y="88"/>
                  </a:lnTo>
                  <a:lnTo>
                    <a:pt x="142" y="88"/>
                  </a:lnTo>
                  <a:lnTo>
                    <a:pt x="137" y="88"/>
                  </a:lnTo>
                  <a:lnTo>
                    <a:pt x="135" y="91"/>
                  </a:lnTo>
                  <a:lnTo>
                    <a:pt x="130" y="91"/>
                  </a:lnTo>
                  <a:lnTo>
                    <a:pt x="130" y="91"/>
                  </a:lnTo>
                  <a:lnTo>
                    <a:pt x="127" y="91"/>
                  </a:lnTo>
                  <a:lnTo>
                    <a:pt x="124" y="91"/>
                  </a:lnTo>
                  <a:lnTo>
                    <a:pt x="121" y="88"/>
                  </a:lnTo>
                  <a:lnTo>
                    <a:pt x="121" y="86"/>
                  </a:lnTo>
                  <a:lnTo>
                    <a:pt x="118" y="80"/>
                  </a:lnTo>
                  <a:lnTo>
                    <a:pt x="116" y="78"/>
                  </a:lnTo>
                  <a:lnTo>
                    <a:pt x="115" y="78"/>
                  </a:lnTo>
                  <a:lnTo>
                    <a:pt x="111" y="78"/>
                  </a:lnTo>
                  <a:lnTo>
                    <a:pt x="108" y="76"/>
                  </a:lnTo>
                  <a:lnTo>
                    <a:pt x="107" y="76"/>
                  </a:lnTo>
                  <a:lnTo>
                    <a:pt x="103" y="78"/>
                  </a:lnTo>
                  <a:lnTo>
                    <a:pt x="100" y="78"/>
                  </a:lnTo>
                  <a:lnTo>
                    <a:pt x="97" y="78"/>
                  </a:lnTo>
                  <a:lnTo>
                    <a:pt x="96" y="76"/>
                  </a:lnTo>
                  <a:lnTo>
                    <a:pt x="96" y="78"/>
                  </a:lnTo>
                  <a:lnTo>
                    <a:pt x="92" y="78"/>
                  </a:lnTo>
                  <a:lnTo>
                    <a:pt x="89" y="76"/>
                  </a:lnTo>
                  <a:lnTo>
                    <a:pt x="89" y="73"/>
                  </a:lnTo>
                  <a:lnTo>
                    <a:pt x="89" y="73"/>
                  </a:lnTo>
                  <a:lnTo>
                    <a:pt x="86" y="70"/>
                  </a:lnTo>
                  <a:lnTo>
                    <a:pt x="86" y="67"/>
                  </a:lnTo>
                  <a:lnTo>
                    <a:pt x="86" y="64"/>
                  </a:lnTo>
                  <a:lnTo>
                    <a:pt x="89" y="61"/>
                  </a:lnTo>
                  <a:lnTo>
                    <a:pt x="86" y="59"/>
                  </a:lnTo>
                  <a:lnTo>
                    <a:pt x="84" y="54"/>
                  </a:lnTo>
                  <a:lnTo>
                    <a:pt x="84" y="49"/>
                  </a:lnTo>
                  <a:lnTo>
                    <a:pt x="83" y="48"/>
                  </a:lnTo>
                  <a:lnTo>
                    <a:pt x="81" y="46"/>
                  </a:lnTo>
                  <a:lnTo>
                    <a:pt x="81" y="45"/>
                  </a:lnTo>
                  <a:lnTo>
                    <a:pt x="78" y="46"/>
                  </a:lnTo>
                  <a:lnTo>
                    <a:pt x="77" y="46"/>
                  </a:lnTo>
                  <a:lnTo>
                    <a:pt x="80" y="41"/>
                  </a:lnTo>
                  <a:lnTo>
                    <a:pt x="83" y="35"/>
                  </a:lnTo>
                  <a:lnTo>
                    <a:pt x="84" y="27"/>
                  </a:lnTo>
                  <a:lnTo>
                    <a:pt x="86" y="21"/>
                  </a:lnTo>
                  <a:lnTo>
                    <a:pt x="89" y="16"/>
                  </a:lnTo>
                  <a:lnTo>
                    <a:pt x="96" y="13"/>
                  </a:lnTo>
                  <a:lnTo>
                    <a:pt x="96" y="10"/>
                  </a:lnTo>
                  <a:lnTo>
                    <a:pt x="99" y="8"/>
                  </a:lnTo>
                  <a:lnTo>
                    <a:pt x="103" y="7"/>
                  </a:lnTo>
                  <a:lnTo>
                    <a:pt x="107" y="7"/>
                  </a:lnTo>
                  <a:lnTo>
                    <a:pt x="107" y="3"/>
                  </a:lnTo>
                  <a:lnTo>
                    <a:pt x="105" y="0"/>
                  </a:lnTo>
                  <a:lnTo>
                    <a:pt x="102" y="0"/>
                  </a:lnTo>
                  <a:lnTo>
                    <a:pt x="99" y="0"/>
                  </a:lnTo>
                  <a:lnTo>
                    <a:pt x="97" y="3"/>
                  </a:lnTo>
                  <a:lnTo>
                    <a:pt x="96" y="3"/>
                  </a:lnTo>
                  <a:lnTo>
                    <a:pt x="96" y="3"/>
                  </a:lnTo>
                  <a:lnTo>
                    <a:pt x="96" y="3"/>
                  </a:lnTo>
                  <a:lnTo>
                    <a:pt x="96" y="7"/>
                  </a:lnTo>
                  <a:lnTo>
                    <a:pt x="92" y="7"/>
                  </a:lnTo>
                  <a:lnTo>
                    <a:pt x="86" y="10"/>
                  </a:lnTo>
                  <a:lnTo>
                    <a:pt x="81" y="15"/>
                  </a:lnTo>
                  <a:lnTo>
                    <a:pt x="78" y="16"/>
                  </a:lnTo>
                  <a:lnTo>
                    <a:pt x="73" y="16"/>
                  </a:lnTo>
                  <a:lnTo>
                    <a:pt x="69" y="16"/>
                  </a:lnTo>
                  <a:lnTo>
                    <a:pt x="67" y="16"/>
                  </a:lnTo>
                  <a:lnTo>
                    <a:pt x="65" y="19"/>
                  </a:lnTo>
                  <a:lnTo>
                    <a:pt x="64" y="22"/>
                  </a:lnTo>
                  <a:lnTo>
                    <a:pt x="62" y="24"/>
                  </a:lnTo>
                  <a:lnTo>
                    <a:pt x="61" y="22"/>
                  </a:lnTo>
                  <a:lnTo>
                    <a:pt x="62" y="21"/>
                  </a:lnTo>
                  <a:lnTo>
                    <a:pt x="64" y="21"/>
                  </a:lnTo>
                  <a:lnTo>
                    <a:pt x="61" y="19"/>
                  </a:lnTo>
                  <a:lnTo>
                    <a:pt x="59" y="19"/>
                  </a:lnTo>
                  <a:lnTo>
                    <a:pt x="56" y="21"/>
                  </a:lnTo>
                  <a:lnTo>
                    <a:pt x="54" y="24"/>
                  </a:lnTo>
                  <a:lnTo>
                    <a:pt x="53" y="26"/>
                  </a:lnTo>
                  <a:lnTo>
                    <a:pt x="51" y="27"/>
                  </a:lnTo>
                  <a:lnTo>
                    <a:pt x="51" y="29"/>
                  </a:lnTo>
                  <a:lnTo>
                    <a:pt x="51" y="29"/>
                  </a:lnTo>
                  <a:lnTo>
                    <a:pt x="51" y="32"/>
                  </a:lnTo>
                  <a:lnTo>
                    <a:pt x="48" y="32"/>
                  </a:lnTo>
                  <a:lnTo>
                    <a:pt x="51" y="32"/>
                  </a:lnTo>
                  <a:lnTo>
                    <a:pt x="48" y="38"/>
                  </a:lnTo>
                  <a:lnTo>
                    <a:pt x="48" y="41"/>
                  </a:lnTo>
                  <a:lnTo>
                    <a:pt x="48" y="41"/>
                  </a:lnTo>
                  <a:lnTo>
                    <a:pt x="45" y="43"/>
                  </a:lnTo>
                  <a:lnTo>
                    <a:pt x="45" y="43"/>
                  </a:lnTo>
                  <a:lnTo>
                    <a:pt x="42" y="46"/>
                  </a:lnTo>
                  <a:lnTo>
                    <a:pt x="40" y="49"/>
                  </a:lnTo>
                  <a:lnTo>
                    <a:pt x="35" y="53"/>
                  </a:lnTo>
                  <a:lnTo>
                    <a:pt x="32" y="54"/>
                  </a:lnTo>
                  <a:lnTo>
                    <a:pt x="32" y="56"/>
                  </a:lnTo>
                  <a:lnTo>
                    <a:pt x="32" y="62"/>
                  </a:lnTo>
                  <a:lnTo>
                    <a:pt x="30" y="61"/>
                  </a:lnTo>
                  <a:lnTo>
                    <a:pt x="29" y="59"/>
                  </a:lnTo>
                  <a:lnTo>
                    <a:pt x="26" y="54"/>
                  </a:lnTo>
                  <a:lnTo>
                    <a:pt x="26" y="54"/>
                  </a:lnTo>
                  <a:lnTo>
                    <a:pt x="26" y="54"/>
                  </a:lnTo>
                  <a:lnTo>
                    <a:pt x="24" y="56"/>
                  </a:lnTo>
                  <a:lnTo>
                    <a:pt x="24" y="57"/>
                  </a:lnTo>
                  <a:lnTo>
                    <a:pt x="27" y="62"/>
                  </a:lnTo>
                  <a:lnTo>
                    <a:pt x="27" y="64"/>
                  </a:lnTo>
                  <a:lnTo>
                    <a:pt x="26" y="67"/>
                  </a:lnTo>
                  <a:lnTo>
                    <a:pt x="21" y="70"/>
                  </a:lnTo>
                  <a:lnTo>
                    <a:pt x="19" y="67"/>
                  </a:lnTo>
                  <a:lnTo>
                    <a:pt x="19" y="70"/>
                  </a:lnTo>
                  <a:lnTo>
                    <a:pt x="19" y="73"/>
                  </a:lnTo>
                  <a:lnTo>
                    <a:pt x="18" y="73"/>
                  </a:lnTo>
                  <a:lnTo>
                    <a:pt x="18" y="75"/>
                  </a:lnTo>
                  <a:lnTo>
                    <a:pt x="21" y="78"/>
                  </a:lnTo>
                  <a:lnTo>
                    <a:pt x="23" y="83"/>
                  </a:lnTo>
                  <a:lnTo>
                    <a:pt x="24" y="86"/>
                  </a:lnTo>
                  <a:lnTo>
                    <a:pt x="24" y="88"/>
                  </a:lnTo>
                  <a:lnTo>
                    <a:pt x="23" y="88"/>
                  </a:lnTo>
                  <a:lnTo>
                    <a:pt x="23" y="91"/>
                  </a:lnTo>
                  <a:lnTo>
                    <a:pt x="24" y="94"/>
                  </a:lnTo>
                  <a:lnTo>
                    <a:pt x="24" y="97"/>
                  </a:lnTo>
                  <a:lnTo>
                    <a:pt x="23" y="97"/>
                  </a:lnTo>
                  <a:lnTo>
                    <a:pt x="21" y="97"/>
                  </a:lnTo>
                  <a:lnTo>
                    <a:pt x="23" y="103"/>
                  </a:lnTo>
                  <a:lnTo>
                    <a:pt x="24" y="108"/>
                  </a:lnTo>
                  <a:lnTo>
                    <a:pt x="23" y="113"/>
                  </a:lnTo>
                  <a:lnTo>
                    <a:pt x="23" y="116"/>
                  </a:lnTo>
                  <a:lnTo>
                    <a:pt x="23" y="118"/>
                  </a:lnTo>
                  <a:lnTo>
                    <a:pt x="24" y="118"/>
                  </a:lnTo>
                  <a:lnTo>
                    <a:pt x="23" y="119"/>
                  </a:lnTo>
                  <a:lnTo>
                    <a:pt x="21" y="119"/>
                  </a:lnTo>
                  <a:lnTo>
                    <a:pt x="23" y="119"/>
                  </a:lnTo>
                  <a:lnTo>
                    <a:pt x="24" y="119"/>
                  </a:lnTo>
                  <a:lnTo>
                    <a:pt x="24" y="122"/>
                  </a:lnTo>
                  <a:lnTo>
                    <a:pt x="23" y="122"/>
                  </a:lnTo>
                  <a:lnTo>
                    <a:pt x="24" y="122"/>
                  </a:lnTo>
                  <a:lnTo>
                    <a:pt x="26" y="122"/>
                  </a:lnTo>
                  <a:lnTo>
                    <a:pt x="26" y="126"/>
                  </a:lnTo>
                  <a:lnTo>
                    <a:pt x="24" y="126"/>
                  </a:lnTo>
                  <a:lnTo>
                    <a:pt x="26" y="126"/>
                  </a:lnTo>
                  <a:lnTo>
                    <a:pt x="23" y="129"/>
                  </a:lnTo>
                  <a:lnTo>
                    <a:pt x="21" y="132"/>
                  </a:lnTo>
                  <a:lnTo>
                    <a:pt x="19" y="134"/>
                  </a:lnTo>
                  <a:lnTo>
                    <a:pt x="18" y="135"/>
                  </a:lnTo>
                  <a:lnTo>
                    <a:pt x="18" y="137"/>
                  </a:lnTo>
                  <a:lnTo>
                    <a:pt x="16" y="140"/>
                  </a:lnTo>
                  <a:lnTo>
                    <a:pt x="16" y="142"/>
                  </a:lnTo>
                  <a:lnTo>
                    <a:pt x="16" y="142"/>
                  </a:lnTo>
                  <a:lnTo>
                    <a:pt x="13" y="142"/>
                  </a:lnTo>
                  <a:lnTo>
                    <a:pt x="10" y="143"/>
                  </a:lnTo>
                  <a:lnTo>
                    <a:pt x="7" y="145"/>
                  </a:lnTo>
                  <a:lnTo>
                    <a:pt x="7" y="146"/>
                  </a:lnTo>
                  <a:lnTo>
                    <a:pt x="7" y="148"/>
                  </a:lnTo>
                  <a:lnTo>
                    <a:pt x="7" y="149"/>
                  </a:lnTo>
                  <a:lnTo>
                    <a:pt x="7" y="151"/>
                  </a:lnTo>
                  <a:lnTo>
                    <a:pt x="7" y="154"/>
                  </a:lnTo>
                  <a:lnTo>
                    <a:pt x="3" y="153"/>
                  </a:lnTo>
                  <a:lnTo>
                    <a:pt x="2" y="154"/>
                  </a:lnTo>
                  <a:lnTo>
                    <a:pt x="0" y="154"/>
                  </a:lnTo>
                  <a:lnTo>
                    <a:pt x="2" y="154"/>
                  </a:lnTo>
                  <a:lnTo>
                    <a:pt x="5" y="161"/>
                  </a:lnTo>
                  <a:lnTo>
                    <a:pt x="10" y="164"/>
                  </a:lnTo>
                  <a:lnTo>
                    <a:pt x="13" y="165"/>
                  </a:lnTo>
                  <a:lnTo>
                    <a:pt x="16" y="167"/>
                  </a:lnTo>
                  <a:lnTo>
                    <a:pt x="18" y="167"/>
                  </a:lnTo>
                  <a:lnTo>
                    <a:pt x="19" y="168"/>
                  </a:lnTo>
                  <a:lnTo>
                    <a:pt x="21" y="170"/>
                  </a:lnTo>
                  <a:lnTo>
                    <a:pt x="21" y="172"/>
                  </a:lnTo>
                  <a:lnTo>
                    <a:pt x="21" y="173"/>
                  </a:lnTo>
                  <a:lnTo>
                    <a:pt x="24" y="173"/>
                  </a:lnTo>
                  <a:lnTo>
                    <a:pt x="30" y="175"/>
                  </a:lnTo>
                  <a:lnTo>
                    <a:pt x="34" y="175"/>
                  </a:lnTo>
                  <a:lnTo>
                    <a:pt x="35" y="175"/>
                  </a:lnTo>
                  <a:lnTo>
                    <a:pt x="34" y="173"/>
                  </a:lnTo>
                  <a:lnTo>
                    <a:pt x="35" y="173"/>
                  </a:lnTo>
                  <a:lnTo>
                    <a:pt x="37" y="173"/>
                  </a:lnTo>
                  <a:lnTo>
                    <a:pt x="38" y="173"/>
                  </a:lnTo>
                  <a:lnTo>
                    <a:pt x="40" y="176"/>
                  </a:lnTo>
                  <a:lnTo>
                    <a:pt x="45" y="178"/>
                  </a:lnTo>
                  <a:lnTo>
                    <a:pt x="48" y="180"/>
                  </a:lnTo>
                  <a:lnTo>
                    <a:pt x="48" y="180"/>
                  </a:lnTo>
                  <a:lnTo>
                    <a:pt x="51" y="180"/>
                  </a:lnTo>
                  <a:lnTo>
                    <a:pt x="53" y="181"/>
                  </a:lnTo>
                  <a:lnTo>
                    <a:pt x="56" y="184"/>
                  </a:lnTo>
                  <a:lnTo>
                    <a:pt x="59" y="188"/>
                  </a:lnTo>
                  <a:lnTo>
                    <a:pt x="61" y="192"/>
                  </a:lnTo>
                  <a:lnTo>
                    <a:pt x="61" y="192"/>
                  </a:lnTo>
                  <a:lnTo>
                    <a:pt x="61" y="192"/>
                  </a:lnTo>
                  <a:lnTo>
                    <a:pt x="62" y="195"/>
                  </a:lnTo>
                  <a:lnTo>
                    <a:pt x="64" y="195"/>
                  </a:lnTo>
                  <a:lnTo>
                    <a:pt x="67" y="199"/>
                  </a:lnTo>
                  <a:lnTo>
                    <a:pt x="69" y="199"/>
                  </a:lnTo>
                  <a:lnTo>
                    <a:pt x="70" y="200"/>
                  </a:lnTo>
                  <a:lnTo>
                    <a:pt x="70" y="203"/>
                  </a:lnTo>
                  <a:lnTo>
                    <a:pt x="73" y="205"/>
                  </a:lnTo>
                  <a:lnTo>
                    <a:pt x="75" y="207"/>
                  </a:lnTo>
                  <a:lnTo>
                    <a:pt x="75" y="208"/>
                  </a:lnTo>
                  <a:lnTo>
                    <a:pt x="75" y="211"/>
                  </a:lnTo>
                  <a:lnTo>
                    <a:pt x="77" y="213"/>
                  </a:lnTo>
                  <a:lnTo>
                    <a:pt x="78" y="213"/>
                  </a:lnTo>
                  <a:lnTo>
                    <a:pt x="80" y="213"/>
                  </a:lnTo>
                  <a:lnTo>
                    <a:pt x="83" y="213"/>
                  </a:lnTo>
                  <a:lnTo>
                    <a:pt x="86" y="213"/>
                  </a:lnTo>
                  <a:lnTo>
                    <a:pt x="89" y="213"/>
                  </a:lnTo>
                  <a:lnTo>
                    <a:pt x="92" y="211"/>
                  </a:lnTo>
                  <a:lnTo>
                    <a:pt x="92" y="210"/>
                  </a:lnTo>
                  <a:lnTo>
                    <a:pt x="96" y="211"/>
                  </a:lnTo>
                  <a:lnTo>
                    <a:pt x="97" y="213"/>
                  </a:lnTo>
                  <a:lnTo>
                    <a:pt x="100" y="211"/>
                  </a:lnTo>
                  <a:lnTo>
                    <a:pt x="103" y="211"/>
                  </a:lnTo>
                  <a:lnTo>
                    <a:pt x="107" y="213"/>
                  </a:lnTo>
                  <a:lnTo>
                    <a:pt x="111" y="213"/>
                  </a:lnTo>
                  <a:lnTo>
                    <a:pt x="115" y="219"/>
                  </a:lnTo>
                  <a:lnTo>
                    <a:pt x="113" y="222"/>
                  </a:lnTo>
                  <a:lnTo>
                    <a:pt x="110" y="226"/>
                  </a:lnTo>
                  <a:lnTo>
                    <a:pt x="107" y="232"/>
                  </a:lnTo>
                  <a:lnTo>
                    <a:pt x="107" y="234"/>
                  </a:lnTo>
                  <a:lnTo>
                    <a:pt x="108" y="234"/>
                  </a:lnTo>
                  <a:lnTo>
                    <a:pt x="111" y="234"/>
                  </a:lnTo>
                  <a:lnTo>
                    <a:pt x="113" y="234"/>
                  </a:lnTo>
                  <a:lnTo>
                    <a:pt x="116" y="238"/>
                  </a:lnTo>
                  <a:lnTo>
                    <a:pt x="116" y="240"/>
                  </a:lnTo>
                  <a:lnTo>
                    <a:pt x="118" y="235"/>
                  </a:lnTo>
                  <a:lnTo>
                    <a:pt x="119" y="222"/>
                  </a:lnTo>
                  <a:lnTo>
                    <a:pt x="121" y="203"/>
                  </a:lnTo>
                  <a:lnTo>
                    <a:pt x="121" y="199"/>
                  </a:lnTo>
                  <a:lnTo>
                    <a:pt x="121" y="195"/>
                  </a:lnTo>
                  <a:lnTo>
                    <a:pt x="121" y="192"/>
                  </a:lnTo>
                  <a:lnTo>
                    <a:pt x="121" y="189"/>
                  </a:lnTo>
                  <a:lnTo>
                    <a:pt x="119" y="186"/>
                  </a:lnTo>
                  <a:lnTo>
                    <a:pt x="116" y="184"/>
                  </a:lnTo>
                  <a:lnTo>
                    <a:pt x="115" y="180"/>
                  </a:lnTo>
                  <a:lnTo>
                    <a:pt x="115" y="176"/>
                  </a:lnTo>
                  <a:lnTo>
                    <a:pt x="115" y="173"/>
                  </a:lnTo>
                  <a:lnTo>
                    <a:pt x="115" y="170"/>
                  </a:lnTo>
                  <a:lnTo>
                    <a:pt x="119" y="168"/>
                  </a:lnTo>
                  <a:lnTo>
                    <a:pt x="121" y="167"/>
                  </a:lnTo>
                  <a:lnTo>
                    <a:pt x="124" y="168"/>
                  </a:lnTo>
                  <a:lnTo>
                    <a:pt x="124" y="168"/>
                  </a:lnTo>
                  <a:lnTo>
                    <a:pt x="124" y="167"/>
                  </a:lnTo>
                  <a:lnTo>
                    <a:pt x="124" y="164"/>
                  </a:lnTo>
                  <a:lnTo>
                    <a:pt x="121" y="164"/>
                  </a:lnTo>
                  <a:lnTo>
                    <a:pt x="119" y="164"/>
                  </a:lnTo>
                  <a:lnTo>
                    <a:pt x="118" y="164"/>
                  </a:lnTo>
                  <a:lnTo>
                    <a:pt x="116" y="157"/>
                  </a:lnTo>
                  <a:lnTo>
                    <a:pt x="116" y="154"/>
                  </a:lnTo>
                  <a:lnTo>
                    <a:pt x="118" y="154"/>
                  </a:lnTo>
                  <a:lnTo>
                    <a:pt x="121" y="154"/>
                  </a:lnTo>
                  <a:lnTo>
                    <a:pt x="124" y="154"/>
                  </a:lnTo>
                  <a:lnTo>
                    <a:pt x="134" y="154"/>
                  </a:lnTo>
                  <a:lnTo>
                    <a:pt x="135" y="154"/>
                  </a:lnTo>
                  <a:lnTo>
                    <a:pt x="137" y="154"/>
                  </a:lnTo>
                  <a:lnTo>
                    <a:pt x="137" y="151"/>
                  </a:lnTo>
                  <a:lnTo>
                    <a:pt x="138" y="151"/>
                  </a:lnTo>
                  <a:lnTo>
                    <a:pt x="140" y="153"/>
                  </a:lnTo>
                  <a:lnTo>
                    <a:pt x="142" y="154"/>
                  </a:lnTo>
                  <a:lnTo>
                    <a:pt x="143" y="151"/>
                  </a:lnTo>
                  <a:lnTo>
                    <a:pt x="146" y="149"/>
                  </a:lnTo>
                  <a:lnTo>
                    <a:pt x="148" y="148"/>
                  </a:lnTo>
                  <a:lnTo>
                    <a:pt x="150" y="149"/>
                  </a:lnTo>
                  <a:lnTo>
                    <a:pt x="151" y="153"/>
                  </a:lnTo>
                  <a:lnTo>
                    <a:pt x="153" y="154"/>
                  </a:lnTo>
                  <a:lnTo>
                    <a:pt x="153" y="161"/>
                  </a:lnTo>
                  <a:lnTo>
                    <a:pt x="153" y="161"/>
                  </a:lnTo>
                  <a:lnTo>
                    <a:pt x="153" y="161"/>
                  </a:lnTo>
                  <a:lnTo>
                    <a:pt x="156" y="161"/>
                  </a:lnTo>
                  <a:lnTo>
                    <a:pt x="153" y="157"/>
                  </a:lnTo>
                  <a:lnTo>
                    <a:pt x="153" y="157"/>
                  </a:lnTo>
                  <a:lnTo>
                    <a:pt x="153" y="157"/>
                  </a:lnTo>
                  <a:lnTo>
                    <a:pt x="153" y="157"/>
                  </a:lnTo>
                  <a:lnTo>
                    <a:pt x="153" y="157"/>
                  </a:lnTo>
                  <a:lnTo>
                    <a:pt x="153" y="157"/>
                  </a:lnTo>
                  <a:lnTo>
                    <a:pt x="153" y="157"/>
                  </a:lnTo>
                  <a:lnTo>
                    <a:pt x="153" y="157"/>
                  </a:lnTo>
                  <a:lnTo>
                    <a:pt x="153" y="15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2" name="Freeform 42">
              <a:extLst>
                <a:ext uri="{FF2B5EF4-FFF2-40B4-BE49-F238E27FC236}">
                  <a16:creationId xmlns:a16="http://schemas.microsoft.com/office/drawing/2014/main" id="{825F2FC1-6BED-19DD-53AB-5C4E62846E01}"/>
                </a:ext>
              </a:extLst>
            </p:cNvPr>
            <p:cNvSpPr>
              <a:spLocks/>
            </p:cNvSpPr>
            <p:nvPr/>
          </p:nvSpPr>
          <p:spPr bwMode="auto">
            <a:xfrm>
              <a:off x="3461052" y="3980247"/>
              <a:ext cx="161502" cy="206363"/>
            </a:xfrm>
            <a:custGeom>
              <a:avLst/>
              <a:gdLst>
                <a:gd name="T0" fmla="*/ 10 w 72"/>
                <a:gd name="T1" fmla="*/ 77 h 92"/>
                <a:gd name="T2" fmla="*/ 8 w 72"/>
                <a:gd name="T3" fmla="*/ 80 h 92"/>
                <a:gd name="T4" fmla="*/ 8 w 72"/>
                <a:gd name="T5" fmla="*/ 83 h 92"/>
                <a:gd name="T6" fmla="*/ 8 w 72"/>
                <a:gd name="T7" fmla="*/ 85 h 92"/>
                <a:gd name="T8" fmla="*/ 10 w 72"/>
                <a:gd name="T9" fmla="*/ 83 h 92"/>
                <a:gd name="T10" fmla="*/ 15 w 72"/>
                <a:gd name="T11" fmla="*/ 86 h 92"/>
                <a:gd name="T12" fmla="*/ 18 w 72"/>
                <a:gd name="T13" fmla="*/ 86 h 92"/>
                <a:gd name="T14" fmla="*/ 21 w 72"/>
                <a:gd name="T15" fmla="*/ 91 h 92"/>
                <a:gd name="T16" fmla="*/ 24 w 72"/>
                <a:gd name="T17" fmla="*/ 92 h 92"/>
                <a:gd name="T18" fmla="*/ 27 w 72"/>
                <a:gd name="T19" fmla="*/ 91 h 92"/>
                <a:gd name="T20" fmla="*/ 32 w 72"/>
                <a:gd name="T21" fmla="*/ 75 h 92"/>
                <a:gd name="T22" fmla="*/ 32 w 72"/>
                <a:gd name="T23" fmla="*/ 72 h 92"/>
                <a:gd name="T24" fmla="*/ 35 w 72"/>
                <a:gd name="T25" fmla="*/ 72 h 92"/>
                <a:gd name="T26" fmla="*/ 35 w 72"/>
                <a:gd name="T27" fmla="*/ 69 h 92"/>
                <a:gd name="T28" fmla="*/ 39 w 72"/>
                <a:gd name="T29" fmla="*/ 65 h 92"/>
                <a:gd name="T30" fmla="*/ 48 w 72"/>
                <a:gd name="T31" fmla="*/ 62 h 92"/>
                <a:gd name="T32" fmla="*/ 61 w 72"/>
                <a:gd name="T33" fmla="*/ 54 h 92"/>
                <a:gd name="T34" fmla="*/ 67 w 72"/>
                <a:gd name="T35" fmla="*/ 42 h 92"/>
                <a:gd name="T36" fmla="*/ 70 w 72"/>
                <a:gd name="T37" fmla="*/ 35 h 92"/>
                <a:gd name="T38" fmla="*/ 72 w 72"/>
                <a:gd name="T39" fmla="*/ 32 h 92"/>
                <a:gd name="T40" fmla="*/ 70 w 72"/>
                <a:gd name="T41" fmla="*/ 27 h 92"/>
                <a:gd name="T42" fmla="*/ 67 w 72"/>
                <a:gd name="T43" fmla="*/ 24 h 92"/>
                <a:gd name="T44" fmla="*/ 70 w 72"/>
                <a:gd name="T45" fmla="*/ 23 h 92"/>
                <a:gd name="T46" fmla="*/ 64 w 72"/>
                <a:gd name="T47" fmla="*/ 19 h 92"/>
                <a:gd name="T48" fmla="*/ 61 w 72"/>
                <a:gd name="T49" fmla="*/ 16 h 92"/>
                <a:gd name="T50" fmla="*/ 58 w 72"/>
                <a:gd name="T51" fmla="*/ 16 h 92"/>
                <a:gd name="T52" fmla="*/ 58 w 72"/>
                <a:gd name="T53" fmla="*/ 18 h 92"/>
                <a:gd name="T54" fmla="*/ 48 w 72"/>
                <a:gd name="T55" fmla="*/ 16 h 92"/>
                <a:gd name="T56" fmla="*/ 45 w 72"/>
                <a:gd name="T57" fmla="*/ 15 h 92"/>
                <a:gd name="T58" fmla="*/ 43 w 72"/>
                <a:gd name="T59" fmla="*/ 11 h 92"/>
                <a:gd name="T60" fmla="*/ 40 w 72"/>
                <a:gd name="T61" fmla="*/ 10 h 92"/>
                <a:gd name="T62" fmla="*/ 32 w 72"/>
                <a:gd name="T63" fmla="*/ 7 h 92"/>
                <a:gd name="T64" fmla="*/ 27 w 72"/>
                <a:gd name="T65" fmla="*/ 0 h 92"/>
                <a:gd name="T66" fmla="*/ 24 w 72"/>
                <a:gd name="T67" fmla="*/ 4 h 92"/>
                <a:gd name="T68" fmla="*/ 20 w 72"/>
                <a:gd name="T69" fmla="*/ 7 h 92"/>
                <a:gd name="T70" fmla="*/ 16 w 72"/>
                <a:gd name="T71" fmla="*/ 8 h 92"/>
                <a:gd name="T72" fmla="*/ 10 w 72"/>
                <a:gd name="T73" fmla="*/ 10 h 92"/>
                <a:gd name="T74" fmla="*/ 12 w 72"/>
                <a:gd name="T75" fmla="*/ 16 h 92"/>
                <a:gd name="T76" fmla="*/ 8 w 72"/>
                <a:gd name="T77" fmla="*/ 26 h 92"/>
                <a:gd name="T78" fmla="*/ 8 w 72"/>
                <a:gd name="T79" fmla="*/ 31 h 92"/>
                <a:gd name="T80" fmla="*/ 7 w 72"/>
                <a:gd name="T81" fmla="*/ 32 h 92"/>
                <a:gd name="T82" fmla="*/ 5 w 72"/>
                <a:gd name="T83" fmla="*/ 35 h 92"/>
                <a:gd name="T84" fmla="*/ 2 w 72"/>
                <a:gd name="T85" fmla="*/ 35 h 92"/>
                <a:gd name="T86" fmla="*/ 2 w 72"/>
                <a:gd name="T87" fmla="*/ 42 h 92"/>
                <a:gd name="T88" fmla="*/ 4 w 72"/>
                <a:gd name="T89" fmla="*/ 48 h 92"/>
                <a:gd name="T90" fmla="*/ 2 w 72"/>
                <a:gd name="T91" fmla="*/ 53 h 92"/>
                <a:gd name="T92" fmla="*/ 2 w 72"/>
                <a:gd name="T93" fmla="*/ 56 h 92"/>
                <a:gd name="T94" fmla="*/ 8 w 72"/>
                <a:gd name="T95" fmla="*/ 62 h 92"/>
                <a:gd name="T96" fmla="*/ 12 w 72"/>
                <a:gd name="T97" fmla="*/ 56 h 92"/>
                <a:gd name="T98" fmla="*/ 12 w 72"/>
                <a:gd name="T99" fmla="*/ 59 h 92"/>
                <a:gd name="T100" fmla="*/ 13 w 72"/>
                <a:gd name="T101" fmla="*/ 56 h 92"/>
                <a:gd name="T102" fmla="*/ 13 w 72"/>
                <a:gd name="T103" fmla="*/ 51 h 92"/>
                <a:gd name="T104" fmla="*/ 13 w 72"/>
                <a:gd name="T105" fmla="*/ 54 h 92"/>
                <a:gd name="T106" fmla="*/ 15 w 72"/>
                <a:gd name="T107" fmla="*/ 59 h 92"/>
                <a:gd name="T108" fmla="*/ 13 w 72"/>
                <a:gd name="T109" fmla="*/ 67 h 92"/>
                <a:gd name="T110" fmla="*/ 8 w 72"/>
                <a:gd name="T111" fmla="*/ 70 h 92"/>
                <a:gd name="T112" fmla="*/ 10 w 72"/>
                <a:gd name="T113" fmla="*/ 73 h 92"/>
                <a:gd name="T114" fmla="*/ 10 w 72"/>
                <a:gd name="T115" fmla="*/ 73 h 92"/>
                <a:gd name="T116" fmla="*/ 10 w 72"/>
                <a:gd name="T117" fmla="*/ 73 h 92"/>
                <a:gd name="T118" fmla="*/ 10 w 72"/>
                <a:gd name="T119" fmla="*/ 73 h 92"/>
                <a:gd name="T120" fmla="*/ 10 w 72"/>
                <a:gd name="T1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92">
                  <a:moveTo>
                    <a:pt x="10" y="73"/>
                  </a:moveTo>
                  <a:lnTo>
                    <a:pt x="10" y="77"/>
                  </a:lnTo>
                  <a:lnTo>
                    <a:pt x="10" y="78"/>
                  </a:lnTo>
                  <a:lnTo>
                    <a:pt x="8" y="80"/>
                  </a:lnTo>
                  <a:lnTo>
                    <a:pt x="8" y="81"/>
                  </a:lnTo>
                  <a:lnTo>
                    <a:pt x="8" y="83"/>
                  </a:lnTo>
                  <a:lnTo>
                    <a:pt x="8" y="86"/>
                  </a:lnTo>
                  <a:lnTo>
                    <a:pt x="8" y="85"/>
                  </a:lnTo>
                  <a:lnTo>
                    <a:pt x="8" y="85"/>
                  </a:lnTo>
                  <a:lnTo>
                    <a:pt x="10" y="83"/>
                  </a:lnTo>
                  <a:lnTo>
                    <a:pt x="12" y="83"/>
                  </a:lnTo>
                  <a:lnTo>
                    <a:pt x="15" y="86"/>
                  </a:lnTo>
                  <a:lnTo>
                    <a:pt x="16" y="86"/>
                  </a:lnTo>
                  <a:lnTo>
                    <a:pt x="18" y="86"/>
                  </a:lnTo>
                  <a:lnTo>
                    <a:pt x="20" y="88"/>
                  </a:lnTo>
                  <a:lnTo>
                    <a:pt x="21" y="91"/>
                  </a:lnTo>
                  <a:lnTo>
                    <a:pt x="23" y="91"/>
                  </a:lnTo>
                  <a:lnTo>
                    <a:pt x="24" y="92"/>
                  </a:lnTo>
                  <a:lnTo>
                    <a:pt x="26" y="91"/>
                  </a:lnTo>
                  <a:lnTo>
                    <a:pt x="27" y="91"/>
                  </a:lnTo>
                  <a:lnTo>
                    <a:pt x="31" y="73"/>
                  </a:lnTo>
                  <a:lnTo>
                    <a:pt x="32" y="75"/>
                  </a:lnTo>
                  <a:lnTo>
                    <a:pt x="32" y="73"/>
                  </a:lnTo>
                  <a:lnTo>
                    <a:pt x="32" y="72"/>
                  </a:lnTo>
                  <a:lnTo>
                    <a:pt x="34" y="70"/>
                  </a:lnTo>
                  <a:lnTo>
                    <a:pt x="35" y="72"/>
                  </a:lnTo>
                  <a:lnTo>
                    <a:pt x="35" y="70"/>
                  </a:lnTo>
                  <a:lnTo>
                    <a:pt x="35" y="69"/>
                  </a:lnTo>
                  <a:lnTo>
                    <a:pt x="37" y="67"/>
                  </a:lnTo>
                  <a:lnTo>
                    <a:pt x="39" y="65"/>
                  </a:lnTo>
                  <a:lnTo>
                    <a:pt x="42" y="62"/>
                  </a:lnTo>
                  <a:lnTo>
                    <a:pt x="48" y="62"/>
                  </a:lnTo>
                  <a:lnTo>
                    <a:pt x="54" y="59"/>
                  </a:lnTo>
                  <a:lnTo>
                    <a:pt x="61" y="54"/>
                  </a:lnTo>
                  <a:lnTo>
                    <a:pt x="64" y="48"/>
                  </a:lnTo>
                  <a:lnTo>
                    <a:pt x="67" y="42"/>
                  </a:lnTo>
                  <a:lnTo>
                    <a:pt x="67" y="42"/>
                  </a:lnTo>
                  <a:lnTo>
                    <a:pt x="70" y="35"/>
                  </a:lnTo>
                  <a:lnTo>
                    <a:pt x="72" y="35"/>
                  </a:lnTo>
                  <a:lnTo>
                    <a:pt x="72" y="32"/>
                  </a:lnTo>
                  <a:lnTo>
                    <a:pt x="70" y="29"/>
                  </a:lnTo>
                  <a:lnTo>
                    <a:pt x="70" y="27"/>
                  </a:lnTo>
                  <a:lnTo>
                    <a:pt x="69" y="26"/>
                  </a:lnTo>
                  <a:lnTo>
                    <a:pt x="67" y="24"/>
                  </a:lnTo>
                  <a:lnTo>
                    <a:pt x="69" y="24"/>
                  </a:lnTo>
                  <a:lnTo>
                    <a:pt x="70" y="23"/>
                  </a:lnTo>
                  <a:lnTo>
                    <a:pt x="67" y="21"/>
                  </a:lnTo>
                  <a:lnTo>
                    <a:pt x="64" y="19"/>
                  </a:lnTo>
                  <a:lnTo>
                    <a:pt x="61" y="16"/>
                  </a:lnTo>
                  <a:lnTo>
                    <a:pt x="61" y="16"/>
                  </a:lnTo>
                  <a:lnTo>
                    <a:pt x="58" y="16"/>
                  </a:lnTo>
                  <a:lnTo>
                    <a:pt x="58" y="16"/>
                  </a:lnTo>
                  <a:lnTo>
                    <a:pt x="58" y="18"/>
                  </a:lnTo>
                  <a:lnTo>
                    <a:pt x="58" y="18"/>
                  </a:lnTo>
                  <a:lnTo>
                    <a:pt x="54" y="18"/>
                  </a:lnTo>
                  <a:lnTo>
                    <a:pt x="48" y="16"/>
                  </a:lnTo>
                  <a:lnTo>
                    <a:pt x="45" y="16"/>
                  </a:lnTo>
                  <a:lnTo>
                    <a:pt x="45" y="15"/>
                  </a:lnTo>
                  <a:lnTo>
                    <a:pt x="45" y="13"/>
                  </a:lnTo>
                  <a:lnTo>
                    <a:pt x="43" y="11"/>
                  </a:lnTo>
                  <a:lnTo>
                    <a:pt x="42" y="10"/>
                  </a:lnTo>
                  <a:lnTo>
                    <a:pt x="40" y="10"/>
                  </a:lnTo>
                  <a:lnTo>
                    <a:pt x="37" y="8"/>
                  </a:lnTo>
                  <a:lnTo>
                    <a:pt x="32" y="7"/>
                  </a:lnTo>
                  <a:lnTo>
                    <a:pt x="29" y="4"/>
                  </a:lnTo>
                  <a:lnTo>
                    <a:pt x="27" y="0"/>
                  </a:lnTo>
                  <a:lnTo>
                    <a:pt x="26" y="7"/>
                  </a:lnTo>
                  <a:lnTo>
                    <a:pt x="24" y="4"/>
                  </a:lnTo>
                  <a:lnTo>
                    <a:pt x="23" y="4"/>
                  </a:lnTo>
                  <a:lnTo>
                    <a:pt x="20" y="7"/>
                  </a:lnTo>
                  <a:lnTo>
                    <a:pt x="18" y="7"/>
                  </a:lnTo>
                  <a:lnTo>
                    <a:pt x="16" y="8"/>
                  </a:lnTo>
                  <a:lnTo>
                    <a:pt x="15" y="8"/>
                  </a:lnTo>
                  <a:lnTo>
                    <a:pt x="10" y="10"/>
                  </a:lnTo>
                  <a:lnTo>
                    <a:pt x="10" y="13"/>
                  </a:lnTo>
                  <a:lnTo>
                    <a:pt x="12" y="16"/>
                  </a:lnTo>
                  <a:lnTo>
                    <a:pt x="10" y="21"/>
                  </a:lnTo>
                  <a:lnTo>
                    <a:pt x="8" y="26"/>
                  </a:lnTo>
                  <a:lnTo>
                    <a:pt x="7" y="29"/>
                  </a:lnTo>
                  <a:lnTo>
                    <a:pt x="8" y="31"/>
                  </a:lnTo>
                  <a:lnTo>
                    <a:pt x="8" y="31"/>
                  </a:lnTo>
                  <a:lnTo>
                    <a:pt x="7" y="32"/>
                  </a:lnTo>
                  <a:lnTo>
                    <a:pt x="7" y="32"/>
                  </a:lnTo>
                  <a:lnTo>
                    <a:pt x="5" y="35"/>
                  </a:lnTo>
                  <a:lnTo>
                    <a:pt x="4" y="35"/>
                  </a:lnTo>
                  <a:lnTo>
                    <a:pt x="2" y="35"/>
                  </a:lnTo>
                  <a:lnTo>
                    <a:pt x="4" y="42"/>
                  </a:lnTo>
                  <a:lnTo>
                    <a:pt x="2" y="42"/>
                  </a:lnTo>
                  <a:lnTo>
                    <a:pt x="2" y="45"/>
                  </a:lnTo>
                  <a:lnTo>
                    <a:pt x="4" y="48"/>
                  </a:lnTo>
                  <a:lnTo>
                    <a:pt x="4" y="51"/>
                  </a:lnTo>
                  <a:lnTo>
                    <a:pt x="2" y="53"/>
                  </a:lnTo>
                  <a:lnTo>
                    <a:pt x="0" y="53"/>
                  </a:lnTo>
                  <a:lnTo>
                    <a:pt x="2" y="56"/>
                  </a:lnTo>
                  <a:lnTo>
                    <a:pt x="4" y="56"/>
                  </a:lnTo>
                  <a:lnTo>
                    <a:pt x="8" y="62"/>
                  </a:lnTo>
                  <a:lnTo>
                    <a:pt x="10" y="56"/>
                  </a:lnTo>
                  <a:lnTo>
                    <a:pt x="12" y="56"/>
                  </a:lnTo>
                  <a:lnTo>
                    <a:pt x="12" y="56"/>
                  </a:lnTo>
                  <a:lnTo>
                    <a:pt x="12" y="59"/>
                  </a:lnTo>
                  <a:lnTo>
                    <a:pt x="13" y="59"/>
                  </a:lnTo>
                  <a:lnTo>
                    <a:pt x="13" y="56"/>
                  </a:lnTo>
                  <a:lnTo>
                    <a:pt x="13" y="54"/>
                  </a:lnTo>
                  <a:lnTo>
                    <a:pt x="13" y="51"/>
                  </a:lnTo>
                  <a:lnTo>
                    <a:pt x="15" y="51"/>
                  </a:lnTo>
                  <a:lnTo>
                    <a:pt x="13" y="54"/>
                  </a:lnTo>
                  <a:lnTo>
                    <a:pt x="15" y="56"/>
                  </a:lnTo>
                  <a:lnTo>
                    <a:pt x="15" y="59"/>
                  </a:lnTo>
                  <a:lnTo>
                    <a:pt x="15" y="62"/>
                  </a:lnTo>
                  <a:lnTo>
                    <a:pt x="13" y="67"/>
                  </a:lnTo>
                  <a:lnTo>
                    <a:pt x="10" y="69"/>
                  </a:lnTo>
                  <a:lnTo>
                    <a:pt x="8" y="70"/>
                  </a:lnTo>
                  <a:lnTo>
                    <a:pt x="8" y="70"/>
                  </a:lnTo>
                  <a:lnTo>
                    <a:pt x="10" y="73"/>
                  </a:lnTo>
                  <a:lnTo>
                    <a:pt x="10" y="73"/>
                  </a:lnTo>
                  <a:lnTo>
                    <a:pt x="10" y="73"/>
                  </a:lnTo>
                  <a:lnTo>
                    <a:pt x="10" y="73"/>
                  </a:lnTo>
                  <a:lnTo>
                    <a:pt x="10" y="73"/>
                  </a:lnTo>
                  <a:lnTo>
                    <a:pt x="10" y="73"/>
                  </a:lnTo>
                  <a:lnTo>
                    <a:pt x="10" y="73"/>
                  </a:lnTo>
                  <a:lnTo>
                    <a:pt x="10" y="73"/>
                  </a:lnTo>
                  <a:lnTo>
                    <a:pt x="10" y="7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3" name="Freeform 44">
              <a:extLst>
                <a:ext uri="{FF2B5EF4-FFF2-40B4-BE49-F238E27FC236}">
                  <a16:creationId xmlns:a16="http://schemas.microsoft.com/office/drawing/2014/main" id="{BF4D4C73-503D-FC28-E7D1-ABF28993342C}"/>
                </a:ext>
              </a:extLst>
            </p:cNvPr>
            <p:cNvSpPr>
              <a:spLocks/>
            </p:cNvSpPr>
            <p:nvPr/>
          </p:nvSpPr>
          <p:spPr bwMode="auto">
            <a:xfrm>
              <a:off x="4028549" y="4650926"/>
              <a:ext cx="242252" cy="266925"/>
            </a:xfrm>
            <a:custGeom>
              <a:avLst/>
              <a:gdLst>
                <a:gd name="T0" fmla="*/ 8 w 108"/>
                <a:gd name="T1" fmla="*/ 49 h 119"/>
                <a:gd name="T2" fmla="*/ 11 w 108"/>
                <a:gd name="T3" fmla="*/ 55 h 119"/>
                <a:gd name="T4" fmla="*/ 19 w 108"/>
                <a:gd name="T5" fmla="*/ 60 h 119"/>
                <a:gd name="T6" fmla="*/ 25 w 108"/>
                <a:gd name="T7" fmla="*/ 67 h 119"/>
                <a:gd name="T8" fmla="*/ 32 w 108"/>
                <a:gd name="T9" fmla="*/ 68 h 119"/>
                <a:gd name="T10" fmla="*/ 38 w 108"/>
                <a:gd name="T11" fmla="*/ 70 h 119"/>
                <a:gd name="T12" fmla="*/ 46 w 108"/>
                <a:gd name="T13" fmla="*/ 74 h 119"/>
                <a:gd name="T14" fmla="*/ 57 w 108"/>
                <a:gd name="T15" fmla="*/ 81 h 119"/>
                <a:gd name="T16" fmla="*/ 60 w 108"/>
                <a:gd name="T17" fmla="*/ 84 h 119"/>
                <a:gd name="T18" fmla="*/ 67 w 108"/>
                <a:gd name="T19" fmla="*/ 84 h 119"/>
                <a:gd name="T20" fmla="*/ 70 w 108"/>
                <a:gd name="T21" fmla="*/ 89 h 119"/>
                <a:gd name="T22" fmla="*/ 67 w 108"/>
                <a:gd name="T23" fmla="*/ 95 h 119"/>
                <a:gd name="T24" fmla="*/ 63 w 108"/>
                <a:gd name="T25" fmla="*/ 100 h 119"/>
                <a:gd name="T26" fmla="*/ 63 w 108"/>
                <a:gd name="T27" fmla="*/ 106 h 119"/>
                <a:gd name="T28" fmla="*/ 60 w 108"/>
                <a:gd name="T29" fmla="*/ 113 h 119"/>
                <a:gd name="T30" fmla="*/ 60 w 108"/>
                <a:gd name="T31" fmla="*/ 116 h 119"/>
                <a:gd name="T32" fmla="*/ 67 w 108"/>
                <a:gd name="T33" fmla="*/ 114 h 119"/>
                <a:gd name="T34" fmla="*/ 76 w 108"/>
                <a:gd name="T35" fmla="*/ 117 h 119"/>
                <a:gd name="T36" fmla="*/ 82 w 108"/>
                <a:gd name="T37" fmla="*/ 117 h 119"/>
                <a:gd name="T38" fmla="*/ 86 w 108"/>
                <a:gd name="T39" fmla="*/ 117 h 119"/>
                <a:gd name="T40" fmla="*/ 89 w 108"/>
                <a:gd name="T41" fmla="*/ 117 h 119"/>
                <a:gd name="T42" fmla="*/ 94 w 108"/>
                <a:gd name="T43" fmla="*/ 116 h 119"/>
                <a:gd name="T44" fmla="*/ 95 w 108"/>
                <a:gd name="T45" fmla="*/ 116 h 119"/>
                <a:gd name="T46" fmla="*/ 98 w 108"/>
                <a:gd name="T47" fmla="*/ 111 h 119"/>
                <a:gd name="T48" fmla="*/ 102 w 108"/>
                <a:gd name="T49" fmla="*/ 109 h 119"/>
                <a:gd name="T50" fmla="*/ 105 w 108"/>
                <a:gd name="T51" fmla="*/ 105 h 119"/>
                <a:gd name="T52" fmla="*/ 105 w 108"/>
                <a:gd name="T53" fmla="*/ 100 h 119"/>
                <a:gd name="T54" fmla="*/ 105 w 108"/>
                <a:gd name="T55" fmla="*/ 92 h 119"/>
                <a:gd name="T56" fmla="*/ 105 w 108"/>
                <a:gd name="T57" fmla="*/ 89 h 119"/>
                <a:gd name="T58" fmla="*/ 108 w 108"/>
                <a:gd name="T59" fmla="*/ 78 h 119"/>
                <a:gd name="T60" fmla="*/ 108 w 108"/>
                <a:gd name="T61" fmla="*/ 71 h 119"/>
                <a:gd name="T62" fmla="*/ 105 w 108"/>
                <a:gd name="T63" fmla="*/ 67 h 119"/>
                <a:gd name="T64" fmla="*/ 102 w 108"/>
                <a:gd name="T65" fmla="*/ 67 h 119"/>
                <a:gd name="T66" fmla="*/ 95 w 108"/>
                <a:gd name="T67" fmla="*/ 68 h 119"/>
                <a:gd name="T68" fmla="*/ 90 w 108"/>
                <a:gd name="T69" fmla="*/ 60 h 119"/>
                <a:gd name="T70" fmla="*/ 86 w 108"/>
                <a:gd name="T71" fmla="*/ 49 h 119"/>
                <a:gd name="T72" fmla="*/ 79 w 108"/>
                <a:gd name="T73" fmla="*/ 43 h 119"/>
                <a:gd name="T74" fmla="*/ 75 w 108"/>
                <a:gd name="T75" fmla="*/ 43 h 119"/>
                <a:gd name="T76" fmla="*/ 73 w 108"/>
                <a:gd name="T77" fmla="*/ 46 h 119"/>
                <a:gd name="T78" fmla="*/ 67 w 108"/>
                <a:gd name="T79" fmla="*/ 43 h 119"/>
                <a:gd name="T80" fmla="*/ 60 w 108"/>
                <a:gd name="T81" fmla="*/ 43 h 119"/>
                <a:gd name="T82" fmla="*/ 57 w 108"/>
                <a:gd name="T83" fmla="*/ 38 h 119"/>
                <a:gd name="T84" fmla="*/ 59 w 108"/>
                <a:gd name="T85" fmla="*/ 33 h 119"/>
                <a:gd name="T86" fmla="*/ 57 w 108"/>
                <a:gd name="T87" fmla="*/ 32 h 119"/>
                <a:gd name="T88" fmla="*/ 59 w 108"/>
                <a:gd name="T89" fmla="*/ 25 h 119"/>
                <a:gd name="T90" fmla="*/ 57 w 108"/>
                <a:gd name="T91" fmla="*/ 20 h 119"/>
                <a:gd name="T92" fmla="*/ 54 w 108"/>
                <a:gd name="T93" fmla="*/ 14 h 119"/>
                <a:gd name="T94" fmla="*/ 52 w 108"/>
                <a:gd name="T95" fmla="*/ 11 h 119"/>
                <a:gd name="T96" fmla="*/ 52 w 108"/>
                <a:gd name="T97" fmla="*/ 8 h 119"/>
                <a:gd name="T98" fmla="*/ 46 w 108"/>
                <a:gd name="T99" fmla="*/ 3 h 119"/>
                <a:gd name="T100" fmla="*/ 35 w 108"/>
                <a:gd name="T101" fmla="*/ 0 h 119"/>
                <a:gd name="T102" fmla="*/ 25 w 108"/>
                <a:gd name="T103" fmla="*/ 1 h 119"/>
                <a:gd name="T104" fmla="*/ 8 w 108"/>
                <a:gd name="T105" fmla="*/ 5 h 119"/>
                <a:gd name="T106" fmla="*/ 5 w 108"/>
                <a:gd name="T107" fmla="*/ 14 h 119"/>
                <a:gd name="T108" fmla="*/ 3 w 108"/>
                <a:gd name="T109" fmla="*/ 20 h 119"/>
                <a:gd name="T110" fmla="*/ 0 w 108"/>
                <a:gd name="T111" fmla="*/ 43 h 119"/>
                <a:gd name="T112" fmla="*/ 5 w 108"/>
                <a:gd name="T113" fmla="*/ 46 h 119"/>
                <a:gd name="T114" fmla="*/ 5 w 108"/>
                <a:gd name="T115" fmla="*/ 46 h 119"/>
                <a:gd name="T116" fmla="*/ 5 w 108"/>
                <a:gd name="T117" fmla="*/ 46 h 119"/>
                <a:gd name="T118" fmla="*/ 5 w 108"/>
                <a:gd name="T119" fmla="*/ 46 h 119"/>
                <a:gd name="T120" fmla="*/ 5 w 108"/>
                <a:gd name="T121" fmla="*/ 4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119">
                  <a:moveTo>
                    <a:pt x="5" y="46"/>
                  </a:moveTo>
                  <a:lnTo>
                    <a:pt x="8" y="49"/>
                  </a:lnTo>
                  <a:lnTo>
                    <a:pt x="8" y="52"/>
                  </a:lnTo>
                  <a:lnTo>
                    <a:pt x="11" y="55"/>
                  </a:lnTo>
                  <a:lnTo>
                    <a:pt x="14" y="57"/>
                  </a:lnTo>
                  <a:lnTo>
                    <a:pt x="19" y="60"/>
                  </a:lnTo>
                  <a:lnTo>
                    <a:pt x="22" y="65"/>
                  </a:lnTo>
                  <a:lnTo>
                    <a:pt x="25" y="67"/>
                  </a:lnTo>
                  <a:lnTo>
                    <a:pt x="29" y="67"/>
                  </a:lnTo>
                  <a:lnTo>
                    <a:pt x="32" y="68"/>
                  </a:lnTo>
                  <a:lnTo>
                    <a:pt x="35" y="68"/>
                  </a:lnTo>
                  <a:lnTo>
                    <a:pt x="38" y="70"/>
                  </a:lnTo>
                  <a:lnTo>
                    <a:pt x="40" y="71"/>
                  </a:lnTo>
                  <a:lnTo>
                    <a:pt x="46" y="74"/>
                  </a:lnTo>
                  <a:lnTo>
                    <a:pt x="52" y="78"/>
                  </a:lnTo>
                  <a:lnTo>
                    <a:pt x="57" y="81"/>
                  </a:lnTo>
                  <a:lnTo>
                    <a:pt x="59" y="81"/>
                  </a:lnTo>
                  <a:lnTo>
                    <a:pt x="60" y="84"/>
                  </a:lnTo>
                  <a:lnTo>
                    <a:pt x="63" y="84"/>
                  </a:lnTo>
                  <a:lnTo>
                    <a:pt x="67" y="84"/>
                  </a:lnTo>
                  <a:lnTo>
                    <a:pt x="67" y="87"/>
                  </a:lnTo>
                  <a:lnTo>
                    <a:pt x="70" y="89"/>
                  </a:lnTo>
                  <a:lnTo>
                    <a:pt x="67" y="92"/>
                  </a:lnTo>
                  <a:lnTo>
                    <a:pt x="67" y="95"/>
                  </a:lnTo>
                  <a:lnTo>
                    <a:pt x="63" y="98"/>
                  </a:lnTo>
                  <a:lnTo>
                    <a:pt x="63" y="100"/>
                  </a:lnTo>
                  <a:lnTo>
                    <a:pt x="63" y="103"/>
                  </a:lnTo>
                  <a:lnTo>
                    <a:pt x="63" y="106"/>
                  </a:lnTo>
                  <a:lnTo>
                    <a:pt x="62" y="108"/>
                  </a:lnTo>
                  <a:lnTo>
                    <a:pt x="60" y="113"/>
                  </a:lnTo>
                  <a:lnTo>
                    <a:pt x="60" y="114"/>
                  </a:lnTo>
                  <a:lnTo>
                    <a:pt x="60" y="116"/>
                  </a:lnTo>
                  <a:lnTo>
                    <a:pt x="63" y="114"/>
                  </a:lnTo>
                  <a:lnTo>
                    <a:pt x="67" y="114"/>
                  </a:lnTo>
                  <a:lnTo>
                    <a:pt x="73" y="117"/>
                  </a:lnTo>
                  <a:lnTo>
                    <a:pt x="76" y="117"/>
                  </a:lnTo>
                  <a:lnTo>
                    <a:pt x="81" y="117"/>
                  </a:lnTo>
                  <a:lnTo>
                    <a:pt x="82" y="117"/>
                  </a:lnTo>
                  <a:lnTo>
                    <a:pt x="84" y="117"/>
                  </a:lnTo>
                  <a:lnTo>
                    <a:pt x="86" y="117"/>
                  </a:lnTo>
                  <a:lnTo>
                    <a:pt x="89" y="119"/>
                  </a:lnTo>
                  <a:lnTo>
                    <a:pt x="89" y="117"/>
                  </a:lnTo>
                  <a:lnTo>
                    <a:pt x="92" y="116"/>
                  </a:lnTo>
                  <a:lnTo>
                    <a:pt x="94" y="116"/>
                  </a:lnTo>
                  <a:lnTo>
                    <a:pt x="95" y="117"/>
                  </a:lnTo>
                  <a:lnTo>
                    <a:pt x="95" y="116"/>
                  </a:lnTo>
                  <a:lnTo>
                    <a:pt x="98" y="114"/>
                  </a:lnTo>
                  <a:lnTo>
                    <a:pt x="98" y="111"/>
                  </a:lnTo>
                  <a:lnTo>
                    <a:pt x="102" y="109"/>
                  </a:lnTo>
                  <a:lnTo>
                    <a:pt x="102" y="109"/>
                  </a:lnTo>
                  <a:lnTo>
                    <a:pt x="105" y="105"/>
                  </a:lnTo>
                  <a:lnTo>
                    <a:pt x="105" y="105"/>
                  </a:lnTo>
                  <a:lnTo>
                    <a:pt x="105" y="103"/>
                  </a:lnTo>
                  <a:lnTo>
                    <a:pt x="105" y="100"/>
                  </a:lnTo>
                  <a:lnTo>
                    <a:pt x="105" y="94"/>
                  </a:lnTo>
                  <a:lnTo>
                    <a:pt x="105" y="92"/>
                  </a:lnTo>
                  <a:lnTo>
                    <a:pt x="105" y="90"/>
                  </a:lnTo>
                  <a:lnTo>
                    <a:pt x="105" y="89"/>
                  </a:lnTo>
                  <a:lnTo>
                    <a:pt x="108" y="81"/>
                  </a:lnTo>
                  <a:lnTo>
                    <a:pt x="108" y="78"/>
                  </a:lnTo>
                  <a:lnTo>
                    <a:pt x="108" y="74"/>
                  </a:lnTo>
                  <a:lnTo>
                    <a:pt x="108" y="71"/>
                  </a:lnTo>
                  <a:lnTo>
                    <a:pt x="108" y="70"/>
                  </a:lnTo>
                  <a:lnTo>
                    <a:pt x="105" y="67"/>
                  </a:lnTo>
                  <a:lnTo>
                    <a:pt x="102" y="67"/>
                  </a:lnTo>
                  <a:lnTo>
                    <a:pt x="102" y="67"/>
                  </a:lnTo>
                  <a:lnTo>
                    <a:pt x="98" y="68"/>
                  </a:lnTo>
                  <a:lnTo>
                    <a:pt x="95" y="68"/>
                  </a:lnTo>
                  <a:lnTo>
                    <a:pt x="94" y="67"/>
                  </a:lnTo>
                  <a:lnTo>
                    <a:pt x="90" y="60"/>
                  </a:lnTo>
                  <a:lnTo>
                    <a:pt x="89" y="54"/>
                  </a:lnTo>
                  <a:lnTo>
                    <a:pt x="86" y="49"/>
                  </a:lnTo>
                  <a:lnTo>
                    <a:pt x="82" y="43"/>
                  </a:lnTo>
                  <a:lnTo>
                    <a:pt x="79" y="43"/>
                  </a:lnTo>
                  <a:lnTo>
                    <a:pt x="78" y="43"/>
                  </a:lnTo>
                  <a:lnTo>
                    <a:pt x="75" y="43"/>
                  </a:lnTo>
                  <a:lnTo>
                    <a:pt x="73" y="43"/>
                  </a:lnTo>
                  <a:lnTo>
                    <a:pt x="73" y="46"/>
                  </a:lnTo>
                  <a:lnTo>
                    <a:pt x="70" y="43"/>
                  </a:lnTo>
                  <a:lnTo>
                    <a:pt x="67" y="43"/>
                  </a:lnTo>
                  <a:lnTo>
                    <a:pt x="63" y="43"/>
                  </a:lnTo>
                  <a:lnTo>
                    <a:pt x="60" y="43"/>
                  </a:lnTo>
                  <a:lnTo>
                    <a:pt x="57" y="40"/>
                  </a:lnTo>
                  <a:lnTo>
                    <a:pt x="57" y="38"/>
                  </a:lnTo>
                  <a:lnTo>
                    <a:pt x="59" y="36"/>
                  </a:lnTo>
                  <a:lnTo>
                    <a:pt x="59" y="33"/>
                  </a:lnTo>
                  <a:lnTo>
                    <a:pt x="59" y="33"/>
                  </a:lnTo>
                  <a:lnTo>
                    <a:pt x="57" y="32"/>
                  </a:lnTo>
                  <a:lnTo>
                    <a:pt x="59" y="28"/>
                  </a:lnTo>
                  <a:lnTo>
                    <a:pt x="59" y="25"/>
                  </a:lnTo>
                  <a:lnTo>
                    <a:pt x="57" y="22"/>
                  </a:lnTo>
                  <a:lnTo>
                    <a:pt x="57" y="20"/>
                  </a:lnTo>
                  <a:lnTo>
                    <a:pt x="55" y="17"/>
                  </a:lnTo>
                  <a:lnTo>
                    <a:pt x="54" y="14"/>
                  </a:lnTo>
                  <a:lnTo>
                    <a:pt x="52" y="11"/>
                  </a:lnTo>
                  <a:lnTo>
                    <a:pt x="52" y="11"/>
                  </a:lnTo>
                  <a:lnTo>
                    <a:pt x="52" y="11"/>
                  </a:lnTo>
                  <a:lnTo>
                    <a:pt x="52" y="8"/>
                  </a:lnTo>
                  <a:lnTo>
                    <a:pt x="51" y="5"/>
                  </a:lnTo>
                  <a:lnTo>
                    <a:pt x="46" y="3"/>
                  </a:lnTo>
                  <a:lnTo>
                    <a:pt x="40" y="1"/>
                  </a:lnTo>
                  <a:lnTo>
                    <a:pt x="35" y="0"/>
                  </a:lnTo>
                  <a:lnTo>
                    <a:pt x="32" y="0"/>
                  </a:lnTo>
                  <a:lnTo>
                    <a:pt x="25" y="1"/>
                  </a:lnTo>
                  <a:lnTo>
                    <a:pt x="11" y="5"/>
                  </a:lnTo>
                  <a:lnTo>
                    <a:pt x="8" y="5"/>
                  </a:lnTo>
                  <a:lnTo>
                    <a:pt x="5" y="8"/>
                  </a:lnTo>
                  <a:lnTo>
                    <a:pt x="5" y="14"/>
                  </a:lnTo>
                  <a:lnTo>
                    <a:pt x="3" y="16"/>
                  </a:lnTo>
                  <a:lnTo>
                    <a:pt x="3" y="20"/>
                  </a:lnTo>
                  <a:lnTo>
                    <a:pt x="3" y="28"/>
                  </a:lnTo>
                  <a:lnTo>
                    <a:pt x="0" y="43"/>
                  </a:lnTo>
                  <a:lnTo>
                    <a:pt x="3" y="46"/>
                  </a:lnTo>
                  <a:lnTo>
                    <a:pt x="5" y="46"/>
                  </a:lnTo>
                  <a:lnTo>
                    <a:pt x="5" y="46"/>
                  </a:lnTo>
                  <a:lnTo>
                    <a:pt x="5" y="46"/>
                  </a:lnTo>
                  <a:lnTo>
                    <a:pt x="5" y="46"/>
                  </a:lnTo>
                  <a:lnTo>
                    <a:pt x="5" y="46"/>
                  </a:lnTo>
                  <a:lnTo>
                    <a:pt x="5" y="46"/>
                  </a:lnTo>
                  <a:lnTo>
                    <a:pt x="5" y="46"/>
                  </a:lnTo>
                  <a:lnTo>
                    <a:pt x="5" y="46"/>
                  </a:lnTo>
                  <a:lnTo>
                    <a:pt x="5" y="4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4" name="Freeform 46">
              <a:extLst>
                <a:ext uri="{FF2B5EF4-FFF2-40B4-BE49-F238E27FC236}">
                  <a16:creationId xmlns:a16="http://schemas.microsoft.com/office/drawing/2014/main" id="{4CB03E38-A8EC-DFF0-5730-CE699B29A394}"/>
                </a:ext>
              </a:extLst>
            </p:cNvPr>
            <p:cNvSpPr>
              <a:spLocks/>
            </p:cNvSpPr>
            <p:nvPr/>
          </p:nvSpPr>
          <p:spPr bwMode="auto">
            <a:xfrm>
              <a:off x="3793026" y="4341382"/>
              <a:ext cx="363377" cy="426184"/>
            </a:xfrm>
            <a:custGeom>
              <a:avLst/>
              <a:gdLst>
                <a:gd name="T0" fmla="*/ 159 w 162"/>
                <a:gd name="T1" fmla="*/ 114 h 190"/>
                <a:gd name="T2" fmla="*/ 156 w 162"/>
                <a:gd name="T3" fmla="*/ 111 h 190"/>
                <a:gd name="T4" fmla="*/ 148 w 162"/>
                <a:gd name="T5" fmla="*/ 101 h 190"/>
                <a:gd name="T6" fmla="*/ 137 w 162"/>
                <a:gd name="T7" fmla="*/ 97 h 190"/>
                <a:gd name="T8" fmla="*/ 127 w 162"/>
                <a:gd name="T9" fmla="*/ 93 h 190"/>
                <a:gd name="T10" fmla="*/ 122 w 162"/>
                <a:gd name="T11" fmla="*/ 82 h 190"/>
                <a:gd name="T12" fmla="*/ 124 w 162"/>
                <a:gd name="T13" fmla="*/ 78 h 190"/>
                <a:gd name="T14" fmla="*/ 121 w 162"/>
                <a:gd name="T15" fmla="*/ 62 h 190"/>
                <a:gd name="T16" fmla="*/ 110 w 162"/>
                <a:gd name="T17" fmla="*/ 55 h 190"/>
                <a:gd name="T18" fmla="*/ 99 w 162"/>
                <a:gd name="T19" fmla="*/ 51 h 190"/>
                <a:gd name="T20" fmla="*/ 92 w 162"/>
                <a:gd name="T21" fmla="*/ 47 h 190"/>
                <a:gd name="T22" fmla="*/ 86 w 162"/>
                <a:gd name="T23" fmla="*/ 44 h 190"/>
                <a:gd name="T24" fmla="*/ 81 w 162"/>
                <a:gd name="T25" fmla="*/ 43 h 190"/>
                <a:gd name="T26" fmla="*/ 76 w 162"/>
                <a:gd name="T27" fmla="*/ 41 h 190"/>
                <a:gd name="T28" fmla="*/ 67 w 162"/>
                <a:gd name="T29" fmla="*/ 36 h 190"/>
                <a:gd name="T30" fmla="*/ 60 w 162"/>
                <a:gd name="T31" fmla="*/ 31 h 190"/>
                <a:gd name="T32" fmla="*/ 57 w 162"/>
                <a:gd name="T33" fmla="*/ 30 h 190"/>
                <a:gd name="T34" fmla="*/ 56 w 162"/>
                <a:gd name="T35" fmla="*/ 17 h 190"/>
                <a:gd name="T36" fmla="*/ 54 w 162"/>
                <a:gd name="T37" fmla="*/ 12 h 190"/>
                <a:gd name="T38" fmla="*/ 54 w 162"/>
                <a:gd name="T39" fmla="*/ 3 h 190"/>
                <a:gd name="T40" fmla="*/ 45 w 162"/>
                <a:gd name="T41" fmla="*/ 3 h 190"/>
                <a:gd name="T42" fmla="*/ 32 w 162"/>
                <a:gd name="T43" fmla="*/ 8 h 190"/>
                <a:gd name="T44" fmla="*/ 27 w 162"/>
                <a:gd name="T45" fmla="*/ 11 h 190"/>
                <a:gd name="T46" fmla="*/ 22 w 162"/>
                <a:gd name="T47" fmla="*/ 14 h 190"/>
                <a:gd name="T48" fmla="*/ 18 w 162"/>
                <a:gd name="T49" fmla="*/ 17 h 190"/>
                <a:gd name="T50" fmla="*/ 11 w 162"/>
                <a:gd name="T51" fmla="*/ 20 h 190"/>
                <a:gd name="T52" fmla="*/ 5 w 162"/>
                <a:gd name="T53" fmla="*/ 17 h 190"/>
                <a:gd name="T54" fmla="*/ 13 w 162"/>
                <a:gd name="T55" fmla="*/ 39 h 190"/>
                <a:gd name="T56" fmla="*/ 11 w 162"/>
                <a:gd name="T57" fmla="*/ 47 h 190"/>
                <a:gd name="T58" fmla="*/ 11 w 162"/>
                <a:gd name="T59" fmla="*/ 58 h 190"/>
                <a:gd name="T60" fmla="*/ 13 w 162"/>
                <a:gd name="T61" fmla="*/ 66 h 190"/>
                <a:gd name="T62" fmla="*/ 10 w 162"/>
                <a:gd name="T63" fmla="*/ 76 h 190"/>
                <a:gd name="T64" fmla="*/ 11 w 162"/>
                <a:gd name="T65" fmla="*/ 82 h 190"/>
                <a:gd name="T66" fmla="*/ 16 w 162"/>
                <a:gd name="T67" fmla="*/ 90 h 190"/>
                <a:gd name="T68" fmla="*/ 19 w 162"/>
                <a:gd name="T69" fmla="*/ 93 h 190"/>
                <a:gd name="T70" fmla="*/ 16 w 162"/>
                <a:gd name="T71" fmla="*/ 97 h 190"/>
                <a:gd name="T72" fmla="*/ 16 w 162"/>
                <a:gd name="T73" fmla="*/ 100 h 190"/>
                <a:gd name="T74" fmla="*/ 8 w 162"/>
                <a:gd name="T75" fmla="*/ 109 h 190"/>
                <a:gd name="T76" fmla="*/ 13 w 162"/>
                <a:gd name="T77" fmla="*/ 117 h 190"/>
                <a:gd name="T78" fmla="*/ 19 w 162"/>
                <a:gd name="T79" fmla="*/ 168 h 190"/>
                <a:gd name="T80" fmla="*/ 41 w 162"/>
                <a:gd name="T81" fmla="*/ 189 h 190"/>
                <a:gd name="T82" fmla="*/ 51 w 162"/>
                <a:gd name="T83" fmla="*/ 184 h 190"/>
                <a:gd name="T84" fmla="*/ 59 w 162"/>
                <a:gd name="T85" fmla="*/ 178 h 190"/>
                <a:gd name="T86" fmla="*/ 64 w 162"/>
                <a:gd name="T87" fmla="*/ 178 h 190"/>
                <a:gd name="T88" fmla="*/ 76 w 162"/>
                <a:gd name="T89" fmla="*/ 178 h 190"/>
                <a:gd name="T90" fmla="*/ 84 w 162"/>
                <a:gd name="T91" fmla="*/ 189 h 190"/>
                <a:gd name="T92" fmla="*/ 89 w 162"/>
                <a:gd name="T93" fmla="*/ 178 h 190"/>
                <a:gd name="T94" fmla="*/ 102 w 162"/>
                <a:gd name="T95" fmla="*/ 178 h 190"/>
                <a:gd name="T96" fmla="*/ 108 w 162"/>
                <a:gd name="T97" fmla="*/ 166 h 190"/>
                <a:gd name="T98" fmla="*/ 108 w 162"/>
                <a:gd name="T99" fmla="*/ 152 h 190"/>
                <a:gd name="T100" fmla="*/ 114 w 162"/>
                <a:gd name="T101" fmla="*/ 143 h 190"/>
                <a:gd name="T102" fmla="*/ 140 w 162"/>
                <a:gd name="T103" fmla="*/ 138 h 190"/>
                <a:gd name="T104" fmla="*/ 156 w 162"/>
                <a:gd name="T105" fmla="*/ 143 h 190"/>
                <a:gd name="T106" fmla="*/ 157 w 162"/>
                <a:gd name="T107" fmla="*/ 149 h 190"/>
                <a:gd name="T108" fmla="*/ 160 w 162"/>
                <a:gd name="T109" fmla="*/ 146 h 190"/>
                <a:gd name="T110" fmla="*/ 160 w 162"/>
                <a:gd name="T111" fmla="*/ 138 h 190"/>
                <a:gd name="T112" fmla="*/ 160 w 162"/>
                <a:gd name="T113" fmla="*/ 13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190">
                  <a:moveTo>
                    <a:pt x="162" y="122"/>
                  </a:moveTo>
                  <a:lnTo>
                    <a:pt x="162" y="122"/>
                  </a:lnTo>
                  <a:lnTo>
                    <a:pt x="160" y="117"/>
                  </a:lnTo>
                  <a:lnTo>
                    <a:pt x="160" y="117"/>
                  </a:lnTo>
                  <a:lnTo>
                    <a:pt x="159" y="114"/>
                  </a:lnTo>
                  <a:lnTo>
                    <a:pt x="159" y="114"/>
                  </a:lnTo>
                  <a:lnTo>
                    <a:pt x="159" y="111"/>
                  </a:lnTo>
                  <a:lnTo>
                    <a:pt x="159" y="111"/>
                  </a:lnTo>
                  <a:lnTo>
                    <a:pt x="157" y="111"/>
                  </a:lnTo>
                  <a:lnTo>
                    <a:pt x="157" y="111"/>
                  </a:lnTo>
                  <a:lnTo>
                    <a:pt x="156" y="111"/>
                  </a:lnTo>
                  <a:lnTo>
                    <a:pt x="156" y="111"/>
                  </a:lnTo>
                  <a:lnTo>
                    <a:pt x="153" y="111"/>
                  </a:lnTo>
                  <a:lnTo>
                    <a:pt x="153" y="111"/>
                  </a:lnTo>
                  <a:lnTo>
                    <a:pt x="149" y="108"/>
                  </a:lnTo>
                  <a:lnTo>
                    <a:pt x="149" y="108"/>
                  </a:lnTo>
                  <a:lnTo>
                    <a:pt x="148" y="101"/>
                  </a:lnTo>
                  <a:lnTo>
                    <a:pt x="148" y="101"/>
                  </a:lnTo>
                  <a:lnTo>
                    <a:pt x="149" y="97"/>
                  </a:lnTo>
                  <a:lnTo>
                    <a:pt x="149" y="97"/>
                  </a:lnTo>
                  <a:lnTo>
                    <a:pt x="143" y="97"/>
                  </a:lnTo>
                  <a:lnTo>
                    <a:pt x="143" y="97"/>
                  </a:lnTo>
                  <a:lnTo>
                    <a:pt x="137" y="97"/>
                  </a:lnTo>
                  <a:lnTo>
                    <a:pt x="137" y="97"/>
                  </a:lnTo>
                  <a:lnTo>
                    <a:pt x="132" y="97"/>
                  </a:lnTo>
                  <a:lnTo>
                    <a:pt x="132" y="97"/>
                  </a:lnTo>
                  <a:lnTo>
                    <a:pt x="130" y="97"/>
                  </a:lnTo>
                  <a:lnTo>
                    <a:pt x="130" y="97"/>
                  </a:lnTo>
                  <a:lnTo>
                    <a:pt x="127" y="93"/>
                  </a:lnTo>
                  <a:lnTo>
                    <a:pt x="127" y="93"/>
                  </a:lnTo>
                  <a:lnTo>
                    <a:pt x="126" y="90"/>
                  </a:lnTo>
                  <a:lnTo>
                    <a:pt x="126" y="90"/>
                  </a:lnTo>
                  <a:lnTo>
                    <a:pt x="126" y="87"/>
                  </a:lnTo>
                  <a:lnTo>
                    <a:pt x="126" y="87"/>
                  </a:lnTo>
                  <a:lnTo>
                    <a:pt x="122" y="82"/>
                  </a:lnTo>
                  <a:lnTo>
                    <a:pt x="122" y="82"/>
                  </a:lnTo>
                  <a:lnTo>
                    <a:pt x="122" y="81"/>
                  </a:lnTo>
                  <a:lnTo>
                    <a:pt x="122" y="81"/>
                  </a:lnTo>
                  <a:lnTo>
                    <a:pt x="121" y="78"/>
                  </a:lnTo>
                  <a:lnTo>
                    <a:pt x="121" y="78"/>
                  </a:lnTo>
                  <a:lnTo>
                    <a:pt x="124" y="78"/>
                  </a:lnTo>
                  <a:lnTo>
                    <a:pt x="124" y="78"/>
                  </a:lnTo>
                  <a:lnTo>
                    <a:pt x="121" y="66"/>
                  </a:lnTo>
                  <a:lnTo>
                    <a:pt x="121" y="66"/>
                  </a:lnTo>
                  <a:lnTo>
                    <a:pt x="121" y="63"/>
                  </a:lnTo>
                  <a:lnTo>
                    <a:pt x="121" y="63"/>
                  </a:lnTo>
                  <a:lnTo>
                    <a:pt x="121" y="62"/>
                  </a:lnTo>
                  <a:lnTo>
                    <a:pt x="121" y="62"/>
                  </a:lnTo>
                  <a:lnTo>
                    <a:pt x="119" y="58"/>
                  </a:lnTo>
                  <a:lnTo>
                    <a:pt x="119" y="58"/>
                  </a:lnTo>
                  <a:lnTo>
                    <a:pt x="113" y="55"/>
                  </a:lnTo>
                  <a:lnTo>
                    <a:pt x="113" y="55"/>
                  </a:lnTo>
                  <a:lnTo>
                    <a:pt x="110" y="55"/>
                  </a:lnTo>
                  <a:lnTo>
                    <a:pt x="110" y="55"/>
                  </a:lnTo>
                  <a:lnTo>
                    <a:pt x="102" y="55"/>
                  </a:lnTo>
                  <a:lnTo>
                    <a:pt x="102" y="55"/>
                  </a:lnTo>
                  <a:lnTo>
                    <a:pt x="99" y="52"/>
                  </a:lnTo>
                  <a:lnTo>
                    <a:pt x="99" y="52"/>
                  </a:lnTo>
                  <a:lnTo>
                    <a:pt x="99" y="51"/>
                  </a:lnTo>
                  <a:lnTo>
                    <a:pt x="99" y="51"/>
                  </a:lnTo>
                  <a:lnTo>
                    <a:pt x="97" y="51"/>
                  </a:lnTo>
                  <a:lnTo>
                    <a:pt x="97" y="51"/>
                  </a:lnTo>
                  <a:lnTo>
                    <a:pt x="95" y="51"/>
                  </a:lnTo>
                  <a:lnTo>
                    <a:pt x="95" y="51"/>
                  </a:lnTo>
                  <a:lnTo>
                    <a:pt x="92" y="47"/>
                  </a:lnTo>
                  <a:lnTo>
                    <a:pt x="92" y="47"/>
                  </a:lnTo>
                  <a:lnTo>
                    <a:pt x="89" y="47"/>
                  </a:lnTo>
                  <a:lnTo>
                    <a:pt x="89" y="47"/>
                  </a:lnTo>
                  <a:lnTo>
                    <a:pt x="87" y="46"/>
                  </a:lnTo>
                  <a:lnTo>
                    <a:pt x="87" y="46"/>
                  </a:lnTo>
                  <a:lnTo>
                    <a:pt x="86" y="44"/>
                  </a:lnTo>
                  <a:lnTo>
                    <a:pt x="86" y="44"/>
                  </a:lnTo>
                  <a:lnTo>
                    <a:pt x="84" y="43"/>
                  </a:lnTo>
                  <a:lnTo>
                    <a:pt x="84" y="43"/>
                  </a:lnTo>
                  <a:lnTo>
                    <a:pt x="83" y="43"/>
                  </a:lnTo>
                  <a:lnTo>
                    <a:pt x="83" y="43"/>
                  </a:lnTo>
                  <a:lnTo>
                    <a:pt x="81" y="43"/>
                  </a:lnTo>
                  <a:lnTo>
                    <a:pt x="81" y="43"/>
                  </a:lnTo>
                  <a:lnTo>
                    <a:pt x="80" y="41"/>
                  </a:lnTo>
                  <a:lnTo>
                    <a:pt x="80" y="41"/>
                  </a:lnTo>
                  <a:lnTo>
                    <a:pt x="78" y="39"/>
                  </a:lnTo>
                  <a:lnTo>
                    <a:pt x="78" y="39"/>
                  </a:lnTo>
                  <a:lnTo>
                    <a:pt x="76" y="41"/>
                  </a:lnTo>
                  <a:lnTo>
                    <a:pt x="76" y="41"/>
                  </a:lnTo>
                  <a:lnTo>
                    <a:pt x="73" y="41"/>
                  </a:lnTo>
                  <a:lnTo>
                    <a:pt x="73" y="41"/>
                  </a:lnTo>
                  <a:lnTo>
                    <a:pt x="70" y="39"/>
                  </a:lnTo>
                  <a:lnTo>
                    <a:pt x="70" y="39"/>
                  </a:lnTo>
                  <a:lnTo>
                    <a:pt x="67" y="36"/>
                  </a:lnTo>
                  <a:lnTo>
                    <a:pt x="67" y="36"/>
                  </a:lnTo>
                  <a:lnTo>
                    <a:pt x="64" y="35"/>
                  </a:lnTo>
                  <a:lnTo>
                    <a:pt x="64" y="35"/>
                  </a:lnTo>
                  <a:lnTo>
                    <a:pt x="62" y="33"/>
                  </a:lnTo>
                  <a:lnTo>
                    <a:pt x="62" y="33"/>
                  </a:lnTo>
                  <a:lnTo>
                    <a:pt x="60" y="31"/>
                  </a:lnTo>
                  <a:lnTo>
                    <a:pt x="60" y="31"/>
                  </a:lnTo>
                  <a:lnTo>
                    <a:pt x="60" y="30"/>
                  </a:lnTo>
                  <a:lnTo>
                    <a:pt x="60" y="30"/>
                  </a:lnTo>
                  <a:lnTo>
                    <a:pt x="59" y="30"/>
                  </a:lnTo>
                  <a:lnTo>
                    <a:pt x="59" y="30"/>
                  </a:lnTo>
                  <a:lnTo>
                    <a:pt x="57" y="30"/>
                  </a:lnTo>
                  <a:lnTo>
                    <a:pt x="57" y="30"/>
                  </a:lnTo>
                  <a:lnTo>
                    <a:pt x="56" y="27"/>
                  </a:lnTo>
                  <a:lnTo>
                    <a:pt x="56" y="27"/>
                  </a:lnTo>
                  <a:lnTo>
                    <a:pt x="54" y="20"/>
                  </a:lnTo>
                  <a:lnTo>
                    <a:pt x="54" y="20"/>
                  </a:lnTo>
                  <a:lnTo>
                    <a:pt x="56" y="17"/>
                  </a:lnTo>
                  <a:lnTo>
                    <a:pt x="56" y="17"/>
                  </a:lnTo>
                  <a:lnTo>
                    <a:pt x="56" y="17"/>
                  </a:lnTo>
                  <a:lnTo>
                    <a:pt x="56" y="17"/>
                  </a:lnTo>
                  <a:lnTo>
                    <a:pt x="54" y="16"/>
                  </a:lnTo>
                  <a:lnTo>
                    <a:pt x="54" y="16"/>
                  </a:lnTo>
                  <a:lnTo>
                    <a:pt x="54" y="12"/>
                  </a:lnTo>
                  <a:lnTo>
                    <a:pt x="54" y="12"/>
                  </a:lnTo>
                  <a:lnTo>
                    <a:pt x="54" y="8"/>
                  </a:lnTo>
                  <a:lnTo>
                    <a:pt x="54" y="8"/>
                  </a:lnTo>
                  <a:lnTo>
                    <a:pt x="56" y="3"/>
                  </a:lnTo>
                  <a:lnTo>
                    <a:pt x="56" y="3"/>
                  </a:lnTo>
                  <a:lnTo>
                    <a:pt x="54" y="3"/>
                  </a:lnTo>
                  <a:lnTo>
                    <a:pt x="54" y="3"/>
                  </a:lnTo>
                  <a:lnTo>
                    <a:pt x="53" y="0"/>
                  </a:lnTo>
                  <a:lnTo>
                    <a:pt x="53" y="0"/>
                  </a:lnTo>
                  <a:lnTo>
                    <a:pt x="51" y="3"/>
                  </a:lnTo>
                  <a:lnTo>
                    <a:pt x="51" y="3"/>
                  </a:lnTo>
                  <a:lnTo>
                    <a:pt x="45" y="3"/>
                  </a:lnTo>
                  <a:lnTo>
                    <a:pt x="45" y="3"/>
                  </a:lnTo>
                  <a:lnTo>
                    <a:pt x="41" y="3"/>
                  </a:lnTo>
                  <a:lnTo>
                    <a:pt x="41" y="3"/>
                  </a:lnTo>
                  <a:lnTo>
                    <a:pt x="35" y="6"/>
                  </a:lnTo>
                  <a:lnTo>
                    <a:pt x="35" y="6"/>
                  </a:lnTo>
                  <a:lnTo>
                    <a:pt x="32" y="8"/>
                  </a:lnTo>
                  <a:lnTo>
                    <a:pt x="32" y="8"/>
                  </a:lnTo>
                  <a:lnTo>
                    <a:pt x="32" y="9"/>
                  </a:lnTo>
                  <a:lnTo>
                    <a:pt x="32" y="9"/>
                  </a:lnTo>
                  <a:lnTo>
                    <a:pt x="29" y="9"/>
                  </a:lnTo>
                  <a:lnTo>
                    <a:pt x="29" y="9"/>
                  </a:lnTo>
                  <a:lnTo>
                    <a:pt x="27" y="11"/>
                  </a:lnTo>
                  <a:lnTo>
                    <a:pt x="27" y="11"/>
                  </a:lnTo>
                  <a:lnTo>
                    <a:pt x="26" y="12"/>
                  </a:lnTo>
                  <a:lnTo>
                    <a:pt x="26" y="12"/>
                  </a:lnTo>
                  <a:lnTo>
                    <a:pt x="24" y="14"/>
                  </a:lnTo>
                  <a:lnTo>
                    <a:pt x="24" y="14"/>
                  </a:lnTo>
                  <a:lnTo>
                    <a:pt x="24" y="14"/>
                  </a:lnTo>
                  <a:lnTo>
                    <a:pt x="22" y="14"/>
                  </a:lnTo>
                  <a:lnTo>
                    <a:pt x="22" y="14"/>
                  </a:lnTo>
                  <a:lnTo>
                    <a:pt x="21" y="16"/>
                  </a:lnTo>
                  <a:lnTo>
                    <a:pt x="21" y="16"/>
                  </a:lnTo>
                  <a:lnTo>
                    <a:pt x="19" y="17"/>
                  </a:lnTo>
                  <a:lnTo>
                    <a:pt x="19" y="17"/>
                  </a:lnTo>
                  <a:lnTo>
                    <a:pt x="18" y="17"/>
                  </a:lnTo>
                  <a:lnTo>
                    <a:pt x="18" y="17"/>
                  </a:lnTo>
                  <a:lnTo>
                    <a:pt x="14" y="20"/>
                  </a:lnTo>
                  <a:lnTo>
                    <a:pt x="14" y="20"/>
                  </a:lnTo>
                  <a:lnTo>
                    <a:pt x="13" y="20"/>
                  </a:lnTo>
                  <a:lnTo>
                    <a:pt x="13" y="20"/>
                  </a:lnTo>
                  <a:lnTo>
                    <a:pt x="11" y="20"/>
                  </a:lnTo>
                  <a:lnTo>
                    <a:pt x="11" y="20"/>
                  </a:lnTo>
                  <a:lnTo>
                    <a:pt x="11" y="17"/>
                  </a:lnTo>
                  <a:lnTo>
                    <a:pt x="11" y="17"/>
                  </a:lnTo>
                  <a:lnTo>
                    <a:pt x="8" y="17"/>
                  </a:lnTo>
                  <a:lnTo>
                    <a:pt x="8" y="17"/>
                  </a:lnTo>
                  <a:lnTo>
                    <a:pt x="5" y="17"/>
                  </a:lnTo>
                  <a:lnTo>
                    <a:pt x="5" y="17"/>
                  </a:lnTo>
                  <a:lnTo>
                    <a:pt x="3" y="17"/>
                  </a:lnTo>
                  <a:lnTo>
                    <a:pt x="3" y="17"/>
                  </a:lnTo>
                  <a:lnTo>
                    <a:pt x="0" y="17"/>
                  </a:lnTo>
                  <a:lnTo>
                    <a:pt x="0" y="17"/>
                  </a:lnTo>
                  <a:lnTo>
                    <a:pt x="13" y="39"/>
                  </a:lnTo>
                  <a:lnTo>
                    <a:pt x="13" y="39"/>
                  </a:lnTo>
                  <a:lnTo>
                    <a:pt x="14" y="43"/>
                  </a:lnTo>
                  <a:lnTo>
                    <a:pt x="14" y="43"/>
                  </a:lnTo>
                  <a:lnTo>
                    <a:pt x="11" y="44"/>
                  </a:lnTo>
                  <a:lnTo>
                    <a:pt x="11" y="44"/>
                  </a:lnTo>
                  <a:lnTo>
                    <a:pt x="11" y="47"/>
                  </a:lnTo>
                  <a:lnTo>
                    <a:pt x="11" y="47"/>
                  </a:lnTo>
                  <a:lnTo>
                    <a:pt x="11" y="49"/>
                  </a:lnTo>
                  <a:lnTo>
                    <a:pt x="11" y="49"/>
                  </a:lnTo>
                  <a:lnTo>
                    <a:pt x="11" y="52"/>
                  </a:lnTo>
                  <a:lnTo>
                    <a:pt x="11" y="52"/>
                  </a:lnTo>
                  <a:lnTo>
                    <a:pt x="11" y="58"/>
                  </a:lnTo>
                  <a:lnTo>
                    <a:pt x="11" y="58"/>
                  </a:lnTo>
                  <a:lnTo>
                    <a:pt x="13" y="62"/>
                  </a:lnTo>
                  <a:lnTo>
                    <a:pt x="13" y="62"/>
                  </a:lnTo>
                  <a:lnTo>
                    <a:pt x="13" y="63"/>
                  </a:lnTo>
                  <a:lnTo>
                    <a:pt x="13" y="63"/>
                  </a:lnTo>
                  <a:lnTo>
                    <a:pt x="13" y="66"/>
                  </a:lnTo>
                  <a:lnTo>
                    <a:pt x="13" y="66"/>
                  </a:lnTo>
                  <a:lnTo>
                    <a:pt x="10" y="73"/>
                  </a:lnTo>
                  <a:lnTo>
                    <a:pt x="10" y="73"/>
                  </a:lnTo>
                  <a:lnTo>
                    <a:pt x="8" y="74"/>
                  </a:lnTo>
                  <a:lnTo>
                    <a:pt x="8" y="74"/>
                  </a:lnTo>
                  <a:lnTo>
                    <a:pt x="10" y="76"/>
                  </a:lnTo>
                  <a:lnTo>
                    <a:pt x="10" y="76"/>
                  </a:lnTo>
                  <a:lnTo>
                    <a:pt x="11" y="79"/>
                  </a:lnTo>
                  <a:lnTo>
                    <a:pt x="11" y="79"/>
                  </a:lnTo>
                  <a:lnTo>
                    <a:pt x="11" y="81"/>
                  </a:lnTo>
                  <a:lnTo>
                    <a:pt x="11" y="81"/>
                  </a:lnTo>
                  <a:lnTo>
                    <a:pt x="11" y="82"/>
                  </a:lnTo>
                  <a:lnTo>
                    <a:pt x="11" y="82"/>
                  </a:lnTo>
                  <a:lnTo>
                    <a:pt x="10" y="85"/>
                  </a:lnTo>
                  <a:lnTo>
                    <a:pt x="10" y="85"/>
                  </a:lnTo>
                  <a:lnTo>
                    <a:pt x="14" y="87"/>
                  </a:lnTo>
                  <a:lnTo>
                    <a:pt x="14" y="87"/>
                  </a:lnTo>
                  <a:lnTo>
                    <a:pt x="16" y="90"/>
                  </a:lnTo>
                  <a:lnTo>
                    <a:pt x="16" y="90"/>
                  </a:lnTo>
                  <a:lnTo>
                    <a:pt x="16" y="93"/>
                  </a:lnTo>
                  <a:lnTo>
                    <a:pt x="16" y="93"/>
                  </a:lnTo>
                  <a:lnTo>
                    <a:pt x="18" y="93"/>
                  </a:lnTo>
                  <a:lnTo>
                    <a:pt x="18" y="93"/>
                  </a:lnTo>
                  <a:lnTo>
                    <a:pt x="19" y="93"/>
                  </a:lnTo>
                  <a:lnTo>
                    <a:pt x="19" y="93"/>
                  </a:lnTo>
                  <a:lnTo>
                    <a:pt x="21" y="97"/>
                  </a:lnTo>
                  <a:lnTo>
                    <a:pt x="21" y="97"/>
                  </a:lnTo>
                  <a:lnTo>
                    <a:pt x="19" y="97"/>
                  </a:lnTo>
                  <a:lnTo>
                    <a:pt x="19" y="97"/>
                  </a:lnTo>
                  <a:lnTo>
                    <a:pt x="16" y="97"/>
                  </a:lnTo>
                  <a:lnTo>
                    <a:pt x="16" y="97"/>
                  </a:lnTo>
                  <a:lnTo>
                    <a:pt x="18" y="98"/>
                  </a:lnTo>
                  <a:lnTo>
                    <a:pt x="18" y="98"/>
                  </a:lnTo>
                  <a:lnTo>
                    <a:pt x="16" y="98"/>
                  </a:lnTo>
                  <a:lnTo>
                    <a:pt x="16" y="98"/>
                  </a:lnTo>
                  <a:lnTo>
                    <a:pt x="16" y="100"/>
                  </a:lnTo>
                  <a:lnTo>
                    <a:pt x="16" y="100"/>
                  </a:lnTo>
                  <a:lnTo>
                    <a:pt x="13" y="103"/>
                  </a:lnTo>
                  <a:lnTo>
                    <a:pt x="13" y="103"/>
                  </a:lnTo>
                  <a:lnTo>
                    <a:pt x="10" y="108"/>
                  </a:lnTo>
                  <a:lnTo>
                    <a:pt x="10" y="108"/>
                  </a:lnTo>
                  <a:lnTo>
                    <a:pt x="8" y="109"/>
                  </a:lnTo>
                  <a:lnTo>
                    <a:pt x="8" y="109"/>
                  </a:lnTo>
                  <a:lnTo>
                    <a:pt x="10" y="111"/>
                  </a:lnTo>
                  <a:lnTo>
                    <a:pt x="10" y="111"/>
                  </a:lnTo>
                  <a:lnTo>
                    <a:pt x="11" y="114"/>
                  </a:lnTo>
                  <a:lnTo>
                    <a:pt x="11" y="114"/>
                  </a:lnTo>
                  <a:lnTo>
                    <a:pt x="13" y="117"/>
                  </a:lnTo>
                  <a:lnTo>
                    <a:pt x="13" y="117"/>
                  </a:lnTo>
                  <a:lnTo>
                    <a:pt x="10" y="119"/>
                  </a:lnTo>
                  <a:lnTo>
                    <a:pt x="10" y="119"/>
                  </a:lnTo>
                  <a:lnTo>
                    <a:pt x="14" y="143"/>
                  </a:lnTo>
                  <a:lnTo>
                    <a:pt x="19" y="168"/>
                  </a:lnTo>
                  <a:lnTo>
                    <a:pt x="19" y="168"/>
                  </a:lnTo>
                  <a:lnTo>
                    <a:pt x="24" y="171"/>
                  </a:lnTo>
                  <a:lnTo>
                    <a:pt x="38" y="178"/>
                  </a:lnTo>
                  <a:lnTo>
                    <a:pt x="38" y="178"/>
                  </a:lnTo>
                  <a:lnTo>
                    <a:pt x="38" y="181"/>
                  </a:lnTo>
                  <a:lnTo>
                    <a:pt x="38" y="181"/>
                  </a:lnTo>
                  <a:lnTo>
                    <a:pt x="41" y="189"/>
                  </a:lnTo>
                  <a:lnTo>
                    <a:pt x="41" y="189"/>
                  </a:lnTo>
                  <a:lnTo>
                    <a:pt x="45" y="190"/>
                  </a:lnTo>
                  <a:lnTo>
                    <a:pt x="45" y="190"/>
                  </a:lnTo>
                  <a:lnTo>
                    <a:pt x="48" y="189"/>
                  </a:lnTo>
                  <a:lnTo>
                    <a:pt x="48" y="189"/>
                  </a:lnTo>
                  <a:lnTo>
                    <a:pt x="51" y="184"/>
                  </a:lnTo>
                  <a:lnTo>
                    <a:pt x="51" y="184"/>
                  </a:lnTo>
                  <a:lnTo>
                    <a:pt x="53" y="181"/>
                  </a:lnTo>
                  <a:lnTo>
                    <a:pt x="53" y="181"/>
                  </a:lnTo>
                  <a:lnTo>
                    <a:pt x="56" y="181"/>
                  </a:lnTo>
                  <a:lnTo>
                    <a:pt x="56" y="181"/>
                  </a:lnTo>
                  <a:lnTo>
                    <a:pt x="59" y="178"/>
                  </a:lnTo>
                  <a:lnTo>
                    <a:pt x="59" y="178"/>
                  </a:lnTo>
                  <a:lnTo>
                    <a:pt x="59" y="174"/>
                  </a:lnTo>
                  <a:lnTo>
                    <a:pt x="59" y="174"/>
                  </a:lnTo>
                  <a:lnTo>
                    <a:pt x="64" y="176"/>
                  </a:lnTo>
                  <a:lnTo>
                    <a:pt x="64" y="176"/>
                  </a:lnTo>
                  <a:lnTo>
                    <a:pt x="64" y="178"/>
                  </a:lnTo>
                  <a:lnTo>
                    <a:pt x="64" y="178"/>
                  </a:lnTo>
                  <a:lnTo>
                    <a:pt x="67" y="178"/>
                  </a:lnTo>
                  <a:lnTo>
                    <a:pt x="67" y="178"/>
                  </a:lnTo>
                  <a:lnTo>
                    <a:pt x="70" y="178"/>
                  </a:lnTo>
                  <a:lnTo>
                    <a:pt x="70" y="178"/>
                  </a:lnTo>
                  <a:lnTo>
                    <a:pt x="76" y="178"/>
                  </a:lnTo>
                  <a:lnTo>
                    <a:pt x="76" y="178"/>
                  </a:lnTo>
                  <a:lnTo>
                    <a:pt x="78" y="181"/>
                  </a:lnTo>
                  <a:lnTo>
                    <a:pt x="78" y="181"/>
                  </a:lnTo>
                  <a:lnTo>
                    <a:pt x="81" y="184"/>
                  </a:lnTo>
                  <a:lnTo>
                    <a:pt x="81" y="184"/>
                  </a:lnTo>
                  <a:lnTo>
                    <a:pt x="84" y="189"/>
                  </a:lnTo>
                  <a:lnTo>
                    <a:pt x="84" y="189"/>
                  </a:lnTo>
                  <a:lnTo>
                    <a:pt x="86" y="184"/>
                  </a:lnTo>
                  <a:lnTo>
                    <a:pt x="86" y="184"/>
                  </a:lnTo>
                  <a:lnTo>
                    <a:pt x="87" y="181"/>
                  </a:lnTo>
                  <a:lnTo>
                    <a:pt x="87" y="181"/>
                  </a:lnTo>
                  <a:lnTo>
                    <a:pt x="89" y="178"/>
                  </a:lnTo>
                  <a:lnTo>
                    <a:pt x="89" y="178"/>
                  </a:lnTo>
                  <a:lnTo>
                    <a:pt x="92" y="178"/>
                  </a:lnTo>
                  <a:lnTo>
                    <a:pt x="92" y="178"/>
                  </a:lnTo>
                  <a:lnTo>
                    <a:pt x="99" y="178"/>
                  </a:lnTo>
                  <a:lnTo>
                    <a:pt x="99" y="178"/>
                  </a:lnTo>
                  <a:lnTo>
                    <a:pt x="102" y="178"/>
                  </a:lnTo>
                  <a:lnTo>
                    <a:pt x="102" y="178"/>
                  </a:lnTo>
                  <a:lnTo>
                    <a:pt x="102" y="178"/>
                  </a:lnTo>
                  <a:lnTo>
                    <a:pt x="102" y="178"/>
                  </a:lnTo>
                  <a:lnTo>
                    <a:pt x="105" y="181"/>
                  </a:lnTo>
                  <a:lnTo>
                    <a:pt x="105" y="181"/>
                  </a:lnTo>
                  <a:lnTo>
                    <a:pt x="108" y="166"/>
                  </a:lnTo>
                  <a:lnTo>
                    <a:pt x="108" y="166"/>
                  </a:lnTo>
                  <a:lnTo>
                    <a:pt x="108" y="158"/>
                  </a:lnTo>
                  <a:lnTo>
                    <a:pt x="108" y="158"/>
                  </a:lnTo>
                  <a:lnTo>
                    <a:pt x="108" y="154"/>
                  </a:lnTo>
                  <a:lnTo>
                    <a:pt x="108" y="154"/>
                  </a:lnTo>
                  <a:lnTo>
                    <a:pt x="108" y="152"/>
                  </a:lnTo>
                  <a:lnTo>
                    <a:pt x="108" y="152"/>
                  </a:lnTo>
                  <a:lnTo>
                    <a:pt x="110" y="146"/>
                  </a:lnTo>
                  <a:lnTo>
                    <a:pt x="110" y="146"/>
                  </a:lnTo>
                  <a:lnTo>
                    <a:pt x="111" y="143"/>
                  </a:lnTo>
                  <a:lnTo>
                    <a:pt x="111" y="143"/>
                  </a:lnTo>
                  <a:lnTo>
                    <a:pt x="114" y="143"/>
                  </a:lnTo>
                  <a:lnTo>
                    <a:pt x="114" y="143"/>
                  </a:lnTo>
                  <a:lnTo>
                    <a:pt x="130" y="139"/>
                  </a:lnTo>
                  <a:lnTo>
                    <a:pt x="130" y="139"/>
                  </a:lnTo>
                  <a:lnTo>
                    <a:pt x="137" y="138"/>
                  </a:lnTo>
                  <a:lnTo>
                    <a:pt x="137" y="138"/>
                  </a:lnTo>
                  <a:lnTo>
                    <a:pt x="140" y="138"/>
                  </a:lnTo>
                  <a:lnTo>
                    <a:pt x="140" y="138"/>
                  </a:lnTo>
                  <a:lnTo>
                    <a:pt x="145" y="139"/>
                  </a:lnTo>
                  <a:lnTo>
                    <a:pt x="145" y="139"/>
                  </a:lnTo>
                  <a:lnTo>
                    <a:pt x="151" y="141"/>
                  </a:lnTo>
                  <a:lnTo>
                    <a:pt x="151" y="141"/>
                  </a:lnTo>
                  <a:lnTo>
                    <a:pt x="156" y="143"/>
                  </a:lnTo>
                  <a:lnTo>
                    <a:pt x="156" y="143"/>
                  </a:lnTo>
                  <a:lnTo>
                    <a:pt x="157" y="146"/>
                  </a:lnTo>
                  <a:lnTo>
                    <a:pt x="157" y="146"/>
                  </a:lnTo>
                  <a:lnTo>
                    <a:pt x="157" y="149"/>
                  </a:lnTo>
                  <a:lnTo>
                    <a:pt x="157" y="149"/>
                  </a:lnTo>
                  <a:lnTo>
                    <a:pt x="157" y="149"/>
                  </a:lnTo>
                  <a:lnTo>
                    <a:pt x="157" y="149"/>
                  </a:lnTo>
                  <a:lnTo>
                    <a:pt x="159" y="149"/>
                  </a:lnTo>
                  <a:lnTo>
                    <a:pt x="159" y="149"/>
                  </a:lnTo>
                  <a:lnTo>
                    <a:pt x="160" y="149"/>
                  </a:lnTo>
                  <a:lnTo>
                    <a:pt x="160" y="149"/>
                  </a:lnTo>
                  <a:lnTo>
                    <a:pt x="160" y="146"/>
                  </a:lnTo>
                  <a:lnTo>
                    <a:pt x="160" y="146"/>
                  </a:lnTo>
                  <a:lnTo>
                    <a:pt x="159" y="146"/>
                  </a:lnTo>
                  <a:lnTo>
                    <a:pt x="159" y="146"/>
                  </a:lnTo>
                  <a:lnTo>
                    <a:pt x="157" y="143"/>
                  </a:lnTo>
                  <a:lnTo>
                    <a:pt x="157" y="143"/>
                  </a:lnTo>
                  <a:lnTo>
                    <a:pt x="160" y="138"/>
                  </a:lnTo>
                  <a:lnTo>
                    <a:pt x="160" y="138"/>
                  </a:lnTo>
                  <a:lnTo>
                    <a:pt x="160" y="135"/>
                  </a:lnTo>
                  <a:lnTo>
                    <a:pt x="160" y="135"/>
                  </a:lnTo>
                  <a:lnTo>
                    <a:pt x="162" y="133"/>
                  </a:lnTo>
                  <a:lnTo>
                    <a:pt x="162" y="133"/>
                  </a:lnTo>
                  <a:lnTo>
                    <a:pt x="160" y="130"/>
                  </a:lnTo>
                  <a:lnTo>
                    <a:pt x="160" y="130"/>
                  </a:lnTo>
                  <a:lnTo>
                    <a:pt x="162" y="128"/>
                  </a:lnTo>
                  <a:lnTo>
                    <a:pt x="162" y="122"/>
                  </a:lnTo>
                  <a:lnTo>
                    <a:pt x="162" y="122"/>
                  </a:lnTo>
                  <a:lnTo>
                    <a:pt x="162" y="12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5" name="Freeform 48">
              <a:extLst>
                <a:ext uri="{FF2B5EF4-FFF2-40B4-BE49-F238E27FC236}">
                  <a16:creationId xmlns:a16="http://schemas.microsoft.com/office/drawing/2014/main" id="{B32FC268-367A-E5D9-AE9B-BE1B8202EC2E}"/>
                </a:ext>
              </a:extLst>
            </p:cNvPr>
            <p:cNvSpPr>
              <a:spLocks/>
            </p:cNvSpPr>
            <p:nvPr/>
          </p:nvSpPr>
          <p:spPr bwMode="auto">
            <a:xfrm>
              <a:off x="3452080" y="4031838"/>
              <a:ext cx="376836" cy="589928"/>
            </a:xfrm>
            <a:custGeom>
              <a:avLst/>
              <a:gdLst>
                <a:gd name="T0" fmla="*/ 158 w 168"/>
                <a:gd name="T1" fmla="*/ 255 h 263"/>
                <a:gd name="T2" fmla="*/ 162 w 168"/>
                <a:gd name="T3" fmla="*/ 250 h 263"/>
                <a:gd name="T4" fmla="*/ 165 w 168"/>
                <a:gd name="T5" fmla="*/ 241 h 263"/>
                <a:gd name="T6" fmla="*/ 165 w 168"/>
                <a:gd name="T7" fmla="*/ 231 h 263"/>
                <a:gd name="T8" fmla="*/ 158 w 168"/>
                <a:gd name="T9" fmla="*/ 228 h 263"/>
                <a:gd name="T10" fmla="*/ 155 w 168"/>
                <a:gd name="T11" fmla="*/ 223 h 263"/>
                <a:gd name="T12" fmla="*/ 158 w 168"/>
                <a:gd name="T13" fmla="*/ 220 h 263"/>
                <a:gd name="T14" fmla="*/ 162 w 168"/>
                <a:gd name="T15" fmla="*/ 214 h 263"/>
                <a:gd name="T16" fmla="*/ 165 w 168"/>
                <a:gd name="T17" fmla="*/ 200 h 263"/>
                <a:gd name="T18" fmla="*/ 163 w 168"/>
                <a:gd name="T19" fmla="*/ 182 h 263"/>
                <a:gd name="T20" fmla="*/ 147 w 168"/>
                <a:gd name="T21" fmla="*/ 155 h 263"/>
                <a:gd name="T22" fmla="*/ 141 w 168"/>
                <a:gd name="T23" fmla="*/ 138 h 263"/>
                <a:gd name="T24" fmla="*/ 136 w 168"/>
                <a:gd name="T25" fmla="*/ 138 h 263"/>
                <a:gd name="T26" fmla="*/ 120 w 168"/>
                <a:gd name="T27" fmla="*/ 138 h 263"/>
                <a:gd name="T28" fmla="*/ 108 w 168"/>
                <a:gd name="T29" fmla="*/ 131 h 263"/>
                <a:gd name="T30" fmla="*/ 100 w 168"/>
                <a:gd name="T31" fmla="*/ 116 h 263"/>
                <a:gd name="T32" fmla="*/ 95 w 168"/>
                <a:gd name="T33" fmla="*/ 106 h 263"/>
                <a:gd name="T34" fmla="*/ 98 w 168"/>
                <a:gd name="T35" fmla="*/ 96 h 263"/>
                <a:gd name="T36" fmla="*/ 105 w 168"/>
                <a:gd name="T37" fmla="*/ 87 h 263"/>
                <a:gd name="T38" fmla="*/ 106 w 168"/>
                <a:gd name="T39" fmla="*/ 74 h 263"/>
                <a:gd name="T40" fmla="*/ 114 w 168"/>
                <a:gd name="T41" fmla="*/ 68 h 263"/>
                <a:gd name="T42" fmla="*/ 131 w 168"/>
                <a:gd name="T43" fmla="*/ 60 h 263"/>
                <a:gd name="T44" fmla="*/ 143 w 168"/>
                <a:gd name="T45" fmla="*/ 60 h 263"/>
                <a:gd name="T46" fmla="*/ 139 w 168"/>
                <a:gd name="T47" fmla="*/ 54 h 263"/>
                <a:gd name="T48" fmla="*/ 141 w 168"/>
                <a:gd name="T49" fmla="*/ 42 h 263"/>
                <a:gd name="T50" fmla="*/ 128 w 168"/>
                <a:gd name="T51" fmla="*/ 31 h 263"/>
                <a:gd name="T52" fmla="*/ 117 w 168"/>
                <a:gd name="T53" fmla="*/ 33 h 263"/>
                <a:gd name="T54" fmla="*/ 105 w 168"/>
                <a:gd name="T55" fmla="*/ 33 h 263"/>
                <a:gd name="T56" fmla="*/ 98 w 168"/>
                <a:gd name="T57" fmla="*/ 23 h 263"/>
                <a:gd name="T58" fmla="*/ 90 w 168"/>
                <a:gd name="T59" fmla="*/ 15 h 263"/>
                <a:gd name="T60" fmla="*/ 82 w 168"/>
                <a:gd name="T61" fmla="*/ 4 h 263"/>
                <a:gd name="T62" fmla="*/ 73 w 168"/>
                <a:gd name="T63" fmla="*/ 1 h 263"/>
                <a:gd name="T64" fmla="*/ 76 w 168"/>
                <a:gd name="T65" fmla="*/ 9 h 263"/>
                <a:gd name="T66" fmla="*/ 68 w 168"/>
                <a:gd name="T67" fmla="*/ 25 h 263"/>
                <a:gd name="T68" fmla="*/ 43 w 168"/>
                <a:gd name="T69" fmla="*/ 42 h 263"/>
                <a:gd name="T70" fmla="*/ 38 w 168"/>
                <a:gd name="T71" fmla="*/ 47 h 263"/>
                <a:gd name="T72" fmla="*/ 30 w 168"/>
                <a:gd name="T73" fmla="*/ 68 h 263"/>
                <a:gd name="T74" fmla="*/ 24 w 168"/>
                <a:gd name="T75" fmla="*/ 65 h 263"/>
                <a:gd name="T76" fmla="*/ 14 w 168"/>
                <a:gd name="T77" fmla="*/ 60 h 263"/>
                <a:gd name="T78" fmla="*/ 11 w 168"/>
                <a:gd name="T79" fmla="*/ 58 h 263"/>
                <a:gd name="T80" fmla="*/ 12 w 168"/>
                <a:gd name="T81" fmla="*/ 47 h 263"/>
                <a:gd name="T82" fmla="*/ 4 w 168"/>
                <a:gd name="T83" fmla="*/ 54 h 263"/>
                <a:gd name="T84" fmla="*/ 3 w 168"/>
                <a:gd name="T85" fmla="*/ 71 h 263"/>
                <a:gd name="T86" fmla="*/ 6 w 168"/>
                <a:gd name="T87" fmla="*/ 82 h 263"/>
                <a:gd name="T88" fmla="*/ 4 w 168"/>
                <a:gd name="T89" fmla="*/ 87 h 263"/>
                <a:gd name="T90" fmla="*/ 24 w 168"/>
                <a:gd name="T91" fmla="*/ 106 h 263"/>
                <a:gd name="T92" fmla="*/ 39 w 168"/>
                <a:gd name="T93" fmla="*/ 133 h 263"/>
                <a:gd name="T94" fmla="*/ 52 w 168"/>
                <a:gd name="T95" fmla="*/ 162 h 263"/>
                <a:gd name="T96" fmla="*/ 58 w 168"/>
                <a:gd name="T97" fmla="*/ 171 h 263"/>
                <a:gd name="T98" fmla="*/ 71 w 168"/>
                <a:gd name="T99" fmla="*/ 190 h 263"/>
                <a:gd name="T100" fmla="*/ 73 w 168"/>
                <a:gd name="T101" fmla="*/ 200 h 263"/>
                <a:gd name="T102" fmla="*/ 79 w 168"/>
                <a:gd name="T103" fmla="*/ 212 h 263"/>
                <a:gd name="T104" fmla="*/ 106 w 168"/>
                <a:gd name="T105" fmla="*/ 231 h 263"/>
                <a:gd name="T106" fmla="*/ 135 w 168"/>
                <a:gd name="T107" fmla="*/ 247 h 263"/>
                <a:gd name="T108" fmla="*/ 149 w 168"/>
                <a:gd name="T109" fmla="*/ 258 h 263"/>
                <a:gd name="T110" fmla="*/ 152 w 168"/>
                <a:gd name="T111" fmla="*/ 262 h 263"/>
                <a:gd name="T112" fmla="*/ 152 w 168"/>
                <a:gd name="T113" fmla="*/ 26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263">
                  <a:moveTo>
                    <a:pt x="152" y="262"/>
                  </a:moveTo>
                  <a:lnTo>
                    <a:pt x="158" y="262"/>
                  </a:lnTo>
                  <a:lnTo>
                    <a:pt x="158" y="260"/>
                  </a:lnTo>
                  <a:lnTo>
                    <a:pt x="158" y="258"/>
                  </a:lnTo>
                  <a:lnTo>
                    <a:pt x="158" y="255"/>
                  </a:lnTo>
                  <a:lnTo>
                    <a:pt x="158" y="255"/>
                  </a:lnTo>
                  <a:lnTo>
                    <a:pt x="158" y="254"/>
                  </a:lnTo>
                  <a:lnTo>
                    <a:pt x="160" y="254"/>
                  </a:lnTo>
                  <a:lnTo>
                    <a:pt x="162" y="252"/>
                  </a:lnTo>
                  <a:lnTo>
                    <a:pt x="162" y="250"/>
                  </a:lnTo>
                  <a:lnTo>
                    <a:pt x="163" y="254"/>
                  </a:lnTo>
                  <a:lnTo>
                    <a:pt x="162" y="249"/>
                  </a:lnTo>
                  <a:lnTo>
                    <a:pt x="160" y="247"/>
                  </a:lnTo>
                  <a:lnTo>
                    <a:pt x="162" y="246"/>
                  </a:lnTo>
                  <a:lnTo>
                    <a:pt x="165" y="241"/>
                  </a:lnTo>
                  <a:lnTo>
                    <a:pt x="168" y="238"/>
                  </a:lnTo>
                  <a:lnTo>
                    <a:pt x="168" y="236"/>
                  </a:lnTo>
                  <a:lnTo>
                    <a:pt x="166" y="236"/>
                  </a:lnTo>
                  <a:lnTo>
                    <a:pt x="166" y="231"/>
                  </a:lnTo>
                  <a:lnTo>
                    <a:pt x="165" y="231"/>
                  </a:lnTo>
                  <a:lnTo>
                    <a:pt x="163" y="231"/>
                  </a:lnTo>
                  <a:lnTo>
                    <a:pt x="160" y="231"/>
                  </a:lnTo>
                  <a:lnTo>
                    <a:pt x="162" y="228"/>
                  </a:lnTo>
                  <a:lnTo>
                    <a:pt x="160" y="228"/>
                  </a:lnTo>
                  <a:lnTo>
                    <a:pt x="158" y="228"/>
                  </a:lnTo>
                  <a:lnTo>
                    <a:pt x="158" y="228"/>
                  </a:lnTo>
                  <a:lnTo>
                    <a:pt x="155" y="228"/>
                  </a:lnTo>
                  <a:lnTo>
                    <a:pt x="155" y="225"/>
                  </a:lnTo>
                  <a:lnTo>
                    <a:pt x="152" y="225"/>
                  </a:lnTo>
                  <a:lnTo>
                    <a:pt x="155" y="223"/>
                  </a:lnTo>
                  <a:lnTo>
                    <a:pt x="155" y="225"/>
                  </a:lnTo>
                  <a:lnTo>
                    <a:pt x="155" y="222"/>
                  </a:lnTo>
                  <a:lnTo>
                    <a:pt x="155" y="220"/>
                  </a:lnTo>
                  <a:lnTo>
                    <a:pt x="155" y="219"/>
                  </a:lnTo>
                  <a:lnTo>
                    <a:pt x="158" y="220"/>
                  </a:lnTo>
                  <a:lnTo>
                    <a:pt x="162" y="223"/>
                  </a:lnTo>
                  <a:lnTo>
                    <a:pt x="163" y="220"/>
                  </a:lnTo>
                  <a:lnTo>
                    <a:pt x="163" y="219"/>
                  </a:lnTo>
                  <a:lnTo>
                    <a:pt x="163" y="217"/>
                  </a:lnTo>
                  <a:lnTo>
                    <a:pt x="162" y="214"/>
                  </a:lnTo>
                  <a:lnTo>
                    <a:pt x="160" y="212"/>
                  </a:lnTo>
                  <a:lnTo>
                    <a:pt x="162" y="211"/>
                  </a:lnTo>
                  <a:lnTo>
                    <a:pt x="165" y="204"/>
                  </a:lnTo>
                  <a:lnTo>
                    <a:pt x="165" y="201"/>
                  </a:lnTo>
                  <a:lnTo>
                    <a:pt x="165" y="200"/>
                  </a:lnTo>
                  <a:lnTo>
                    <a:pt x="163" y="196"/>
                  </a:lnTo>
                  <a:lnTo>
                    <a:pt x="163" y="190"/>
                  </a:lnTo>
                  <a:lnTo>
                    <a:pt x="163" y="187"/>
                  </a:lnTo>
                  <a:lnTo>
                    <a:pt x="163" y="185"/>
                  </a:lnTo>
                  <a:lnTo>
                    <a:pt x="163" y="182"/>
                  </a:lnTo>
                  <a:lnTo>
                    <a:pt x="166" y="181"/>
                  </a:lnTo>
                  <a:lnTo>
                    <a:pt x="165" y="177"/>
                  </a:lnTo>
                  <a:lnTo>
                    <a:pt x="152" y="155"/>
                  </a:lnTo>
                  <a:lnTo>
                    <a:pt x="149" y="155"/>
                  </a:lnTo>
                  <a:lnTo>
                    <a:pt x="147" y="155"/>
                  </a:lnTo>
                  <a:lnTo>
                    <a:pt x="144" y="158"/>
                  </a:lnTo>
                  <a:lnTo>
                    <a:pt x="143" y="155"/>
                  </a:lnTo>
                  <a:lnTo>
                    <a:pt x="141" y="155"/>
                  </a:lnTo>
                  <a:lnTo>
                    <a:pt x="139" y="142"/>
                  </a:lnTo>
                  <a:lnTo>
                    <a:pt x="141" y="138"/>
                  </a:lnTo>
                  <a:lnTo>
                    <a:pt x="139" y="138"/>
                  </a:lnTo>
                  <a:lnTo>
                    <a:pt x="139" y="135"/>
                  </a:lnTo>
                  <a:lnTo>
                    <a:pt x="141" y="135"/>
                  </a:lnTo>
                  <a:lnTo>
                    <a:pt x="138" y="135"/>
                  </a:lnTo>
                  <a:lnTo>
                    <a:pt x="136" y="138"/>
                  </a:lnTo>
                  <a:lnTo>
                    <a:pt x="131" y="141"/>
                  </a:lnTo>
                  <a:lnTo>
                    <a:pt x="128" y="142"/>
                  </a:lnTo>
                  <a:lnTo>
                    <a:pt x="125" y="142"/>
                  </a:lnTo>
                  <a:lnTo>
                    <a:pt x="120" y="142"/>
                  </a:lnTo>
                  <a:lnTo>
                    <a:pt x="120" y="138"/>
                  </a:lnTo>
                  <a:lnTo>
                    <a:pt x="117" y="135"/>
                  </a:lnTo>
                  <a:lnTo>
                    <a:pt x="114" y="135"/>
                  </a:lnTo>
                  <a:lnTo>
                    <a:pt x="112" y="135"/>
                  </a:lnTo>
                  <a:lnTo>
                    <a:pt x="106" y="135"/>
                  </a:lnTo>
                  <a:lnTo>
                    <a:pt x="108" y="131"/>
                  </a:lnTo>
                  <a:lnTo>
                    <a:pt x="109" y="128"/>
                  </a:lnTo>
                  <a:lnTo>
                    <a:pt x="105" y="123"/>
                  </a:lnTo>
                  <a:lnTo>
                    <a:pt x="103" y="122"/>
                  </a:lnTo>
                  <a:lnTo>
                    <a:pt x="101" y="119"/>
                  </a:lnTo>
                  <a:lnTo>
                    <a:pt x="100" y="116"/>
                  </a:lnTo>
                  <a:lnTo>
                    <a:pt x="98" y="112"/>
                  </a:lnTo>
                  <a:lnTo>
                    <a:pt x="98" y="111"/>
                  </a:lnTo>
                  <a:lnTo>
                    <a:pt x="97" y="109"/>
                  </a:lnTo>
                  <a:lnTo>
                    <a:pt x="95" y="106"/>
                  </a:lnTo>
                  <a:lnTo>
                    <a:pt x="95" y="106"/>
                  </a:lnTo>
                  <a:lnTo>
                    <a:pt x="97" y="103"/>
                  </a:lnTo>
                  <a:lnTo>
                    <a:pt x="98" y="103"/>
                  </a:lnTo>
                  <a:lnTo>
                    <a:pt x="98" y="103"/>
                  </a:lnTo>
                  <a:lnTo>
                    <a:pt x="97" y="100"/>
                  </a:lnTo>
                  <a:lnTo>
                    <a:pt x="98" y="96"/>
                  </a:lnTo>
                  <a:lnTo>
                    <a:pt x="100" y="95"/>
                  </a:lnTo>
                  <a:lnTo>
                    <a:pt x="105" y="93"/>
                  </a:lnTo>
                  <a:lnTo>
                    <a:pt x="105" y="92"/>
                  </a:lnTo>
                  <a:lnTo>
                    <a:pt x="105" y="90"/>
                  </a:lnTo>
                  <a:lnTo>
                    <a:pt x="105" y="87"/>
                  </a:lnTo>
                  <a:lnTo>
                    <a:pt x="105" y="84"/>
                  </a:lnTo>
                  <a:lnTo>
                    <a:pt x="106" y="82"/>
                  </a:lnTo>
                  <a:lnTo>
                    <a:pt x="106" y="79"/>
                  </a:lnTo>
                  <a:lnTo>
                    <a:pt x="106" y="77"/>
                  </a:lnTo>
                  <a:lnTo>
                    <a:pt x="106" y="74"/>
                  </a:lnTo>
                  <a:lnTo>
                    <a:pt x="108" y="71"/>
                  </a:lnTo>
                  <a:lnTo>
                    <a:pt x="111" y="71"/>
                  </a:lnTo>
                  <a:lnTo>
                    <a:pt x="112" y="71"/>
                  </a:lnTo>
                  <a:lnTo>
                    <a:pt x="114" y="68"/>
                  </a:lnTo>
                  <a:lnTo>
                    <a:pt x="114" y="68"/>
                  </a:lnTo>
                  <a:lnTo>
                    <a:pt x="120" y="63"/>
                  </a:lnTo>
                  <a:lnTo>
                    <a:pt x="124" y="63"/>
                  </a:lnTo>
                  <a:lnTo>
                    <a:pt x="127" y="63"/>
                  </a:lnTo>
                  <a:lnTo>
                    <a:pt x="130" y="62"/>
                  </a:lnTo>
                  <a:lnTo>
                    <a:pt x="131" y="60"/>
                  </a:lnTo>
                  <a:lnTo>
                    <a:pt x="133" y="60"/>
                  </a:lnTo>
                  <a:lnTo>
                    <a:pt x="136" y="58"/>
                  </a:lnTo>
                  <a:lnTo>
                    <a:pt x="138" y="58"/>
                  </a:lnTo>
                  <a:lnTo>
                    <a:pt x="141" y="62"/>
                  </a:lnTo>
                  <a:lnTo>
                    <a:pt x="143" y="60"/>
                  </a:lnTo>
                  <a:lnTo>
                    <a:pt x="144" y="62"/>
                  </a:lnTo>
                  <a:lnTo>
                    <a:pt x="144" y="60"/>
                  </a:lnTo>
                  <a:lnTo>
                    <a:pt x="144" y="58"/>
                  </a:lnTo>
                  <a:lnTo>
                    <a:pt x="141" y="54"/>
                  </a:lnTo>
                  <a:lnTo>
                    <a:pt x="139" y="54"/>
                  </a:lnTo>
                  <a:lnTo>
                    <a:pt x="136" y="54"/>
                  </a:lnTo>
                  <a:lnTo>
                    <a:pt x="135" y="54"/>
                  </a:lnTo>
                  <a:lnTo>
                    <a:pt x="135" y="52"/>
                  </a:lnTo>
                  <a:lnTo>
                    <a:pt x="138" y="46"/>
                  </a:lnTo>
                  <a:lnTo>
                    <a:pt x="141" y="42"/>
                  </a:lnTo>
                  <a:lnTo>
                    <a:pt x="143" y="39"/>
                  </a:lnTo>
                  <a:lnTo>
                    <a:pt x="139" y="33"/>
                  </a:lnTo>
                  <a:lnTo>
                    <a:pt x="135" y="33"/>
                  </a:lnTo>
                  <a:lnTo>
                    <a:pt x="131" y="31"/>
                  </a:lnTo>
                  <a:lnTo>
                    <a:pt x="128" y="31"/>
                  </a:lnTo>
                  <a:lnTo>
                    <a:pt x="125" y="33"/>
                  </a:lnTo>
                  <a:lnTo>
                    <a:pt x="124" y="31"/>
                  </a:lnTo>
                  <a:lnTo>
                    <a:pt x="120" y="30"/>
                  </a:lnTo>
                  <a:lnTo>
                    <a:pt x="120" y="31"/>
                  </a:lnTo>
                  <a:lnTo>
                    <a:pt x="117" y="33"/>
                  </a:lnTo>
                  <a:lnTo>
                    <a:pt x="114" y="33"/>
                  </a:lnTo>
                  <a:lnTo>
                    <a:pt x="111" y="33"/>
                  </a:lnTo>
                  <a:lnTo>
                    <a:pt x="108" y="33"/>
                  </a:lnTo>
                  <a:lnTo>
                    <a:pt x="106" y="33"/>
                  </a:lnTo>
                  <a:lnTo>
                    <a:pt x="105" y="33"/>
                  </a:lnTo>
                  <a:lnTo>
                    <a:pt x="103" y="31"/>
                  </a:lnTo>
                  <a:lnTo>
                    <a:pt x="103" y="28"/>
                  </a:lnTo>
                  <a:lnTo>
                    <a:pt x="103" y="27"/>
                  </a:lnTo>
                  <a:lnTo>
                    <a:pt x="101" y="25"/>
                  </a:lnTo>
                  <a:lnTo>
                    <a:pt x="98" y="23"/>
                  </a:lnTo>
                  <a:lnTo>
                    <a:pt x="98" y="20"/>
                  </a:lnTo>
                  <a:lnTo>
                    <a:pt x="97" y="19"/>
                  </a:lnTo>
                  <a:lnTo>
                    <a:pt x="95" y="19"/>
                  </a:lnTo>
                  <a:lnTo>
                    <a:pt x="92" y="15"/>
                  </a:lnTo>
                  <a:lnTo>
                    <a:pt x="90" y="15"/>
                  </a:lnTo>
                  <a:lnTo>
                    <a:pt x="89" y="12"/>
                  </a:lnTo>
                  <a:lnTo>
                    <a:pt x="89" y="12"/>
                  </a:lnTo>
                  <a:lnTo>
                    <a:pt x="89" y="12"/>
                  </a:lnTo>
                  <a:lnTo>
                    <a:pt x="85" y="8"/>
                  </a:lnTo>
                  <a:lnTo>
                    <a:pt x="82" y="4"/>
                  </a:lnTo>
                  <a:lnTo>
                    <a:pt x="79" y="1"/>
                  </a:lnTo>
                  <a:lnTo>
                    <a:pt x="78" y="0"/>
                  </a:lnTo>
                  <a:lnTo>
                    <a:pt x="76" y="0"/>
                  </a:lnTo>
                  <a:lnTo>
                    <a:pt x="74" y="0"/>
                  </a:lnTo>
                  <a:lnTo>
                    <a:pt x="73" y="1"/>
                  </a:lnTo>
                  <a:lnTo>
                    <a:pt x="71" y="1"/>
                  </a:lnTo>
                  <a:lnTo>
                    <a:pt x="73" y="3"/>
                  </a:lnTo>
                  <a:lnTo>
                    <a:pt x="74" y="4"/>
                  </a:lnTo>
                  <a:lnTo>
                    <a:pt x="74" y="6"/>
                  </a:lnTo>
                  <a:lnTo>
                    <a:pt x="76" y="9"/>
                  </a:lnTo>
                  <a:lnTo>
                    <a:pt x="76" y="12"/>
                  </a:lnTo>
                  <a:lnTo>
                    <a:pt x="74" y="12"/>
                  </a:lnTo>
                  <a:lnTo>
                    <a:pt x="71" y="19"/>
                  </a:lnTo>
                  <a:lnTo>
                    <a:pt x="71" y="19"/>
                  </a:lnTo>
                  <a:lnTo>
                    <a:pt x="68" y="25"/>
                  </a:lnTo>
                  <a:lnTo>
                    <a:pt x="65" y="31"/>
                  </a:lnTo>
                  <a:lnTo>
                    <a:pt x="58" y="36"/>
                  </a:lnTo>
                  <a:lnTo>
                    <a:pt x="52" y="39"/>
                  </a:lnTo>
                  <a:lnTo>
                    <a:pt x="46" y="39"/>
                  </a:lnTo>
                  <a:lnTo>
                    <a:pt x="43" y="42"/>
                  </a:lnTo>
                  <a:lnTo>
                    <a:pt x="41" y="44"/>
                  </a:lnTo>
                  <a:lnTo>
                    <a:pt x="39" y="46"/>
                  </a:lnTo>
                  <a:lnTo>
                    <a:pt x="39" y="47"/>
                  </a:lnTo>
                  <a:lnTo>
                    <a:pt x="39" y="49"/>
                  </a:lnTo>
                  <a:lnTo>
                    <a:pt x="38" y="47"/>
                  </a:lnTo>
                  <a:lnTo>
                    <a:pt x="36" y="49"/>
                  </a:lnTo>
                  <a:lnTo>
                    <a:pt x="36" y="50"/>
                  </a:lnTo>
                  <a:lnTo>
                    <a:pt x="36" y="52"/>
                  </a:lnTo>
                  <a:lnTo>
                    <a:pt x="35" y="50"/>
                  </a:lnTo>
                  <a:lnTo>
                    <a:pt x="30" y="68"/>
                  </a:lnTo>
                  <a:lnTo>
                    <a:pt x="30" y="68"/>
                  </a:lnTo>
                  <a:lnTo>
                    <a:pt x="27" y="71"/>
                  </a:lnTo>
                  <a:lnTo>
                    <a:pt x="27" y="68"/>
                  </a:lnTo>
                  <a:lnTo>
                    <a:pt x="24" y="68"/>
                  </a:lnTo>
                  <a:lnTo>
                    <a:pt x="24" y="65"/>
                  </a:lnTo>
                  <a:lnTo>
                    <a:pt x="22" y="63"/>
                  </a:lnTo>
                  <a:lnTo>
                    <a:pt x="20" y="63"/>
                  </a:lnTo>
                  <a:lnTo>
                    <a:pt x="19" y="63"/>
                  </a:lnTo>
                  <a:lnTo>
                    <a:pt x="16" y="60"/>
                  </a:lnTo>
                  <a:lnTo>
                    <a:pt x="14" y="60"/>
                  </a:lnTo>
                  <a:lnTo>
                    <a:pt x="12" y="62"/>
                  </a:lnTo>
                  <a:lnTo>
                    <a:pt x="12" y="62"/>
                  </a:lnTo>
                  <a:lnTo>
                    <a:pt x="11" y="63"/>
                  </a:lnTo>
                  <a:lnTo>
                    <a:pt x="12" y="60"/>
                  </a:lnTo>
                  <a:lnTo>
                    <a:pt x="11" y="58"/>
                  </a:lnTo>
                  <a:lnTo>
                    <a:pt x="11" y="57"/>
                  </a:lnTo>
                  <a:lnTo>
                    <a:pt x="14" y="55"/>
                  </a:lnTo>
                  <a:lnTo>
                    <a:pt x="14" y="54"/>
                  </a:lnTo>
                  <a:lnTo>
                    <a:pt x="14" y="50"/>
                  </a:lnTo>
                  <a:lnTo>
                    <a:pt x="12" y="47"/>
                  </a:lnTo>
                  <a:lnTo>
                    <a:pt x="12" y="47"/>
                  </a:lnTo>
                  <a:lnTo>
                    <a:pt x="12" y="47"/>
                  </a:lnTo>
                  <a:lnTo>
                    <a:pt x="11" y="49"/>
                  </a:lnTo>
                  <a:lnTo>
                    <a:pt x="8" y="50"/>
                  </a:lnTo>
                  <a:lnTo>
                    <a:pt x="4" y="54"/>
                  </a:lnTo>
                  <a:lnTo>
                    <a:pt x="1" y="58"/>
                  </a:lnTo>
                  <a:lnTo>
                    <a:pt x="0" y="63"/>
                  </a:lnTo>
                  <a:lnTo>
                    <a:pt x="0" y="65"/>
                  </a:lnTo>
                  <a:lnTo>
                    <a:pt x="1" y="68"/>
                  </a:lnTo>
                  <a:lnTo>
                    <a:pt x="3" y="71"/>
                  </a:lnTo>
                  <a:lnTo>
                    <a:pt x="1" y="71"/>
                  </a:lnTo>
                  <a:lnTo>
                    <a:pt x="3" y="74"/>
                  </a:lnTo>
                  <a:lnTo>
                    <a:pt x="4" y="77"/>
                  </a:lnTo>
                  <a:lnTo>
                    <a:pt x="6" y="81"/>
                  </a:lnTo>
                  <a:lnTo>
                    <a:pt x="6" y="82"/>
                  </a:lnTo>
                  <a:lnTo>
                    <a:pt x="4" y="82"/>
                  </a:lnTo>
                  <a:lnTo>
                    <a:pt x="3" y="82"/>
                  </a:lnTo>
                  <a:lnTo>
                    <a:pt x="3" y="84"/>
                  </a:lnTo>
                  <a:lnTo>
                    <a:pt x="3" y="85"/>
                  </a:lnTo>
                  <a:lnTo>
                    <a:pt x="4" y="87"/>
                  </a:lnTo>
                  <a:lnTo>
                    <a:pt x="6" y="89"/>
                  </a:lnTo>
                  <a:lnTo>
                    <a:pt x="12" y="92"/>
                  </a:lnTo>
                  <a:lnTo>
                    <a:pt x="17" y="95"/>
                  </a:lnTo>
                  <a:lnTo>
                    <a:pt x="22" y="100"/>
                  </a:lnTo>
                  <a:lnTo>
                    <a:pt x="24" y="106"/>
                  </a:lnTo>
                  <a:lnTo>
                    <a:pt x="27" y="111"/>
                  </a:lnTo>
                  <a:lnTo>
                    <a:pt x="30" y="116"/>
                  </a:lnTo>
                  <a:lnTo>
                    <a:pt x="33" y="120"/>
                  </a:lnTo>
                  <a:lnTo>
                    <a:pt x="35" y="125"/>
                  </a:lnTo>
                  <a:lnTo>
                    <a:pt x="39" y="133"/>
                  </a:lnTo>
                  <a:lnTo>
                    <a:pt x="43" y="139"/>
                  </a:lnTo>
                  <a:lnTo>
                    <a:pt x="46" y="147"/>
                  </a:lnTo>
                  <a:lnTo>
                    <a:pt x="51" y="155"/>
                  </a:lnTo>
                  <a:lnTo>
                    <a:pt x="52" y="158"/>
                  </a:lnTo>
                  <a:lnTo>
                    <a:pt x="52" y="162"/>
                  </a:lnTo>
                  <a:lnTo>
                    <a:pt x="54" y="162"/>
                  </a:lnTo>
                  <a:lnTo>
                    <a:pt x="55" y="165"/>
                  </a:lnTo>
                  <a:lnTo>
                    <a:pt x="58" y="168"/>
                  </a:lnTo>
                  <a:lnTo>
                    <a:pt x="58" y="168"/>
                  </a:lnTo>
                  <a:lnTo>
                    <a:pt x="58" y="171"/>
                  </a:lnTo>
                  <a:lnTo>
                    <a:pt x="58" y="173"/>
                  </a:lnTo>
                  <a:lnTo>
                    <a:pt x="62" y="174"/>
                  </a:lnTo>
                  <a:lnTo>
                    <a:pt x="65" y="179"/>
                  </a:lnTo>
                  <a:lnTo>
                    <a:pt x="68" y="185"/>
                  </a:lnTo>
                  <a:lnTo>
                    <a:pt x="71" y="190"/>
                  </a:lnTo>
                  <a:lnTo>
                    <a:pt x="73" y="193"/>
                  </a:lnTo>
                  <a:lnTo>
                    <a:pt x="73" y="196"/>
                  </a:lnTo>
                  <a:lnTo>
                    <a:pt x="71" y="196"/>
                  </a:lnTo>
                  <a:lnTo>
                    <a:pt x="71" y="200"/>
                  </a:lnTo>
                  <a:lnTo>
                    <a:pt x="73" y="200"/>
                  </a:lnTo>
                  <a:lnTo>
                    <a:pt x="73" y="201"/>
                  </a:lnTo>
                  <a:lnTo>
                    <a:pt x="73" y="203"/>
                  </a:lnTo>
                  <a:lnTo>
                    <a:pt x="76" y="204"/>
                  </a:lnTo>
                  <a:lnTo>
                    <a:pt x="78" y="208"/>
                  </a:lnTo>
                  <a:lnTo>
                    <a:pt x="79" y="212"/>
                  </a:lnTo>
                  <a:lnTo>
                    <a:pt x="85" y="216"/>
                  </a:lnTo>
                  <a:lnTo>
                    <a:pt x="89" y="219"/>
                  </a:lnTo>
                  <a:lnTo>
                    <a:pt x="90" y="222"/>
                  </a:lnTo>
                  <a:lnTo>
                    <a:pt x="100" y="225"/>
                  </a:lnTo>
                  <a:lnTo>
                    <a:pt x="106" y="231"/>
                  </a:lnTo>
                  <a:lnTo>
                    <a:pt x="114" y="235"/>
                  </a:lnTo>
                  <a:lnTo>
                    <a:pt x="120" y="238"/>
                  </a:lnTo>
                  <a:lnTo>
                    <a:pt x="125" y="239"/>
                  </a:lnTo>
                  <a:lnTo>
                    <a:pt x="128" y="243"/>
                  </a:lnTo>
                  <a:lnTo>
                    <a:pt x="135" y="247"/>
                  </a:lnTo>
                  <a:lnTo>
                    <a:pt x="138" y="249"/>
                  </a:lnTo>
                  <a:lnTo>
                    <a:pt x="139" y="250"/>
                  </a:lnTo>
                  <a:lnTo>
                    <a:pt x="141" y="254"/>
                  </a:lnTo>
                  <a:lnTo>
                    <a:pt x="143" y="255"/>
                  </a:lnTo>
                  <a:lnTo>
                    <a:pt x="149" y="258"/>
                  </a:lnTo>
                  <a:lnTo>
                    <a:pt x="152" y="260"/>
                  </a:lnTo>
                  <a:lnTo>
                    <a:pt x="155" y="263"/>
                  </a:lnTo>
                  <a:lnTo>
                    <a:pt x="155" y="263"/>
                  </a:lnTo>
                  <a:lnTo>
                    <a:pt x="152" y="262"/>
                  </a:lnTo>
                  <a:lnTo>
                    <a:pt x="152" y="262"/>
                  </a:lnTo>
                  <a:lnTo>
                    <a:pt x="152" y="262"/>
                  </a:lnTo>
                  <a:lnTo>
                    <a:pt x="152" y="262"/>
                  </a:lnTo>
                  <a:lnTo>
                    <a:pt x="152" y="262"/>
                  </a:lnTo>
                  <a:lnTo>
                    <a:pt x="152" y="262"/>
                  </a:lnTo>
                  <a:lnTo>
                    <a:pt x="152" y="262"/>
                  </a:lnTo>
                  <a:lnTo>
                    <a:pt x="152" y="262"/>
                  </a:lnTo>
                  <a:lnTo>
                    <a:pt x="152" y="26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6" name="Freeform 51">
              <a:extLst>
                <a:ext uri="{FF2B5EF4-FFF2-40B4-BE49-F238E27FC236}">
                  <a16:creationId xmlns:a16="http://schemas.microsoft.com/office/drawing/2014/main" id="{6C471FEB-BCC2-FC07-F02B-6B72C9464DEB}"/>
                </a:ext>
              </a:extLst>
            </p:cNvPr>
            <p:cNvSpPr>
              <a:spLocks/>
            </p:cNvSpPr>
            <p:nvPr/>
          </p:nvSpPr>
          <p:spPr bwMode="auto">
            <a:xfrm>
              <a:off x="4199022" y="5027761"/>
              <a:ext cx="143557" cy="125612"/>
            </a:xfrm>
            <a:custGeom>
              <a:avLst/>
              <a:gdLst>
                <a:gd name="T0" fmla="*/ 62 w 64"/>
                <a:gd name="T1" fmla="*/ 30 h 56"/>
                <a:gd name="T2" fmla="*/ 64 w 64"/>
                <a:gd name="T3" fmla="*/ 26 h 56"/>
                <a:gd name="T4" fmla="*/ 60 w 64"/>
                <a:gd name="T5" fmla="*/ 22 h 56"/>
                <a:gd name="T6" fmla="*/ 56 w 64"/>
                <a:gd name="T7" fmla="*/ 19 h 56"/>
                <a:gd name="T8" fmla="*/ 51 w 64"/>
                <a:gd name="T9" fmla="*/ 14 h 56"/>
                <a:gd name="T10" fmla="*/ 43 w 64"/>
                <a:gd name="T11" fmla="*/ 8 h 56"/>
                <a:gd name="T12" fmla="*/ 38 w 64"/>
                <a:gd name="T13" fmla="*/ 6 h 56"/>
                <a:gd name="T14" fmla="*/ 32 w 64"/>
                <a:gd name="T15" fmla="*/ 3 h 56"/>
                <a:gd name="T16" fmla="*/ 18 w 64"/>
                <a:gd name="T17" fmla="*/ 6 h 56"/>
                <a:gd name="T18" fmla="*/ 2 w 64"/>
                <a:gd name="T19" fmla="*/ 0 h 56"/>
                <a:gd name="T20" fmla="*/ 2 w 64"/>
                <a:gd name="T21" fmla="*/ 6 h 56"/>
                <a:gd name="T22" fmla="*/ 2 w 64"/>
                <a:gd name="T23" fmla="*/ 10 h 56"/>
                <a:gd name="T24" fmla="*/ 0 w 64"/>
                <a:gd name="T25" fmla="*/ 16 h 56"/>
                <a:gd name="T26" fmla="*/ 2 w 64"/>
                <a:gd name="T27" fmla="*/ 21 h 56"/>
                <a:gd name="T28" fmla="*/ 3 w 64"/>
                <a:gd name="T29" fmla="*/ 29 h 56"/>
                <a:gd name="T30" fmla="*/ 3 w 64"/>
                <a:gd name="T31" fmla="*/ 32 h 56"/>
                <a:gd name="T32" fmla="*/ 2 w 64"/>
                <a:gd name="T33" fmla="*/ 32 h 56"/>
                <a:gd name="T34" fmla="*/ 2 w 64"/>
                <a:gd name="T35" fmla="*/ 38 h 56"/>
                <a:gd name="T36" fmla="*/ 6 w 64"/>
                <a:gd name="T37" fmla="*/ 45 h 56"/>
                <a:gd name="T38" fmla="*/ 11 w 64"/>
                <a:gd name="T39" fmla="*/ 49 h 56"/>
                <a:gd name="T40" fmla="*/ 16 w 64"/>
                <a:gd name="T41" fmla="*/ 51 h 56"/>
                <a:gd name="T42" fmla="*/ 24 w 64"/>
                <a:gd name="T43" fmla="*/ 53 h 56"/>
                <a:gd name="T44" fmla="*/ 32 w 64"/>
                <a:gd name="T45" fmla="*/ 56 h 56"/>
                <a:gd name="T46" fmla="*/ 32 w 64"/>
                <a:gd name="T47" fmla="*/ 56 h 56"/>
                <a:gd name="T48" fmla="*/ 41 w 64"/>
                <a:gd name="T49" fmla="*/ 56 h 56"/>
                <a:gd name="T50" fmla="*/ 48 w 64"/>
                <a:gd name="T51" fmla="*/ 56 h 56"/>
                <a:gd name="T52" fmla="*/ 54 w 64"/>
                <a:gd name="T53" fmla="*/ 56 h 56"/>
                <a:gd name="T54" fmla="*/ 54 w 64"/>
                <a:gd name="T55" fmla="*/ 53 h 56"/>
                <a:gd name="T56" fmla="*/ 59 w 64"/>
                <a:gd name="T57" fmla="*/ 53 h 56"/>
                <a:gd name="T58" fmla="*/ 64 w 64"/>
                <a:gd name="T59" fmla="*/ 43 h 56"/>
                <a:gd name="T60" fmla="*/ 60 w 64"/>
                <a:gd name="T61" fmla="*/ 38 h 56"/>
                <a:gd name="T62" fmla="*/ 60 w 64"/>
                <a:gd name="T63" fmla="*/ 32 h 56"/>
                <a:gd name="T64" fmla="*/ 60 w 64"/>
                <a:gd name="T65" fmla="*/ 32 h 56"/>
                <a:gd name="T66" fmla="*/ 60 w 64"/>
                <a:gd name="T67" fmla="*/ 32 h 56"/>
                <a:gd name="T68" fmla="*/ 60 w 64"/>
                <a:gd name="T6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56">
                  <a:moveTo>
                    <a:pt x="60" y="32"/>
                  </a:moveTo>
                  <a:lnTo>
                    <a:pt x="62" y="30"/>
                  </a:lnTo>
                  <a:lnTo>
                    <a:pt x="64" y="27"/>
                  </a:lnTo>
                  <a:lnTo>
                    <a:pt x="64" y="26"/>
                  </a:lnTo>
                  <a:lnTo>
                    <a:pt x="62" y="24"/>
                  </a:lnTo>
                  <a:lnTo>
                    <a:pt x="60" y="22"/>
                  </a:lnTo>
                  <a:lnTo>
                    <a:pt x="57" y="21"/>
                  </a:lnTo>
                  <a:lnTo>
                    <a:pt x="56" y="19"/>
                  </a:lnTo>
                  <a:lnTo>
                    <a:pt x="53" y="16"/>
                  </a:lnTo>
                  <a:lnTo>
                    <a:pt x="51" y="14"/>
                  </a:lnTo>
                  <a:lnTo>
                    <a:pt x="46" y="11"/>
                  </a:lnTo>
                  <a:lnTo>
                    <a:pt x="43" y="8"/>
                  </a:lnTo>
                  <a:lnTo>
                    <a:pt x="38" y="6"/>
                  </a:lnTo>
                  <a:lnTo>
                    <a:pt x="38" y="6"/>
                  </a:lnTo>
                  <a:lnTo>
                    <a:pt x="35" y="6"/>
                  </a:lnTo>
                  <a:lnTo>
                    <a:pt x="32" y="3"/>
                  </a:lnTo>
                  <a:lnTo>
                    <a:pt x="32" y="2"/>
                  </a:lnTo>
                  <a:lnTo>
                    <a:pt x="18" y="6"/>
                  </a:lnTo>
                  <a:lnTo>
                    <a:pt x="2" y="0"/>
                  </a:lnTo>
                  <a:lnTo>
                    <a:pt x="2" y="0"/>
                  </a:lnTo>
                  <a:lnTo>
                    <a:pt x="2" y="3"/>
                  </a:lnTo>
                  <a:lnTo>
                    <a:pt x="2" y="6"/>
                  </a:lnTo>
                  <a:lnTo>
                    <a:pt x="2" y="8"/>
                  </a:lnTo>
                  <a:lnTo>
                    <a:pt x="2" y="10"/>
                  </a:lnTo>
                  <a:lnTo>
                    <a:pt x="2" y="13"/>
                  </a:lnTo>
                  <a:lnTo>
                    <a:pt x="0" y="16"/>
                  </a:lnTo>
                  <a:lnTo>
                    <a:pt x="2" y="19"/>
                  </a:lnTo>
                  <a:lnTo>
                    <a:pt x="2" y="21"/>
                  </a:lnTo>
                  <a:lnTo>
                    <a:pt x="2" y="26"/>
                  </a:lnTo>
                  <a:lnTo>
                    <a:pt x="3" y="29"/>
                  </a:lnTo>
                  <a:lnTo>
                    <a:pt x="5" y="30"/>
                  </a:lnTo>
                  <a:lnTo>
                    <a:pt x="3" y="32"/>
                  </a:lnTo>
                  <a:lnTo>
                    <a:pt x="2" y="32"/>
                  </a:lnTo>
                  <a:lnTo>
                    <a:pt x="2" y="32"/>
                  </a:lnTo>
                  <a:lnTo>
                    <a:pt x="2" y="35"/>
                  </a:lnTo>
                  <a:lnTo>
                    <a:pt x="2" y="38"/>
                  </a:lnTo>
                  <a:lnTo>
                    <a:pt x="5" y="45"/>
                  </a:lnTo>
                  <a:lnTo>
                    <a:pt x="6" y="45"/>
                  </a:lnTo>
                  <a:lnTo>
                    <a:pt x="8" y="46"/>
                  </a:lnTo>
                  <a:lnTo>
                    <a:pt x="11" y="49"/>
                  </a:lnTo>
                  <a:lnTo>
                    <a:pt x="13" y="51"/>
                  </a:lnTo>
                  <a:lnTo>
                    <a:pt x="16" y="51"/>
                  </a:lnTo>
                  <a:lnTo>
                    <a:pt x="21" y="51"/>
                  </a:lnTo>
                  <a:lnTo>
                    <a:pt x="24" y="53"/>
                  </a:lnTo>
                  <a:lnTo>
                    <a:pt x="27" y="53"/>
                  </a:lnTo>
                  <a:lnTo>
                    <a:pt x="32" y="56"/>
                  </a:lnTo>
                  <a:lnTo>
                    <a:pt x="32" y="56"/>
                  </a:lnTo>
                  <a:lnTo>
                    <a:pt x="32" y="56"/>
                  </a:lnTo>
                  <a:lnTo>
                    <a:pt x="38" y="56"/>
                  </a:lnTo>
                  <a:lnTo>
                    <a:pt x="41" y="56"/>
                  </a:lnTo>
                  <a:lnTo>
                    <a:pt x="45" y="56"/>
                  </a:lnTo>
                  <a:lnTo>
                    <a:pt x="48" y="56"/>
                  </a:lnTo>
                  <a:lnTo>
                    <a:pt x="53" y="56"/>
                  </a:lnTo>
                  <a:lnTo>
                    <a:pt x="54" y="56"/>
                  </a:lnTo>
                  <a:lnTo>
                    <a:pt x="56" y="53"/>
                  </a:lnTo>
                  <a:lnTo>
                    <a:pt x="54" y="53"/>
                  </a:lnTo>
                  <a:lnTo>
                    <a:pt x="57" y="53"/>
                  </a:lnTo>
                  <a:lnTo>
                    <a:pt x="59" y="53"/>
                  </a:lnTo>
                  <a:lnTo>
                    <a:pt x="60" y="48"/>
                  </a:lnTo>
                  <a:lnTo>
                    <a:pt x="64" y="43"/>
                  </a:lnTo>
                  <a:lnTo>
                    <a:pt x="64" y="41"/>
                  </a:lnTo>
                  <a:lnTo>
                    <a:pt x="60" y="38"/>
                  </a:lnTo>
                  <a:lnTo>
                    <a:pt x="60" y="32"/>
                  </a:lnTo>
                  <a:lnTo>
                    <a:pt x="60" y="32"/>
                  </a:lnTo>
                  <a:lnTo>
                    <a:pt x="60" y="32"/>
                  </a:lnTo>
                  <a:lnTo>
                    <a:pt x="60" y="32"/>
                  </a:lnTo>
                  <a:lnTo>
                    <a:pt x="60" y="32"/>
                  </a:lnTo>
                  <a:lnTo>
                    <a:pt x="60" y="32"/>
                  </a:lnTo>
                  <a:lnTo>
                    <a:pt x="60" y="32"/>
                  </a:lnTo>
                  <a:lnTo>
                    <a:pt x="60" y="32"/>
                  </a:lnTo>
                  <a:lnTo>
                    <a:pt x="60" y="3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7" name="Freeform 52">
              <a:extLst>
                <a:ext uri="{FF2B5EF4-FFF2-40B4-BE49-F238E27FC236}">
                  <a16:creationId xmlns:a16="http://schemas.microsoft.com/office/drawing/2014/main" id="{370CD9F0-E1D6-5FA1-BA0F-1BED9A456ED5}"/>
                </a:ext>
              </a:extLst>
            </p:cNvPr>
            <p:cNvSpPr>
              <a:spLocks noEditPoints="1"/>
            </p:cNvSpPr>
            <p:nvPr/>
          </p:nvSpPr>
          <p:spPr bwMode="auto">
            <a:xfrm>
              <a:off x="3665171" y="3856878"/>
              <a:ext cx="1114807" cy="1262849"/>
            </a:xfrm>
            <a:custGeom>
              <a:avLst/>
              <a:gdLst>
                <a:gd name="T0" fmla="*/ 281 w 497"/>
                <a:gd name="T1" fmla="*/ 90 h 563"/>
                <a:gd name="T2" fmla="*/ 302 w 497"/>
                <a:gd name="T3" fmla="*/ 73 h 563"/>
                <a:gd name="T4" fmla="*/ 487 w 497"/>
                <a:gd name="T5" fmla="*/ 152 h 563"/>
                <a:gd name="T6" fmla="*/ 433 w 497"/>
                <a:gd name="T7" fmla="*/ 120 h 563"/>
                <a:gd name="T8" fmla="*/ 386 w 497"/>
                <a:gd name="T9" fmla="*/ 111 h 563"/>
                <a:gd name="T10" fmla="*/ 371 w 497"/>
                <a:gd name="T11" fmla="*/ 120 h 563"/>
                <a:gd name="T12" fmla="*/ 370 w 497"/>
                <a:gd name="T13" fmla="*/ 103 h 563"/>
                <a:gd name="T14" fmla="*/ 359 w 497"/>
                <a:gd name="T15" fmla="*/ 97 h 563"/>
                <a:gd name="T16" fmla="*/ 346 w 497"/>
                <a:gd name="T17" fmla="*/ 90 h 563"/>
                <a:gd name="T18" fmla="*/ 332 w 497"/>
                <a:gd name="T19" fmla="*/ 87 h 563"/>
                <a:gd name="T20" fmla="*/ 314 w 497"/>
                <a:gd name="T21" fmla="*/ 103 h 563"/>
                <a:gd name="T22" fmla="*/ 295 w 497"/>
                <a:gd name="T23" fmla="*/ 103 h 563"/>
                <a:gd name="T24" fmla="*/ 311 w 497"/>
                <a:gd name="T25" fmla="*/ 100 h 563"/>
                <a:gd name="T26" fmla="*/ 295 w 497"/>
                <a:gd name="T27" fmla="*/ 79 h 563"/>
                <a:gd name="T28" fmla="*/ 273 w 497"/>
                <a:gd name="T29" fmla="*/ 100 h 563"/>
                <a:gd name="T30" fmla="*/ 298 w 497"/>
                <a:gd name="T31" fmla="*/ 65 h 563"/>
                <a:gd name="T32" fmla="*/ 291 w 497"/>
                <a:gd name="T33" fmla="*/ 36 h 563"/>
                <a:gd name="T34" fmla="*/ 264 w 497"/>
                <a:gd name="T35" fmla="*/ 44 h 563"/>
                <a:gd name="T36" fmla="*/ 229 w 497"/>
                <a:gd name="T37" fmla="*/ 41 h 563"/>
                <a:gd name="T38" fmla="*/ 203 w 497"/>
                <a:gd name="T39" fmla="*/ 52 h 563"/>
                <a:gd name="T40" fmla="*/ 178 w 497"/>
                <a:gd name="T41" fmla="*/ 44 h 563"/>
                <a:gd name="T42" fmla="*/ 175 w 497"/>
                <a:gd name="T43" fmla="*/ 0 h 563"/>
                <a:gd name="T44" fmla="*/ 156 w 497"/>
                <a:gd name="T45" fmla="*/ 13 h 563"/>
                <a:gd name="T46" fmla="*/ 125 w 497"/>
                <a:gd name="T47" fmla="*/ 20 h 563"/>
                <a:gd name="T48" fmla="*/ 124 w 497"/>
                <a:gd name="T49" fmla="*/ 41 h 563"/>
                <a:gd name="T50" fmla="*/ 106 w 497"/>
                <a:gd name="T51" fmla="*/ 65 h 563"/>
                <a:gd name="T52" fmla="*/ 86 w 497"/>
                <a:gd name="T53" fmla="*/ 52 h 563"/>
                <a:gd name="T54" fmla="*/ 51 w 497"/>
                <a:gd name="T55" fmla="*/ 52 h 563"/>
                <a:gd name="T56" fmla="*/ 48 w 497"/>
                <a:gd name="T57" fmla="*/ 78 h 563"/>
                <a:gd name="T58" fmla="*/ 41 w 497"/>
                <a:gd name="T59" fmla="*/ 136 h 563"/>
                <a:gd name="T60" fmla="*/ 11 w 497"/>
                <a:gd name="T61" fmla="*/ 160 h 563"/>
                <a:gd name="T62" fmla="*/ 3 w 497"/>
                <a:gd name="T63" fmla="*/ 189 h 563"/>
                <a:gd name="T64" fmla="*/ 33 w 497"/>
                <a:gd name="T65" fmla="*/ 220 h 563"/>
                <a:gd name="T66" fmla="*/ 60 w 497"/>
                <a:gd name="T67" fmla="*/ 233 h 563"/>
                <a:gd name="T68" fmla="*/ 86 w 497"/>
                <a:gd name="T69" fmla="*/ 225 h 563"/>
                <a:gd name="T70" fmla="*/ 111 w 497"/>
                <a:gd name="T71" fmla="*/ 236 h 563"/>
                <a:gd name="T72" fmla="*/ 140 w 497"/>
                <a:gd name="T73" fmla="*/ 259 h 563"/>
                <a:gd name="T74" fmla="*/ 178 w 497"/>
                <a:gd name="T75" fmla="*/ 279 h 563"/>
                <a:gd name="T76" fmla="*/ 206 w 497"/>
                <a:gd name="T77" fmla="*/ 324 h 563"/>
                <a:gd name="T78" fmla="*/ 217 w 497"/>
                <a:gd name="T79" fmla="*/ 362 h 563"/>
                <a:gd name="T80" fmla="*/ 217 w 497"/>
                <a:gd name="T81" fmla="*/ 392 h 563"/>
                <a:gd name="T82" fmla="*/ 254 w 497"/>
                <a:gd name="T83" fmla="*/ 421 h 563"/>
                <a:gd name="T84" fmla="*/ 270 w 497"/>
                <a:gd name="T85" fmla="*/ 444 h 563"/>
                <a:gd name="T86" fmla="*/ 257 w 497"/>
                <a:gd name="T87" fmla="*/ 484 h 563"/>
                <a:gd name="T88" fmla="*/ 240 w 497"/>
                <a:gd name="T89" fmla="*/ 519 h 563"/>
                <a:gd name="T90" fmla="*/ 300 w 497"/>
                <a:gd name="T91" fmla="*/ 546 h 563"/>
                <a:gd name="T92" fmla="*/ 311 w 497"/>
                <a:gd name="T93" fmla="*/ 538 h 563"/>
                <a:gd name="T94" fmla="*/ 316 w 497"/>
                <a:gd name="T95" fmla="*/ 509 h 563"/>
                <a:gd name="T96" fmla="*/ 321 w 497"/>
                <a:gd name="T97" fmla="*/ 525 h 563"/>
                <a:gd name="T98" fmla="*/ 346 w 497"/>
                <a:gd name="T99" fmla="*/ 487 h 563"/>
                <a:gd name="T100" fmla="*/ 343 w 497"/>
                <a:gd name="T101" fmla="*/ 452 h 563"/>
                <a:gd name="T102" fmla="*/ 351 w 497"/>
                <a:gd name="T103" fmla="*/ 432 h 563"/>
                <a:gd name="T104" fmla="*/ 383 w 497"/>
                <a:gd name="T105" fmla="*/ 414 h 563"/>
                <a:gd name="T106" fmla="*/ 405 w 497"/>
                <a:gd name="T107" fmla="*/ 403 h 563"/>
                <a:gd name="T108" fmla="*/ 430 w 497"/>
                <a:gd name="T109" fmla="*/ 389 h 563"/>
                <a:gd name="T110" fmla="*/ 441 w 497"/>
                <a:gd name="T111" fmla="*/ 343 h 563"/>
                <a:gd name="T112" fmla="*/ 448 w 497"/>
                <a:gd name="T113" fmla="*/ 274 h 563"/>
                <a:gd name="T114" fmla="*/ 457 w 497"/>
                <a:gd name="T115" fmla="*/ 262 h 563"/>
                <a:gd name="T116" fmla="*/ 483 w 497"/>
                <a:gd name="T117" fmla="*/ 222 h 563"/>
                <a:gd name="T118" fmla="*/ 494 w 497"/>
                <a:gd name="T119" fmla="*/ 16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7" h="563">
                  <a:moveTo>
                    <a:pt x="281" y="90"/>
                  </a:moveTo>
                  <a:lnTo>
                    <a:pt x="279" y="93"/>
                  </a:lnTo>
                  <a:lnTo>
                    <a:pt x="279" y="97"/>
                  </a:lnTo>
                  <a:lnTo>
                    <a:pt x="279" y="98"/>
                  </a:lnTo>
                  <a:lnTo>
                    <a:pt x="281" y="97"/>
                  </a:lnTo>
                  <a:lnTo>
                    <a:pt x="284" y="93"/>
                  </a:lnTo>
                  <a:lnTo>
                    <a:pt x="287" y="90"/>
                  </a:lnTo>
                  <a:lnTo>
                    <a:pt x="287" y="86"/>
                  </a:lnTo>
                  <a:lnTo>
                    <a:pt x="286" y="84"/>
                  </a:lnTo>
                  <a:lnTo>
                    <a:pt x="283" y="86"/>
                  </a:lnTo>
                  <a:lnTo>
                    <a:pt x="281" y="90"/>
                  </a:lnTo>
                  <a:lnTo>
                    <a:pt x="281" y="90"/>
                  </a:lnTo>
                  <a:lnTo>
                    <a:pt x="281" y="90"/>
                  </a:lnTo>
                  <a:lnTo>
                    <a:pt x="281" y="90"/>
                  </a:lnTo>
                  <a:lnTo>
                    <a:pt x="281" y="90"/>
                  </a:lnTo>
                  <a:lnTo>
                    <a:pt x="281" y="90"/>
                  </a:lnTo>
                  <a:lnTo>
                    <a:pt x="281" y="90"/>
                  </a:lnTo>
                  <a:lnTo>
                    <a:pt x="281" y="90"/>
                  </a:lnTo>
                  <a:lnTo>
                    <a:pt x="281" y="90"/>
                  </a:lnTo>
                  <a:lnTo>
                    <a:pt x="281" y="90"/>
                  </a:lnTo>
                  <a:close/>
                  <a:moveTo>
                    <a:pt x="300" y="73"/>
                  </a:moveTo>
                  <a:lnTo>
                    <a:pt x="297" y="74"/>
                  </a:lnTo>
                  <a:lnTo>
                    <a:pt x="297" y="76"/>
                  </a:lnTo>
                  <a:lnTo>
                    <a:pt x="298" y="76"/>
                  </a:lnTo>
                  <a:lnTo>
                    <a:pt x="302" y="76"/>
                  </a:lnTo>
                  <a:lnTo>
                    <a:pt x="302" y="78"/>
                  </a:lnTo>
                  <a:lnTo>
                    <a:pt x="302" y="76"/>
                  </a:lnTo>
                  <a:lnTo>
                    <a:pt x="305" y="74"/>
                  </a:lnTo>
                  <a:lnTo>
                    <a:pt x="305" y="73"/>
                  </a:lnTo>
                  <a:lnTo>
                    <a:pt x="302" y="73"/>
                  </a:lnTo>
                  <a:lnTo>
                    <a:pt x="300" y="73"/>
                  </a:lnTo>
                  <a:lnTo>
                    <a:pt x="300" y="73"/>
                  </a:lnTo>
                  <a:lnTo>
                    <a:pt x="300" y="73"/>
                  </a:lnTo>
                  <a:lnTo>
                    <a:pt x="300" y="73"/>
                  </a:lnTo>
                  <a:lnTo>
                    <a:pt x="300" y="73"/>
                  </a:lnTo>
                  <a:lnTo>
                    <a:pt x="300" y="73"/>
                  </a:lnTo>
                  <a:lnTo>
                    <a:pt x="300" y="73"/>
                  </a:lnTo>
                  <a:lnTo>
                    <a:pt x="300" y="73"/>
                  </a:lnTo>
                  <a:lnTo>
                    <a:pt x="300" y="73"/>
                  </a:lnTo>
                  <a:close/>
                  <a:moveTo>
                    <a:pt x="494" y="168"/>
                  </a:moveTo>
                  <a:lnTo>
                    <a:pt x="494" y="167"/>
                  </a:lnTo>
                  <a:lnTo>
                    <a:pt x="494" y="163"/>
                  </a:lnTo>
                  <a:lnTo>
                    <a:pt x="492" y="157"/>
                  </a:lnTo>
                  <a:lnTo>
                    <a:pt x="489" y="152"/>
                  </a:lnTo>
                  <a:lnTo>
                    <a:pt x="487" y="152"/>
                  </a:lnTo>
                  <a:lnTo>
                    <a:pt x="483" y="149"/>
                  </a:lnTo>
                  <a:lnTo>
                    <a:pt x="479" y="149"/>
                  </a:lnTo>
                  <a:lnTo>
                    <a:pt x="475" y="149"/>
                  </a:lnTo>
                  <a:lnTo>
                    <a:pt x="472" y="149"/>
                  </a:lnTo>
                  <a:lnTo>
                    <a:pt x="472" y="149"/>
                  </a:lnTo>
                  <a:lnTo>
                    <a:pt x="468" y="146"/>
                  </a:lnTo>
                  <a:lnTo>
                    <a:pt x="465" y="146"/>
                  </a:lnTo>
                  <a:lnTo>
                    <a:pt x="462" y="143"/>
                  </a:lnTo>
                  <a:lnTo>
                    <a:pt x="459" y="141"/>
                  </a:lnTo>
                  <a:lnTo>
                    <a:pt x="454" y="136"/>
                  </a:lnTo>
                  <a:lnTo>
                    <a:pt x="451" y="132"/>
                  </a:lnTo>
                  <a:lnTo>
                    <a:pt x="448" y="130"/>
                  </a:lnTo>
                  <a:lnTo>
                    <a:pt x="445" y="128"/>
                  </a:lnTo>
                  <a:lnTo>
                    <a:pt x="437" y="120"/>
                  </a:lnTo>
                  <a:lnTo>
                    <a:pt x="433" y="120"/>
                  </a:lnTo>
                  <a:lnTo>
                    <a:pt x="427" y="117"/>
                  </a:lnTo>
                  <a:lnTo>
                    <a:pt x="422" y="117"/>
                  </a:lnTo>
                  <a:lnTo>
                    <a:pt x="418" y="117"/>
                  </a:lnTo>
                  <a:lnTo>
                    <a:pt x="414" y="117"/>
                  </a:lnTo>
                  <a:lnTo>
                    <a:pt x="413" y="120"/>
                  </a:lnTo>
                  <a:lnTo>
                    <a:pt x="411" y="120"/>
                  </a:lnTo>
                  <a:lnTo>
                    <a:pt x="408" y="117"/>
                  </a:lnTo>
                  <a:lnTo>
                    <a:pt x="405" y="117"/>
                  </a:lnTo>
                  <a:lnTo>
                    <a:pt x="405" y="117"/>
                  </a:lnTo>
                  <a:lnTo>
                    <a:pt x="402" y="117"/>
                  </a:lnTo>
                  <a:lnTo>
                    <a:pt x="398" y="114"/>
                  </a:lnTo>
                  <a:lnTo>
                    <a:pt x="395" y="114"/>
                  </a:lnTo>
                  <a:lnTo>
                    <a:pt x="389" y="111"/>
                  </a:lnTo>
                  <a:lnTo>
                    <a:pt x="387" y="111"/>
                  </a:lnTo>
                  <a:lnTo>
                    <a:pt x="386" y="111"/>
                  </a:lnTo>
                  <a:lnTo>
                    <a:pt x="383" y="111"/>
                  </a:lnTo>
                  <a:lnTo>
                    <a:pt x="381" y="114"/>
                  </a:lnTo>
                  <a:lnTo>
                    <a:pt x="381" y="114"/>
                  </a:lnTo>
                  <a:lnTo>
                    <a:pt x="381" y="114"/>
                  </a:lnTo>
                  <a:lnTo>
                    <a:pt x="378" y="114"/>
                  </a:lnTo>
                  <a:lnTo>
                    <a:pt x="378" y="117"/>
                  </a:lnTo>
                  <a:lnTo>
                    <a:pt x="378" y="117"/>
                  </a:lnTo>
                  <a:lnTo>
                    <a:pt x="375" y="117"/>
                  </a:lnTo>
                  <a:lnTo>
                    <a:pt x="378" y="114"/>
                  </a:lnTo>
                  <a:lnTo>
                    <a:pt x="378" y="114"/>
                  </a:lnTo>
                  <a:lnTo>
                    <a:pt x="378" y="111"/>
                  </a:lnTo>
                  <a:lnTo>
                    <a:pt x="378" y="111"/>
                  </a:lnTo>
                  <a:lnTo>
                    <a:pt x="375" y="114"/>
                  </a:lnTo>
                  <a:lnTo>
                    <a:pt x="375" y="117"/>
                  </a:lnTo>
                  <a:lnTo>
                    <a:pt x="371" y="120"/>
                  </a:lnTo>
                  <a:lnTo>
                    <a:pt x="371" y="120"/>
                  </a:lnTo>
                  <a:lnTo>
                    <a:pt x="370" y="124"/>
                  </a:lnTo>
                  <a:lnTo>
                    <a:pt x="370" y="122"/>
                  </a:lnTo>
                  <a:lnTo>
                    <a:pt x="371" y="120"/>
                  </a:lnTo>
                  <a:lnTo>
                    <a:pt x="371" y="117"/>
                  </a:lnTo>
                  <a:lnTo>
                    <a:pt x="371" y="114"/>
                  </a:lnTo>
                  <a:lnTo>
                    <a:pt x="375" y="111"/>
                  </a:lnTo>
                  <a:lnTo>
                    <a:pt x="375" y="109"/>
                  </a:lnTo>
                  <a:lnTo>
                    <a:pt x="371" y="108"/>
                  </a:lnTo>
                  <a:lnTo>
                    <a:pt x="371" y="108"/>
                  </a:lnTo>
                  <a:lnTo>
                    <a:pt x="371" y="105"/>
                  </a:lnTo>
                  <a:lnTo>
                    <a:pt x="371" y="103"/>
                  </a:lnTo>
                  <a:lnTo>
                    <a:pt x="371" y="103"/>
                  </a:lnTo>
                  <a:lnTo>
                    <a:pt x="371" y="101"/>
                  </a:lnTo>
                  <a:lnTo>
                    <a:pt x="370" y="103"/>
                  </a:lnTo>
                  <a:lnTo>
                    <a:pt x="368" y="103"/>
                  </a:lnTo>
                  <a:lnTo>
                    <a:pt x="370" y="101"/>
                  </a:lnTo>
                  <a:lnTo>
                    <a:pt x="368" y="101"/>
                  </a:lnTo>
                  <a:lnTo>
                    <a:pt x="368" y="100"/>
                  </a:lnTo>
                  <a:lnTo>
                    <a:pt x="367" y="100"/>
                  </a:lnTo>
                  <a:lnTo>
                    <a:pt x="365" y="98"/>
                  </a:lnTo>
                  <a:lnTo>
                    <a:pt x="364" y="98"/>
                  </a:lnTo>
                  <a:lnTo>
                    <a:pt x="364" y="100"/>
                  </a:lnTo>
                  <a:lnTo>
                    <a:pt x="362" y="101"/>
                  </a:lnTo>
                  <a:lnTo>
                    <a:pt x="362" y="98"/>
                  </a:lnTo>
                  <a:lnTo>
                    <a:pt x="362" y="97"/>
                  </a:lnTo>
                  <a:lnTo>
                    <a:pt x="360" y="98"/>
                  </a:lnTo>
                  <a:lnTo>
                    <a:pt x="360" y="97"/>
                  </a:lnTo>
                  <a:lnTo>
                    <a:pt x="360" y="97"/>
                  </a:lnTo>
                  <a:lnTo>
                    <a:pt x="359" y="97"/>
                  </a:lnTo>
                  <a:lnTo>
                    <a:pt x="359" y="97"/>
                  </a:lnTo>
                  <a:lnTo>
                    <a:pt x="357" y="97"/>
                  </a:lnTo>
                  <a:lnTo>
                    <a:pt x="357" y="93"/>
                  </a:lnTo>
                  <a:lnTo>
                    <a:pt x="356" y="97"/>
                  </a:lnTo>
                  <a:lnTo>
                    <a:pt x="354" y="93"/>
                  </a:lnTo>
                  <a:lnTo>
                    <a:pt x="352" y="93"/>
                  </a:lnTo>
                  <a:lnTo>
                    <a:pt x="351" y="93"/>
                  </a:lnTo>
                  <a:lnTo>
                    <a:pt x="351" y="93"/>
                  </a:lnTo>
                  <a:lnTo>
                    <a:pt x="351" y="90"/>
                  </a:lnTo>
                  <a:lnTo>
                    <a:pt x="349" y="93"/>
                  </a:lnTo>
                  <a:lnTo>
                    <a:pt x="348" y="93"/>
                  </a:lnTo>
                  <a:lnTo>
                    <a:pt x="348" y="90"/>
                  </a:lnTo>
                  <a:lnTo>
                    <a:pt x="346" y="90"/>
                  </a:lnTo>
                  <a:lnTo>
                    <a:pt x="346" y="90"/>
                  </a:lnTo>
                  <a:lnTo>
                    <a:pt x="346" y="90"/>
                  </a:lnTo>
                  <a:lnTo>
                    <a:pt x="343" y="90"/>
                  </a:lnTo>
                  <a:lnTo>
                    <a:pt x="343" y="87"/>
                  </a:lnTo>
                  <a:lnTo>
                    <a:pt x="343" y="87"/>
                  </a:lnTo>
                  <a:lnTo>
                    <a:pt x="340" y="90"/>
                  </a:lnTo>
                  <a:lnTo>
                    <a:pt x="340" y="87"/>
                  </a:lnTo>
                  <a:lnTo>
                    <a:pt x="340" y="87"/>
                  </a:lnTo>
                  <a:lnTo>
                    <a:pt x="340" y="87"/>
                  </a:lnTo>
                  <a:lnTo>
                    <a:pt x="337" y="87"/>
                  </a:lnTo>
                  <a:lnTo>
                    <a:pt x="337" y="87"/>
                  </a:lnTo>
                  <a:lnTo>
                    <a:pt x="335" y="86"/>
                  </a:lnTo>
                  <a:lnTo>
                    <a:pt x="335" y="87"/>
                  </a:lnTo>
                  <a:lnTo>
                    <a:pt x="335" y="87"/>
                  </a:lnTo>
                  <a:lnTo>
                    <a:pt x="333" y="87"/>
                  </a:lnTo>
                  <a:lnTo>
                    <a:pt x="332" y="87"/>
                  </a:lnTo>
                  <a:lnTo>
                    <a:pt x="332" y="87"/>
                  </a:lnTo>
                  <a:lnTo>
                    <a:pt x="330" y="87"/>
                  </a:lnTo>
                  <a:lnTo>
                    <a:pt x="329" y="87"/>
                  </a:lnTo>
                  <a:lnTo>
                    <a:pt x="327" y="87"/>
                  </a:lnTo>
                  <a:lnTo>
                    <a:pt x="325" y="87"/>
                  </a:lnTo>
                  <a:lnTo>
                    <a:pt x="324" y="90"/>
                  </a:lnTo>
                  <a:lnTo>
                    <a:pt x="324" y="93"/>
                  </a:lnTo>
                  <a:lnTo>
                    <a:pt x="324" y="97"/>
                  </a:lnTo>
                  <a:lnTo>
                    <a:pt x="322" y="97"/>
                  </a:lnTo>
                  <a:lnTo>
                    <a:pt x="321" y="98"/>
                  </a:lnTo>
                  <a:lnTo>
                    <a:pt x="322" y="100"/>
                  </a:lnTo>
                  <a:lnTo>
                    <a:pt x="319" y="98"/>
                  </a:lnTo>
                  <a:lnTo>
                    <a:pt x="318" y="98"/>
                  </a:lnTo>
                  <a:lnTo>
                    <a:pt x="316" y="100"/>
                  </a:lnTo>
                  <a:lnTo>
                    <a:pt x="314" y="101"/>
                  </a:lnTo>
                  <a:lnTo>
                    <a:pt x="314" y="103"/>
                  </a:lnTo>
                  <a:lnTo>
                    <a:pt x="311" y="106"/>
                  </a:lnTo>
                  <a:lnTo>
                    <a:pt x="311" y="108"/>
                  </a:lnTo>
                  <a:lnTo>
                    <a:pt x="308" y="114"/>
                  </a:lnTo>
                  <a:lnTo>
                    <a:pt x="308" y="108"/>
                  </a:lnTo>
                  <a:lnTo>
                    <a:pt x="311" y="101"/>
                  </a:lnTo>
                  <a:lnTo>
                    <a:pt x="311" y="101"/>
                  </a:lnTo>
                  <a:lnTo>
                    <a:pt x="308" y="103"/>
                  </a:lnTo>
                  <a:lnTo>
                    <a:pt x="308" y="103"/>
                  </a:lnTo>
                  <a:lnTo>
                    <a:pt x="305" y="105"/>
                  </a:lnTo>
                  <a:lnTo>
                    <a:pt x="305" y="106"/>
                  </a:lnTo>
                  <a:lnTo>
                    <a:pt x="302" y="103"/>
                  </a:lnTo>
                  <a:lnTo>
                    <a:pt x="302" y="103"/>
                  </a:lnTo>
                  <a:lnTo>
                    <a:pt x="297" y="105"/>
                  </a:lnTo>
                  <a:lnTo>
                    <a:pt x="297" y="103"/>
                  </a:lnTo>
                  <a:lnTo>
                    <a:pt x="295" y="103"/>
                  </a:lnTo>
                  <a:lnTo>
                    <a:pt x="294" y="103"/>
                  </a:lnTo>
                  <a:lnTo>
                    <a:pt x="294" y="101"/>
                  </a:lnTo>
                  <a:lnTo>
                    <a:pt x="292" y="98"/>
                  </a:lnTo>
                  <a:lnTo>
                    <a:pt x="292" y="97"/>
                  </a:lnTo>
                  <a:lnTo>
                    <a:pt x="295" y="101"/>
                  </a:lnTo>
                  <a:lnTo>
                    <a:pt x="297" y="103"/>
                  </a:lnTo>
                  <a:lnTo>
                    <a:pt x="298" y="103"/>
                  </a:lnTo>
                  <a:lnTo>
                    <a:pt x="298" y="101"/>
                  </a:lnTo>
                  <a:lnTo>
                    <a:pt x="302" y="101"/>
                  </a:lnTo>
                  <a:lnTo>
                    <a:pt x="305" y="101"/>
                  </a:lnTo>
                  <a:lnTo>
                    <a:pt x="305" y="101"/>
                  </a:lnTo>
                  <a:lnTo>
                    <a:pt x="308" y="101"/>
                  </a:lnTo>
                  <a:lnTo>
                    <a:pt x="308" y="98"/>
                  </a:lnTo>
                  <a:lnTo>
                    <a:pt x="311" y="100"/>
                  </a:lnTo>
                  <a:lnTo>
                    <a:pt x="311" y="100"/>
                  </a:lnTo>
                  <a:lnTo>
                    <a:pt x="314" y="98"/>
                  </a:lnTo>
                  <a:lnTo>
                    <a:pt x="318" y="97"/>
                  </a:lnTo>
                  <a:lnTo>
                    <a:pt x="319" y="93"/>
                  </a:lnTo>
                  <a:lnTo>
                    <a:pt x="321" y="90"/>
                  </a:lnTo>
                  <a:lnTo>
                    <a:pt x="321" y="87"/>
                  </a:lnTo>
                  <a:lnTo>
                    <a:pt x="322" y="82"/>
                  </a:lnTo>
                  <a:lnTo>
                    <a:pt x="322" y="81"/>
                  </a:lnTo>
                  <a:lnTo>
                    <a:pt x="321" y="81"/>
                  </a:lnTo>
                  <a:lnTo>
                    <a:pt x="314" y="79"/>
                  </a:lnTo>
                  <a:lnTo>
                    <a:pt x="311" y="79"/>
                  </a:lnTo>
                  <a:lnTo>
                    <a:pt x="311" y="81"/>
                  </a:lnTo>
                  <a:lnTo>
                    <a:pt x="308" y="81"/>
                  </a:lnTo>
                  <a:lnTo>
                    <a:pt x="302" y="79"/>
                  </a:lnTo>
                  <a:lnTo>
                    <a:pt x="298" y="79"/>
                  </a:lnTo>
                  <a:lnTo>
                    <a:pt x="295" y="79"/>
                  </a:lnTo>
                  <a:lnTo>
                    <a:pt x="294" y="81"/>
                  </a:lnTo>
                  <a:lnTo>
                    <a:pt x="294" y="84"/>
                  </a:lnTo>
                  <a:lnTo>
                    <a:pt x="294" y="86"/>
                  </a:lnTo>
                  <a:lnTo>
                    <a:pt x="295" y="87"/>
                  </a:lnTo>
                  <a:lnTo>
                    <a:pt x="292" y="87"/>
                  </a:lnTo>
                  <a:lnTo>
                    <a:pt x="292" y="87"/>
                  </a:lnTo>
                  <a:lnTo>
                    <a:pt x="292" y="90"/>
                  </a:lnTo>
                  <a:lnTo>
                    <a:pt x="292" y="90"/>
                  </a:lnTo>
                  <a:lnTo>
                    <a:pt x="291" y="90"/>
                  </a:lnTo>
                  <a:lnTo>
                    <a:pt x="287" y="93"/>
                  </a:lnTo>
                  <a:lnTo>
                    <a:pt x="283" y="97"/>
                  </a:lnTo>
                  <a:lnTo>
                    <a:pt x="279" y="98"/>
                  </a:lnTo>
                  <a:lnTo>
                    <a:pt x="276" y="100"/>
                  </a:lnTo>
                  <a:lnTo>
                    <a:pt x="273" y="101"/>
                  </a:lnTo>
                  <a:lnTo>
                    <a:pt x="273" y="100"/>
                  </a:lnTo>
                  <a:lnTo>
                    <a:pt x="270" y="98"/>
                  </a:lnTo>
                  <a:lnTo>
                    <a:pt x="268" y="100"/>
                  </a:lnTo>
                  <a:lnTo>
                    <a:pt x="270" y="97"/>
                  </a:lnTo>
                  <a:lnTo>
                    <a:pt x="273" y="97"/>
                  </a:lnTo>
                  <a:lnTo>
                    <a:pt x="276" y="97"/>
                  </a:lnTo>
                  <a:lnTo>
                    <a:pt x="276" y="97"/>
                  </a:lnTo>
                  <a:lnTo>
                    <a:pt x="276" y="97"/>
                  </a:lnTo>
                  <a:lnTo>
                    <a:pt x="279" y="93"/>
                  </a:lnTo>
                  <a:lnTo>
                    <a:pt x="279" y="90"/>
                  </a:lnTo>
                  <a:lnTo>
                    <a:pt x="279" y="87"/>
                  </a:lnTo>
                  <a:lnTo>
                    <a:pt x="283" y="86"/>
                  </a:lnTo>
                  <a:lnTo>
                    <a:pt x="287" y="78"/>
                  </a:lnTo>
                  <a:lnTo>
                    <a:pt x="294" y="73"/>
                  </a:lnTo>
                  <a:lnTo>
                    <a:pt x="295" y="68"/>
                  </a:lnTo>
                  <a:lnTo>
                    <a:pt x="298" y="65"/>
                  </a:lnTo>
                  <a:lnTo>
                    <a:pt x="300" y="62"/>
                  </a:lnTo>
                  <a:lnTo>
                    <a:pt x="302" y="59"/>
                  </a:lnTo>
                  <a:lnTo>
                    <a:pt x="302" y="59"/>
                  </a:lnTo>
                  <a:lnTo>
                    <a:pt x="302" y="59"/>
                  </a:lnTo>
                  <a:lnTo>
                    <a:pt x="305" y="55"/>
                  </a:lnTo>
                  <a:lnTo>
                    <a:pt x="302" y="52"/>
                  </a:lnTo>
                  <a:lnTo>
                    <a:pt x="302" y="51"/>
                  </a:lnTo>
                  <a:lnTo>
                    <a:pt x="298" y="51"/>
                  </a:lnTo>
                  <a:lnTo>
                    <a:pt x="297" y="51"/>
                  </a:lnTo>
                  <a:lnTo>
                    <a:pt x="295" y="49"/>
                  </a:lnTo>
                  <a:lnTo>
                    <a:pt x="295" y="47"/>
                  </a:lnTo>
                  <a:lnTo>
                    <a:pt x="292" y="46"/>
                  </a:lnTo>
                  <a:lnTo>
                    <a:pt x="294" y="44"/>
                  </a:lnTo>
                  <a:lnTo>
                    <a:pt x="294" y="41"/>
                  </a:lnTo>
                  <a:lnTo>
                    <a:pt x="291" y="36"/>
                  </a:lnTo>
                  <a:lnTo>
                    <a:pt x="289" y="30"/>
                  </a:lnTo>
                  <a:lnTo>
                    <a:pt x="289" y="20"/>
                  </a:lnTo>
                  <a:lnTo>
                    <a:pt x="287" y="20"/>
                  </a:lnTo>
                  <a:lnTo>
                    <a:pt x="287" y="17"/>
                  </a:lnTo>
                  <a:lnTo>
                    <a:pt x="286" y="16"/>
                  </a:lnTo>
                  <a:lnTo>
                    <a:pt x="284" y="14"/>
                  </a:lnTo>
                  <a:lnTo>
                    <a:pt x="283" y="16"/>
                  </a:lnTo>
                  <a:lnTo>
                    <a:pt x="281" y="13"/>
                  </a:lnTo>
                  <a:lnTo>
                    <a:pt x="281" y="14"/>
                  </a:lnTo>
                  <a:lnTo>
                    <a:pt x="281" y="16"/>
                  </a:lnTo>
                  <a:lnTo>
                    <a:pt x="279" y="20"/>
                  </a:lnTo>
                  <a:lnTo>
                    <a:pt x="273" y="30"/>
                  </a:lnTo>
                  <a:lnTo>
                    <a:pt x="268" y="41"/>
                  </a:lnTo>
                  <a:lnTo>
                    <a:pt x="265" y="44"/>
                  </a:lnTo>
                  <a:lnTo>
                    <a:pt x="264" y="44"/>
                  </a:lnTo>
                  <a:lnTo>
                    <a:pt x="260" y="44"/>
                  </a:lnTo>
                  <a:lnTo>
                    <a:pt x="259" y="44"/>
                  </a:lnTo>
                  <a:lnTo>
                    <a:pt x="256" y="44"/>
                  </a:lnTo>
                  <a:lnTo>
                    <a:pt x="254" y="43"/>
                  </a:lnTo>
                  <a:lnTo>
                    <a:pt x="249" y="46"/>
                  </a:lnTo>
                  <a:lnTo>
                    <a:pt x="249" y="46"/>
                  </a:lnTo>
                  <a:lnTo>
                    <a:pt x="246" y="44"/>
                  </a:lnTo>
                  <a:lnTo>
                    <a:pt x="244" y="43"/>
                  </a:lnTo>
                  <a:lnTo>
                    <a:pt x="243" y="41"/>
                  </a:lnTo>
                  <a:lnTo>
                    <a:pt x="241" y="41"/>
                  </a:lnTo>
                  <a:lnTo>
                    <a:pt x="240" y="40"/>
                  </a:lnTo>
                  <a:lnTo>
                    <a:pt x="240" y="40"/>
                  </a:lnTo>
                  <a:lnTo>
                    <a:pt x="235" y="40"/>
                  </a:lnTo>
                  <a:lnTo>
                    <a:pt x="230" y="41"/>
                  </a:lnTo>
                  <a:lnTo>
                    <a:pt x="229" y="41"/>
                  </a:lnTo>
                  <a:lnTo>
                    <a:pt x="227" y="41"/>
                  </a:lnTo>
                  <a:lnTo>
                    <a:pt x="225" y="43"/>
                  </a:lnTo>
                  <a:lnTo>
                    <a:pt x="225" y="44"/>
                  </a:lnTo>
                  <a:lnTo>
                    <a:pt x="225" y="46"/>
                  </a:lnTo>
                  <a:lnTo>
                    <a:pt x="227" y="47"/>
                  </a:lnTo>
                  <a:lnTo>
                    <a:pt x="227" y="49"/>
                  </a:lnTo>
                  <a:lnTo>
                    <a:pt x="225" y="51"/>
                  </a:lnTo>
                  <a:lnTo>
                    <a:pt x="224" y="51"/>
                  </a:lnTo>
                  <a:lnTo>
                    <a:pt x="221" y="49"/>
                  </a:lnTo>
                  <a:lnTo>
                    <a:pt x="217" y="49"/>
                  </a:lnTo>
                  <a:lnTo>
                    <a:pt x="214" y="49"/>
                  </a:lnTo>
                  <a:lnTo>
                    <a:pt x="210" y="49"/>
                  </a:lnTo>
                  <a:lnTo>
                    <a:pt x="206" y="51"/>
                  </a:lnTo>
                  <a:lnTo>
                    <a:pt x="205" y="52"/>
                  </a:lnTo>
                  <a:lnTo>
                    <a:pt x="203" y="52"/>
                  </a:lnTo>
                  <a:lnTo>
                    <a:pt x="198" y="52"/>
                  </a:lnTo>
                  <a:lnTo>
                    <a:pt x="194" y="55"/>
                  </a:lnTo>
                  <a:lnTo>
                    <a:pt x="192" y="59"/>
                  </a:lnTo>
                  <a:lnTo>
                    <a:pt x="191" y="59"/>
                  </a:lnTo>
                  <a:lnTo>
                    <a:pt x="189" y="59"/>
                  </a:lnTo>
                  <a:lnTo>
                    <a:pt x="189" y="59"/>
                  </a:lnTo>
                  <a:lnTo>
                    <a:pt x="186" y="59"/>
                  </a:lnTo>
                  <a:lnTo>
                    <a:pt x="186" y="55"/>
                  </a:lnTo>
                  <a:lnTo>
                    <a:pt x="183" y="52"/>
                  </a:lnTo>
                  <a:lnTo>
                    <a:pt x="179" y="52"/>
                  </a:lnTo>
                  <a:lnTo>
                    <a:pt x="179" y="51"/>
                  </a:lnTo>
                  <a:lnTo>
                    <a:pt x="179" y="49"/>
                  </a:lnTo>
                  <a:lnTo>
                    <a:pt x="179" y="47"/>
                  </a:lnTo>
                  <a:lnTo>
                    <a:pt x="179" y="46"/>
                  </a:lnTo>
                  <a:lnTo>
                    <a:pt x="178" y="44"/>
                  </a:lnTo>
                  <a:lnTo>
                    <a:pt x="176" y="40"/>
                  </a:lnTo>
                  <a:lnTo>
                    <a:pt x="176" y="35"/>
                  </a:lnTo>
                  <a:lnTo>
                    <a:pt x="178" y="30"/>
                  </a:lnTo>
                  <a:lnTo>
                    <a:pt x="179" y="27"/>
                  </a:lnTo>
                  <a:lnTo>
                    <a:pt x="179" y="24"/>
                  </a:lnTo>
                  <a:lnTo>
                    <a:pt x="183" y="20"/>
                  </a:lnTo>
                  <a:lnTo>
                    <a:pt x="183" y="20"/>
                  </a:lnTo>
                  <a:lnTo>
                    <a:pt x="179" y="16"/>
                  </a:lnTo>
                  <a:lnTo>
                    <a:pt x="179" y="14"/>
                  </a:lnTo>
                  <a:lnTo>
                    <a:pt x="176" y="13"/>
                  </a:lnTo>
                  <a:lnTo>
                    <a:pt x="175" y="11"/>
                  </a:lnTo>
                  <a:lnTo>
                    <a:pt x="176" y="6"/>
                  </a:lnTo>
                  <a:lnTo>
                    <a:pt x="176" y="5"/>
                  </a:lnTo>
                  <a:lnTo>
                    <a:pt x="176" y="1"/>
                  </a:lnTo>
                  <a:lnTo>
                    <a:pt x="175" y="0"/>
                  </a:lnTo>
                  <a:lnTo>
                    <a:pt x="173" y="0"/>
                  </a:lnTo>
                  <a:lnTo>
                    <a:pt x="167" y="1"/>
                  </a:lnTo>
                  <a:lnTo>
                    <a:pt x="167" y="1"/>
                  </a:lnTo>
                  <a:lnTo>
                    <a:pt x="167" y="1"/>
                  </a:lnTo>
                  <a:lnTo>
                    <a:pt x="167" y="1"/>
                  </a:lnTo>
                  <a:lnTo>
                    <a:pt x="167" y="1"/>
                  </a:lnTo>
                  <a:lnTo>
                    <a:pt x="167" y="3"/>
                  </a:lnTo>
                  <a:lnTo>
                    <a:pt x="167" y="5"/>
                  </a:lnTo>
                  <a:lnTo>
                    <a:pt x="167" y="6"/>
                  </a:lnTo>
                  <a:lnTo>
                    <a:pt x="167" y="6"/>
                  </a:lnTo>
                  <a:lnTo>
                    <a:pt x="167" y="6"/>
                  </a:lnTo>
                  <a:lnTo>
                    <a:pt x="164" y="11"/>
                  </a:lnTo>
                  <a:lnTo>
                    <a:pt x="162" y="13"/>
                  </a:lnTo>
                  <a:lnTo>
                    <a:pt x="160" y="11"/>
                  </a:lnTo>
                  <a:lnTo>
                    <a:pt x="156" y="13"/>
                  </a:lnTo>
                  <a:lnTo>
                    <a:pt x="154" y="16"/>
                  </a:lnTo>
                  <a:lnTo>
                    <a:pt x="148" y="17"/>
                  </a:lnTo>
                  <a:lnTo>
                    <a:pt x="144" y="17"/>
                  </a:lnTo>
                  <a:lnTo>
                    <a:pt x="144" y="17"/>
                  </a:lnTo>
                  <a:lnTo>
                    <a:pt x="143" y="17"/>
                  </a:lnTo>
                  <a:lnTo>
                    <a:pt x="141" y="17"/>
                  </a:lnTo>
                  <a:lnTo>
                    <a:pt x="141" y="24"/>
                  </a:lnTo>
                  <a:lnTo>
                    <a:pt x="141" y="24"/>
                  </a:lnTo>
                  <a:lnTo>
                    <a:pt x="140" y="24"/>
                  </a:lnTo>
                  <a:lnTo>
                    <a:pt x="137" y="24"/>
                  </a:lnTo>
                  <a:lnTo>
                    <a:pt x="135" y="20"/>
                  </a:lnTo>
                  <a:lnTo>
                    <a:pt x="133" y="20"/>
                  </a:lnTo>
                  <a:lnTo>
                    <a:pt x="132" y="20"/>
                  </a:lnTo>
                  <a:lnTo>
                    <a:pt x="130" y="20"/>
                  </a:lnTo>
                  <a:lnTo>
                    <a:pt x="125" y="20"/>
                  </a:lnTo>
                  <a:lnTo>
                    <a:pt x="124" y="20"/>
                  </a:lnTo>
                  <a:lnTo>
                    <a:pt x="124" y="17"/>
                  </a:lnTo>
                  <a:lnTo>
                    <a:pt x="122" y="17"/>
                  </a:lnTo>
                  <a:lnTo>
                    <a:pt x="121" y="17"/>
                  </a:lnTo>
                  <a:lnTo>
                    <a:pt x="119" y="17"/>
                  </a:lnTo>
                  <a:lnTo>
                    <a:pt x="117" y="16"/>
                  </a:lnTo>
                  <a:lnTo>
                    <a:pt x="116" y="16"/>
                  </a:lnTo>
                  <a:lnTo>
                    <a:pt x="116" y="17"/>
                  </a:lnTo>
                  <a:lnTo>
                    <a:pt x="116" y="17"/>
                  </a:lnTo>
                  <a:lnTo>
                    <a:pt x="119" y="20"/>
                  </a:lnTo>
                  <a:lnTo>
                    <a:pt x="121" y="24"/>
                  </a:lnTo>
                  <a:lnTo>
                    <a:pt x="121" y="27"/>
                  </a:lnTo>
                  <a:lnTo>
                    <a:pt x="122" y="33"/>
                  </a:lnTo>
                  <a:lnTo>
                    <a:pt x="124" y="36"/>
                  </a:lnTo>
                  <a:lnTo>
                    <a:pt x="124" y="41"/>
                  </a:lnTo>
                  <a:lnTo>
                    <a:pt x="125" y="41"/>
                  </a:lnTo>
                  <a:lnTo>
                    <a:pt x="129" y="41"/>
                  </a:lnTo>
                  <a:lnTo>
                    <a:pt x="132" y="43"/>
                  </a:lnTo>
                  <a:lnTo>
                    <a:pt x="130" y="46"/>
                  </a:lnTo>
                  <a:lnTo>
                    <a:pt x="127" y="47"/>
                  </a:lnTo>
                  <a:lnTo>
                    <a:pt x="124" y="49"/>
                  </a:lnTo>
                  <a:lnTo>
                    <a:pt x="122" y="51"/>
                  </a:lnTo>
                  <a:lnTo>
                    <a:pt x="121" y="52"/>
                  </a:lnTo>
                  <a:lnTo>
                    <a:pt x="119" y="55"/>
                  </a:lnTo>
                  <a:lnTo>
                    <a:pt x="119" y="55"/>
                  </a:lnTo>
                  <a:lnTo>
                    <a:pt x="117" y="55"/>
                  </a:lnTo>
                  <a:lnTo>
                    <a:pt x="113" y="59"/>
                  </a:lnTo>
                  <a:lnTo>
                    <a:pt x="110" y="62"/>
                  </a:lnTo>
                  <a:lnTo>
                    <a:pt x="108" y="62"/>
                  </a:lnTo>
                  <a:lnTo>
                    <a:pt x="106" y="65"/>
                  </a:lnTo>
                  <a:lnTo>
                    <a:pt x="105" y="66"/>
                  </a:lnTo>
                  <a:lnTo>
                    <a:pt x="105" y="63"/>
                  </a:lnTo>
                  <a:lnTo>
                    <a:pt x="103" y="62"/>
                  </a:lnTo>
                  <a:lnTo>
                    <a:pt x="102" y="62"/>
                  </a:lnTo>
                  <a:lnTo>
                    <a:pt x="98" y="65"/>
                  </a:lnTo>
                  <a:lnTo>
                    <a:pt x="95" y="65"/>
                  </a:lnTo>
                  <a:lnTo>
                    <a:pt x="95" y="65"/>
                  </a:lnTo>
                  <a:lnTo>
                    <a:pt x="92" y="62"/>
                  </a:lnTo>
                  <a:lnTo>
                    <a:pt x="92" y="62"/>
                  </a:lnTo>
                  <a:lnTo>
                    <a:pt x="92" y="62"/>
                  </a:lnTo>
                  <a:lnTo>
                    <a:pt x="89" y="59"/>
                  </a:lnTo>
                  <a:lnTo>
                    <a:pt x="86" y="59"/>
                  </a:lnTo>
                  <a:lnTo>
                    <a:pt x="86" y="59"/>
                  </a:lnTo>
                  <a:lnTo>
                    <a:pt x="86" y="59"/>
                  </a:lnTo>
                  <a:lnTo>
                    <a:pt x="86" y="52"/>
                  </a:lnTo>
                  <a:lnTo>
                    <a:pt x="84" y="51"/>
                  </a:lnTo>
                  <a:lnTo>
                    <a:pt x="83" y="47"/>
                  </a:lnTo>
                  <a:lnTo>
                    <a:pt x="81" y="46"/>
                  </a:lnTo>
                  <a:lnTo>
                    <a:pt x="79" y="47"/>
                  </a:lnTo>
                  <a:lnTo>
                    <a:pt x="76" y="49"/>
                  </a:lnTo>
                  <a:lnTo>
                    <a:pt x="75" y="52"/>
                  </a:lnTo>
                  <a:lnTo>
                    <a:pt x="73" y="51"/>
                  </a:lnTo>
                  <a:lnTo>
                    <a:pt x="71" y="49"/>
                  </a:lnTo>
                  <a:lnTo>
                    <a:pt x="70" y="49"/>
                  </a:lnTo>
                  <a:lnTo>
                    <a:pt x="70" y="52"/>
                  </a:lnTo>
                  <a:lnTo>
                    <a:pt x="68" y="52"/>
                  </a:lnTo>
                  <a:lnTo>
                    <a:pt x="67" y="52"/>
                  </a:lnTo>
                  <a:lnTo>
                    <a:pt x="57" y="52"/>
                  </a:lnTo>
                  <a:lnTo>
                    <a:pt x="54" y="52"/>
                  </a:lnTo>
                  <a:lnTo>
                    <a:pt x="51" y="52"/>
                  </a:lnTo>
                  <a:lnTo>
                    <a:pt x="49" y="52"/>
                  </a:lnTo>
                  <a:lnTo>
                    <a:pt x="49" y="55"/>
                  </a:lnTo>
                  <a:lnTo>
                    <a:pt x="51" y="62"/>
                  </a:lnTo>
                  <a:lnTo>
                    <a:pt x="52" y="62"/>
                  </a:lnTo>
                  <a:lnTo>
                    <a:pt x="54" y="62"/>
                  </a:lnTo>
                  <a:lnTo>
                    <a:pt x="57" y="62"/>
                  </a:lnTo>
                  <a:lnTo>
                    <a:pt x="57" y="65"/>
                  </a:lnTo>
                  <a:lnTo>
                    <a:pt x="57" y="66"/>
                  </a:lnTo>
                  <a:lnTo>
                    <a:pt x="57" y="66"/>
                  </a:lnTo>
                  <a:lnTo>
                    <a:pt x="54" y="65"/>
                  </a:lnTo>
                  <a:lnTo>
                    <a:pt x="52" y="66"/>
                  </a:lnTo>
                  <a:lnTo>
                    <a:pt x="48" y="68"/>
                  </a:lnTo>
                  <a:lnTo>
                    <a:pt x="48" y="71"/>
                  </a:lnTo>
                  <a:lnTo>
                    <a:pt x="48" y="74"/>
                  </a:lnTo>
                  <a:lnTo>
                    <a:pt x="48" y="78"/>
                  </a:lnTo>
                  <a:lnTo>
                    <a:pt x="49" y="82"/>
                  </a:lnTo>
                  <a:lnTo>
                    <a:pt x="52" y="84"/>
                  </a:lnTo>
                  <a:lnTo>
                    <a:pt x="54" y="87"/>
                  </a:lnTo>
                  <a:lnTo>
                    <a:pt x="54" y="90"/>
                  </a:lnTo>
                  <a:lnTo>
                    <a:pt x="54" y="93"/>
                  </a:lnTo>
                  <a:lnTo>
                    <a:pt x="54" y="97"/>
                  </a:lnTo>
                  <a:lnTo>
                    <a:pt x="54" y="101"/>
                  </a:lnTo>
                  <a:lnTo>
                    <a:pt x="52" y="120"/>
                  </a:lnTo>
                  <a:lnTo>
                    <a:pt x="51" y="133"/>
                  </a:lnTo>
                  <a:lnTo>
                    <a:pt x="49" y="138"/>
                  </a:lnTo>
                  <a:lnTo>
                    <a:pt x="49" y="140"/>
                  </a:lnTo>
                  <a:lnTo>
                    <a:pt x="48" y="138"/>
                  </a:lnTo>
                  <a:lnTo>
                    <a:pt x="46" y="140"/>
                  </a:lnTo>
                  <a:lnTo>
                    <a:pt x="43" y="136"/>
                  </a:lnTo>
                  <a:lnTo>
                    <a:pt x="41" y="136"/>
                  </a:lnTo>
                  <a:lnTo>
                    <a:pt x="38" y="138"/>
                  </a:lnTo>
                  <a:lnTo>
                    <a:pt x="36" y="138"/>
                  </a:lnTo>
                  <a:lnTo>
                    <a:pt x="35" y="140"/>
                  </a:lnTo>
                  <a:lnTo>
                    <a:pt x="32" y="141"/>
                  </a:lnTo>
                  <a:lnTo>
                    <a:pt x="29" y="141"/>
                  </a:lnTo>
                  <a:lnTo>
                    <a:pt x="25" y="141"/>
                  </a:lnTo>
                  <a:lnTo>
                    <a:pt x="19" y="146"/>
                  </a:lnTo>
                  <a:lnTo>
                    <a:pt x="19" y="146"/>
                  </a:lnTo>
                  <a:lnTo>
                    <a:pt x="17" y="149"/>
                  </a:lnTo>
                  <a:lnTo>
                    <a:pt x="16" y="149"/>
                  </a:lnTo>
                  <a:lnTo>
                    <a:pt x="13" y="149"/>
                  </a:lnTo>
                  <a:lnTo>
                    <a:pt x="11" y="152"/>
                  </a:lnTo>
                  <a:lnTo>
                    <a:pt x="11" y="155"/>
                  </a:lnTo>
                  <a:lnTo>
                    <a:pt x="11" y="157"/>
                  </a:lnTo>
                  <a:lnTo>
                    <a:pt x="11" y="160"/>
                  </a:lnTo>
                  <a:lnTo>
                    <a:pt x="10" y="162"/>
                  </a:lnTo>
                  <a:lnTo>
                    <a:pt x="10" y="165"/>
                  </a:lnTo>
                  <a:lnTo>
                    <a:pt x="10" y="168"/>
                  </a:lnTo>
                  <a:lnTo>
                    <a:pt x="10" y="170"/>
                  </a:lnTo>
                  <a:lnTo>
                    <a:pt x="10" y="171"/>
                  </a:lnTo>
                  <a:lnTo>
                    <a:pt x="5" y="173"/>
                  </a:lnTo>
                  <a:lnTo>
                    <a:pt x="3" y="174"/>
                  </a:lnTo>
                  <a:lnTo>
                    <a:pt x="2" y="178"/>
                  </a:lnTo>
                  <a:lnTo>
                    <a:pt x="3" y="181"/>
                  </a:lnTo>
                  <a:lnTo>
                    <a:pt x="3" y="181"/>
                  </a:lnTo>
                  <a:lnTo>
                    <a:pt x="2" y="181"/>
                  </a:lnTo>
                  <a:lnTo>
                    <a:pt x="0" y="184"/>
                  </a:lnTo>
                  <a:lnTo>
                    <a:pt x="0" y="184"/>
                  </a:lnTo>
                  <a:lnTo>
                    <a:pt x="2" y="187"/>
                  </a:lnTo>
                  <a:lnTo>
                    <a:pt x="3" y="189"/>
                  </a:lnTo>
                  <a:lnTo>
                    <a:pt x="3" y="190"/>
                  </a:lnTo>
                  <a:lnTo>
                    <a:pt x="5" y="194"/>
                  </a:lnTo>
                  <a:lnTo>
                    <a:pt x="6" y="197"/>
                  </a:lnTo>
                  <a:lnTo>
                    <a:pt x="8" y="200"/>
                  </a:lnTo>
                  <a:lnTo>
                    <a:pt x="10" y="201"/>
                  </a:lnTo>
                  <a:lnTo>
                    <a:pt x="14" y="206"/>
                  </a:lnTo>
                  <a:lnTo>
                    <a:pt x="13" y="209"/>
                  </a:lnTo>
                  <a:lnTo>
                    <a:pt x="11" y="213"/>
                  </a:lnTo>
                  <a:lnTo>
                    <a:pt x="17" y="213"/>
                  </a:lnTo>
                  <a:lnTo>
                    <a:pt x="19" y="213"/>
                  </a:lnTo>
                  <a:lnTo>
                    <a:pt x="22" y="213"/>
                  </a:lnTo>
                  <a:lnTo>
                    <a:pt x="25" y="216"/>
                  </a:lnTo>
                  <a:lnTo>
                    <a:pt x="25" y="220"/>
                  </a:lnTo>
                  <a:lnTo>
                    <a:pt x="30" y="220"/>
                  </a:lnTo>
                  <a:lnTo>
                    <a:pt x="33" y="220"/>
                  </a:lnTo>
                  <a:lnTo>
                    <a:pt x="36" y="219"/>
                  </a:lnTo>
                  <a:lnTo>
                    <a:pt x="41" y="216"/>
                  </a:lnTo>
                  <a:lnTo>
                    <a:pt x="43" y="213"/>
                  </a:lnTo>
                  <a:lnTo>
                    <a:pt x="46" y="213"/>
                  </a:lnTo>
                  <a:lnTo>
                    <a:pt x="44" y="213"/>
                  </a:lnTo>
                  <a:lnTo>
                    <a:pt x="44" y="216"/>
                  </a:lnTo>
                  <a:lnTo>
                    <a:pt x="46" y="216"/>
                  </a:lnTo>
                  <a:lnTo>
                    <a:pt x="44" y="220"/>
                  </a:lnTo>
                  <a:lnTo>
                    <a:pt x="46" y="233"/>
                  </a:lnTo>
                  <a:lnTo>
                    <a:pt x="48" y="233"/>
                  </a:lnTo>
                  <a:lnTo>
                    <a:pt x="49" y="236"/>
                  </a:lnTo>
                  <a:lnTo>
                    <a:pt x="52" y="233"/>
                  </a:lnTo>
                  <a:lnTo>
                    <a:pt x="54" y="233"/>
                  </a:lnTo>
                  <a:lnTo>
                    <a:pt x="57" y="233"/>
                  </a:lnTo>
                  <a:lnTo>
                    <a:pt x="60" y="233"/>
                  </a:lnTo>
                  <a:lnTo>
                    <a:pt x="62" y="233"/>
                  </a:lnTo>
                  <a:lnTo>
                    <a:pt x="65" y="233"/>
                  </a:lnTo>
                  <a:lnTo>
                    <a:pt x="68" y="233"/>
                  </a:lnTo>
                  <a:lnTo>
                    <a:pt x="68" y="236"/>
                  </a:lnTo>
                  <a:lnTo>
                    <a:pt x="70" y="236"/>
                  </a:lnTo>
                  <a:lnTo>
                    <a:pt x="71" y="236"/>
                  </a:lnTo>
                  <a:lnTo>
                    <a:pt x="75" y="233"/>
                  </a:lnTo>
                  <a:lnTo>
                    <a:pt x="76" y="233"/>
                  </a:lnTo>
                  <a:lnTo>
                    <a:pt x="78" y="232"/>
                  </a:lnTo>
                  <a:lnTo>
                    <a:pt x="79" y="230"/>
                  </a:lnTo>
                  <a:lnTo>
                    <a:pt x="81" y="230"/>
                  </a:lnTo>
                  <a:lnTo>
                    <a:pt x="81" y="230"/>
                  </a:lnTo>
                  <a:lnTo>
                    <a:pt x="83" y="228"/>
                  </a:lnTo>
                  <a:lnTo>
                    <a:pt x="84" y="227"/>
                  </a:lnTo>
                  <a:lnTo>
                    <a:pt x="86" y="225"/>
                  </a:lnTo>
                  <a:lnTo>
                    <a:pt x="89" y="225"/>
                  </a:lnTo>
                  <a:lnTo>
                    <a:pt x="89" y="224"/>
                  </a:lnTo>
                  <a:lnTo>
                    <a:pt x="92" y="220"/>
                  </a:lnTo>
                  <a:lnTo>
                    <a:pt x="98" y="219"/>
                  </a:lnTo>
                  <a:lnTo>
                    <a:pt x="102" y="217"/>
                  </a:lnTo>
                  <a:lnTo>
                    <a:pt x="108" y="217"/>
                  </a:lnTo>
                  <a:lnTo>
                    <a:pt x="110" y="216"/>
                  </a:lnTo>
                  <a:lnTo>
                    <a:pt x="111" y="217"/>
                  </a:lnTo>
                  <a:lnTo>
                    <a:pt x="113" y="219"/>
                  </a:lnTo>
                  <a:lnTo>
                    <a:pt x="111" y="224"/>
                  </a:lnTo>
                  <a:lnTo>
                    <a:pt x="111" y="228"/>
                  </a:lnTo>
                  <a:lnTo>
                    <a:pt x="111" y="232"/>
                  </a:lnTo>
                  <a:lnTo>
                    <a:pt x="113" y="233"/>
                  </a:lnTo>
                  <a:lnTo>
                    <a:pt x="113" y="233"/>
                  </a:lnTo>
                  <a:lnTo>
                    <a:pt x="111" y="236"/>
                  </a:lnTo>
                  <a:lnTo>
                    <a:pt x="113" y="243"/>
                  </a:lnTo>
                  <a:lnTo>
                    <a:pt x="114" y="246"/>
                  </a:lnTo>
                  <a:lnTo>
                    <a:pt x="116" y="246"/>
                  </a:lnTo>
                  <a:lnTo>
                    <a:pt x="117" y="246"/>
                  </a:lnTo>
                  <a:lnTo>
                    <a:pt x="117" y="247"/>
                  </a:lnTo>
                  <a:lnTo>
                    <a:pt x="119" y="249"/>
                  </a:lnTo>
                  <a:lnTo>
                    <a:pt x="121" y="251"/>
                  </a:lnTo>
                  <a:lnTo>
                    <a:pt x="124" y="252"/>
                  </a:lnTo>
                  <a:lnTo>
                    <a:pt x="125" y="255"/>
                  </a:lnTo>
                  <a:lnTo>
                    <a:pt x="129" y="257"/>
                  </a:lnTo>
                  <a:lnTo>
                    <a:pt x="133" y="257"/>
                  </a:lnTo>
                  <a:lnTo>
                    <a:pt x="135" y="255"/>
                  </a:lnTo>
                  <a:lnTo>
                    <a:pt x="137" y="257"/>
                  </a:lnTo>
                  <a:lnTo>
                    <a:pt x="138" y="259"/>
                  </a:lnTo>
                  <a:lnTo>
                    <a:pt x="140" y="259"/>
                  </a:lnTo>
                  <a:lnTo>
                    <a:pt x="141" y="259"/>
                  </a:lnTo>
                  <a:lnTo>
                    <a:pt x="143" y="260"/>
                  </a:lnTo>
                  <a:lnTo>
                    <a:pt x="144" y="262"/>
                  </a:lnTo>
                  <a:lnTo>
                    <a:pt x="144" y="263"/>
                  </a:lnTo>
                  <a:lnTo>
                    <a:pt x="148" y="263"/>
                  </a:lnTo>
                  <a:lnTo>
                    <a:pt x="151" y="267"/>
                  </a:lnTo>
                  <a:lnTo>
                    <a:pt x="154" y="267"/>
                  </a:lnTo>
                  <a:lnTo>
                    <a:pt x="154" y="267"/>
                  </a:lnTo>
                  <a:lnTo>
                    <a:pt x="156" y="268"/>
                  </a:lnTo>
                  <a:lnTo>
                    <a:pt x="159" y="271"/>
                  </a:lnTo>
                  <a:lnTo>
                    <a:pt x="167" y="271"/>
                  </a:lnTo>
                  <a:lnTo>
                    <a:pt x="170" y="271"/>
                  </a:lnTo>
                  <a:lnTo>
                    <a:pt x="176" y="274"/>
                  </a:lnTo>
                  <a:lnTo>
                    <a:pt x="178" y="278"/>
                  </a:lnTo>
                  <a:lnTo>
                    <a:pt x="178" y="279"/>
                  </a:lnTo>
                  <a:lnTo>
                    <a:pt x="178" y="282"/>
                  </a:lnTo>
                  <a:lnTo>
                    <a:pt x="179" y="294"/>
                  </a:lnTo>
                  <a:lnTo>
                    <a:pt x="178" y="294"/>
                  </a:lnTo>
                  <a:lnTo>
                    <a:pt x="179" y="297"/>
                  </a:lnTo>
                  <a:lnTo>
                    <a:pt x="179" y="298"/>
                  </a:lnTo>
                  <a:lnTo>
                    <a:pt x="183" y="303"/>
                  </a:lnTo>
                  <a:lnTo>
                    <a:pt x="183" y="306"/>
                  </a:lnTo>
                  <a:lnTo>
                    <a:pt x="183" y="309"/>
                  </a:lnTo>
                  <a:lnTo>
                    <a:pt x="186" y="313"/>
                  </a:lnTo>
                  <a:lnTo>
                    <a:pt x="189" y="313"/>
                  </a:lnTo>
                  <a:lnTo>
                    <a:pt x="194" y="313"/>
                  </a:lnTo>
                  <a:lnTo>
                    <a:pt x="200" y="313"/>
                  </a:lnTo>
                  <a:lnTo>
                    <a:pt x="206" y="313"/>
                  </a:lnTo>
                  <a:lnTo>
                    <a:pt x="205" y="317"/>
                  </a:lnTo>
                  <a:lnTo>
                    <a:pt x="206" y="324"/>
                  </a:lnTo>
                  <a:lnTo>
                    <a:pt x="210" y="328"/>
                  </a:lnTo>
                  <a:lnTo>
                    <a:pt x="211" y="328"/>
                  </a:lnTo>
                  <a:lnTo>
                    <a:pt x="214" y="328"/>
                  </a:lnTo>
                  <a:lnTo>
                    <a:pt x="214" y="328"/>
                  </a:lnTo>
                  <a:lnTo>
                    <a:pt x="214" y="330"/>
                  </a:lnTo>
                  <a:lnTo>
                    <a:pt x="217" y="333"/>
                  </a:lnTo>
                  <a:lnTo>
                    <a:pt x="217" y="338"/>
                  </a:lnTo>
                  <a:lnTo>
                    <a:pt x="217" y="344"/>
                  </a:lnTo>
                  <a:lnTo>
                    <a:pt x="217" y="346"/>
                  </a:lnTo>
                  <a:lnTo>
                    <a:pt x="217" y="349"/>
                  </a:lnTo>
                  <a:lnTo>
                    <a:pt x="217" y="351"/>
                  </a:lnTo>
                  <a:lnTo>
                    <a:pt x="217" y="354"/>
                  </a:lnTo>
                  <a:lnTo>
                    <a:pt x="214" y="359"/>
                  </a:lnTo>
                  <a:lnTo>
                    <a:pt x="214" y="362"/>
                  </a:lnTo>
                  <a:lnTo>
                    <a:pt x="217" y="362"/>
                  </a:lnTo>
                  <a:lnTo>
                    <a:pt x="217" y="365"/>
                  </a:lnTo>
                  <a:lnTo>
                    <a:pt x="214" y="365"/>
                  </a:lnTo>
                  <a:lnTo>
                    <a:pt x="214" y="365"/>
                  </a:lnTo>
                  <a:lnTo>
                    <a:pt x="214" y="365"/>
                  </a:lnTo>
                  <a:lnTo>
                    <a:pt x="214" y="368"/>
                  </a:lnTo>
                  <a:lnTo>
                    <a:pt x="217" y="371"/>
                  </a:lnTo>
                  <a:lnTo>
                    <a:pt x="217" y="374"/>
                  </a:lnTo>
                  <a:lnTo>
                    <a:pt x="217" y="376"/>
                  </a:lnTo>
                  <a:lnTo>
                    <a:pt x="221" y="379"/>
                  </a:lnTo>
                  <a:lnTo>
                    <a:pt x="221" y="382"/>
                  </a:lnTo>
                  <a:lnTo>
                    <a:pt x="217" y="386"/>
                  </a:lnTo>
                  <a:lnTo>
                    <a:pt x="221" y="387"/>
                  </a:lnTo>
                  <a:lnTo>
                    <a:pt x="221" y="387"/>
                  </a:lnTo>
                  <a:lnTo>
                    <a:pt x="221" y="390"/>
                  </a:lnTo>
                  <a:lnTo>
                    <a:pt x="217" y="392"/>
                  </a:lnTo>
                  <a:lnTo>
                    <a:pt x="217" y="394"/>
                  </a:lnTo>
                  <a:lnTo>
                    <a:pt x="221" y="397"/>
                  </a:lnTo>
                  <a:lnTo>
                    <a:pt x="224" y="397"/>
                  </a:lnTo>
                  <a:lnTo>
                    <a:pt x="227" y="397"/>
                  </a:lnTo>
                  <a:lnTo>
                    <a:pt x="230" y="397"/>
                  </a:lnTo>
                  <a:lnTo>
                    <a:pt x="233" y="400"/>
                  </a:lnTo>
                  <a:lnTo>
                    <a:pt x="235" y="397"/>
                  </a:lnTo>
                  <a:lnTo>
                    <a:pt x="237" y="397"/>
                  </a:lnTo>
                  <a:lnTo>
                    <a:pt x="240" y="397"/>
                  </a:lnTo>
                  <a:lnTo>
                    <a:pt x="241" y="397"/>
                  </a:lnTo>
                  <a:lnTo>
                    <a:pt x="244" y="397"/>
                  </a:lnTo>
                  <a:lnTo>
                    <a:pt x="246" y="403"/>
                  </a:lnTo>
                  <a:lnTo>
                    <a:pt x="249" y="408"/>
                  </a:lnTo>
                  <a:lnTo>
                    <a:pt x="251" y="414"/>
                  </a:lnTo>
                  <a:lnTo>
                    <a:pt x="254" y="421"/>
                  </a:lnTo>
                  <a:lnTo>
                    <a:pt x="256" y="422"/>
                  </a:lnTo>
                  <a:lnTo>
                    <a:pt x="259" y="422"/>
                  </a:lnTo>
                  <a:lnTo>
                    <a:pt x="262" y="421"/>
                  </a:lnTo>
                  <a:lnTo>
                    <a:pt x="264" y="421"/>
                  </a:lnTo>
                  <a:lnTo>
                    <a:pt x="267" y="421"/>
                  </a:lnTo>
                  <a:lnTo>
                    <a:pt x="268" y="424"/>
                  </a:lnTo>
                  <a:lnTo>
                    <a:pt x="268" y="425"/>
                  </a:lnTo>
                  <a:lnTo>
                    <a:pt x="268" y="428"/>
                  </a:lnTo>
                  <a:lnTo>
                    <a:pt x="268" y="432"/>
                  </a:lnTo>
                  <a:lnTo>
                    <a:pt x="268" y="435"/>
                  </a:lnTo>
                  <a:lnTo>
                    <a:pt x="267" y="443"/>
                  </a:lnTo>
                  <a:lnTo>
                    <a:pt x="267" y="444"/>
                  </a:lnTo>
                  <a:lnTo>
                    <a:pt x="270" y="446"/>
                  </a:lnTo>
                  <a:lnTo>
                    <a:pt x="270" y="444"/>
                  </a:lnTo>
                  <a:lnTo>
                    <a:pt x="270" y="444"/>
                  </a:lnTo>
                  <a:lnTo>
                    <a:pt x="273" y="444"/>
                  </a:lnTo>
                  <a:lnTo>
                    <a:pt x="276" y="448"/>
                  </a:lnTo>
                  <a:lnTo>
                    <a:pt x="279" y="449"/>
                  </a:lnTo>
                  <a:lnTo>
                    <a:pt x="279" y="459"/>
                  </a:lnTo>
                  <a:lnTo>
                    <a:pt x="279" y="465"/>
                  </a:lnTo>
                  <a:lnTo>
                    <a:pt x="279" y="467"/>
                  </a:lnTo>
                  <a:lnTo>
                    <a:pt x="279" y="467"/>
                  </a:lnTo>
                  <a:lnTo>
                    <a:pt x="276" y="468"/>
                  </a:lnTo>
                  <a:lnTo>
                    <a:pt x="273" y="471"/>
                  </a:lnTo>
                  <a:lnTo>
                    <a:pt x="270" y="473"/>
                  </a:lnTo>
                  <a:lnTo>
                    <a:pt x="268" y="475"/>
                  </a:lnTo>
                  <a:lnTo>
                    <a:pt x="267" y="476"/>
                  </a:lnTo>
                  <a:lnTo>
                    <a:pt x="264" y="478"/>
                  </a:lnTo>
                  <a:lnTo>
                    <a:pt x="262" y="481"/>
                  </a:lnTo>
                  <a:lnTo>
                    <a:pt x="257" y="484"/>
                  </a:lnTo>
                  <a:lnTo>
                    <a:pt x="259" y="484"/>
                  </a:lnTo>
                  <a:lnTo>
                    <a:pt x="259" y="484"/>
                  </a:lnTo>
                  <a:lnTo>
                    <a:pt x="257" y="484"/>
                  </a:lnTo>
                  <a:lnTo>
                    <a:pt x="254" y="487"/>
                  </a:lnTo>
                  <a:lnTo>
                    <a:pt x="251" y="494"/>
                  </a:lnTo>
                  <a:lnTo>
                    <a:pt x="249" y="500"/>
                  </a:lnTo>
                  <a:lnTo>
                    <a:pt x="246" y="503"/>
                  </a:lnTo>
                  <a:lnTo>
                    <a:pt x="246" y="505"/>
                  </a:lnTo>
                  <a:lnTo>
                    <a:pt x="243" y="506"/>
                  </a:lnTo>
                  <a:lnTo>
                    <a:pt x="243" y="509"/>
                  </a:lnTo>
                  <a:lnTo>
                    <a:pt x="240" y="511"/>
                  </a:lnTo>
                  <a:lnTo>
                    <a:pt x="240" y="513"/>
                  </a:lnTo>
                  <a:lnTo>
                    <a:pt x="240" y="516"/>
                  </a:lnTo>
                  <a:lnTo>
                    <a:pt x="238" y="517"/>
                  </a:lnTo>
                  <a:lnTo>
                    <a:pt x="240" y="519"/>
                  </a:lnTo>
                  <a:lnTo>
                    <a:pt x="240" y="522"/>
                  </a:lnTo>
                  <a:lnTo>
                    <a:pt x="256" y="528"/>
                  </a:lnTo>
                  <a:lnTo>
                    <a:pt x="270" y="524"/>
                  </a:lnTo>
                  <a:lnTo>
                    <a:pt x="270" y="525"/>
                  </a:lnTo>
                  <a:lnTo>
                    <a:pt x="273" y="528"/>
                  </a:lnTo>
                  <a:lnTo>
                    <a:pt x="276" y="528"/>
                  </a:lnTo>
                  <a:lnTo>
                    <a:pt x="276" y="528"/>
                  </a:lnTo>
                  <a:lnTo>
                    <a:pt x="281" y="530"/>
                  </a:lnTo>
                  <a:lnTo>
                    <a:pt x="284" y="533"/>
                  </a:lnTo>
                  <a:lnTo>
                    <a:pt x="289" y="536"/>
                  </a:lnTo>
                  <a:lnTo>
                    <a:pt x="291" y="538"/>
                  </a:lnTo>
                  <a:lnTo>
                    <a:pt x="294" y="541"/>
                  </a:lnTo>
                  <a:lnTo>
                    <a:pt x="295" y="543"/>
                  </a:lnTo>
                  <a:lnTo>
                    <a:pt x="298" y="544"/>
                  </a:lnTo>
                  <a:lnTo>
                    <a:pt x="300" y="546"/>
                  </a:lnTo>
                  <a:lnTo>
                    <a:pt x="302" y="548"/>
                  </a:lnTo>
                  <a:lnTo>
                    <a:pt x="302" y="549"/>
                  </a:lnTo>
                  <a:lnTo>
                    <a:pt x="300" y="552"/>
                  </a:lnTo>
                  <a:lnTo>
                    <a:pt x="298" y="554"/>
                  </a:lnTo>
                  <a:lnTo>
                    <a:pt x="298" y="560"/>
                  </a:lnTo>
                  <a:lnTo>
                    <a:pt x="302" y="563"/>
                  </a:lnTo>
                  <a:lnTo>
                    <a:pt x="302" y="560"/>
                  </a:lnTo>
                  <a:lnTo>
                    <a:pt x="305" y="560"/>
                  </a:lnTo>
                  <a:lnTo>
                    <a:pt x="308" y="554"/>
                  </a:lnTo>
                  <a:lnTo>
                    <a:pt x="311" y="549"/>
                  </a:lnTo>
                  <a:lnTo>
                    <a:pt x="311" y="546"/>
                  </a:lnTo>
                  <a:lnTo>
                    <a:pt x="311" y="543"/>
                  </a:lnTo>
                  <a:lnTo>
                    <a:pt x="311" y="540"/>
                  </a:lnTo>
                  <a:lnTo>
                    <a:pt x="311" y="538"/>
                  </a:lnTo>
                  <a:lnTo>
                    <a:pt x="311" y="538"/>
                  </a:lnTo>
                  <a:lnTo>
                    <a:pt x="311" y="536"/>
                  </a:lnTo>
                  <a:lnTo>
                    <a:pt x="311" y="535"/>
                  </a:lnTo>
                  <a:lnTo>
                    <a:pt x="311" y="533"/>
                  </a:lnTo>
                  <a:lnTo>
                    <a:pt x="311" y="532"/>
                  </a:lnTo>
                  <a:lnTo>
                    <a:pt x="311" y="528"/>
                  </a:lnTo>
                  <a:lnTo>
                    <a:pt x="314" y="528"/>
                  </a:lnTo>
                  <a:lnTo>
                    <a:pt x="316" y="525"/>
                  </a:lnTo>
                  <a:lnTo>
                    <a:pt x="316" y="525"/>
                  </a:lnTo>
                  <a:lnTo>
                    <a:pt x="316" y="522"/>
                  </a:lnTo>
                  <a:lnTo>
                    <a:pt x="318" y="522"/>
                  </a:lnTo>
                  <a:lnTo>
                    <a:pt x="318" y="517"/>
                  </a:lnTo>
                  <a:lnTo>
                    <a:pt x="318" y="516"/>
                  </a:lnTo>
                  <a:lnTo>
                    <a:pt x="319" y="514"/>
                  </a:lnTo>
                  <a:lnTo>
                    <a:pt x="318" y="513"/>
                  </a:lnTo>
                  <a:lnTo>
                    <a:pt x="316" y="509"/>
                  </a:lnTo>
                  <a:lnTo>
                    <a:pt x="318" y="511"/>
                  </a:lnTo>
                  <a:lnTo>
                    <a:pt x="319" y="513"/>
                  </a:lnTo>
                  <a:lnTo>
                    <a:pt x="322" y="514"/>
                  </a:lnTo>
                  <a:lnTo>
                    <a:pt x="325" y="511"/>
                  </a:lnTo>
                  <a:lnTo>
                    <a:pt x="327" y="513"/>
                  </a:lnTo>
                  <a:lnTo>
                    <a:pt x="327" y="516"/>
                  </a:lnTo>
                  <a:lnTo>
                    <a:pt x="325" y="514"/>
                  </a:lnTo>
                  <a:lnTo>
                    <a:pt x="325" y="516"/>
                  </a:lnTo>
                  <a:lnTo>
                    <a:pt x="325" y="517"/>
                  </a:lnTo>
                  <a:lnTo>
                    <a:pt x="325" y="519"/>
                  </a:lnTo>
                  <a:lnTo>
                    <a:pt x="325" y="522"/>
                  </a:lnTo>
                  <a:lnTo>
                    <a:pt x="324" y="522"/>
                  </a:lnTo>
                  <a:lnTo>
                    <a:pt x="324" y="525"/>
                  </a:lnTo>
                  <a:lnTo>
                    <a:pt x="322" y="525"/>
                  </a:lnTo>
                  <a:lnTo>
                    <a:pt x="321" y="525"/>
                  </a:lnTo>
                  <a:lnTo>
                    <a:pt x="321" y="528"/>
                  </a:lnTo>
                  <a:lnTo>
                    <a:pt x="319" y="530"/>
                  </a:lnTo>
                  <a:lnTo>
                    <a:pt x="316" y="533"/>
                  </a:lnTo>
                  <a:lnTo>
                    <a:pt x="314" y="535"/>
                  </a:lnTo>
                  <a:lnTo>
                    <a:pt x="311" y="535"/>
                  </a:lnTo>
                  <a:lnTo>
                    <a:pt x="314" y="536"/>
                  </a:lnTo>
                  <a:lnTo>
                    <a:pt x="314" y="540"/>
                  </a:lnTo>
                  <a:lnTo>
                    <a:pt x="318" y="533"/>
                  </a:lnTo>
                  <a:lnTo>
                    <a:pt x="324" y="528"/>
                  </a:lnTo>
                  <a:lnTo>
                    <a:pt x="327" y="522"/>
                  </a:lnTo>
                  <a:lnTo>
                    <a:pt x="330" y="514"/>
                  </a:lnTo>
                  <a:lnTo>
                    <a:pt x="332" y="505"/>
                  </a:lnTo>
                  <a:lnTo>
                    <a:pt x="335" y="497"/>
                  </a:lnTo>
                  <a:lnTo>
                    <a:pt x="340" y="490"/>
                  </a:lnTo>
                  <a:lnTo>
                    <a:pt x="346" y="487"/>
                  </a:lnTo>
                  <a:lnTo>
                    <a:pt x="346" y="482"/>
                  </a:lnTo>
                  <a:lnTo>
                    <a:pt x="346" y="478"/>
                  </a:lnTo>
                  <a:lnTo>
                    <a:pt x="346" y="473"/>
                  </a:lnTo>
                  <a:lnTo>
                    <a:pt x="346" y="470"/>
                  </a:lnTo>
                  <a:lnTo>
                    <a:pt x="343" y="468"/>
                  </a:lnTo>
                  <a:lnTo>
                    <a:pt x="346" y="467"/>
                  </a:lnTo>
                  <a:lnTo>
                    <a:pt x="343" y="467"/>
                  </a:lnTo>
                  <a:lnTo>
                    <a:pt x="343" y="465"/>
                  </a:lnTo>
                  <a:lnTo>
                    <a:pt x="343" y="463"/>
                  </a:lnTo>
                  <a:lnTo>
                    <a:pt x="343" y="459"/>
                  </a:lnTo>
                  <a:lnTo>
                    <a:pt x="343" y="459"/>
                  </a:lnTo>
                  <a:lnTo>
                    <a:pt x="340" y="455"/>
                  </a:lnTo>
                  <a:lnTo>
                    <a:pt x="340" y="452"/>
                  </a:lnTo>
                  <a:lnTo>
                    <a:pt x="340" y="452"/>
                  </a:lnTo>
                  <a:lnTo>
                    <a:pt x="343" y="452"/>
                  </a:lnTo>
                  <a:lnTo>
                    <a:pt x="343" y="449"/>
                  </a:lnTo>
                  <a:lnTo>
                    <a:pt x="340" y="449"/>
                  </a:lnTo>
                  <a:lnTo>
                    <a:pt x="343" y="448"/>
                  </a:lnTo>
                  <a:lnTo>
                    <a:pt x="343" y="444"/>
                  </a:lnTo>
                  <a:lnTo>
                    <a:pt x="340" y="444"/>
                  </a:lnTo>
                  <a:lnTo>
                    <a:pt x="340" y="443"/>
                  </a:lnTo>
                  <a:lnTo>
                    <a:pt x="340" y="443"/>
                  </a:lnTo>
                  <a:lnTo>
                    <a:pt x="343" y="443"/>
                  </a:lnTo>
                  <a:lnTo>
                    <a:pt x="343" y="440"/>
                  </a:lnTo>
                  <a:lnTo>
                    <a:pt x="343" y="441"/>
                  </a:lnTo>
                  <a:lnTo>
                    <a:pt x="346" y="440"/>
                  </a:lnTo>
                  <a:lnTo>
                    <a:pt x="346" y="443"/>
                  </a:lnTo>
                  <a:lnTo>
                    <a:pt x="348" y="438"/>
                  </a:lnTo>
                  <a:lnTo>
                    <a:pt x="348" y="438"/>
                  </a:lnTo>
                  <a:lnTo>
                    <a:pt x="351" y="432"/>
                  </a:lnTo>
                  <a:lnTo>
                    <a:pt x="357" y="428"/>
                  </a:lnTo>
                  <a:lnTo>
                    <a:pt x="362" y="425"/>
                  </a:lnTo>
                  <a:lnTo>
                    <a:pt x="365" y="424"/>
                  </a:lnTo>
                  <a:lnTo>
                    <a:pt x="367" y="422"/>
                  </a:lnTo>
                  <a:lnTo>
                    <a:pt x="368" y="422"/>
                  </a:lnTo>
                  <a:lnTo>
                    <a:pt x="370" y="422"/>
                  </a:lnTo>
                  <a:lnTo>
                    <a:pt x="370" y="421"/>
                  </a:lnTo>
                  <a:lnTo>
                    <a:pt x="371" y="419"/>
                  </a:lnTo>
                  <a:lnTo>
                    <a:pt x="375" y="419"/>
                  </a:lnTo>
                  <a:lnTo>
                    <a:pt x="375" y="421"/>
                  </a:lnTo>
                  <a:lnTo>
                    <a:pt x="378" y="421"/>
                  </a:lnTo>
                  <a:lnTo>
                    <a:pt x="378" y="417"/>
                  </a:lnTo>
                  <a:lnTo>
                    <a:pt x="378" y="416"/>
                  </a:lnTo>
                  <a:lnTo>
                    <a:pt x="381" y="416"/>
                  </a:lnTo>
                  <a:lnTo>
                    <a:pt x="383" y="414"/>
                  </a:lnTo>
                  <a:lnTo>
                    <a:pt x="384" y="413"/>
                  </a:lnTo>
                  <a:lnTo>
                    <a:pt x="389" y="411"/>
                  </a:lnTo>
                  <a:lnTo>
                    <a:pt x="386" y="411"/>
                  </a:lnTo>
                  <a:lnTo>
                    <a:pt x="386" y="409"/>
                  </a:lnTo>
                  <a:lnTo>
                    <a:pt x="387" y="408"/>
                  </a:lnTo>
                  <a:lnTo>
                    <a:pt x="389" y="406"/>
                  </a:lnTo>
                  <a:lnTo>
                    <a:pt x="392" y="408"/>
                  </a:lnTo>
                  <a:lnTo>
                    <a:pt x="394" y="406"/>
                  </a:lnTo>
                  <a:lnTo>
                    <a:pt x="395" y="406"/>
                  </a:lnTo>
                  <a:lnTo>
                    <a:pt x="398" y="408"/>
                  </a:lnTo>
                  <a:lnTo>
                    <a:pt x="402" y="408"/>
                  </a:lnTo>
                  <a:lnTo>
                    <a:pt x="405" y="406"/>
                  </a:lnTo>
                  <a:lnTo>
                    <a:pt x="405" y="405"/>
                  </a:lnTo>
                  <a:lnTo>
                    <a:pt x="405" y="403"/>
                  </a:lnTo>
                  <a:lnTo>
                    <a:pt x="405" y="403"/>
                  </a:lnTo>
                  <a:lnTo>
                    <a:pt x="405" y="405"/>
                  </a:lnTo>
                  <a:lnTo>
                    <a:pt x="405" y="406"/>
                  </a:lnTo>
                  <a:lnTo>
                    <a:pt x="408" y="408"/>
                  </a:lnTo>
                  <a:lnTo>
                    <a:pt x="410" y="406"/>
                  </a:lnTo>
                  <a:lnTo>
                    <a:pt x="414" y="406"/>
                  </a:lnTo>
                  <a:lnTo>
                    <a:pt x="418" y="406"/>
                  </a:lnTo>
                  <a:lnTo>
                    <a:pt x="419" y="408"/>
                  </a:lnTo>
                  <a:lnTo>
                    <a:pt x="419" y="406"/>
                  </a:lnTo>
                  <a:lnTo>
                    <a:pt x="419" y="405"/>
                  </a:lnTo>
                  <a:lnTo>
                    <a:pt x="419" y="403"/>
                  </a:lnTo>
                  <a:lnTo>
                    <a:pt x="422" y="397"/>
                  </a:lnTo>
                  <a:lnTo>
                    <a:pt x="427" y="397"/>
                  </a:lnTo>
                  <a:lnTo>
                    <a:pt x="430" y="394"/>
                  </a:lnTo>
                  <a:lnTo>
                    <a:pt x="430" y="392"/>
                  </a:lnTo>
                  <a:lnTo>
                    <a:pt x="430" y="389"/>
                  </a:lnTo>
                  <a:lnTo>
                    <a:pt x="430" y="384"/>
                  </a:lnTo>
                  <a:lnTo>
                    <a:pt x="430" y="381"/>
                  </a:lnTo>
                  <a:lnTo>
                    <a:pt x="430" y="378"/>
                  </a:lnTo>
                  <a:lnTo>
                    <a:pt x="433" y="376"/>
                  </a:lnTo>
                  <a:lnTo>
                    <a:pt x="437" y="373"/>
                  </a:lnTo>
                  <a:lnTo>
                    <a:pt x="437" y="370"/>
                  </a:lnTo>
                  <a:lnTo>
                    <a:pt x="437" y="368"/>
                  </a:lnTo>
                  <a:lnTo>
                    <a:pt x="440" y="368"/>
                  </a:lnTo>
                  <a:lnTo>
                    <a:pt x="440" y="365"/>
                  </a:lnTo>
                  <a:lnTo>
                    <a:pt x="440" y="362"/>
                  </a:lnTo>
                  <a:lnTo>
                    <a:pt x="441" y="359"/>
                  </a:lnTo>
                  <a:lnTo>
                    <a:pt x="443" y="359"/>
                  </a:lnTo>
                  <a:lnTo>
                    <a:pt x="443" y="355"/>
                  </a:lnTo>
                  <a:lnTo>
                    <a:pt x="443" y="349"/>
                  </a:lnTo>
                  <a:lnTo>
                    <a:pt x="441" y="343"/>
                  </a:lnTo>
                  <a:lnTo>
                    <a:pt x="445" y="336"/>
                  </a:lnTo>
                  <a:lnTo>
                    <a:pt x="448" y="333"/>
                  </a:lnTo>
                  <a:lnTo>
                    <a:pt x="448" y="332"/>
                  </a:lnTo>
                  <a:lnTo>
                    <a:pt x="448" y="328"/>
                  </a:lnTo>
                  <a:lnTo>
                    <a:pt x="448" y="322"/>
                  </a:lnTo>
                  <a:lnTo>
                    <a:pt x="448" y="316"/>
                  </a:lnTo>
                  <a:lnTo>
                    <a:pt x="449" y="309"/>
                  </a:lnTo>
                  <a:lnTo>
                    <a:pt x="451" y="306"/>
                  </a:lnTo>
                  <a:lnTo>
                    <a:pt x="449" y="298"/>
                  </a:lnTo>
                  <a:lnTo>
                    <a:pt x="448" y="292"/>
                  </a:lnTo>
                  <a:lnTo>
                    <a:pt x="448" y="284"/>
                  </a:lnTo>
                  <a:lnTo>
                    <a:pt x="448" y="279"/>
                  </a:lnTo>
                  <a:lnTo>
                    <a:pt x="448" y="278"/>
                  </a:lnTo>
                  <a:lnTo>
                    <a:pt x="446" y="274"/>
                  </a:lnTo>
                  <a:lnTo>
                    <a:pt x="448" y="274"/>
                  </a:lnTo>
                  <a:lnTo>
                    <a:pt x="446" y="271"/>
                  </a:lnTo>
                  <a:lnTo>
                    <a:pt x="446" y="268"/>
                  </a:lnTo>
                  <a:lnTo>
                    <a:pt x="448" y="268"/>
                  </a:lnTo>
                  <a:lnTo>
                    <a:pt x="448" y="268"/>
                  </a:lnTo>
                  <a:lnTo>
                    <a:pt x="448" y="267"/>
                  </a:lnTo>
                  <a:lnTo>
                    <a:pt x="449" y="263"/>
                  </a:lnTo>
                  <a:lnTo>
                    <a:pt x="449" y="262"/>
                  </a:lnTo>
                  <a:lnTo>
                    <a:pt x="449" y="262"/>
                  </a:lnTo>
                  <a:lnTo>
                    <a:pt x="449" y="260"/>
                  </a:lnTo>
                  <a:lnTo>
                    <a:pt x="451" y="257"/>
                  </a:lnTo>
                  <a:lnTo>
                    <a:pt x="452" y="260"/>
                  </a:lnTo>
                  <a:lnTo>
                    <a:pt x="452" y="262"/>
                  </a:lnTo>
                  <a:lnTo>
                    <a:pt x="452" y="263"/>
                  </a:lnTo>
                  <a:lnTo>
                    <a:pt x="456" y="263"/>
                  </a:lnTo>
                  <a:lnTo>
                    <a:pt x="457" y="262"/>
                  </a:lnTo>
                  <a:lnTo>
                    <a:pt x="462" y="254"/>
                  </a:lnTo>
                  <a:lnTo>
                    <a:pt x="465" y="243"/>
                  </a:lnTo>
                  <a:lnTo>
                    <a:pt x="465" y="243"/>
                  </a:lnTo>
                  <a:lnTo>
                    <a:pt x="465" y="240"/>
                  </a:lnTo>
                  <a:lnTo>
                    <a:pt x="465" y="240"/>
                  </a:lnTo>
                  <a:lnTo>
                    <a:pt x="468" y="240"/>
                  </a:lnTo>
                  <a:lnTo>
                    <a:pt x="468" y="236"/>
                  </a:lnTo>
                  <a:lnTo>
                    <a:pt x="468" y="236"/>
                  </a:lnTo>
                  <a:lnTo>
                    <a:pt x="472" y="233"/>
                  </a:lnTo>
                  <a:lnTo>
                    <a:pt x="468" y="232"/>
                  </a:lnTo>
                  <a:lnTo>
                    <a:pt x="472" y="232"/>
                  </a:lnTo>
                  <a:lnTo>
                    <a:pt x="472" y="233"/>
                  </a:lnTo>
                  <a:lnTo>
                    <a:pt x="473" y="230"/>
                  </a:lnTo>
                  <a:lnTo>
                    <a:pt x="478" y="227"/>
                  </a:lnTo>
                  <a:lnTo>
                    <a:pt x="483" y="222"/>
                  </a:lnTo>
                  <a:lnTo>
                    <a:pt x="486" y="216"/>
                  </a:lnTo>
                  <a:lnTo>
                    <a:pt x="489" y="213"/>
                  </a:lnTo>
                  <a:lnTo>
                    <a:pt x="492" y="209"/>
                  </a:lnTo>
                  <a:lnTo>
                    <a:pt x="495" y="200"/>
                  </a:lnTo>
                  <a:lnTo>
                    <a:pt x="495" y="197"/>
                  </a:lnTo>
                  <a:lnTo>
                    <a:pt x="497" y="192"/>
                  </a:lnTo>
                  <a:lnTo>
                    <a:pt x="497" y="189"/>
                  </a:lnTo>
                  <a:lnTo>
                    <a:pt x="497" y="187"/>
                  </a:lnTo>
                  <a:lnTo>
                    <a:pt x="495" y="184"/>
                  </a:lnTo>
                  <a:lnTo>
                    <a:pt x="497" y="184"/>
                  </a:lnTo>
                  <a:lnTo>
                    <a:pt x="497" y="181"/>
                  </a:lnTo>
                  <a:lnTo>
                    <a:pt x="497" y="178"/>
                  </a:lnTo>
                  <a:lnTo>
                    <a:pt x="497" y="174"/>
                  </a:lnTo>
                  <a:lnTo>
                    <a:pt x="494" y="168"/>
                  </a:lnTo>
                  <a:lnTo>
                    <a:pt x="494" y="168"/>
                  </a:lnTo>
                  <a:lnTo>
                    <a:pt x="494" y="168"/>
                  </a:lnTo>
                  <a:lnTo>
                    <a:pt x="494" y="168"/>
                  </a:lnTo>
                  <a:lnTo>
                    <a:pt x="494" y="168"/>
                  </a:lnTo>
                  <a:lnTo>
                    <a:pt x="494" y="168"/>
                  </a:lnTo>
                  <a:lnTo>
                    <a:pt x="494" y="168"/>
                  </a:lnTo>
                  <a:lnTo>
                    <a:pt x="494" y="168"/>
                  </a:lnTo>
                  <a:lnTo>
                    <a:pt x="494" y="16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8" name="Freeform 54">
              <a:extLst>
                <a:ext uri="{FF2B5EF4-FFF2-40B4-BE49-F238E27FC236}">
                  <a16:creationId xmlns:a16="http://schemas.microsoft.com/office/drawing/2014/main" id="{EA4D854D-36E4-4EAC-1AAB-DAD3CA31748F}"/>
                </a:ext>
              </a:extLst>
            </p:cNvPr>
            <p:cNvSpPr>
              <a:spLocks noEditPoints="1"/>
            </p:cNvSpPr>
            <p:nvPr/>
          </p:nvSpPr>
          <p:spPr bwMode="auto">
            <a:xfrm>
              <a:off x="3793026" y="4592606"/>
              <a:ext cx="423940" cy="1215744"/>
            </a:xfrm>
            <a:custGeom>
              <a:avLst/>
              <a:gdLst>
                <a:gd name="T0" fmla="*/ 143 w 189"/>
                <a:gd name="T1" fmla="*/ 515 h 542"/>
                <a:gd name="T2" fmla="*/ 56 w 189"/>
                <a:gd name="T3" fmla="*/ 389 h 542"/>
                <a:gd name="T4" fmla="*/ 114 w 189"/>
                <a:gd name="T5" fmla="*/ 513 h 542"/>
                <a:gd name="T6" fmla="*/ 121 w 189"/>
                <a:gd name="T7" fmla="*/ 518 h 542"/>
                <a:gd name="T8" fmla="*/ 65 w 189"/>
                <a:gd name="T9" fmla="*/ 447 h 542"/>
                <a:gd name="T10" fmla="*/ 64 w 189"/>
                <a:gd name="T11" fmla="*/ 450 h 542"/>
                <a:gd name="T12" fmla="*/ 68 w 189"/>
                <a:gd name="T13" fmla="*/ 458 h 542"/>
                <a:gd name="T14" fmla="*/ 72 w 189"/>
                <a:gd name="T15" fmla="*/ 456 h 542"/>
                <a:gd name="T16" fmla="*/ 164 w 189"/>
                <a:gd name="T17" fmla="*/ 534 h 542"/>
                <a:gd name="T18" fmla="*/ 173 w 189"/>
                <a:gd name="T19" fmla="*/ 539 h 542"/>
                <a:gd name="T20" fmla="*/ 186 w 189"/>
                <a:gd name="T21" fmla="*/ 537 h 542"/>
                <a:gd name="T22" fmla="*/ 172 w 189"/>
                <a:gd name="T23" fmla="*/ 531 h 542"/>
                <a:gd name="T24" fmla="*/ 141 w 189"/>
                <a:gd name="T25" fmla="*/ 504 h 542"/>
                <a:gd name="T26" fmla="*/ 154 w 189"/>
                <a:gd name="T27" fmla="*/ 512 h 542"/>
                <a:gd name="T28" fmla="*/ 164 w 189"/>
                <a:gd name="T29" fmla="*/ 528 h 542"/>
                <a:gd name="T30" fmla="*/ 148 w 189"/>
                <a:gd name="T31" fmla="*/ 524 h 542"/>
                <a:gd name="T32" fmla="*/ 154 w 189"/>
                <a:gd name="T33" fmla="*/ 531 h 542"/>
                <a:gd name="T34" fmla="*/ 108 w 189"/>
                <a:gd name="T35" fmla="*/ 486 h 542"/>
                <a:gd name="T36" fmla="*/ 87 w 189"/>
                <a:gd name="T37" fmla="*/ 469 h 542"/>
                <a:gd name="T38" fmla="*/ 87 w 189"/>
                <a:gd name="T39" fmla="*/ 443 h 542"/>
                <a:gd name="T40" fmla="*/ 87 w 189"/>
                <a:gd name="T41" fmla="*/ 420 h 542"/>
                <a:gd name="T42" fmla="*/ 72 w 189"/>
                <a:gd name="T43" fmla="*/ 393 h 542"/>
                <a:gd name="T44" fmla="*/ 68 w 189"/>
                <a:gd name="T45" fmla="*/ 378 h 542"/>
                <a:gd name="T46" fmla="*/ 59 w 189"/>
                <a:gd name="T47" fmla="*/ 351 h 542"/>
                <a:gd name="T48" fmla="*/ 49 w 189"/>
                <a:gd name="T49" fmla="*/ 320 h 542"/>
                <a:gd name="T50" fmla="*/ 43 w 189"/>
                <a:gd name="T51" fmla="*/ 281 h 542"/>
                <a:gd name="T52" fmla="*/ 45 w 189"/>
                <a:gd name="T53" fmla="*/ 245 h 542"/>
                <a:gd name="T54" fmla="*/ 38 w 189"/>
                <a:gd name="T55" fmla="*/ 220 h 542"/>
                <a:gd name="T56" fmla="*/ 32 w 189"/>
                <a:gd name="T57" fmla="*/ 186 h 542"/>
                <a:gd name="T58" fmla="*/ 41 w 189"/>
                <a:gd name="T59" fmla="*/ 139 h 542"/>
                <a:gd name="T60" fmla="*/ 35 w 189"/>
                <a:gd name="T61" fmla="*/ 104 h 542"/>
                <a:gd name="T62" fmla="*/ 38 w 189"/>
                <a:gd name="T63" fmla="*/ 67 h 542"/>
                <a:gd name="T64" fmla="*/ 6 w 189"/>
                <a:gd name="T65" fmla="*/ 10 h 542"/>
                <a:gd name="T66" fmla="*/ 10 w 189"/>
                <a:gd name="T67" fmla="*/ 73 h 542"/>
                <a:gd name="T68" fmla="*/ 11 w 189"/>
                <a:gd name="T69" fmla="*/ 123 h 542"/>
                <a:gd name="T70" fmla="*/ 14 w 189"/>
                <a:gd name="T71" fmla="*/ 174 h 542"/>
                <a:gd name="T72" fmla="*/ 22 w 189"/>
                <a:gd name="T73" fmla="*/ 226 h 542"/>
                <a:gd name="T74" fmla="*/ 21 w 189"/>
                <a:gd name="T75" fmla="*/ 277 h 542"/>
                <a:gd name="T76" fmla="*/ 21 w 189"/>
                <a:gd name="T77" fmla="*/ 299 h 542"/>
                <a:gd name="T78" fmla="*/ 35 w 189"/>
                <a:gd name="T79" fmla="*/ 347 h 542"/>
                <a:gd name="T80" fmla="*/ 54 w 189"/>
                <a:gd name="T81" fmla="*/ 359 h 542"/>
                <a:gd name="T82" fmla="*/ 57 w 189"/>
                <a:gd name="T83" fmla="*/ 375 h 542"/>
                <a:gd name="T84" fmla="*/ 59 w 189"/>
                <a:gd name="T85" fmla="*/ 396 h 542"/>
                <a:gd name="T86" fmla="*/ 53 w 189"/>
                <a:gd name="T87" fmla="*/ 413 h 542"/>
                <a:gd name="T88" fmla="*/ 46 w 189"/>
                <a:gd name="T89" fmla="*/ 410 h 542"/>
                <a:gd name="T90" fmla="*/ 51 w 189"/>
                <a:gd name="T91" fmla="*/ 420 h 542"/>
                <a:gd name="T92" fmla="*/ 64 w 189"/>
                <a:gd name="T93" fmla="*/ 431 h 542"/>
                <a:gd name="T94" fmla="*/ 75 w 189"/>
                <a:gd name="T95" fmla="*/ 437 h 542"/>
                <a:gd name="T96" fmla="*/ 68 w 189"/>
                <a:gd name="T97" fmla="*/ 442 h 542"/>
                <a:gd name="T98" fmla="*/ 75 w 189"/>
                <a:gd name="T99" fmla="*/ 458 h 542"/>
                <a:gd name="T100" fmla="*/ 80 w 189"/>
                <a:gd name="T101" fmla="*/ 466 h 542"/>
                <a:gd name="T102" fmla="*/ 87 w 189"/>
                <a:gd name="T103" fmla="*/ 481 h 542"/>
                <a:gd name="T104" fmla="*/ 100 w 189"/>
                <a:gd name="T105" fmla="*/ 496 h 542"/>
                <a:gd name="T106" fmla="*/ 111 w 189"/>
                <a:gd name="T107" fmla="*/ 507 h 542"/>
                <a:gd name="T108" fmla="*/ 97 w 189"/>
                <a:gd name="T109" fmla="*/ 507 h 542"/>
                <a:gd name="T110" fmla="*/ 118 w 189"/>
                <a:gd name="T111" fmla="*/ 507 h 542"/>
                <a:gd name="T112" fmla="*/ 126 w 189"/>
                <a:gd name="T113" fmla="*/ 510 h 542"/>
                <a:gd name="T114" fmla="*/ 135 w 189"/>
                <a:gd name="T115" fmla="*/ 507 h 542"/>
                <a:gd name="T116" fmla="*/ 143 w 189"/>
                <a:gd name="T117" fmla="*/ 524 h 542"/>
                <a:gd name="T118" fmla="*/ 43 w 189"/>
                <a:gd name="T119" fmla="*/ 372 h 542"/>
                <a:gd name="T120" fmla="*/ 35 w 189"/>
                <a:gd name="T121" fmla="*/ 350 h 542"/>
                <a:gd name="T122" fmla="*/ 43 w 189"/>
                <a:gd name="T123" fmla="*/ 372 h 542"/>
                <a:gd name="T124" fmla="*/ 132 w 189"/>
                <a:gd name="T125" fmla="*/ 521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 h="542">
                  <a:moveTo>
                    <a:pt x="138" y="528"/>
                  </a:moveTo>
                  <a:lnTo>
                    <a:pt x="138" y="528"/>
                  </a:lnTo>
                  <a:lnTo>
                    <a:pt x="137" y="528"/>
                  </a:lnTo>
                  <a:lnTo>
                    <a:pt x="137" y="528"/>
                  </a:lnTo>
                  <a:lnTo>
                    <a:pt x="137" y="528"/>
                  </a:lnTo>
                  <a:lnTo>
                    <a:pt x="137" y="528"/>
                  </a:lnTo>
                  <a:lnTo>
                    <a:pt x="138" y="528"/>
                  </a:lnTo>
                  <a:lnTo>
                    <a:pt x="138" y="528"/>
                  </a:lnTo>
                  <a:lnTo>
                    <a:pt x="140" y="528"/>
                  </a:lnTo>
                  <a:lnTo>
                    <a:pt x="140" y="528"/>
                  </a:lnTo>
                  <a:lnTo>
                    <a:pt x="141" y="528"/>
                  </a:lnTo>
                  <a:lnTo>
                    <a:pt x="141" y="528"/>
                  </a:lnTo>
                  <a:lnTo>
                    <a:pt x="141" y="528"/>
                  </a:lnTo>
                  <a:lnTo>
                    <a:pt x="141" y="528"/>
                  </a:lnTo>
                  <a:lnTo>
                    <a:pt x="140" y="528"/>
                  </a:lnTo>
                  <a:lnTo>
                    <a:pt x="138" y="528"/>
                  </a:lnTo>
                  <a:lnTo>
                    <a:pt x="138" y="528"/>
                  </a:lnTo>
                  <a:lnTo>
                    <a:pt x="138" y="528"/>
                  </a:lnTo>
                  <a:close/>
                  <a:moveTo>
                    <a:pt x="146" y="521"/>
                  </a:moveTo>
                  <a:lnTo>
                    <a:pt x="146" y="521"/>
                  </a:lnTo>
                  <a:lnTo>
                    <a:pt x="148" y="518"/>
                  </a:lnTo>
                  <a:lnTo>
                    <a:pt x="148" y="518"/>
                  </a:lnTo>
                  <a:lnTo>
                    <a:pt x="146" y="518"/>
                  </a:lnTo>
                  <a:lnTo>
                    <a:pt x="146" y="518"/>
                  </a:lnTo>
                  <a:lnTo>
                    <a:pt x="145" y="515"/>
                  </a:lnTo>
                  <a:lnTo>
                    <a:pt x="145" y="515"/>
                  </a:lnTo>
                  <a:lnTo>
                    <a:pt x="143" y="515"/>
                  </a:lnTo>
                  <a:lnTo>
                    <a:pt x="143" y="515"/>
                  </a:lnTo>
                  <a:lnTo>
                    <a:pt x="141" y="516"/>
                  </a:lnTo>
                  <a:lnTo>
                    <a:pt x="141" y="516"/>
                  </a:lnTo>
                  <a:lnTo>
                    <a:pt x="143" y="518"/>
                  </a:lnTo>
                  <a:lnTo>
                    <a:pt x="143" y="518"/>
                  </a:lnTo>
                  <a:lnTo>
                    <a:pt x="141" y="518"/>
                  </a:lnTo>
                  <a:lnTo>
                    <a:pt x="141" y="518"/>
                  </a:lnTo>
                  <a:lnTo>
                    <a:pt x="143" y="521"/>
                  </a:lnTo>
                  <a:lnTo>
                    <a:pt x="143" y="521"/>
                  </a:lnTo>
                  <a:lnTo>
                    <a:pt x="145" y="524"/>
                  </a:lnTo>
                  <a:lnTo>
                    <a:pt x="145" y="524"/>
                  </a:lnTo>
                  <a:lnTo>
                    <a:pt x="148" y="524"/>
                  </a:lnTo>
                  <a:lnTo>
                    <a:pt x="148" y="524"/>
                  </a:lnTo>
                  <a:lnTo>
                    <a:pt x="145" y="518"/>
                  </a:lnTo>
                  <a:lnTo>
                    <a:pt x="146" y="521"/>
                  </a:lnTo>
                  <a:lnTo>
                    <a:pt x="146" y="521"/>
                  </a:lnTo>
                  <a:lnTo>
                    <a:pt x="146" y="521"/>
                  </a:lnTo>
                  <a:close/>
                  <a:moveTo>
                    <a:pt x="59" y="386"/>
                  </a:moveTo>
                  <a:lnTo>
                    <a:pt x="59" y="386"/>
                  </a:lnTo>
                  <a:lnTo>
                    <a:pt x="59" y="386"/>
                  </a:lnTo>
                  <a:lnTo>
                    <a:pt x="59" y="386"/>
                  </a:lnTo>
                  <a:lnTo>
                    <a:pt x="57" y="386"/>
                  </a:lnTo>
                  <a:lnTo>
                    <a:pt x="57" y="386"/>
                  </a:lnTo>
                  <a:lnTo>
                    <a:pt x="57" y="388"/>
                  </a:lnTo>
                  <a:lnTo>
                    <a:pt x="57" y="388"/>
                  </a:lnTo>
                  <a:lnTo>
                    <a:pt x="56" y="389"/>
                  </a:lnTo>
                  <a:lnTo>
                    <a:pt x="56" y="389"/>
                  </a:lnTo>
                  <a:lnTo>
                    <a:pt x="56" y="391"/>
                  </a:lnTo>
                  <a:lnTo>
                    <a:pt x="56" y="391"/>
                  </a:lnTo>
                  <a:lnTo>
                    <a:pt x="57" y="393"/>
                  </a:lnTo>
                  <a:lnTo>
                    <a:pt x="57" y="393"/>
                  </a:lnTo>
                  <a:lnTo>
                    <a:pt x="59" y="394"/>
                  </a:lnTo>
                  <a:lnTo>
                    <a:pt x="59" y="394"/>
                  </a:lnTo>
                  <a:lnTo>
                    <a:pt x="59" y="393"/>
                  </a:lnTo>
                  <a:lnTo>
                    <a:pt x="59" y="393"/>
                  </a:lnTo>
                  <a:lnTo>
                    <a:pt x="62" y="391"/>
                  </a:lnTo>
                  <a:lnTo>
                    <a:pt x="62" y="391"/>
                  </a:lnTo>
                  <a:lnTo>
                    <a:pt x="62" y="389"/>
                  </a:lnTo>
                  <a:lnTo>
                    <a:pt x="62" y="389"/>
                  </a:lnTo>
                  <a:lnTo>
                    <a:pt x="62" y="388"/>
                  </a:lnTo>
                  <a:lnTo>
                    <a:pt x="62" y="388"/>
                  </a:lnTo>
                  <a:lnTo>
                    <a:pt x="62" y="388"/>
                  </a:lnTo>
                  <a:lnTo>
                    <a:pt x="59" y="386"/>
                  </a:lnTo>
                  <a:lnTo>
                    <a:pt x="59" y="386"/>
                  </a:lnTo>
                  <a:lnTo>
                    <a:pt x="59" y="386"/>
                  </a:lnTo>
                  <a:close/>
                  <a:moveTo>
                    <a:pt x="118" y="515"/>
                  </a:moveTo>
                  <a:lnTo>
                    <a:pt x="118" y="515"/>
                  </a:lnTo>
                  <a:lnTo>
                    <a:pt x="116" y="513"/>
                  </a:lnTo>
                  <a:lnTo>
                    <a:pt x="116" y="513"/>
                  </a:lnTo>
                  <a:lnTo>
                    <a:pt x="114" y="512"/>
                  </a:lnTo>
                  <a:lnTo>
                    <a:pt x="114" y="512"/>
                  </a:lnTo>
                  <a:lnTo>
                    <a:pt x="113" y="512"/>
                  </a:lnTo>
                  <a:lnTo>
                    <a:pt x="113" y="512"/>
                  </a:lnTo>
                  <a:lnTo>
                    <a:pt x="114" y="513"/>
                  </a:lnTo>
                  <a:lnTo>
                    <a:pt x="114" y="513"/>
                  </a:lnTo>
                  <a:lnTo>
                    <a:pt x="111" y="513"/>
                  </a:lnTo>
                  <a:lnTo>
                    <a:pt x="111" y="513"/>
                  </a:lnTo>
                  <a:lnTo>
                    <a:pt x="116" y="516"/>
                  </a:lnTo>
                  <a:lnTo>
                    <a:pt x="116" y="516"/>
                  </a:lnTo>
                  <a:lnTo>
                    <a:pt x="113" y="515"/>
                  </a:lnTo>
                  <a:lnTo>
                    <a:pt x="113" y="515"/>
                  </a:lnTo>
                  <a:lnTo>
                    <a:pt x="111" y="515"/>
                  </a:lnTo>
                  <a:lnTo>
                    <a:pt x="111" y="515"/>
                  </a:lnTo>
                  <a:lnTo>
                    <a:pt x="110" y="516"/>
                  </a:lnTo>
                  <a:lnTo>
                    <a:pt x="110" y="516"/>
                  </a:lnTo>
                  <a:lnTo>
                    <a:pt x="111" y="516"/>
                  </a:lnTo>
                  <a:lnTo>
                    <a:pt x="111" y="516"/>
                  </a:lnTo>
                  <a:lnTo>
                    <a:pt x="114" y="516"/>
                  </a:lnTo>
                  <a:lnTo>
                    <a:pt x="114" y="516"/>
                  </a:lnTo>
                  <a:lnTo>
                    <a:pt x="116" y="518"/>
                  </a:lnTo>
                  <a:lnTo>
                    <a:pt x="116" y="518"/>
                  </a:lnTo>
                  <a:lnTo>
                    <a:pt x="118" y="521"/>
                  </a:lnTo>
                  <a:lnTo>
                    <a:pt x="118" y="521"/>
                  </a:lnTo>
                  <a:lnTo>
                    <a:pt x="118" y="518"/>
                  </a:lnTo>
                  <a:lnTo>
                    <a:pt x="118" y="518"/>
                  </a:lnTo>
                  <a:lnTo>
                    <a:pt x="121" y="518"/>
                  </a:lnTo>
                  <a:lnTo>
                    <a:pt x="121" y="518"/>
                  </a:lnTo>
                  <a:lnTo>
                    <a:pt x="122" y="518"/>
                  </a:lnTo>
                  <a:lnTo>
                    <a:pt x="122" y="518"/>
                  </a:lnTo>
                  <a:lnTo>
                    <a:pt x="121" y="518"/>
                  </a:lnTo>
                  <a:lnTo>
                    <a:pt x="121" y="518"/>
                  </a:lnTo>
                  <a:lnTo>
                    <a:pt x="122" y="521"/>
                  </a:lnTo>
                  <a:lnTo>
                    <a:pt x="122" y="521"/>
                  </a:lnTo>
                  <a:lnTo>
                    <a:pt x="121" y="521"/>
                  </a:lnTo>
                  <a:lnTo>
                    <a:pt x="121" y="521"/>
                  </a:lnTo>
                  <a:lnTo>
                    <a:pt x="122" y="521"/>
                  </a:lnTo>
                  <a:lnTo>
                    <a:pt x="122" y="521"/>
                  </a:lnTo>
                  <a:lnTo>
                    <a:pt x="126" y="521"/>
                  </a:lnTo>
                  <a:lnTo>
                    <a:pt x="126" y="521"/>
                  </a:lnTo>
                  <a:lnTo>
                    <a:pt x="126" y="518"/>
                  </a:lnTo>
                  <a:lnTo>
                    <a:pt x="126" y="518"/>
                  </a:lnTo>
                  <a:lnTo>
                    <a:pt x="126" y="518"/>
                  </a:lnTo>
                  <a:lnTo>
                    <a:pt x="126" y="518"/>
                  </a:lnTo>
                  <a:lnTo>
                    <a:pt x="126" y="516"/>
                  </a:lnTo>
                  <a:lnTo>
                    <a:pt x="126" y="516"/>
                  </a:lnTo>
                  <a:lnTo>
                    <a:pt x="122" y="516"/>
                  </a:lnTo>
                  <a:lnTo>
                    <a:pt x="122" y="516"/>
                  </a:lnTo>
                  <a:lnTo>
                    <a:pt x="122" y="515"/>
                  </a:lnTo>
                  <a:lnTo>
                    <a:pt x="122" y="515"/>
                  </a:lnTo>
                  <a:lnTo>
                    <a:pt x="121" y="515"/>
                  </a:lnTo>
                  <a:lnTo>
                    <a:pt x="121" y="515"/>
                  </a:lnTo>
                  <a:lnTo>
                    <a:pt x="119" y="513"/>
                  </a:lnTo>
                  <a:lnTo>
                    <a:pt x="119" y="513"/>
                  </a:lnTo>
                  <a:lnTo>
                    <a:pt x="118" y="513"/>
                  </a:lnTo>
                  <a:lnTo>
                    <a:pt x="118" y="515"/>
                  </a:lnTo>
                  <a:lnTo>
                    <a:pt x="118" y="515"/>
                  </a:lnTo>
                  <a:lnTo>
                    <a:pt x="118" y="515"/>
                  </a:lnTo>
                  <a:close/>
                  <a:moveTo>
                    <a:pt x="65" y="447"/>
                  </a:moveTo>
                  <a:lnTo>
                    <a:pt x="65" y="447"/>
                  </a:lnTo>
                  <a:lnTo>
                    <a:pt x="65" y="445"/>
                  </a:lnTo>
                  <a:lnTo>
                    <a:pt x="65" y="445"/>
                  </a:lnTo>
                  <a:lnTo>
                    <a:pt x="64" y="443"/>
                  </a:lnTo>
                  <a:lnTo>
                    <a:pt x="64" y="443"/>
                  </a:lnTo>
                  <a:lnTo>
                    <a:pt x="62" y="440"/>
                  </a:lnTo>
                  <a:lnTo>
                    <a:pt x="62" y="440"/>
                  </a:lnTo>
                  <a:lnTo>
                    <a:pt x="62" y="440"/>
                  </a:lnTo>
                  <a:lnTo>
                    <a:pt x="62" y="440"/>
                  </a:lnTo>
                  <a:lnTo>
                    <a:pt x="59" y="440"/>
                  </a:lnTo>
                  <a:lnTo>
                    <a:pt x="59" y="440"/>
                  </a:lnTo>
                  <a:lnTo>
                    <a:pt x="56" y="440"/>
                  </a:lnTo>
                  <a:lnTo>
                    <a:pt x="56" y="440"/>
                  </a:lnTo>
                  <a:lnTo>
                    <a:pt x="59" y="443"/>
                  </a:lnTo>
                  <a:lnTo>
                    <a:pt x="59" y="443"/>
                  </a:lnTo>
                  <a:lnTo>
                    <a:pt x="62" y="445"/>
                  </a:lnTo>
                  <a:lnTo>
                    <a:pt x="62" y="445"/>
                  </a:lnTo>
                  <a:lnTo>
                    <a:pt x="62" y="447"/>
                  </a:lnTo>
                  <a:lnTo>
                    <a:pt x="62" y="447"/>
                  </a:lnTo>
                  <a:lnTo>
                    <a:pt x="62" y="448"/>
                  </a:lnTo>
                  <a:lnTo>
                    <a:pt x="62" y="448"/>
                  </a:lnTo>
                  <a:lnTo>
                    <a:pt x="64" y="448"/>
                  </a:lnTo>
                  <a:lnTo>
                    <a:pt x="64" y="448"/>
                  </a:lnTo>
                  <a:lnTo>
                    <a:pt x="62" y="450"/>
                  </a:lnTo>
                  <a:lnTo>
                    <a:pt x="62" y="450"/>
                  </a:lnTo>
                  <a:lnTo>
                    <a:pt x="64" y="450"/>
                  </a:lnTo>
                  <a:lnTo>
                    <a:pt x="64" y="450"/>
                  </a:lnTo>
                  <a:lnTo>
                    <a:pt x="65" y="453"/>
                  </a:lnTo>
                  <a:lnTo>
                    <a:pt x="65" y="453"/>
                  </a:lnTo>
                  <a:lnTo>
                    <a:pt x="65" y="456"/>
                  </a:lnTo>
                  <a:lnTo>
                    <a:pt x="65" y="456"/>
                  </a:lnTo>
                  <a:lnTo>
                    <a:pt x="64" y="455"/>
                  </a:lnTo>
                  <a:lnTo>
                    <a:pt x="64" y="455"/>
                  </a:lnTo>
                  <a:lnTo>
                    <a:pt x="64" y="456"/>
                  </a:lnTo>
                  <a:lnTo>
                    <a:pt x="64" y="456"/>
                  </a:lnTo>
                  <a:lnTo>
                    <a:pt x="62" y="456"/>
                  </a:lnTo>
                  <a:lnTo>
                    <a:pt x="62" y="456"/>
                  </a:lnTo>
                  <a:lnTo>
                    <a:pt x="59" y="455"/>
                  </a:lnTo>
                  <a:lnTo>
                    <a:pt x="59" y="455"/>
                  </a:lnTo>
                  <a:lnTo>
                    <a:pt x="62" y="458"/>
                  </a:lnTo>
                  <a:lnTo>
                    <a:pt x="62" y="458"/>
                  </a:lnTo>
                  <a:lnTo>
                    <a:pt x="64" y="459"/>
                  </a:lnTo>
                  <a:lnTo>
                    <a:pt x="64" y="459"/>
                  </a:lnTo>
                  <a:lnTo>
                    <a:pt x="65" y="462"/>
                  </a:lnTo>
                  <a:lnTo>
                    <a:pt x="65" y="462"/>
                  </a:lnTo>
                  <a:lnTo>
                    <a:pt x="68" y="462"/>
                  </a:lnTo>
                  <a:lnTo>
                    <a:pt x="68" y="462"/>
                  </a:lnTo>
                  <a:lnTo>
                    <a:pt x="67" y="462"/>
                  </a:lnTo>
                  <a:lnTo>
                    <a:pt x="67" y="462"/>
                  </a:lnTo>
                  <a:lnTo>
                    <a:pt x="67" y="461"/>
                  </a:lnTo>
                  <a:lnTo>
                    <a:pt x="67" y="461"/>
                  </a:lnTo>
                  <a:lnTo>
                    <a:pt x="67" y="458"/>
                  </a:lnTo>
                  <a:lnTo>
                    <a:pt x="67" y="458"/>
                  </a:lnTo>
                  <a:lnTo>
                    <a:pt x="68" y="458"/>
                  </a:lnTo>
                  <a:lnTo>
                    <a:pt x="68" y="458"/>
                  </a:lnTo>
                  <a:lnTo>
                    <a:pt x="68" y="459"/>
                  </a:lnTo>
                  <a:lnTo>
                    <a:pt x="68" y="459"/>
                  </a:lnTo>
                  <a:lnTo>
                    <a:pt x="70" y="461"/>
                  </a:lnTo>
                  <a:lnTo>
                    <a:pt x="70" y="461"/>
                  </a:lnTo>
                  <a:lnTo>
                    <a:pt x="68" y="461"/>
                  </a:lnTo>
                  <a:lnTo>
                    <a:pt x="68" y="461"/>
                  </a:lnTo>
                  <a:lnTo>
                    <a:pt x="70" y="462"/>
                  </a:lnTo>
                  <a:lnTo>
                    <a:pt x="70" y="462"/>
                  </a:lnTo>
                  <a:lnTo>
                    <a:pt x="72" y="462"/>
                  </a:lnTo>
                  <a:lnTo>
                    <a:pt x="72" y="462"/>
                  </a:lnTo>
                  <a:lnTo>
                    <a:pt x="72" y="466"/>
                  </a:lnTo>
                  <a:lnTo>
                    <a:pt x="72" y="466"/>
                  </a:lnTo>
                  <a:lnTo>
                    <a:pt x="75" y="466"/>
                  </a:lnTo>
                  <a:lnTo>
                    <a:pt x="75" y="466"/>
                  </a:lnTo>
                  <a:lnTo>
                    <a:pt x="75" y="462"/>
                  </a:lnTo>
                  <a:lnTo>
                    <a:pt x="75" y="462"/>
                  </a:lnTo>
                  <a:lnTo>
                    <a:pt x="73" y="462"/>
                  </a:lnTo>
                  <a:lnTo>
                    <a:pt x="73" y="462"/>
                  </a:lnTo>
                  <a:lnTo>
                    <a:pt x="75" y="462"/>
                  </a:lnTo>
                  <a:lnTo>
                    <a:pt x="75" y="462"/>
                  </a:lnTo>
                  <a:lnTo>
                    <a:pt x="73" y="461"/>
                  </a:lnTo>
                  <a:lnTo>
                    <a:pt x="73" y="461"/>
                  </a:lnTo>
                  <a:lnTo>
                    <a:pt x="72" y="462"/>
                  </a:lnTo>
                  <a:lnTo>
                    <a:pt x="72" y="462"/>
                  </a:lnTo>
                  <a:lnTo>
                    <a:pt x="72" y="456"/>
                  </a:lnTo>
                  <a:lnTo>
                    <a:pt x="72" y="456"/>
                  </a:lnTo>
                  <a:lnTo>
                    <a:pt x="70" y="453"/>
                  </a:lnTo>
                  <a:lnTo>
                    <a:pt x="70" y="453"/>
                  </a:lnTo>
                  <a:lnTo>
                    <a:pt x="68" y="451"/>
                  </a:lnTo>
                  <a:lnTo>
                    <a:pt x="68" y="451"/>
                  </a:lnTo>
                  <a:lnTo>
                    <a:pt x="68" y="450"/>
                  </a:lnTo>
                  <a:lnTo>
                    <a:pt x="68" y="450"/>
                  </a:lnTo>
                  <a:lnTo>
                    <a:pt x="67" y="448"/>
                  </a:lnTo>
                  <a:lnTo>
                    <a:pt x="65" y="447"/>
                  </a:lnTo>
                  <a:lnTo>
                    <a:pt x="65" y="447"/>
                  </a:lnTo>
                  <a:lnTo>
                    <a:pt x="65" y="447"/>
                  </a:lnTo>
                  <a:close/>
                  <a:moveTo>
                    <a:pt x="189" y="534"/>
                  </a:moveTo>
                  <a:lnTo>
                    <a:pt x="189" y="534"/>
                  </a:lnTo>
                  <a:lnTo>
                    <a:pt x="184" y="532"/>
                  </a:lnTo>
                  <a:lnTo>
                    <a:pt x="184" y="532"/>
                  </a:lnTo>
                  <a:lnTo>
                    <a:pt x="181" y="532"/>
                  </a:lnTo>
                  <a:lnTo>
                    <a:pt x="181" y="532"/>
                  </a:lnTo>
                  <a:lnTo>
                    <a:pt x="180" y="532"/>
                  </a:lnTo>
                  <a:lnTo>
                    <a:pt x="180" y="532"/>
                  </a:lnTo>
                  <a:lnTo>
                    <a:pt x="176" y="534"/>
                  </a:lnTo>
                  <a:lnTo>
                    <a:pt x="176" y="534"/>
                  </a:lnTo>
                  <a:lnTo>
                    <a:pt x="175" y="532"/>
                  </a:lnTo>
                  <a:lnTo>
                    <a:pt x="175" y="532"/>
                  </a:lnTo>
                  <a:lnTo>
                    <a:pt x="168" y="534"/>
                  </a:lnTo>
                  <a:lnTo>
                    <a:pt x="168" y="534"/>
                  </a:lnTo>
                  <a:lnTo>
                    <a:pt x="167" y="534"/>
                  </a:lnTo>
                  <a:lnTo>
                    <a:pt x="167" y="534"/>
                  </a:lnTo>
                  <a:lnTo>
                    <a:pt x="164" y="534"/>
                  </a:lnTo>
                  <a:lnTo>
                    <a:pt x="164" y="534"/>
                  </a:lnTo>
                  <a:lnTo>
                    <a:pt x="164" y="535"/>
                  </a:lnTo>
                  <a:lnTo>
                    <a:pt x="164" y="535"/>
                  </a:lnTo>
                  <a:lnTo>
                    <a:pt x="164" y="534"/>
                  </a:lnTo>
                  <a:lnTo>
                    <a:pt x="164" y="534"/>
                  </a:lnTo>
                  <a:lnTo>
                    <a:pt x="160" y="535"/>
                  </a:lnTo>
                  <a:lnTo>
                    <a:pt x="160" y="535"/>
                  </a:lnTo>
                  <a:lnTo>
                    <a:pt x="160" y="537"/>
                  </a:lnTo>
                  <a:lnTo>
                    <a:pt x="160" y="537"/>
                  </a:lnTo>
                  <a:lnTo>
                    <a:pt x="164" y="537"/>
                  </a:lnTo>
                  <a:lnTo>
                    <a:pt x="164" y="537"/>
                  </a:lnTo>
                  <a:lnTo>
                    <a:pt x="164" y="539"/>
                  </a:lnTo>
                  <a:lnTo>
                    <a:pt x="164" y="539"/>
                  </a:lnTo>
                  <a:lnTo>
                    <a:pt x="167" y="539"/>
                  </a:lnTo>
                  <a:lnTo>
                    <a:pt x="167" y="539"/>
                  </a:lnTo>
                  <a:lnTo>
                    <a:pt x="170" y="540"/>
                  </a:lnTo>
                  <a:lnTo>
                    <a:pt x="170" y="540"/>
                  </a:lnTo>
                  <a:lnTo>
                    <a:pt x="167" y="537"/>
                  </a:lnTo>
                  <a:lnTo>
                    <a:pt x="167" y="537"/>
                  </a:lnTo>
                  <a:lnTo>
                    <a:pt x="167" y="535"/>
                  </a:lnTo>
                  <a:lnTo>
                    <a:pt x="167" y="535"/>
                  </a:lnTo>
                  <a:lnTo>
                    <a:pt x="168" y="535"/>
                  </a:lnTo>
                  <a:lnTo>
                    <a:pt x="168" y="535"/>
                  </a:lnTo>
                  <a:lnTo>
                    <a:pt x="172" y="537"/>
                  </a:lnTo>
                  <a:lnTo>
                    <a:pt x="172" y="537"/>
                  </a:lnTo>
                  <a:lnTo>
                    <a:pt x="173" y="539"/>
                  </a:lnTo>
                  <a:lnTo>
                    <a:pt x="173" y="539"/>
                  </a:lnTo>
                  <a:lnTo>
                    <a:pt x="173" y="540"/>
                  </a:lnTo>
                  <a:lnTo>
                    <a:pt x="173" y="540"/>
                  </a:lnTo>
                  <a:lnTo>
                    <a:pt x="176" y="540"/>
                  </a:lnTo>
                  <a:lnTo>
                    <a:pt x="176" y="540"/>
                  </a:lnTo>
                  <a:lnTo>
                    <a:pt x="180" y="540"/>
                  </a:lnTo>
                  <a:lnTo>
                    <a:pt x="180" y="540"/>
                  </a:lnTo>
                  <a:lnTo>
                    <a:pt x="183" y="542"/>
                  </a:lnTo>
                  <a:lnTo>
                    <a:pt x="183" y="542"/>
                  </a:lnTo>
                  <a:lnTo>
                    <a:pt x="184" y="542"/>
                  </a:lnTo>
                  <a:lnTo>
                    <a:pt x="184" y="542"/>
                  </a:lnTo>
                  <a:lnTo>
                    <a:pt x="183" y="540"/>
                  </a:lnTo>
                  <a:lnTo>
                    <a:pt x="183" y="540"/>
                  </a:lnTo>
                  <a:lnTo>
                    <a:pt x="180" y="539"/>
                  </a:lnTo>
                  <a:lnTo>
                    <a:pt x="180" y="539"/>
                  </a:lnTo>
                  <a:lnTo>
                    <a:pt x="176" y="539"/>
                  </a:lnTo>
                  <a:lnTo>
                    <a:pt x="176" y="539"/>
                  </a:lnTo>
                  <a:lnTo>
                    <a:pt x="175" y="537"/>
                  </a:lnTo>
                  <a:lnTo>
                    <a:pt x="175" y="537"/>
                  </a:lnTo>
                  <a:lnTo>
                    <a:pt x="176" y="537"/>
                  </a:lnTo>
                  <a:lnTo>
                    <a:pt x="176" y="537"/>
                  </a:lnTo>
                  <a:lnTo>
                    <a:pt x="180" y="537"/>
                  </a:lnTo>
                  <a:lnTo>
                    <a:pt x="180" y="537"/>
                  </a:lnTo>
                  <a:lnTo>
                    <a:pt x="183" y="537"/>
                  </a:lnTo>
                  <a:lnTo>
                    <a:pt x="183" y="537"/>
                  </a:lnTo>
                  <a:lnTo>
                    <a:pt x="184" y="537"/>
                  </a:lnTo>
                  <a:lnTo>
                    <a:pt x="184" y="537"/>
                  </a:lnTo>
                  <a:lnTo>
                    <a:pt x="186" y="537"/>
                  </a:lnTo>
                  <a:lnTo>
                    <a:pt x="186" y="537"/>
                  </a:lnTo>
                  <a:lnTo>
                    <a:pt x="187" y="537"/>
                  </a:lnTo>
                  <a:lnTo>
                    <a:pt x="187" y="537"/>
                  </a:lnTo>
                  <a:lnTo>
                    <a:pt x="189" y="539"/>
                  </a:lnTo>
                  <a:lnTo>
                    <a:pt x="189" y="539"/>
                  </a:lnTo>
                  <a:lnTo>
                    <a:pt x="189" y="537"/>
                  </a:lnTo>
                  <a:lnTo>
                    <a:pt x="189" y="537"/>
                  </a:lnTo>
                  <a:lnTo>
                    <a:pt x="189" y="535"/>
                  </a:lnTo>
                  <a:lnTo>
                    <a:pt x="189" y="534"/>
                  </a:lnTo>
                  <a:lnTo>
                    <a:pt x="189" y="534"/>
                  </a:lnTo>
                  <a:lnTo>
                    <a:pt x="189" y="534"/>
                  </a:lnTo>
                  <a:close/>
                  <a:moveTo>
                    <a:pt x="160" y="531"/>
                  </a:moveTo>
                  <a:lnTo>
                    <a:pt x="160" y="531"/>
                  </a:lnTo>
                  <a:lnTo>
                    <a:pt x="164" y="532"/>
                  </a:lnTo>
                  <a:lnTo>
                    <a:pt x="164" y="532"/>
                  </a:lnTo>
                  <a:lnTo>
                    <a:pt x="167" y="532"/>
                  </a:lnTo>
                  <a:lnTo>
                    <a:pt x="167" y="532"/>
                  </a:lnTo>
                  <a:lnTo>
                    <a:pt x="168" y="532"/>
                  </a:lnTo>
                  <a:lnTo>
                    <a:pt x="168" y="532"/>
                  </a:lnTo>
                  <a:lnTo>
                    <a:pt x="170" y="532"/>
                  </a:lnTo>
                  <a:lnTo>
                    <a:pt x="170" y="532"/>
                  </a:lnTo>
                  <a:lnTo>
                    <a:pt x="168" y="531"/>
                  </a:lnTo>
                  <a:lnTo>
                    <a:pt x="168" y="531"/>
                  </a:lnTo>
                  <a:lnTo>
                    <a:pt x="172" y="532"/>
                  </a:lnTo>
                  <a:lnTo>
                    <a:pt x="172" y="532"/>
                  </a:lnTo>
                  <a:lnTo>
                    <a:pt x="172" y="531"/>
                  </a:lnTo>
                  <a:lnTo>
                    <a:pt x="172" y="531"/>
                  </a:lnTo>
                  <a:lnTo>
                    <a:pt x="170" y="531"/>
                  </a:lnTo>
                  <a:lnTo>
                    <a:pt x="170" y="531"/>
                  </a:lnTo>
                  <a:lnTo>
                    <a:pt x="167" y="521"/>
                  </a:lnTo>
                  <a:lnTo>
                    <a:pt x="167" y="521"/>
                  </a:lnTo>
                  <a:lnTo>
                    <a:pt x="160" y="507"/>
                  </a:lnTo>
                  <a:lnTo>
                    <a:pt x="160" y="507"/>
                  </a:lnTo>
                  <a:lnTo>
                    <a:pt x="157" y="504"/>
                  </a:lnTo>
                  <a:lnTo>
                    <a:pt x="157" y="504"/>
                  </a:lnTo>
                  <a:lnTo>
                    <a:pt x="157" y="501"/>
                  </a:lnTo>
                  <a:lnTo>
                    <a:pt x="157" y="501"/>
                  </a:lnTo>
                  <a:lnTo>
                    <a:pt x="154" y="501"/>
                  </a:lnTo>
                  <a:lnTo>
                    <a:pt x="154" y="501"/>
                  </a:lnTo>
                  <a:lnTo>
                    <a:pt x="151" y="501"/>
                  </a:lnTo>
                  <a:lnTo>
                    <a:pt x="151" y="501"/>
                  </a:lnTo>
                  <a:lnTo>
                    <a:pt x="149" y="501"/>
                  </a:lnTo>
                  <a:lnTo>
                    <a:pt x="149" y="501"/>
                  </a:lnTo>
                  <a:lnTo>
                    <a:pt x="148" y="501"/>
                  </a:lnTo>
                  <a:lnTo>
                    <a:pt x="148" y="501"/>
                  </a:lnTo>
                  <a:lnTo>
                    <a:pt x="146" y="501"/>
                  </a:lnTo>
                  <a:lnTo>
                    <a:pt x="146" y="501"/>
                  </a:lnTo>
                  <a:lnTo>
                    <a:pt x="146" y="504"/>
                  </a:lnTo>
                  <a:lnTo>
                    <a:pt x="146" y="504"/>
                  </a:lnTo>
                  <a:lnTo>
                    <a:pt x="146" y="504"/>
                  </a:lnTo>
                  <a:lnTo>
                    <a:pt x="146" y="504"/>
                  </a:lnTo>
                  <a:lnTo>
                    <a:pt x="145" y="504"/>
                  </a:lnTo>
                  <a:lnTo>
                    <a:pt x="145" y="504"/>
                  </a:lnTo>
                  <a:lnTo>
                    <a:pt x="141" y="504"/>
                  </a:lnTo>
                  <a:lnTo>
                    <a:pt x="141" y="504"/>
                  </a:lnTo>
                  <a:lnTo>
                    <a:pt x="138" y="504"/>
                  </a:lnTo>
                  <a:lnTo>
                    <a:pt x="138" y="504"/>
                  </a:lnTo>
                  <a:lnTo>
                    <a:pt x="141" y="504"/>
                  </a:lnTo>
                  <a:lnTo>
                    <a:pt x="141" y="504"/>
                  </a:lnTo>
                  <a:lnTo>
                    <a:pt x="143" y="507"/>
                  </a:lnTo>
                  <a:lnTo>
                    <a:pt x="143" y="507"/>
                  </a:lnTo>
                  <a:lnTo>
                    <a:pt x="143" y="507"/>
                  </a:lnTo>
                  <a:lnTo>
                    <a:pt x="143" y="507"/>
                  </a:lnTo>
                  <a:lnTo>
                    <a:pt x="141" y="507"/>
                  </a:lnTo>
                  <a:lnTo>
                    <a:pt x="141" y="507"/>
                  </a:lnTo>
                  <a:lnTo>
                    <a:pt x="140" y="507"/>
                  </a:lnTo>
                  <a:lnTo>
                    <a:pt x="140" y="507"/>
                  </a:lnTo>
                  <a:lnTo>
                    <a:pt x="140" y="508"/>
                  </a:lnTo>
                  <a:lnTo>
                    <a:pt x="140" y="508"/>
                  </a:lnTo>
                  <a:lnTo>
                    <a:pt x="141" y="510"/>
                  </a:lnTo>
                  <a:lnTo>
                    <a:pt x="141" y="510"/>
                  </a:lnTo>
                  <a:lnTo>
                    <a:pt x="143" y="512"/>
                  </a:lnTo>
                  <a:lnTo>
                    <a:pt x="143" y="512"/>
                  </a:lnTo>
                  <a:lnTo>
                    <a:pt x="145" y="512"/>
                  </a:lnTo>
                  <a:lnTo>
                    <a:pt x="145" y="512"/>
                  </a:lnTo>
                  <a:lnTo>
                    <a:pt x="149" y="512"/>
                  </a:lnTo>
                  <a:lnTo>
                    <a:pt x="149" y="512"/>
                  </a:lnTo>
                  <a:lnTo>
                    <a:pt x="153" y="510"/>
                  </a:lnTo>
                  <a:lnTo>
                    <a:pt x="153" y="510"/>
                  </a:lnTo>
                  <a:lnTo>
                    <a:pt x="154" y="512"/>
                  </a:lnTo>
                  <a:lnTo>
                    <a:pt x="154" y="512"/>
                  </a:lnTo>
                  <a:lnTo>
                    <a:pt x="154" y="512"/>
                  </a:lnTo>
                  <a:lnTo>
                    <a:pt x="154" y="512"/>
                  </a:lnTo>
                  <a:lnTo>
                    <a:pt x="154" y="515"/>
                  </a:lnTo>
                  <a:lnTo>
                    <a:pt x="154" y="515"/>
                  </a:lnTo>
                  <a:lnTo>
                    <a:pt x="151" y="515"/>
                  </a:lnTo>
                  <a:lnTo>
                    <a:pt x="151" y="515"/>
                  </a:lnTo>
                  <a:lnTo>
                    <a:pt x="149" y="516"/>
                  </a:lnTo>
                  <a:lnTo>
                    <a:pt x="149" y="516"/>
                  </a:lnTo>
                  <a:lnTo>
                    <a:pt x="149" y="518"/>
                  </a:lnTo>
                  <a:lnTo>
                    <a:pt x="149" y="518"/>
                  </a:lnTo>
                  <a:lnTo>
                    <a:pt x="149" y="518"/>
                  </a:lnTo>
                  <a:lnTo>
                    <a:pt x="149" y="518"/>
                  </a:lnTo>
                  <a:lnTo>
                    <a:pt x="153" y="521"/>
                  </a:lnTo>
                  <a:lnTo>
                    <a:pt x="153" y="521"/>
                  </a:lnTo>
                  <a:lnTo>
                    <a:pt x="157" y="524"/>
                  </a:lnTo>
                  <a:lnTo>
                    <a:pt x="157" y="524"/>
                  </a:lnTo>
                  <a:lnTo>
                    <a:pt x="160" y="524"/>
                  </a:lnTo>
                  <a:lnTo>
                    <a:pt x="160" y="524"/>
                  </a:lnTo>
                  <a:lnTo>
                    <a:pt x="167" y="528"/>
                  </a:lnTo>
                  <a:lnTo>
                    <a:pt x="167" y="528"/>
                  </a:lnTo>
                  <a:lnTo>
                    <a:pt x="164" y="528"/>
                  </a:lnTo>
                  <a:lnTo>
                    <a:pt x="164" y="528"/>
                  </a:lnTo>
                  <a:lnTo>
                    <a:pt x="164" y="528"/>
                  </a:lnTo>
                  <a:lnTo>
                    <a:pt x="164" y="528"/>
                  </a:lnTo>
                  <a:lnTo>
                    <a:pt x="164" y="528"/>
                  </a:lnTo>
                  <a:lnTo>
                    <a:pt x="164" y="528"/>
                  </a:lnTo>
                  <a:lnTo>
                    <a:pt x="164" y="528"/>
                  </a:lnTo>
                  <a:lnTo>
                    <a:pt x="164" y="528"/>
                  </a:lnTo>
                  <a:lnTo>
                    <a:pt x="160" y="524"/>
                  </a:lnTo>
                  <a:lnTo>
                    <a:pt x="160" y="524"/>
                  </a:lnTo>
                  <a:lnTo>
                    <a:pt x="160" y="524"/>
                  </a:lnTo>
                  <a:lnTo>
                    <a:pt x="160" y="524"/>
                  </a:lnTo>
                  <a:lnTo>
                    <a:pt x="157" y="524"/>
                  </a:lnTo>
                  <a:lnTo>
                    <a:pt x="157" y="524"/>
                  </a:lnTo>
                  <a:lnTo>
                    <a:pt x="154" y="524"/>
                  </a:lnTo>
                  <a:lnTo>
                    <a:pt x="154" y="524"/>
                  </a:lnTo>
                  <a:lnTo>
                    <a:pt x="157" y="528"/>
                  </a:lnTo>
                  <a:lnTo>
                    <a:pt x="157" y="528"/>
                  </a:lnTo>
                  <a:lnTo>
                    <a:pt x="154" y="524"/>
                  </a:lnTo>
                  <a:lnTo>
                    <a:pt x="154" y="524"/>
                  </a:lnTo>
                  <a:lnTo>
                    <a:pt x="154" y="524"/>
                  </a:lnTo>
                  <a:lnTo>
                    <a:pt x="154" y="524"/>
                  </a:lnTo>
                  <a:lnTo>
                    <a:pt x="153" y="524"/>
                  </a:lnTo>
                  <a:lnTo>
                    <a:pt x="153" y="524"/>
                  </a:lnTo>
                  <a:lnTo>
                    <a:pt x="148" y="524"/>
                  </a:lnTo>
                  <a:lnTo>
                    <a:pt x="148" y="524"/>
                  </a:lnTo>
                  <a:lnTo>
                    <a:pt x="154" y="528"/>
                  </a:lnTo>
                  <a:lnTo>
                    <a:pt x="154" y="528"/>
                  </a:lnTo>
                  <a:lnTo>
                    <a:pt x="153" y="528"/>
                  </a:lnTo>
                  <a:lnTo>
                    <a:pt x="153" y="528"/>
                  </a:lnTo>
                  <a:lnTo>
                    <a:pt x="151" y="528"/>
                  </a:lnTo>
                  <a:lnTo>
                    <a:pt x="151" y="528"/>
                  </a:lnTo>
                  <a:lnTo>
                    <a:pt x="148" y="524"/>
                  </a:lnTo>
                  <a:lnTo>
                    <a:pt x="148" y="524"/>
                  </a:lnTo>
                  <a:lnTo>
                    <a:pt x="146" y="524"/>
                  </a:lnTo>
                  <a:lnTo>
                    <a:pt x="146" y="524"/>
                  </a:lnTo>
                  <a:lnTo>
                    <a:pt x="145" y="524"/>
                  </a:lnTo>
                  <a:lnTo>
                    <a:pt x="145" y="524"/>
                  </a:lnTo>
                  <a:lnTo>
                    <a:pt x="145" y="528"/>
                  </a:lnTo>
                  <a:lnTo>
                    <a:pt x="145" y="528"/>
                  </a:lnTo>
                  <a:lnTo>
                    <a:pt x="141" y="528"/>
                  </a:lnTo>
                  <a:lnTo>
                    <a:pt x="141" y="528"/>
                  </a:lnTo>
                  <a:lnTo>
                    <a:pt x="143" y="531"/>
                  </a:lnTo>
                  <a:lnTo>
                    <a:pt x="143" y="531"/>
                  </a:lnTo>
                  <a:lnTo>
                    <a:pt x="145" y="531"/>
                  </a:lnTo>
                  <a:lnTo>
                    <a:pt x="145" y="531"/>
                  </a:lnTo>
                  <a:lnTo>
                    <a:pt x="145" y="528"/>
                  </a:lnTo>
                  <a:lnTo>
                    <a:pt x="145" y="528"/>
                  </a:lnTo>
                  <a:lnTo>
                    <a:pt x="146" y="531"/>
                  </a:lnTo>
                  <a:lnTo>
                    <a:pt x="146" y="531"/>
                  </a:lnTo>
                  <a:lnTo>
                    <a:pt x="149" y="531"/>
                  </a:lnTo>
                  <a:lnTo>
                    <a:pt x="149" y="531"/>
                  </a:lnTo>
                  <a:lnTo>
                    <a:pt x="151" y="531"/>
                  </a:lnTo>
                  <a:lnTo>
                    <a:pt x="151" y="531"/>
                  </a:lnTo>
                  <a:lnTo>
                    <a:pt x="149" y="531"/>
                  </a:lnTo>
                  <a:lnTo>
                    <a:pt x="149" y="531"/>
                  </a:lnTo>
                  <a:lnTo>
                    <a:pt x="153" y="531"/>
                  </a:lnTo>
                  <a:lnTo>
                    <a:pt x="153" y="531"/>
                  </a:lnTo>
                  <a:lnTo>
                    <a:pt x="154" y="531"/>
                  </a:lnTo>
                  <a:lnTo>
                    <a:pt x="154" y="531"/>
                  </a:lnTo>
                  <a:lnTo>
                    <a:pt x="154" y="531"/>
                  </a:lnTo>
                  <a:lnTo>
                    <a:pt x="154" y="531"/>
                  </a:lnTo>
                  <a:lnTo>
                    <a:pt x="154" y="531"/>
                  </a:lnTo>
                  <a:lnTo>
                    <a:pt x="154" y="531"/>
                  </a:lnTo>
                  <a:lnTo>
                    <a:pt x="157" y="531"/>
                  </a:lnTo>
                  <a:lnTo>
                    <a:pt x="157" y="531"/>
                  </a:lnTo>
                  <a:lnTo>
                    <a:pt x="160" y="531"/>
                  </a:lnTo>
                  <a:lnTo>
                    <a:pt x="160" y="531"/>
                  </a:lnTo>
                  <a:lnTo>
                    <a:pt x="160" y="531"/>
                  </a:lnTo>
                  <a:lnTo>
                    <a:pt x="160" y="531"/>
                  </a:lnTo>
                  <a:close/>
                  <a:moveTo>
                    <a:pt x="148" y="496"/>
                  </a:moveTo>
                  <a:lnTo>
                    <a:pt x="148" y="496"/>
                  </a:lnTo>
                  <a:lnTo>
                    <a:pt x="140" y="494"/>
                  </a:lnTo>
                  <a:lnTo>
                    <a:pt x="140" y="494"/>
                  </a:lnTo>
                  <a:lnTo>
                    <a:pt x="132" y="493"/>
                  </a:lnTo>
                  <a:lnTo>
                    <a:pt x="132" y="493"/>
                  </a:lnTo>
                  <a:lnTo>
                    <a:pt x="126" y="493"/>
                  </a:lnTo>
                  <a:lnTo>
                    <a:pt x="126" y="493"/>
                  </a:lnTo>
                  <a:lnTo>
                    <a:pt x="121" y="494"/>
                  </a:lnTo>
                  <a:lnTo>
                    <a:pt x="121" y="494"/>
                  </a:lnTo>
                  <a:lnTo>
                    <a:pt x="118" y="493"/>
                  </a:lnTo>
                  <a:lnTo>
                    <a:pt x="118" y="493"/>
                  </a:lnTo>
                  <a:lnTo>
                    <a:pt x="116" y="493"/>
                  </a:lnTo>
                  <a:lnTo>
                    <a:pt x="116" y="493"/>
                  </a:lnTo>
                  <a:lnTo>
                    <a:pt x="113" y="489"/>
                  </a:lnTo>
                  <a:lnTo>
                    <a:pt x="113" y="489"/>
                  </a:lnTo>
                  <a:lnTo>
                    <a:pt x="108" y="486"/>
                  </a:lnTo>
                  <a:lnTo>
                    <a:pt x="108" y="486"/>
                  </a:lnTo>
                  <a:lnTo>
                    <a:pt x="108" y="483"/>
                  </a:lnTo>
                  <a:lnTo>
                    <a:pt x="108" y="483"/>
                  </a:lnTo>
                  <a:lnTo>
                    <a:pt x="107" y="481"/>
                  </a:lnTo>
                  <a:lnTo>
                    <a:pt x="107" y="481"/>
                  </a:lnTo>
                  <a:lnTo>
                    <a:pt x="107" y="478"/>
                  </a:lnTo>
                  <a:lnTo>
                    <a:pt x="107" y="478"/>
                  </a:lnTo>
                  <a:lnTo>
                    <a:pt x="105" y="477"/>
                  </a:lnTo>
                  <a:lnTo>
                    <a:pt x="105" y="477"/>
                  </a:lnTo>
                  <a:lnTo>
                    <a:pt x="105" y="477"/>
                  </a:lnTo>
                  <a:lnTo>
                    <a:pt x="103" y="474"/>
                  </a:lnTo>
                  <a:lnTo>
                    <a:pt x="103" y="474"/>
                  </a:lnTo>
                  <a:lnTo>
                    <a:pt x="102" y="474"/>
                  </a:lnTo>
                  <a:lnTo>
                    <a:pt x="102" y="474"/>
                  </a:lnTo>
                  <a:lnTo>
                    <a:pt x="97" y="474"/>
                  </a:lnTo>
                  <a:lnTo>
                    <a:pt x="97" y="474"/>
                  </a:lnTo>
                  <a:lnTo>
                    <a:pt x="97" y="475"/>
                  </a:lnTo>
                  <a:lnTo>
                    <a:pt x="97" y="475"/>
                  </a:lnTo>
                  <a:lnTo>
                    <a:pt x="94" y="475"/>
                  </a:lnTo>
                  <a:lnTo>
                    <a:pt x="94" y="475"/>
                  </a:lnTo>
                  <a:lnTo>
                    <a:pt x="94" y="474"/>
                  </a:lnTo>
                  <a:lnTo>
                    <a:pt x="94" y="474"/>
                  </a:lnTo>
                  <a:lnTo>
                    <a:pt x="91" y="472"/>
                  </a:lnTo>
                  <a:lnTo>
                    <a:pt x="91" y="472"/>
                  </a:lnTo>
                  <a:lnTo>
                    <a:pt x="91" y="469"/>
                  </a:lnTo>
                  <a:lnTo>
                    <a:pt x="91" y="469"/>
                  </a:lnTo>
                  <a:lnTo>
                    <a:pt x="91" y="469"/>
                  </a:lnTo>
                  <a:lnTo>
                    <a:pt x="87" y="469"/>
                  </a:lnTo>
                  <a:lnTo>
                    <a:pt x="87" y="469"/>
                  </a:lnTo>
                  <a:lnTo>
                    <a:pt x="87" y="469"/>
                  </a:lnTo>
                  <a:lnTo>
                    <a:pt x="87" y="466"/>
                  </a:lnTo>
                  <a:lnTo>
                    <a:pt x="87" y="466"/>
                  </a:lnTo>
                  <a:lnTo>
                    <a:pt x="86" y="462"/>
                  </a:lnTo>
                  <a:lnTo>
                    <a:pt x="86" y="462"/>
                  </a:lnTo>
                  <a:lnTo>
                    <a:pt x="86" y="462"/>
                  </a:lnTo>
                  <a:lnTo>
                    <a:pt x="86" y="462"/>
                  </a:lnTo>
                  <a:lnTo>
                    <a:pt x="83" y="459"/>
                  </a:lnTo>
                  <a:lnTo>
                    <a:pt x="83" y="459"/>
                  </a:lnTo>
                  <a:lnTo>
                    <a:pt x="83" y="458"/>
                  </a:lnTo>
                  <a:lnTo>
                    <a:pt x="83" y="458"/>
                  </a:lnTo>
                  <a:lnTo>
                    <a:pt x="83" y="458"/>
                  </a:lnTo>
                  <a:lnTo>
                    <a:pt x="83" y="456"/>
                  </a:lnTo>
                  <a:lnTo>
                    <a:pt x="83" y="456"/>
                  </a:lnTo>
                  <a:lnTo>
                    <a:pt x="83" y="456"/>
                  </a:lnTo>
                  <a:lnTo>
                    <a:pt x="84" y="455"/>
                  </a:lnTo>
                  <a:lnTo>
                    <a:pt x="84" y="455"/>
                  </a:lnTo>
                  <a:lnTo>
                    <a:pt x="86" y="453"/>
                  </a:lnTo>
                  <a:lnTo>
                    <a:pt x="86" y="453"/>
                  </a:lnTo>
                  <a:lnTo>
                    <a:pt x="86" y="450"/>
                  </a:lnTo>
                  <a:lnTo>
                    <a:pt x="86" y="450"/>
                  </a:lnTo>
                  <a:lnTo>
                    <a:pt x="87" y="450"/>
                  </a:lnTo>
                  <a:lnTo>
                    <a:pt x="87" y="450"/>
                  </a:lnTo>
                  <a:lnTo>
                    <a:pt x="87" y="447"/>
                  </a:lnTo>
                  <a:lnTo>
                    <a:pt x="87" y="447"/>
                  </a:lnTo>
                  <a:lnTo>
                    <a:pt x="87" y="443"/>
                  </a:lnTo>
                  <a:lnTo>
                    <a:pt x="87" y="443"/>
                  </a:lnTo>
                  <a:lnTo>
                    <a:pt x="87" y="442"/>
                  </a:lnTo>
                  <a:lnTo>
                    <a:pt x="87" y="442"/>
                  </a:lnTo>
                  <a:lnTo>
                    <a:pt x="91" y="440"/>
                  </a:lnTo>
                  <a:lnTo>
                    <a:pt x="91" y="440"/>
                  </a:lnTo>
                  <a:lnTo>
                    <a:pt x="87" y="440"/>
                  </a:lnTo>
                  <a:lnTo>
                    <a:pt x="87" y="440"/>
                  </a:lnTo>
                  <a:lnTo>
                    <a:pt x="87" y="437"/>
                  </a:lnTo>
                  <a:lnTo>
                    <a:pt x="87" y="437"/>
                  </a:lnTo>
                  <a:lnTo>
                    <a:pt x="84" y="437"/>
                  </a:lnTo>
                  <a:lnTo>
                    <a:pt x="84" y="437"/>
                  </a:lnTo>
                  <a:lnTo>
                    <a:pt x="84" y="434"/>
                  </a:lnTo>
                  <a:lnTo>
                    <a:pt x="84" y="434"/>
                  </a:lnTo>
                  <a:lnTo>
                    <a:pt x="86" y="428"/>
                  </a:lnTo>
                  <a:lnTo>
                    <a:pt x="86" y="428"/>
                  </a:lnTo>
                  <a:lnTo>
                    <a:pt x="86" y="428"/>
                  </a:lnTo>
                  <a:lnTo>
                    <a:pt x="86" y="428"/>
                  </a:lnTo>
                  <a:lnTo>
                    <a:pt x="87" y="426"/>
                  </a:lnTo>
                  <a:lnTo>
                    <a:pt x="87" y="426"/>
                  </a:lnTo>
                  <a:lnTo>
                    <a:pt x="87" y="424"/>
                  </a:lnTo>
                  <a:lnTo>
                    <a:pt x="87" y="424"/>
                  </a:lnTo>
                  <a:lnTo>
                    <a:pt x="86" y="423"/>
                  </a:lnTo>
                  <a:lnTo>
                    <a:pt x="86" y="423"/>
                  </a:lnTo>
                  <a:lnTo>
                    <a:pt x="86" y="421"/>
                  </a:lnTo>
                  <a:lnTo>
                    <a:pt x="86" y="421"/>
                  </a:lnTo>
                  <a:lnTo>
                    <a:pt x="87" y="420"/>
                  </a:lnTo>
                  <a:lnTo>
                    <a:pt x="87" y="420"/>
                  </a:lnTo>
                  <a:lnTo>
                    <a:pt x="87" y="416"/>
                  </a:lnTo>
                  <a:lnTo>
                    <a:pt x="87" y="416"/>
                  </a:lnTo>
                  <a:lnTo>
                    <a:pt x="86" y="416"/>
                  </a:lnTo>
                  <a:lnTo>
                    <a:pt x="86" y="416"/>
                  </a:lnTo>
                  <a:lnTo>
                    <a:pt x="81" y="410"/>
                  </a:lnTo>
                  <a:lnTo>
                    <a:pt x="81" y="410"/>
                  </a:lnTo>
                  <a:lnTo>
                    <a:pt x="83" y="410"/>
                  </a:lnTo>
                  <a:lnTo>
                    <a:pt x="83" y="410"/>
                  </a:lnTo>
                  <a:lnTo>
                    <a:pt x="83" y="407"/>
                  </a:lnTo>
                  <a:lnTo>
                    <a:pt x="83" y="407"/>
                  </a:lnTo>
                  <a:lnTo>
                    <a:pt x="80" y="405"/>
                  </a:lnTo>
                  <a:lnTo>
                    <a:pt x="80" y="405"/>
                  </a:lnTo>
                  <a:lnTo>
                    <a:pt x="80" y="404"/>
                  </a:lnTo>
                  <a:lnTo>
                    <a:pt x="80" y="404"/>
                  </a:lnTo>
                  <a:lnTo>
                    <a:pt x="81" y="402"/>
                  </a:lnTo>
                  <a:lnTo>
                    <a:pt x="81" y="402"/>
                  </a:lnTo>
                  <a:lnTo>
                    <a:pt x="83" y="401"/>
                  </a:lnTo>
                  <a:lnTo>
                    <a:pt x="83" y="401"/>
                  </a:lnTo>
                  <a:lnTo>
                    <a:pt x="83" y="399"/>
                  </a:lnTo>
                  <a:lnTo>
                    <a:pt x="83" y="399"/>
                  </a:lnTo>
                  <a:lnTo>
                    <a:pt x="83" y="397"/>
                  </a:lnTo>
                  <a:lnTo>
                    <a:pt x="83" y="397"/>
                  </a:lnTo>
                  <a:lnTo>
                    <a:pt x="78" y="394"/>
                  </a:lnTo>
                  <a:lnTo>
                    <a:pt x="78" y="394"/>
                  </a:lnTo>
                  <a:lnTo>
                    <a:pt x="75" y="394"/>
                  </a:lnTo>
                  <a:lnTo>
                    <a:pt x="75" y="394"/>
                  </a:lnTo>
                  <a:lnTo>
                    <a:pt x="72" y="393"/>
                  </a:lnTo>
                  <a:lnTo>
                    <a:pt x="72" y="393"/>
                  </a:lnTo>
                  <a:lnTo>
                    <a:pt x="73" y="393"/>
                  </a:lnTo>
                  <a:lnTo>
                    <a:pt x="73" y="393"/>
                  </a:lnTo>
                  <a:lnTo>
                    <a:pt x="75" y="393"/>
                  </a:lnTo>
                  <a:lnTo>
                    <a:pt x="75" y="393"/>
                  </a:lnTo>
                  <a:lnTo>
                    <a:pt x="81" y="391"/>
                  </a:lnTo>
                  <a:lnTo>
                    <a:pt x="81" y="391"/>
                  </a:lnTo>
                  <a:lnTo>
                    <a:pt x="81" y="388"/>
                  </a:lnTo>
                  <a:lnTo>
                    <a:pt x="81" y="388"/>
                  </a:lnTo>
                  <a:lnTo>
                    <a:pt x="80" y="386"/>
                  </a:lnTo>
                  <a:lnTo>
                    <a:pt x="80" y="386"/>
                  </a:lnTo>
                  <a:lnTo>
                    <a:pt x="76" y="386"/>
                  </a:lnTo>
                  <a:lnTo>
                    <a:pt x="76" y="386"/>
                  </a:lnTo>
                  <a:lnTo>
                    <a:pt x="73" y="386"/>
                  </a:lnTo>
                  <a:lnTo>
                    <a:pt x="73" y="386"/>
                  </a:lnTo>
                  <a:lnTo>
                    <a:pt x="72" y="385"/>
                  </a:lnTo>
                  <a:lnTo>
                    <a:pt x="72" y="385"/>
                  </a:lnTo>
                  <a:lnTo>
                    <a:pt x="70" y="383"/>
                  </a:lnTo>
                  <a:lnTo>
                    <a:pt x="70" y="383"/>
                  </a:lnTo>
                  <a:lnTo>
                    <a:pt x="70" y="381"/>
                  </a:lnTo>
                  <a:lnTo>
                    <a:pt x="70" y="381"/>
                  </a:lnTo>
                  <a:lnTo>
                    <a:pt x="72" y="381"/>
                  </a:lnTo>
                  <a:lnTo>
                    <a:pt x="72" y="381"/>
                  </a:lnTo>
                  <a:lnTo>
                    <a:pt x="68" y="378"/>
                  </a:lnTo>
                  <a:lnTo>
                    <a:pt x="68" y="378"/>
                  </a:lnTo>
                  <a:lnTo>
                    <a:pt x="68" y="378"/>
                  </a:lnTo>
                  <a:lnTo>
                    <a:pt x="68" y="378"/>
                  </a:lnTo>
                  <a:lnTo>
                    <a:pt x="68" y="375"/>
                  </a:lnTo>
                  <a:lnTo>
                    <a:pt x="68" y="375"/>
                  </a:lnTo>
                  <a:lnTo>
                    <a:pt x="67" y="375"/>
                  </a:lnTo>
                  <a:lnTo>
                    <a:pt x="67" y="375"/>
                  </a:lnTo>
                  <a:lnTo>
                    <a:pt x="65" y="372"/>
                  </a:lnTo>
                  <a:lnTo>
                    <a:pt x="65" y="372"/>
                  </a:lnTo>
                  <a:lnTo>
                    <a:pt x="65" y="372"/>
                  </a:lnTo>
                  <a:lnTo>
                    <a:pt x="65" y="372"/>
                  </a:lnTo>
                  <a:lnTo>
                    <a:pt x="65" y="370"/>
                  </a:lnTo>
                  <a:lnTo>
                    <a:pt x="65" y="370"/>
                  </a:lnTo>
                  <a:lnTo>
                    <a:pt x="64" y="369"/>
                  </a:lnTo>
                  <a:lnTo>
                    <a:pt x="64" y="369"/>
                  </a:lnTo>
                  <a:lnTo>
                    <a:pt x="62" y="367"/>
                  </a:lnTo>
                  <a:lnTo>
                    <a:pt x="62" y="367"/>
                  </a:lnTo>
                  <a:lnTo>
                    <a:pt x="59" y="364"/>
                  </a:lnTo>
                  <a:lnTo>
                    <a:pt x="59" y="364"/>
                  </a:lnTo>
                  <a:lnTo>
                    <a:pt x="59" y="359"/>
                  </a:lnTo>
                  <a:lnTo>
                    <a:pt x="59" y="359"/>
                  </a:lnTo>
                  <a:lnTo>
                    <a:pt x="57" y="356"/>
                  </a:lnTo>
                  <a:lnTo>
                    <a:pt x="57" y="356"/>
                  </a:lnTo>
                  <a:lnTo>
                    <a:pt x="59" y="354"/>
                  </a:lnTo>
                  <a:lnTo>
                    <a:pt x="59" y="354"/>
                  </a:lnTo>
                  <a:lnTo>
                    <a:pt x="59" y="354"/>
                  </a:lnTo>
                  <a:lnTo>
                    <a:pt x="59" y="354"/>
                  </a:lnTo>
                  <a:lnTo>
                    <a:pt x="59" y="353"/>
                  </a:lnTo>
                  <a:lnTo>
                    <a:pt x="59" y="353"/>
                  </a:lnTo>
                  <a:lnTo>
                    <a:pt x="59" y="351"/>
                  </a:lnTo>
                  <a:lnTo>
                    <a:pt x="59" y="351"/>
                  </a:lnTo>
                  <a:lnTo>
                    <a:pt x="57" y="350"/>
                  </a:lnTo>
                  <a:lnTo>
                    <a:pt x="57" y="350"/>
                  </a:lnTo>
                  <a:lnTo>
                    <a:pt x="56" y="347"/>
                  </a:lnTo>
                  <a:lnTo>
                    <a:pt x="56" y="347"/>
                  </a:lnTo>
                  <a:lnTo>
                    <a:pt x="56" y="343"/>
                  </a:lnTo>
                  <a:lnTo>
                    <a:pt x="56" y="343"/>
                  </a:lnTo>
                  <a:lnTo>
                    <a:pt x="54" y="340"/>
                  </a:lnTo>
                  <a:lnTo>
                    <a:pt x="54" y="340"/>
                  </a:lnTo>
                  <a:lnTo>
                    <a:pt x="51" y="334"/>
                  </a:lnTo>
                  <a:lnTo>
                    <a:pt x="51" y="334"/>
                  </a:lnTo>
                  <a:lnTo>
                    <a:pt x="53" y="329"/>
                  </a:lnTo>
                  <a:lnTo>
                    <a:pt x="53" y="329"/>
                  </a:lnTo>
                  <a:lnTo>
                    <a:pt x="53" y="327"/>
                  </a:lnTo>
                  <a:lnTo>
                    <a:pt x="53" y="327"/>
                  </a:lnTo>
                  <a:lnTo>
                    <a:pt x="51" y="327"/>
                  </a:lnTo>
                  <a:lnTo>
                    <a:pt x="51" y="327"/>
                  </a:lnTo>
                  <a:lnTo>
                    <a:pt x="49" y="326"/>
                  </a:lnTo>
                  <a:lnTo>
                    <a:pt x="49" y="326"/>
                  </a:lnTo>
                  <a:lnTo>
                    <a:pt x="51" y="326"/>
                  </a:lnTo>
                  <a:lnTo>
                    <a:pt x="51" y="326"/>
                  </a:lnTo>
                  <a:lnTo>
                    <a:pt x="51" y="323"/>
                  </a:lnTo>
                  <a:lnTo>
                    <a:pt x="51" y="323"/>
                  </a:lnTo>
                  <a:lnTo>
                    <a:pt x="49" y="323"/>
                  </a:lnTo>
                  <a:lnTo>
                    <a:pt x="49" y="323"/>
                  </a:lnTo>
                  <a:lnTo>
                    <a:pt x="49" y="320"/>
                  </a:lnTo>
                  <a:lnTo>
                    <a:pt x="49" y="320"/>
                  </a:lnTo>
                  <a:lnTo>
                    <a:pt x="51" y="320"/>
                  </a:lnTo>
                  <a:lnTo>
                    <a:pt x="51" y="320"/>
                  </a:lnTo>
                  <a:lnTo>
                    <a:pt x="49" y="315"/>
                  </a:lnTo>
                  <a:lnTo>
                    <a:pt x="49" y="315"/>
                  </a:lnTo>
                  <a:lnTo>
                    <a:pt x="49" y="312"/>
                  </a:lnTo>
                  <a:lnTo>
                    <a:pt x="49" y="312"/>
                  </a:lnTo>
                  <a:lnTo>
                    <a:pt x="49" y="308"/>
                  </a:lnTo>
                  <a:lnTo>
                    <a:pt x="49" y="308"/>
                  </a:lnTo>
                  <a:lnTo>
                    <a:pt x="51" y="308"/>
                  </a:lnTo>
                  <a:lnTo>
                    <a:pt x="51" y="308"/>
                  </a:lnTo>
                  <a:lnTo>
                    <a:pt x="54" y="305"/>
                  </a:lnTo>
                  <a:lnTo>
                    <a:pt x="54" y="305"/>
                  </a:lnTo>
                  <a:lnTo>
                    <a:pt x="54" y="304"/>
                  </a:lnTo>
                  <a:lnTo>
                    <a:pt x="54" y="304"/>
                  </a:lnTo>
                  <a:lnTo>
                    <a:pt x="53" y="302"/>
                  </a:lnTo>
                  <a:lnTo>
                    <a:pt x="53" y="302"/>
                  </a:lnTo>
                  <a:lnTo>
                    <a:pt x="51" y="299"/>
                  </a:lnTo>
                  <a:lnTo>
                    <a:pt x="51" y="299"/>
                  </a:lnTo>
                  <a:lnTo>
                    <a:pt x="48" y="294"/>
                  </a:lnTo>
                  <a:lnTo>
                    <a:pt x="48" y="294"/>
                  </a:lnTo>
                  <a:lnTo>
                    <a:pt x="46" y="291"/>
                  </a:lnTo>
                  <a:lnTo>
                    <a:pt x="46" y="291"/>
                  </a:lnTo>
                  <a:lnTo>
                    <a:pt x="46" y="291"/>
                  </a:lnTo>
                  <a:lnTo>
                    <a:pt x="46" y="291"/>
                  </a:lnTo>
                  <a:lnTo>
                    <a:pt x="45" y="285"/>
                  </a:lnTo>
                  <a:lnTo>
                    <a:pt x="45" y="285"/>
                  </a:lnTo>
                  <a:lnTo>
                    <a:pt x="43" y="281"/>
                  </a:lnTo>
                  <a:lnTo>
                    <a:pt x="43" y="281"/>
                  </a:lnTo>
                  <a:lnTo>
                    <a:pt x="41" y="277"/>
                  </a:lnTo>
                  <a:lnTo>
                    <a:pt x="41" y="277"/>
                  </a:lnTo>
                  <a:lnTo>
                    <a:pt x="43" y="274"/>
                  </a:lnTo>
                  <a:lnTo>
                    <a:pt x="43" y="274"/>
                  </a:lnTo>
                  <a:lnTo>
                    <a:pt x="45" y="274"/>
                  </a:lnTo>
                  <a:lnTo>
                    <a:pt x="45" y="274"/>
                  </a:lnTo>
                  <a:lnTo>
                    <a:pt x="46" y="272"/>
                  </a:lnTo>
                  <a:lnTo>
                    <a:pt x="46" y="272"/>
                  </a:lnTo>
                  <a:lnTo>
                    <a:pt x="46" y="269"/>
                  </a:lnTo>
                  <a:lnTo>
                    <a:pt x="46" y="269"/>
                  </a:lnTo>
                  <a:lnTo>
                    <a:pt x="48" y="267"/>
                  </a:lnTo>
                  <a:lnTo>
                    <a:pt x="48" y="267"/>
                  </a:lnTo>
                  <a:lnTo>
                    <a:pt x="46" y="261"/>
                  </a:lnTo>
                  <a:lnTo>
                    <a:pt x="46" y="261"/>
                  </a:lnTo>
                  <a:lnTo>
                    <a:pt x="45" y="258"/>
                  </a:lnTo>
                  <a:lnTo>
                    <a:pt x="45" y="258"/>
                  </a:lnTo>
                  <a:lnTo>
                    <a:pt x="43" y="256"/>
                  </a:lnTo>
                  <a:lnTo>
                    <a:pt x="43" y="256"/>
                  </a:lnTo>
                  <a:lnTo>
                    <a:pt x="45" y="256"/>
                  </a:lnTo>
                  <a:lnTo>
                    <a:pt x="45" y="256"/>
                  </a:lnTo>
                  <a:lnTo>
                    <a:pt x="45" y="253"/>
                  </a:lnTo>
                  <a:lnTo>
                    <a:pt x="45" y="253"/>
                  </a:lnTo>
                  <a:lnTo>
                    <a:pt x="45" y="250"/>
                  </a:lnTo>
                  <a:lnTo>
                    <a:pt x="45" y="250"/>
                  </a:lnTo>
                  <a:lnTo>
                    <a:pt x="45" y="245"/>
                  </a:lnTo>
                  <a:lnTo>
                    <a:pt x="45" y="245"/>
                  </a:lnTo>
                  <a:lnTo>
                    <a:pt x="46" y="243"/>
                  </a:lnTo>
                  <a:lnTo>
                    <a:pt x="46" y="243"/>
                  </a:lnTo>
                  <a:lnTo>
                    <a:pt x="48" y="242"/>
                  </a:lnTo>
                  <a:lnTo>
                    <a:pt x="48" y="242"/>
                  </a:lnTo>
                  <a:lnTo>
                    <a:pt x="48" y="240"/>
                  </a:lnTo>
                  <a:lnTo>
                    <a:pt x="48" y="240"/>
                  </a:lnTo>
                  <a:lnTo>
                    <a:pt x="46" y="237"/>
                  </a:lnTo>
                  <a:lnTo>
                    <a:pt x="46" y="237"/>
                  </a:lnTo>
                  <a:lnTo>
                    <a:pt x="46" y="232"/>
                  </a:lnTo>
                  <a:lnTo>
                    <a:pt x="46" y="232"/>
                  </a:lnTo>
                  <a:lnTo>
                    <a:pt x="45" y="229"/>
                  </a:lnTo>
                  <a:lnTo>
                    <a:pt x="45" y="229"/>
                  </a:lnTo>
                  <a:lnTo>
                    <a:pt x="43" y="226"/>
                  </a:lnTo>
                  <a:lnTo>
                    <a:pt x="43" y="226"/>
                  </a:lnTo>
                  <a:lnTo>
                    <a:pt x="43" y="229"/>
                  </a:lnTo>
                  <a:lnTo>
                    <a:pt x="43" y="229"/>
                  </a:lnTo>
                  <a:lnTo>
                    <a:pt x="41" y="226"/>
                  </a:lnTo>
                  <a:lnTo>
                    <a:pt x="41" y="226"/>
                  </a:lnTo>
                  <a:lnTo>
                    <a:pt x="41" y="226"/>
                  </a:lnTo>
                  <a:lnTo>
                    <a:pt x="41" y="226"/>
                  </a:lnTo>
                  <a:lnTo>
                    <a:pt x="41" y="223"/>
                  </a:lnTo>
                  <a:lnTo>
                    <a:pt x="41" y="223"/>
                  </a:lnTo>
                  <a:lnTo>
                    <a:pt x="41" y="221"/>
                  </a:lnTo>
                  <a:lnTo>
                    <a:pt x="41" y="221"/>
                  </a:lnTo>
                  <a:lnTo>
                    <a:pt x="38" y="221"/>
                  </a:lnTo>
                  <a:lnTo>
                    <a:pt x="38" y="221"/>
                  </a:lnTo>
                  <a:lnTo>
                    <a:pt x="38" y="220"/>
                  </a:lnTo>
                  <a:lnTo>
                    <a:pt x="38" y="220"/>
                  </a:lnTo>
                  <a:lnTo>
                    <a:pt x="38" y="218"/>
                  </a:lnTo>
                  <a:lnTo>
                    <a:pt x="38" y="218"/>
                  </a:lnTo>
                  <a:lnTo>
                    <a:pt x="35" y="213"/>
                  </a:lnTo>
                  <a:lnTo>
                    <a:pt x="35" y="213"/>
                  </a:lnTo>
                  <a:lnTo>
                    <a:pt x="35" y="210"/>
                  </a:lnTo>
                  <a:lnTo>
                    <a:pt x="35" y="210"/>
                  </a:lnTo>
                  <a:lnTo>
                    <a:pt x="35" y="208"/>
                  </a:lnTo>
                  <a:lnTo>
                    <a:pt x="35" y="208"/>
                  </a:lnTo>
                  <a:lnTo>
                    <a:pt x="32" y="207"/>
                  </a:lnTo>
                  <a:lnTo>
                    <a:pt x="32" y="207"/>
                  </a:lnTo>
                  <a:lnTo>
                    <a:pt x="29" y="204"/>
                  </a:lnTo>
                  <a:lnTo>
                    <a:pt x="29" y="204"/>
                  </a:lnTo>
                  <a:lnTo>
                    <a:pt x="29" y="200"/>
                  </a:lnTo>
                  <a:lnTo>
                    <a:pt x="29" y="200"/>
                  </a:lnTo>
                  <a:lnTo>
                    <a:pt x="29" y="197"/>
                  </a:lnTo>
                  <a:lnTo>
                    <a:pt x="29" y="197"/>
                  </a:lnTo>
                  <a:lnTo>
                    <a:pt x="29" y="194"/>
                  </a:lnTo>
                  <a:lnTo>
                    <a:pt x="29" y="194"/>
                  </a:lnTo>
                  <a:lnTo>
                    <a:pt x="29" y="194"/>
                  </a:lnTo>
                  <a:lnTo>
                    <a:pt x="29" y="194"/>
                  </a:lnTo>
                  <a:lnTo>
                    <a:pt x="32" y="189"/>
                  </a:lnTo>
                  <a:lnTo>
                    <a:pt x="32" y="189"/>
                  </a:lnTo>
                  <a:lnTo>
                    <a:pt x="32" y="188"/>
                  </a:lnTo>
                  <a:lnTo>
                    <a:pt x="32" y="188"/>
                  </a:lnTo>
                  <a:lnTo>
                    <a:pt x="32" y="186"/>
                  </a:lnTo>
                  <a:lnTo>
                    <a:pt x="32" y="186"/>
                  </a:lnTo>
                  <a:lnTo>
                    <a:pt x="32" y="186"/>
                  </a:lnTo>
                  <a:lnTo>
                    <a:pt x="32" y="186"/>
                  </a:lnTo>
                  <a:lnTo>
                    <a:pt x="32" y="185"/>
                  </a:lnTo>
                  <a:lnTo>
                    <a:pt x="32" y="185"/>
                  </a:lnTo>
                  <a:lnTo>
                    <a:pt x="32" y="180"/>
                  </a:lnTo>
                  <a:lnTo>
                    <a:pt x="32" y="180"/>
                  </a:lnTo>
                  <a:lnTo>
                    <a:pt x="29" y="175"/>
                  </a:lnTo>
                  <a:lnTo>
                    <a:pt x="29" y="175"/>
                  </a:lnTo>
                  <a:lnTo>
                    <a:pt x="29" y="172"/>
                  </a:lnTo>
                  <a:lnTo>
                    <a:pt x="29" y="172"/>
                  </a:lnTo>
                  <a:lnTo>
                    <a:pt x="29" y="169"/>
                  </a:lnTo>
                  <a:lnTo>
                    <a:pt x="29" y="169"/>
                  </a:lnTo>
                  <a:lnTo>
                    <a:pt x="32" y="167"/>
                  </a:lnTo>
                  <a:lnTo>
                    <a:pt x="32" y="167"/>
                  </a:lnTo>
                  <a:lnTo>
                    <a:pt x="32" y="162"/>
                  </a:lnTo>
                  <a:lnTo>
                    <a:pt x="32" y="162"/>
                  </a:lnTo>
                  <a:lnTo>
                    <a:pt x="32" y="156"/>
                  </a:lnTo>
                  <a:lnTo>
                    <a:pt x="32" y="156"/>
                  </a:lnTo>
                  <a:lnTo>
                    <a:pt x="35" y="151"/>
                  </a:lnTo>
                  <a:lnTo>
                    <a:pt x="35" y="151"/>
                  </a:lnTo>
                  <a:lnTo>
                    <a:pt x="38" y="145"/>
                  </a:lnTo>
                  <a:lnTo>
                    <a:pt x="38" y="145"/>
                  </a:lnTo>
                  <a:lnTo>
                    <a:pt x="38" y="139"/>
                  </a:lnTo>
                  <a:lnTo>
                    <a:pt x="38" y="139"/>
                  </a:lnTo>
                  <a:lnTo>
                    <a:pt x="41" y="139"/>
                  </a:lnTo>
                  <a:lnTo>
                    <a:pt x="41" y="139"/>
                  </a:lnTo>
                  <a:lnTo>
                    <a:pt x="41" y="139"/>
                  </a:lnTo>
                  <a:lnTo>
                    <a:pt x="41" y="139"/>
                  </a:lnTo>
                  <a:lnTo>
                    <a:pt x="43" y="139"/>
                  </a:lnTo>
                  <a:lnTo>
                    <a:pt x="43" y="139"/>
                  </a:lnTo>
                  <a:lnTo>
                    <a:pt x="43" y="135"/>
                  </a:lnTo>
                  <a:lnTo>
                    <a:pt x="43" y="135"/>
                  </a:lnTo>
                  <a:lnTo>
                    <a:pt x="41" y="131"/>
                  </a:lnTo>
                  <a:lnTo>
                    <a:pt x="41" y="131"/>
                  </a:lnTo>
                  <a:lnTo>
                    <a:pt x="38" y="129"/>
                  </a:lnTo>
                  <a:lnTo>
                    <a:pt x="38" y="129"/>
                  </a:lnTo>
                  <a:lnTo>
                    <a:pt x="41" y="127"/>
                  </a:lnTo>
                  <a:lnTo>
                    <a:pt x="41" y="127"/>
                  </a:lnTo>
                  <a:lnTo>
                    <a:pt x="41" y="126"/>
                  </a:lnTo>
                  <a:lnTo>
                    <a:pt x="41" y="126"/>
                  </a:lnTo>
                  <a:lnTo>
                    <a:pt x="41" y="123"/>
                  </a:lnTo>
                  <a:lnTo>
                    <a:pt x="41" y="123"/>
                  </a:lnTo>
                  <a:lnTo>
                    <a:pt x="38" y="116"/>
                  </a:lnTo>
                  <a:lnTo>
                    <a:pt x="38" y="116"/>
                  </a:lnTo>
                  <a:lnTo>
                    <a:pt x="35" y="112"/>
                  </a:lnTo>
                  <a:lnTo>
                    <a:pt x="35" y="112"/>
                  </a:lnTo>
                  <a:lnTo>
                    <a:pt x="38" y="110"/>
                  </a:lnTo>
                  <a:lnTo>
                    <a:pt x="38" y="110"/>
                  </a:lnTo>
                  <a:lnTo>
                    <a:pt x="38" y="110"/>
                  </a:lnTo>
                  <a:lnTo>
                    <a:pt x="38" y="110"/>
                  </a:lnTo>
                  <a:lnTo>
                    <a:pt x="38" y="107"/>
                  </a:lnTo>
                  <a:lnTo>
                    <a:pt x="38" y="107"/>
                  </a:lnTo>
                  <a:lnTo>
                    <a:pt x="35" y="104"/>
                  </a:lnTo>
                  <a:lnTo>
                    <a:pt x="35" y="104"/>
                  </a:lnTo>
                  <a:lnTo>
                    <a:pt x="38" y="100"/>
                  </a:lnTo>
                  <a:lnTo>
                    <a:pt x="38" y="100"/>
                  </a:lnTo>
                  <a:lnTo>
                    <a:pt x="41" y="99"/>
                  </a:lnTo>
                  <a:lnTo>
                    <a:pt x="41" y="99"/>
                  </a:lnTo>
                  <a:lnTo>
                    <a:pt x="46" y="97"/>
                  </a:lnTo>
                  <a:lnTo>
                    <a:pt x="46" y="97"/>
                  </a:lnTo>
                  <a:lnTo>
                    <a:pt x="48" y="96"/>
                  </a:lnTo>
                  <a:lnTo>
                    <a:pt x="48" y="96"/>
                  </a:lnTo>
                  <a:lnTo>
                    <a:pt x="49" y="94"/>
                  </a:lnTo>
                  <a:lnTo>
                    <a:pt x="49" y="94"/>
                  </a:lnTo>
                  <a:lnTo>
                    <a:pt x="51" y="89"/>
                  </a:lnTo>
                  <a:lnTo>
                    <a:pt x="51" y="89"/>
                  </a:lnTo>
                  <a:lnTo>
                    <a:pt x="51" y="83"/>
                  </a:lnTo>
                  <a:lnTo>
                    <a:pt x="51" y="83"/>
                  </a:lnTo>
                  <a:lnTo>
                    <a:pt x="49" y="78"/>
                  </a:lnTo>
                  <a:lnTo>
                    <a:pt x="49" y="78"/>
                  </a:lnTo>
                  <a:lnTo>
                    <a:pt x="49" y="77"/>
                  </a:lnTo>
                  <a:lnTo>
                    <a:pt x="49" y="77"/>
                  </a:lnTo>
                  <a:lnTo>
                    <a:pt x="48" y="77"/>
                  </a:lnTo>
                  <a:lnTo>
                    <a:pt x="48" y="77"/>
                  </a:lnTo>
                  <a:lnTo>
                    <a:pt x="45" y="78"/>
                  </a:lnTo>
                  <a:lnTo>
                    <a:pt x="45" y="78"/>
                  </a:lnTo>
                  <a:lnTo>
                    <a:pt x="41" y="77"/>
                  </a:lnTo>
                  <a:lnTo>
                    <a:pt x="41" y="77"/>
                  </a:lnTo>
                  <a:lnTo>
                    <a:pt x="38" y="70"/>
                  </a:lnTo>
                  <a:lnTo>
                    <a:pt x="38" y="70"/>
                  </a:lnTo>
                  <a:lnTo>
                    <a:pt x="38" y="67"/>
                  </a:lnTo>
                  <a:lnTo>
                    <a:pt x="38" y="67"/>
                  </a:lnTo>
                  <a:lnTo>
                    <a:pt x="24" y="59"/>
                  </a:lnTo>
                  <a:lnTo>
                    <a:pt x="19" y="56"/>
                  </a:lnTo>
                  <a:lnTo>
                    <a:pt x="19" y="56"/>
                  </a:lnTo>
                  <a:lnTo>
                    <a:pt x="14" y="31"/>
                  </a:lnTo>
                  <a:lnTo>
                    <a:pt x="10" y="7"/>
                  </a:lnTo>
                  <a:lnTo>
                    <a:pt x="10" y="7"/>
                  </a:lnTo>
                  <a:lnTo>
                    <a:pt x="13" y="5"/>
                  </a:lnTo>
                  <a:lnTo>
                    <a:pt x="13" y="5"/>
                  </a:lnTo>
                  <a:lnTo>
                    <a:pt x="11" y="4"/>
                  </a:lnTo>
                  <a:lnTo>
                    <a:pt x="11" y="4"/>
                  </a:lnTo>
                  <a:lnTo>
                    <a:pt x="10" y="0"/>
                  </a:lnTo>
                  <a:lnTo>
                    <a:pt x="10" y="0"/>
                  </a:lnTo>
                  <a:lnTo>
                    <a:pt x="10" y="2"/>
                  </a:lnTo>
                  <a:lnTo>
                    <a:pt x="10" y="2"/>
                  </a:lnTo>
                  <a:lnTo>
                    <a:pt x="8" y="4"/>
                  </a:lnTo>
                  <a:lnTo>
                    <a:pt x="8" y="4"/>
                  </a:lnTo>
                  <a:lnTo>
                    <a:pt x="6" y="4"/>
                  </a:lnTo>
                  <a:lnTo>
                    <a:pt x="6" y="4"/>
                  </a:lnTo>
                  <a:lnTo>
                    <a:pt x="6" y="5"/>
                  </a:lnTo>
                  <a:lnTo>
                    <a:pt x="6" y="5"/>
                  </a:lnTo>
                  <a:lnTo>
                    <a:pt x="6" y="7"/>
                  </a:lnTo>
                  <a:lnTo>
                    <a:pt x="6" y="7"/>
                  </a:lnTo>
                  <a:lnTo>
                    <a:pt x="6" y="10"/>
                  </a:lnTo>
                  <a:lnTo>
                    <a:pt x="6" y="10"/>
                  </a:lnTo>
                  <a:lnTo>
                    <a:pt x="6" y="10"/>
                  </a:lnTo>
                  <a:lnTo>
                    <a:pt x="6" y="10"/>
                  </a:lnTo>
                  <a:lnTo>
                    <a:pt x="6" y="13"/>
                  </a:lnTo>
                  <a:lnTo>
                    <a:pt x="6" y="13"/>
                  </a:lnTo>
                  <a:lnTo>
                    <a:pt x="0" y="13"/>
                  </a:lnTo>
                  <a:lnTo>
                    <a:pt x="0" y="13"/>
                  </a:lnTo>
                  <a:lnTo>
                    <a:pt x="3" y="13"/>
                  </a:lnTo>
                  <a:lnTo>
                    <a:pt x="3" y="13"/>
                  </a:lnTo>
                  <a:lnTo>
                    <a:pt x="3" y="13"/>
                  </a:lnTo>
                  <a:lnTo>
                    <a:pt x="3" y="16"/>
                  </a:lnTo>
                  <a:lnTo>
                    <a:pt x="3" y="16"/>
                  </a:lnTo>
                  <a:lnTo>
                    <a:pt x="3" y="20"/>
                  </a:lnTo>
                  <a:lnTo>
                    <a:pt x="3" y="20"/>
                  </a:lnTo>
                  <a:lnTo>
                    <a:pt x="6" y="29"/>
                  </a:lnTo>
                  <a:lnTo>
                    <a:pt x="6" y="29"/>
                  </a:lnTo>
                  <a:lnTo>
                    <a:pt x="6" y="35"/>
                  </a:lnTo>
                  <a:lnTo>
                    <a:pt x="6" y="35"/>
                  </a:lnTo>
                  <a:lnTo>
                    <a:pt x="6" y="42"/>
                  </a:lnTo>
                  <a:lnTo>
                    <a:pt x="6" y="42"/>
                  </a:lnTo>
                  <a:lnTo>
                    <a:pt x="6" y="45"/>
                  </a:lnTo>
                  <a:lnTo>
                    <a:pt x="6" y="45"/>
                  </a:lnTo>
                  <a:lnTo>
                    <a:pt x="8" y="51"/>
                  </a:lnTo>
                  <a:lnTo>
                    <a:pt x="8" y="51"/>
                  </a:lnTo>
                  <a:lnTo>
                    <a:pt x="10" y="56"/>
                  </a:lnTo>
                  <a:lnTo>
                    <a:pt x="10" y="56"/>
                  </a:lnTo>
                  <a:lnTo>
                    <a:pt x="10" y="62"/>
                  </a:lnTo>
                  <a:lnTo>
                    <a:pt x="10" y="62"/>
                  </a:lnTo>
                  <a:lnTo>
                    <a:pt x="10" y="73"/>
                  </a:lnTo>
                  <a:lnTo>
                    <a:pt x="10" y="73"/>
                  </a:lnTo>
                  <a:lnTo>
                    <a:pt x="10" y="78"/>
                  </a:lnTo>
                  <a:lnTo>
                    <a:pt x="10" y="78"/>
                  </a:lnTo>
                  <a:lnTo>
                    <a:pt x="10" y="80"/>
                  </a:lnTo>
                  <a:lnTo>
                    <a:pt x="10" y="80"/>
                  </a:lnTo>
                  <a:lnTo>
                    <a:pt x="6" y="80"/>
                  </a:lnTo>
                  <a:lnTo>
                    <a:pt x="6" y="80"/>
                  </a:lnTo>
                  <a:lnTo>
                    <a:pt x="6" y="86"/>
                  </a:lnTo>
                  <a:lnTo>
                    <a:pt x="6" y="86"/>
                  </a:lnTo>
                  <a:lnTo>
                    <a:pt x="8" y="86"/>
                  </a:lnTo>
                  <a:lnTo>
                    <a:pt x="8" y="86"/>
                  </a:lnTo>
                  <a:lnTo>
                    <a:pt x="10" y="88"/>
                  </a:lnTo>
                  <a:lnTo>
                    <a:pt x="10" y="88"/>
                  </a:lnTo>
                  <a:lnTo>
                    <a:pt x="10" y="93"/>
                  </a:lnTo>
                  <a:lnTo>
                    <a:pt x="10" y="93"/>
                  </a:lnTo>
                  <a:lnTo>
                    <a:pt x="10" y="96"/>
                  </a:lnTo>
                  <a:lnTo>
                    <a:pt x="10" y="96"/>
                  </a:lnTo>
                  <a:lnTo>
                    <a:pt x="10" y="104"/>
                  </a:lnTo>
                  <a:lnTo>
                    <a:pt x="10" y="104"/>
                  </a:lnTo>
                  <a:lnTo>
                    <a:pt x="11" y="110"/>
                  </a:lnTo>
                  <a:lnTo>
                    <a:pt x="11" y="110"/>
                  </a:lnTo>
                  <a:lnTo>
                    <a:pt x="13" y="113"/>
                  </a:lnTo>
                  <a:lnTo>
                    <a:pt x="13" y="113"/>
                  </a:lnTo>
                  <a:lnTo>
                    <a:pt x="13" y="115"/>
                  </a:lnTo>
                  <a:lnTo>
                    <a:pt x="13" y="115"/>
                  </a:lnTo>
                  <a:lnTo>
                    <a:pt x="11" y="118"/>
                  </a:lnTo>
                  <a:lnTo>
                    <a:pt x="11" y="118"/>
                  </a:lnTo>
                  <a:lnTo>
                    <a:pt x="11" y="123"/>
                  </a:lnTo>
                  <a:lnTo>
                    <a:pt x="11" y="123"/>
                  </a:lnTo>
                  <a:lnTo>
                    <a:pt x="13" y="129"/>
                  </a:lnTo>
                  <a:lnTo>
                    <a:pt x="13" y="129"/>
                  </a:lnTo>
                  <a:lnTo>
                    <a:pt x="13" y="135"/>
                  </a:lnTo>
                  <a:lnTo>
                    <a:pt x="13" y="135"/>
                  </a:lnTo>
                  <a:lnTo>
                    <a:pt x="11" y="139"/>
                  </a:lnTo>
                  <a:lnTo>
                    <a:pt x="11" y="139"/>
                  </a:lnTo>
                  <a:lnTo>
                    <a:pt x="13" y="145"/>
                  </a:lnTo>
                  <a:lnTo>
                    <a:pt x="13" y="145"/>
                  </a:lnTo>
                  <a:lnTo>
                    <a:pt x="13" y="145"/>
                  </a:lnTo>
                  <a:lnTo>
                    <a:pt x="13" y="145"/>
                  </a:lnTo>
                  <a:lnTo>
                    <a:pt x="13" y="147"/>
                  </a:lnTo>
                  <a:lnTo>
                    <a:pt x="13" y="147"/>
                  </a:lnTo>
                  <a:lnTo>
                    <a:pt x="11" y="151"/>
                  </a:lnTo>
                  <a:lnTo>
                    <a:pt x="11" y="151"/>
                  </a:lnTo>
                  <a:lnTo>
                    <a:pt x="11" y="154"/>
                  </a:lnTo>
                  <a:lnTo>
                    <a:pt x="11" y="154"/>
                  </a:lnTo>
                  <a:lnTo>
                    <a:pt x="11" y="158"/>
                  </a:lnTo>
                  <a:lnTo>
                    <a:pt x="11" y="158"/>
                  </a:lnTo>
                  <a:lnTo>
                    <a:pt x="10" y="166"/>
                  </a:lnTo>
                  <a:lnTo>
                    <a:pt x="10" y="166"/>
                  </a:lnTo>
                  <a:lnTo>
                    <a:pt x="10" y="167"/>
                  </a:lnTo>
                  <a:lnTo>
                    <a:pt x="10" y="167"/>
                  </a:lnTo>
                  <a:lnTo>
                    <a:pt x="11" y="169"/>
                  </a:lnTo>
                  <a:lnTo>
                    <a:pt x="11" y="169"/>
                  </a:lnTo>
                  <a:lnTo>
                    <a:pt x="14" y="174"/>
                  </a:lnTo>
                  <a:lnTo>
                    <a:pt x="14" y="174"/>
                  </a:lnTo>
                  <a:lnTo>
                    <a:pt x="14" y="178"/>
                  </a:lnTo>
                  <a:lnTo>
                    <a:pt x="14" y="178"/>
                  </a:lnTo>
                  <a:lnTo>
                    <a:pt x="14" y="181"/>
                  </a:lnTo>
                  <a:lnTo>
                    <a:pt x="14" y="181"/>
                  </a:lnTo>
                  <a:lnTo>
                    <a:pt x="14" y="185"/>
                  </a:lnTo>
                  <a:lnTo>
                    <a:pt x="14" y="185"/>
                  </a:lnTo>
                  <a:lnTo>
                    <a:pt x="11" y="186"/>
                  </a:lnTo>
                  <a:lnTo>
                    <a:pt x="11" y="186"/>
                  </a:lnTo>
                  <a:lnTo>
                    <a:pt x="11" y="188"/>
                  </a:lnTo>
                  <a:lnTo>
                    <a:pt x="11" y="188"/>
                  </a:lnTo>
                  <a:lnTo>
                    <a:pt x="14" y="194"/>
                  </a:lnTo>
                  <a:lnTo>
                    <a:pt x="14" y="194"/>
                  </a:lnTo>
                  <a:lnTo>
                    <a:pt x="18" y="202"/>
                  </a:lnTo>
                  <a:lnTo>
                    <a:pt x="18" y="202"/>
                  </a:lnTo>
                  <a:lnTo>
                    <a:pt x="19" y="212"/>
                  </a:lnTo>
                  <a:lnTo>
                    <a:pt x="19" y="212"/>
                  </a:lnTo>
                  <a:lnTo>
                    <a:pt x="22" y="215"/>
                  </a:lnTo>
                  <a:lnTo>
                    <a:pt x="22" y="215"/>
                  </a:lnTo>
                  <a:lnTo>
                    <a:pt x="22" y="216"/>
                  </a:lnTo>
                  <a:lnTo>
                    <a:pt x="22" y="216"/>
                  </a:lnTo>
                  <a:lnTo>
                    <a:pt x="22" y="218"/>
                  </a:lnTo>
                  <a:lnTo>
                    <a:pt x="22" y="218"/>
                  </a:lnTo>
                  <a:lnTo>
                    <a:pt x="22" y="220"/>
                  </a:lnTo>
                  <a:lnTo>
                    <a:pt x="22" y="220"/>
                  </a:lnTo>
                  <a:lnTo>
                    <a:pt x="22" y="223"/>
                  </a:lnTo>
                  <a:lnTo>
                    <a:pt x="22" y="223"/>
                  </a:lnTo>
                  <a:lnTo>
                    <a:pt x="22" y="226"/>
                  </a:lnTo>
                  <a:lnTo>
                    <a:pt x="22" y="226"/>
                  </a:lnTo>
                  <a:lnTo>
                    <a:pt x="22" y="226"/>
                  </a:lnTo>
                  <a:lnTo>
                    <a:pt x="22" y="226"/>
                  </a:lnTo>
                  <a:lnTo>
                    <a:pt x="24" y="232"/>
                  </a:lnTo>
                  <a:lnTo>
                    <a:pt x="24" y="232"/>
                  </a:lnTo>
                  <a:lnTo>
                    <a:pt x="24" y="235"/>
                  </a:lnTo>
                  <a:lnTo>
                    <a:pt x="24" y="235"/>
                  </a:lnTo>
                  <a:lnTo>
                    <a:pt x="22" y="239"/>
                  </a:lnTo>
                  <a:lnTo>
                    <a:pt x="22" y="239"/>
                  </a:lnTo>
                  <a:lnTo>
                    <a:pt x="22" y="247"/>
                  </a:lnTo>
                  <a:lnTo>
                    <a:pt x="22" y="247"/>
                  </a:lnTo>
                  <a:lnTo>
                    <a:pt x="22" y="253"/>
                  </a:lnTo>
                  <a:lnTo>
                    <a:pt x="22" y="253"/>
                  </a:lnTo>
                  <a:lnTo>
                    <a:pt x="21" y="259"/>
                  </a:lnTo>
                  <a:lnTo>
                    <a:pt x="21" y="259"/>
                  </a:lnTo>
                  <a:lnTo>
                    <a:pt x="21" y="261"/>
                  </a:lnTo>
                  <a:lnTo>
                    <a:pt x="21" y="261"/>
                  </a:lnTo>
                  <a:lnTo>
                    <a:pt x="21" y="264"/>
                  </a:lnTo>
                  <a:lnTo>
                    <a:pt x="21" y="264"/>
                  </a:lnTo>
                  <a:lnTo>
                    <a:pt x="21" y="267"/>
                  </a:lnTo>
                  <a:lnTo>
                    <a:pt x="21" y="267"/>
                  </a:lnTo>
                  <a:lnTo>
                    <a:pt x="21" y="270"/>
                  </a:lnTo>
                  <a:lnTo>
                    <a:pt x="21" y="270"/>
                  </a:lnTo>
                  <a:lnTo>
                    <a:pt x="19" y="275"/>
                  </a:lnTo>
                  <a:lnTo>
                    <a:pt x="19" y="275"/>
                  </a:lnTo>
                  <a:lnTo>
                    <a:pt x="21" y="277"/>
                  </a:lnTo>
                  <a:lnTo>
                    <a:pt x="21" y="277"/>
                  </a:lnTo>
                  <a:lnTo>
                    <a:pt x="19" y="277"/>
                  </a:lnTo>
                  <a:lnTo>
                    <a:pt x="19" y="277"/>
                  </a:lnTo>
                  <a:lnTo>
                    <a:pt x="19" y="278"/>
                  </a:lnTo>
                  <a:lnTo>
                    <a:pt x="19" y="278"/>
                  </a:lnTo>
                  <a:lnTo>
                    <a:pt x="19" y="280"/>
                  </a:lnTo>
                  <a:lnTo>
                    <a:pt x="19" y="280"/>
                  </a:lnTo>
                  <a:lnTo>
                    <a:pt x="19" y="281"/>
                  </a:lnTo>
                  <a:lnTo>
                    <a:pt x="19" y="281"/>
                  </a:lnTo>
                  <a:lnTo>
                    <a:pt x="19" y="281"/>
                  </a:lnTo>
                  <a:lnTo>
                    <a:pt x="19" y="281"/>
                  </a:lnTo>
                  <a:lnTo>
                    <a:pt x="19" y="285"/>
                  </a:lnTo>
                  <a:lnTo>
                    <a:pt x="19" y="285"/>
                  </a:lnTo>
                  <a:lnTo>
                    <a:pt x="18" y="285"/>
                  </a:lnTo>
                  <a:lnTo>
                    <a:pt x="18" y="285"/>
                  </a:lnTo>
                  <a:lnTo>
                    <a:pt x="14" y="281"/>
                  </a:lnTo>
                  <a:lnTo>
                    <a:pt x="14" y="281"/>
                  </a:lnTo>
                  <a:lnTo>
                    <a:pt x="14" y="285"/>
                  </a:lnTo>
                  <a:lnTo>
                    <a:pt x="14" y="285"/>
                  </a:lnTo>
                  <a:lnTo>
                    <a:pt x="16" y="288"/>
                  </a:lnTo>
                  <a:lnTo>
                    <a:pt x="16" y="288"/>
                  </a:lnTo>
                  <a:lnTo>
                    <a:pt x="16" y="291"/>
                  </a:lnTo>
                  <a:lnTo>
                    <a:pt x="16" y="291"/>
                  </a:lnTo>
                  <a:lnTo>
                    <a:pt x="19" y="294"/>
                  </a:lnTo>
                  <a:lnTo>
                    <a:pt x="19" y="294"/>
                  </a:lnTo>
                  <a:lnTo>
                    <a:pt x="21" y="296"/>
                  </a:lnTo>
                  <a:lnTo>
                    <a:pt x="21" y="296"/>
                  </a:lnTo>
                  <a:lnTo>
                    <a:pt x="21" y="299"/>
                  </a:lnTo>
                  <a:lnTo>
                    <a:pt x="21" y="299"/>
                  </a:lnTo>
                  <a:lnTo>
                    <a:pt x="24" y="304"/>
                  </a:lnTo>
                  <a:lnTo>
                    <a:pt x="24" y="304"/>
                  </a:lnTo>
                  <a:lnTo>
                    <a:pt x="27" y="308"/>
                  </a:lnTo>
                  <a:lnTo>
                    <a:pt x="27" y="308"/>
                  </a:lnTo>
                  <a:lnTo>
                    <a:pt x="29" y="316"/>
                  </a:lnTo>
                  <a:lnTo>
                    <a:pt x="29" y="316"/>
                  </a:lnTo>
                  <a:lnTo>
                    <a:pt x="29" y="320"/>
                  </a:lnTo>
                  <a:lnTo>
                    <a:pt x="29" y="320"/>
                  </a:lnTo>
                  <a:lnTo>
                    <a:pt x="29" y="323"/>
                  </a:lnTo>
                  <a:lnTo>
                    <a:pt x="29" y="323"/>
                  </a:lnTo>
                  <a:lnTo>
                    <a:pt x="29" y="323"/>
                  </a:lnTo>
                  <a:lnTo>
                    <a:pt x="29" y="323"/>
                  </a:lnTo>
                  <a:lnTo>
                    <a:pt x="29" y="327"/>
                  </a:lnTo>
                  <a:lnTo>
                    <a:pt x="29" y="327"/>
                  </a:lnTo>
                  <a:lnTo>
                    <a:pt x="29" y="332"/>
                  </a:lnTo>
                  <a:lnTo>
                    <a:pt x="29" y="332"/>
                  </a:lnTo>
                  <a:lnTo>
                    <a:pt x="29" y="340"/>
                  </a:lnTo>
                  <a:lnTo>
                    <a:pt x="29" y="340"/>
                  </a:lnTo>
                  <a:lnTo>
                    <a:pt x="32" y="343"/>
                  </a:lnTo>
                  <a:lnTo>
                    <a:pt x="32" y="343"/>
                  </a:lnTo>
                  <a:lnTo>
                    <a:pt x="35" y="347"/>
                  </a:lnTo>
                  <a:lnTo>
                    <a:pt x="35" y="347"/>
                  </a:lnTo>
                  <a:lnTo>
                    <a:pt x="38" y="347"/>
                  </a:lnTo>
                  <a:lnTo>
                    <a:pt x="38" y="347"/>
                  </a:lnTo>
                  <a:lnTo>
                    <a:pt x="35" y="347"/>
                  </a:lnTo>
                  <a:lnTo>
                    <a:pt x="35" y="347"/>
                  </a:lnTo>
                  <a:lnTo>
                    <a:pt x="38" y="350"/>
                  </a:lnTo>
                  <a:lnTo>
                    <a:pt x="38" y="350"/>
                  </a:lnTo>
                  <a:lnTo>
                    <a:pt x="41" y="350"/>
                  </a:lnTo>
                  <a:lnTo>
                    <a:pt x="41" y="350"/>
                  </a:lnTo>
                  <a:lnTo>
                    <a:pt x="41" y="350"/>
                  </a:lnTo>
                  <a:lnTo>
                    <a:pt x="41" y="350"/>
                  </a:lnTo>
                  <a:lnTo>
                    <a:pt x="41" y="347"/>
                  </a:lnTo>
                  <a:lnTo>
                    <a:pt x="41" y="347"/>
                  </a:lnTo>
                  <a:lnTo>
                    <a:pt x="43" y="347"/>
                  </a:lnTo>
                  <a:lnTo>
                    <a:pt x="43" y="347"/>
                  </a:lnTo>
                  <a:lnTo>
                    <a:pt x="49" y="347"/>
                  </a:lnTo>
                  <a:lnTo>
                    <a:pt x="49" y="347"/>
                  </a:lnTo>
                  <a:lnTo>
                    <a:pt x="51" y="347"/>
                  </a:lnTo>
                  <a:lnTo>
                    <a:pt x="51" y="347"/>
                  </a:lnTo>
                  <a:lnTo>
                    <a:pt x="48" y="350"/>
                  </a:lnTo>
                  <a:lnTo>
                    <a:pt x="48" y="350"/>
                  </a:lnTo>
                  <a:lnTo>
                    <a:pt x="48" y="350"/>
                  </a:lnTo>
                  <a:lnTo>
                    <a:pt x="48" y="350"/>
                  </a:lnTo>
                  <a:lnTo>
                    <a:pt x="48" y="351"/>
                  </a:lnTo>
                  <a:lnTo>
                    <a:pt x="48" y="351"/>
                  </a:lnTo>
                  <a:lnTo>
                    <a:pt x="49" y="351"/>
                  </a:lnTo>
                  <a:lnTo>
                    <a:pt x="49" y="351"/>
                  </a:lnTo>
                  <a:lnTo>
                    <a:pt x="51" y="351"/>
                  </a:lnTo>
                  <a:lnTo>
                    <a:pt x="51" y="351"/>
                  </a:lnTo>
                  <a:lnTo>
                    <a:pt x="54" y="354"/>
                  </a:lnTo>
                  <a:lnTo>
                    <a:pt x="54" y="354"/>
                  </a:lnTo>
                  <a:lnTo>
                    <a:pt x="54" y="359"/>
                  </a:lnTo>
                  <a:lnTo>
                    <a:pt x="54" y="359"/>
                  </a:lnTo>
                  <a:lnTo>
                    <a:pt x="51" y="359"/>
                  </a:lnTo>
                  <a:lnTo>
                    <a:pt x="51" y="359"/>
                  </a:lnTo>
                  <a:lnTo>
                    <a:pt x="51" y="361"/>
                  </a:lnTo>
                  <a:lnTo>
                    <a:pt x="51" y="361"/>
                  </a:lnTo>
                  <a:lnTo>
                    <a:pt x="53" y="364"/>
                  </a:lnTo>
                  <a:lnTo>
                    <a:pt x="53" y="364"/>
                  </a:lnTo>
                  <a:lnTo>
                    <a:pt x="54" y="366"/>
                  </a:lnTo>
                  <a:lnTo>
                    <a:pt x="54" y="366"/>
                  </a:lnTo>
                  <a:lnTo>
                    <a:pt x="54" y="367"/>
                  </a:lnTo>
                  <a:lnTo>
                    <a:pt x="54" y="367"/>
                  </a:lnTo>
                  <a:lnTo>
                    <a:pt x="53" y="367"/>
                  </a:lnTo>
                  <a:lnTo>
                    <a:pt x="53" y="367"/>
                  </a:lnTo>
                  <a:lnTo>
                    <a:pt x="53" y="370"/>
                  </a:lnTo>
                  <a:lnTo>
                    <a:pt x="53" y="370"/>
                  </a:lnTo>
                  <a:lnTo>
                    <a:pt x="53" y="372"/>
                  </a:lnTo>
                  <a:lnTo>
                    <a:pt x="53" y="372"/>
                  </a:lnTo>
                  <a:lnTo>
                    <a:pt x="53" y="372"/>
                  </a:lnTo>
                  <a:lnTo>
                    <a:pt x="53" y="372"/>
                  </a:lnTo>
                  <a:lnTo>
                    <a:pt x="54" y="375"/>
                  </a:lnTo>
                  <a:lnTo>
                    <a:pt x="54" y="375"/>
                  </a:lnTo>
                  <a:lnTo>
                    <a:pt x="54" y="375"/>
                  </a:lnTo>
                  <a:lnTo>
                    <a:pt x="54" y="375"/>
                  </a:lnTo>
                  <a:lnTo>
                    <a:pt x="56" y="378"/>
                  </a:lnTo>
                  <a:lnTo>
                    <a:pt x="56" y="378"/>
                  </a:lnTo>
                  <a:lnTo>
                    <a:pt x="57" y="375"/>
                  </a:lnTo>
                  <a:lnTo>
                    <a:pt x="57" y="375"/>
                  </a:lnTo>
                  <a:lnTo>
                    <a:pt x="57" y="378"/>
                  </a:lnTo>
                  <a:lnTo>
                    <a:pt x="57" y="378"/>
                  </a:lnTo>
                  <a:lnTo>
                    <a:pt x="56" y="378"/>
                  </a:lnTo>
                  <a:lnTo>
                    <a:pt x="56" y="378"/>
                  </a:lnTo>
                  <a:lnTo>
                    <a:pt x="56" y="381"/>
                  </a:lnTo>
                  <a:lnTo>
                    <a:pt x="56" y="381"/>
                  </a:lnTo>
                  <a:lnTo>
                    <a:pt x="56" y="381"/>
                  </a:lnTo>
                  <a:lnTo>
                    <a:pt x="56" y="381"/>
                  </a:lnTo>
                  <a:lnTo>
                    <a:pt x="54" y="381"/>
                  </a:lnTo>
                  <a:lnTo>
                    <a:pt x="54" y="381"/>
                  </a:lnTo>
                  <a:lnTo>
                    <a:pt x="56" y="383"/>
                  </a:lnTo>
                  <a:lnTo>
                    <a:pt x="56" y="383"/>
                  </a:lnTo>
                  <a:lnTo>
                    <a:pt x="59" y="385"/>
                  </a:lnTo>
                  <a:lnTo>
                    <a:pt x="59" y="385"/>
                  </a:lnTo>
                  <a:lnTo>
                    <a:pt x="62" y="386"/>
                  </a:lnTo>
                  <a:lnTo>
                    <a:pt x="62" y="386"/>
                  </a:lnTo>
                  <a:lnTo>
                    <a:pt x="62" y="386"/>
                  </a:lnTo>
                  <a:lnTo>
                    <a:pt x="62" y="386"/>
                  </a:lnTo>
                  <a:lnTo>
                    <a:pt x="62" y="388"/>
                  </a:lnTo>
                  <a:lnTo>
                    <a:pt x="62" y="388"/>
                  </a:lnTo>
                  <a:lnTo>
                    <a:pt x="62" y="391"/>
                  </a:lnTo>
                  <a:lnTo>
                    <a:pt x="62" y="391"/>
                  </a:lnTo>
                  <a:lnTo>
                    <a:pt x="62" y="393"/>
                  </a:lnTo>
                  <a:lnTo>
                    <a:pt x="62" y="393"/>
                  </a:lnTo>
                  <a:lnTo>
                    <a:pt x="59" y="394"/>
                  </a:lnTo>
                  <a:lnTo>
                    <a:pt x="59" y="394"/>
                  </a:lnTo>
                  <a:lnTo>
                    <a:pt x="59" y="396"/>
                  </a:lnTo>
                  <a:lnTo>
                    <a:pt x="59" y="396"/>
                  </a:lnTo>
                  <a:lnTo>
                    <a:pt x="59" y="397"/>
                  </a:lnTo>
                  <a:lnTo>
                    <a:pt x="59" y="397"/>
                  </a:lnTo>
                  <a:lnTo>
                    <a:pt x="59" y="399"/>
                  </a:lnTo>
                  <a:lnTo>
                    <a:pt x="59" y="399"/>
                  </a:lnTo>
                  <a:lnTo>
                    <a:pt x="62" y="399"/>
                  </a:lnTo>
                  <a:lnTo>
                    <a:pt x="62" y="399"/>
                  </a:lnTo>
                  <a:lnTo>
                    <a:pt x="59" y="401"/>
                  </a:lnTo>
                  <a:lnTo>
                    <a:pt x="59" y="401"/>
                  </a:lnTo>
                  <a:lnTo>
                    <a:pt x="59" y="402"/>
                  </a:lnTo>
                  <a:lnTo>
                    <a:pt x="59" y="402"/>
                  </a:lnTo>
                  <a:lnTo>
                    <a:pt x="59" y="407"/>
                  </a:lnTo>
                  <a:lnTo>
                    <a:pt x="59" y="407"/>
                  </a:lnTo>
                  <a:lnTo>
                    <a:pt x="62" y="405"/>
                  </a:lnTo>
                  <a:lnTo>
                    <a:pt x="62" y="405"/>
                  </a:lnTo>
                  <a:lnTo>
                    <a:pt x="62" y="407"/>
                  </a:lnTo>
                  <a:lnTo>
                    <a:pt x="62" y="407"/>
                  </a:lnTo>
                  <a:lnTo>
                    <a:pt x="62" y="413"/>
                  </a:lnTo>
                  <a:lnTo>
                    <a:pt x="62" y="413"/>
                  </a:lnTo>
                  <a:lnTo>
                    <a:pt x="59" y="413"/>
                  </a:lnTo>
                  <a:lnTo>
                    <a:pt x="59" y="413"/>
                  </a:lnTo>
                  <a:lnTo>
                    <a:pt x="59" y="410"/>
                  </a:lnTo>
                  <a:lnTo>
                    <a:pt x="59" y="410"/>
                  </a:lnTo>
                  <a:lnTo>
                    <a:pt x="59" y="413"/>
                  </a:lnTo>
                  <a:lnTo>
                    <a:pt x="59" y="413"/>
                  </a:lnTo>
                  <a:lnTo>
                    <a:pt x="53" y="413"/>
                  </a:lnTo>
                  <a:lnTo>
                    <a:pt x="53" y="413"/>
                  </a:lnTo>
                  <a:lnTo>
                    <a:pt x="54" y="413"/>
                  </a:lnTo>
                  <a:lnTo>
                    <a:pt x="54" y="413"/>
                  </a:lnTo>
                  <a:lnTo>
                    <a:pt x="57" y="410"/>
                  </a:lnTo>
                  <a:lnTo>
                    <a:pt x="57" y="410"/>
                  </a:lnTo>
                  <a:lnTo>
                    <a:pt x="56" y="410"/>
                  </a:lnTo>
                  <a:lnTo>
                    <a:pt x="56" y="410"/>
                  </a:lnTo>
                  <a:lnTo>
                    <a:pt x="56" y="407"/>
                  </a:lnTo>
                  <a:lnTo>
                    <a:pt x="56" y="407"/>
                  </a:lnTo>
                  <a:lnTo>
                    <a:pt x="54" y="407"/>
                  </a:lnTo>
                  <a:lnTo>
                    <a:pt x="54" y="407"/>
                  </a:lnTo>
                  <a:lnTo>
                    <a:pt x="53" y="407"/>
                  </a:lnTo>
                  <a:lnTo>
                    <a:pt x="53" y="407"/>
                  </a:lnTo>
                  <a:lnTo>
                    <a:pt x="51" y="407"/>
                  </a:lnTo>
                  <a:lnTo>
                    <a:pt x="51" y="407"/>
                  </a:lnTo>
                  <a:lnTo>
                    <a:pt x="51" y="410"/>
                  </a:lnTo>
                  <a:lnTo>
                    <a:pt x="51" y="410"/>
                  </a:lnTo>
                  <a:lnTo>
                    <a:pt x="49" y="407"/>
                  </a:lnTo>
                  <a:lnTo>
                    <a:pt x="49" y="407"/>
                  </a:lnTo>
                  <a:lnTo>
                    <a:pt x="48" y="407"/>
                  </a:lnTo>
                  <a:lnTo>
                    <a:pt x="48" y="407"/>
                  </a:lnTo>
                  <a:lnTo>
                    <a:pt x="46" y="407"/>
                  </a:lnTo>
                  <a:lnTo>
                    <a:pt x="46" y="407"/>
                  </a:lnTo>
                  <a:lnTo>
                    <a:pt x="43" y="407"/>
                  </a:lnTo>
                  <a:lnTo>
                    <a:pt x="43" y="407"/>
                  </a:lnTo>
                  <a:lnTo>
                    <a:pt x="45" y="410"/>
                  </a:lnTo>
                  <a:lnTo>
                    <a:pt x="45" y="410"/>
                  </a:lnTo>
                  <a:lnTo>
                    <a:pt x="46" y="410"/>
                  </a:lnTo>
                  <a:lnTo>
                    <a:pt x="46" y="410"/>
                  </a:lnTo>
                  <a:lnTo>
                    <a:pt x="48" y="410"/>
                  </a:lnTo>
                  <a:lnTo>
                    <a:pt x="48" y="410"/>
                  </a:lnTo>
                  <a:lnTo>
                    <a:pt x="48" y="413"/>
                  </a:lnTo>
                  <a:lnTo>
                    <a:pt x="48" y="413"/>
                  </a:lnTo>
                  <a:lnTo>
                    <a:pt x="46" y="413"/>
                  </a:lnTo>
                  <a:lnTo>
                    <a:pt x="46" y="413"/>
                  </a:lnTo>
                  <a:lnTo>
                    <a:pt x="46" y="413"/>
                  </a:lnTo>
                  <a:lnTo>
                    <a:pt x="46" y="413"/>
                  </a:lnTo>
                  <a:lnTo>
                    <a:pt x="45" y="413"/>
                  </a:lnTo>
                  <a:lnTo>
                    <a:pt x="45" y="413"/>
                  </a:lnTo>
                  <a:lnTo>
                    <a:pt x="41" y="416"/>
                  </a:lnTo>
                  <a:lnTo>
                    <a:pt x="41" y="416"/>
                  </a:lnTo>
                  <a:lnTo>
                    <a:pt x="41" y="418"/>
                  </a:lnTo>
                  <a:lnTo>
                    <a:pt x="41" y="418"/>
                  </a:lnTo>
                  <a:lnTo>
                    <a:pt x="41" y="420"/>
                  </a:lnTo>
                  <a:lnTo>
                    <a:pt x="41" y="420"/>
                  </a:lnTo>
                  <a:lnTo>
                    <a:pt x="43" y="418"/>
                  </a:lnTo>
                  <a:lnTo>
                    <a:pt x="43" y="418"/>
                  </a:lnTo>
                  <a:lnTo>
                    <a:pt x="45" y="418"/>
                  </a:lnTo>
                  <a:lnTo>
                    <a:pt x="45" y="418"/>
                  </a:lnTo>
                  <a:lnTo>
                    <a:pt x="48" y="416"/>
                  </a:lnTo>
                  <a:lnTo>
                    <a:pt x="48" y="416"/>
                  </a:lnTo>
                  <a:lnTo>
                    <a:pt x="49" y="418"/>
                  </a:lnTo>
                  <a:lnTo>
                    <a:pt x="49" y="418"/>
                  </a:lnTo>
                  <a:lnTo>
                    <a:pt x="51" y="420"/>
                  </a:lnTo>
                  <a:lnTo>
                    <a:pt x="51" y="420"/>
                  </a:lnTo>
                  <a:lnTo>
                    <a:pt x="54" y="421"/>
                  </a:lnTo>
                  <a:lnTo>
                    <a:pt x="54" y="421"/>
                  </a:lnTo>
                  <a:lnTo>
                    <a:pt x="57" y="420"/>
                  </a:lnTo>
                  <a:lnTo>
                    <a:pt x="57" y="420"/>
                  </a:lnTo>
                  <a:lnTo>
                    <a:pt x="59" y="421"/>
                  </a:lnTo>
                  <a:lnTo>
                    <a:pt x="59" y="421"/>
                  </a:lnTo>
                  <a:lnTo>
                    <a:pt x="62" y="424"/>
                  </a:lnTo>
                  <a:lnTo>
                    <a:pt x="62" y="424"/>
                  </a:lnTo>
                  <a:lnTo>
                    <a:pt x="62" y="426"/>
                  </a:lnTo>
                  <a:lnTo>
                    <a:pt x="62" y="426"/>
                  </a:lnTo>
                  <a:lnTo>
                    <a:pt x="62" y="428"/>
                  </a:lnTo>
                  <a:lnTo>
                    <a:pt x="62" y="428"/>
                  </a:lnTo>
                  <a:lnTo>
                    <a:pt x="62" y="426"/>
                  </a:lnTo>
                  <a:lnTo>
                    <a:pt x="62" y="426"/>
                  </a:lnTo>
                  <a:lnTo>
                    <a:pt x="59" y="428"/>
                  </a:lnTo>
                  <a:lnTo>
                    <a:pt x="59" y="428"/>
                  </a:lnTo>
                  <a:lnTo>
                    <a:pt x="59" y="428"/>
                  </a:lnTo>
                  <a:lnTo>
                    <a:pt x="59" y="428"/>
                  </a:lnTo>
                  <a:lnTo>
                    <a:pt x="62" y="431"/>
                  </a:lnTo>
                  <a:lnTo>
                    <a:pt x="62" y="431"/>
                  </a:lnTo>
                  <a:lnTo>
                    <a:pt x="62" y="431"/>
                  </a:lnTo>
                  <a:lnTo>
                    <a:pt x="62" y="431"/>
                  </a:lnTo>
                  <a:lnTo>
                    <a:pt x="64" y="431"/>
                  </a:lnTo>
                  <a:lnTo>
                    <a:pt x="64" y="431"/>
                  </a:lnTo>
                  <a:lnTo>
                    <a:pt x="65" y="431"/>
                  </a:lnTo>
                  <a:lnTo>
                    <a:pt x="65" y="431"/>
                  </a:lnTo>
                  <a:lnTo>
                    <a:pt x="64" y="431"/>
                  </a:lnTo>
                  <a:lnTo>
                    <a:pt x="64" y="431"/>
                  </a:lnTo>
                  <a:lnTo>
                    <a:pt x="64" y="434"/>
                  </a:lnTo>
                  <a:lnTo>
                    <a:pt x="64" y="434"/>
                  </a:lnTo>
                  <a:lnTo>
                    <a:pt x="62" y="431"/>
                  </a:lnTo>
                  <a:lnTo>
                    <a:pt x="62" y="431"/>
                  </a:lnTo>
                  <a:lnTo>
                    <a:pt x="59" y="431"/>
                  </a:lnTo>
                  <a:lnTo>
                    <a:pt x="59" y="431"/>
                  </a:lnTo>
                  <a:lnTo>
                    <a:pt x="59" y="431"/>
                  </a:lnTo>
                  <a:lnTo>
                    <a:pt x="59" y="431"/>
                  </a:lnTo>
                  <a:lnTo>
                    <a:pt x="59" y="434"/>
                  </a:lnTo>
                  <a:lnTo>
                    <a:pt x="59" y="434"/>
                  </a:lnTo>
                  <a:lnTo>
                    <a:pt x="62" y="434"/>
                  </a:lnTo>
                  <a:lnTo>
                    <a:pt x="62" y="434"/>
                  </a:lnTo>
                  <a:lnTo>
                    <a:pt x="67" y="434"/>
                  </a:lnTo>
                  <a:lnTo>
                    <a:pt x="67" y="434"/>
                  </a:lnTo>
                  <a:lnTo>
                    <a:pt x="68" y="434"/>
                  </a:lnTo>
                  <a:lnTo>
                    <a:pt x="68" y="434"/>
                  </a:lnTo>
                  <a:lnTo>
                    <a:pt x="68" y="434"/>
                  </a:lnTo>
                  <a:lnTo>
                    <a:pt x="68" y="434"/>
                  </a:lnTo>
                  <a:lnTo>
                    <a:pt x="72" y="434"/>
                  </a:lnTo>
                  <a:lnTo>
                    <a:pt x="72" y="434"/>
                  </a:lnTo>
                  <a:lnTo>
                    <a:pt x="73" y="437"/>
                  </a:lnTo>
                  <a:lnTo>
                    <a:pt x="73" y="437"/>
                  </a:lnTo>
                  <a:lnTo>
                    <a:pt x="72" y="437"/>
                  </a:lnTo>
                  <a:lnTo>
                    <a:pt x="72" y="437"/>
                  </a:lnTo>
                  <a:lnTo>
                    <a:pt x="75" y="437"/>
                  </a:lnTo>
                  <a:lnTo>
                    <a:pt x="75" y="437"/>
                  </a:lnTo>
                  <a:lnTo>
                    <a:pt x="76" y="440"/>
                  </a:lnTo>
                  <a:lnTo>
                    <a:pt x="76" y="440"/>
                  </a:lnTo>
                  <a:lnTo>
                    <a:pt x="76" y="440"/>
                  </a:lnTo>
                  <a:lnTo>
                    <a:pt x="76" y="440"/>
                  </a:lnTo>
                  <a:lnTo>
                    <a:pt x="73" y="440"/>
                  </a:lnTo>
                  <a:lnTo>
                    <a:pt x="73" y="440"/>
                  </a:lnTo>
                  <a:lnTo>
                    <a:pt x="70" y="437"/>
                  </a:lnTo>
                  <a:lnTo>
                    <a:pt x="70" y="437"/>
                  </a:lnTo>
                  <a:lnTo>
                    <a:pt x="67" y="437"/>
                  </a:lnTo>
                  <a:lnTo>
                    <a:pt x="67" y="437"/>
                  </a:lnTo>
                  <a:lnTo>
                    <a:pt x="64" y="437"/>
                  </a:lnTo>
                  <a:lnTo>
                    <a:pt x="64" y="437"/>
                  </a:lnTo>
                  <a:lnTo>
                    <a:pt x="62" y="437"/>
                  </a:lnTo>
                  <a:lnTo>
                    <a:pt x="62" y="437"/>
                  </a:lnTo>
                  <a:lnTo>
                    <a:pt x="62" y="437"/>
                  </a:lnTo>
                  <a:lnTo>
                    <a:pt x="62" y="437"/>
                  </a:lnTo>
                  <a:lnTo>
                    <a:pt x="62" y="437"/>
                  </a:lnTo>
                  <a:lnTo>
                    <a:pt x="62" y="437"/>
                  </a:lnTo>
                  <a:lnTo>
                    <a:pt x="65" y="440"/>
                  </a:lnTo>
                  <a:lnTo>
                    <a:pt x="65" y="440"/>
                  </a:lnTo>
                  <a:lnTo>
                    <a:pt x="67" y="440"/>
                  </a:lnTo>
                  <a:lnTo>
                    <a:pt x="67" y="440"/>
                  </a:lnTo>
                  <a:lnTo>
                    <a:pt x="68" y="440"/>
                  </a:lnTo>
                  <a:lnTo>
                    <a:pt x="68" y="440"/>
                  </a:lnTo>
                  <a:lnTo>
                    <a:pt x="67" y="442"/>
                  </a:lnTo>
                  <a:lnTo>
                    <a:pt x="67" y="442"/>
                  </a:lnTo>
                  <a:lnTo>
                    <a:pt x="68" y="442"/>
                  </a:lnTo>
                  <a:lnTo>
                    <a:pt x="68" y="442"/>
                  </a:lnTo>
                  <a:lnTo>
                    <a:pt x="72" y="442"/>
                  </a:lnTo>
                  <a:lnTo>
                    <a:pt x="72" y="442"/>
                  </a:lnTo>
                  <a:lnTo>
                    <a:pt x="72" y="443"/>
                  </a:lnTo>
                  <a:lnTo>
                    <a:pt x="72" y="443"/>
                  </a:lnTo>
                  <a:lnTo>
                    <a:pt x="72" y="445"/>
                  </a:lnTo>
                  <a:lnTo>
                    <a:pt x="72" y="445"/>
                  </a:lnTo>
                  <a:lnTo>
                    <a:pt x="70" y="443"/>
                  </a:lnTo>
                  <a:lnTo>
                    <a:pt x="70" y="443"/>
                  </a:lnTo>
                  <a:lnTo>
                    <a:pt x="67" y="443"/>
                  </a:lnTo>
                  <a:lnTo>
                    <a:pt x="67" y="443"/>
                  </a:lnTo>
                  <a:lnTo>
                    <a:pt x="67" y="445"/>
                  </a:lnTo>
                  <a:lnTo>
                    <a:pt x="67" y="445"/>
                  </a:lnTo>
                  <a:lnTo>
                    <a:pt x="68" y="447"/>
                  </a:lnTo>
                  <a:lnTo>
                    <a:pt x="68" y="447"/>
                  </a:lnTo>
                  <a:lnTo>
                    <a:pt x="72" y="447"/>
                  </a:lnTo>
                  <a:lnTo>
                    <a:pt x="72" y="447"/>
                  </a:lnTo>
                  <a:lnTo>
                    <a:pt x="68" y="448"/>
                  </a:lnTo>
                  <a:lnTo>
                    <a:pt x="68" y="448"/>
                  </a:lnTo>
                  <a:lnTo>
                    <a:pt x="68" y="450"/>
                  </a:lnTo>
                  <a:lnTo>
                    <a:pt x="68" y="450"/>
                  </a:lnTo>
                  <a:lnTo>
                    <a:pt x="70" y="450"/>
                  </a:lnTo>
                  <a:lnTo>
                    <a:pt x="70" y="450"/>
                  </a:lnTo>
                  <a:lnTo>
                    <a:pt x="72" y="455"/>
                  </a:lnTo>
                  <a:lnTo>
                    <a:pt x="72" y="455"/>
                  </a:lnTo>
                  <a:lnTo>
                    <a:pt x="75" y="458"/>
                  </a:lnTo>
                  <a:lnTo>
                    <a:pt x="75" y="458"/>
                  </a:lnTo>
                  <a:lnTo>
                    <a:pt x="75" y="451"/>
                  </a:lnTo>
                  <a:lnTo>
                    <a:pt x="75" y="451"/>
                  </a:lnTo>
                  <a:lnTo>
                    <a:pt x="76" y="451"/>
                  </a:lnTo>
                  <a:lnTo>
                    <a:pt x="76" y="451"/>
                  </a:lnTo>
                  <a:lnTo>
                    <a:pt x="76" y="453"/>
                  </a:lnTo>
                  <a:lnTo>
                    <a:pt x="76" y="453"/>
                  </a:lnTo>
                  <a:lnTo>
                    <a:pt x="78" y="456"/>
                  </a:lnTo>
                  <a:lnTo>
                    <a:pt x="78" y="456"/>
                  </a:lnTo>
                  <a:lnTo>
                    <a:pt x="76" y="456"/>
                  </a:lnTo>
                  <a:lnTo>
                    <a:pt x="76" y="456"/>
                  </a:lnTo>
                  <a:lnTo>
                    <a:pt x="76" y="458"/>
                  </a:lnTo>
                  <a:lnTo>
                    <a:pt x="76" y="458"/>
                  </a:lnTo>
                  <a:lnTo>
                    <a:pt x="78" y="459"/>
                  </a:lnTo>
                  <a:lnTo>
                    <a:pt x="78" y="459"/>
                  </a:lnTo>
                  <a:lnTo>
                    <a:pt x="76" y="459"/>
                  </a:lnTo>
                  <a:lnTo>
                    <a:pt x="76" y="459"/>
                  </a:lnTo>
                  <a:lnTo>
                    <a:pt x="75" y="461"/>
                  </a:lnTo>
                  <a:lnTo>
                    <a:pt x="75" y="461"/>
                  </a:lnTo>
                  <a:lnTo>
                    <a:pt x="76" y="461"/>
                  </a:lnTo>
                  <a:lnTo>
                    <a:pt x="76" y="461"/>
                  </a:lnTo>
                  <a:lnTo>
                    <a:pt x="78" y="461"/>
                  </a:lnTo>
                  <a:lnTo>
                    <a:pt x="78" y="461"/>
                  </a:lnTo>
                  <a:lnTo>
                    <a:pt x="76" y="462"/>
                  </a:lnTo>
                  <a:lnTo>
                    <a:pt x="76" y="462"/>
                  </a:lnTo>
                  <a:lnTo>
                    <a:pt x="78" y="462"/>
                  </a:lnTo>
                  <a:lnTo>
                    <a:pt x="78" y="462"/>
                  </a:lnTo>
                  <a:lnTo>
                    <a:pt x="80" y="466"/>
                  </a:lnTo>
                  <a:lnTo>
                    <a:pt x="80" y="466"/>
                  </a:lnTo>
                  <a:lnTo>
                    <a:pt x="76" y="462"/>
                  </a:lnTo>
                  <a:lnTo>
                    <a:pt x="76" y="462"/>
                  </a:lnTo>
                  <a:lnTo>
                    <a:pt x="78" y="466"/>
                  </a:lnTo>
                  <a:lnTo>
                    <a:pt x="78" y="466"/>
                  </a:lnTo>
                  <a:lnTo>
                    <a:pt x="76" y="466"/>
                  </a:lnTo>
                  <a:lnTo>
                    <a:pt x="76" y="466"/>
                  </a:lnTo>
                  <a:lnTo>
                    <a:pt x="75" y="469"/>
                  </a:lnTo>
                  <a:lnTo>
                    <a:pt x="75" y="469"/>
                  </a:lnTo>
                  <a:lnTo>
                    <a:pt x="78" y="469"/>
                  </a:lnTo>
                  <a:lnTo>
                    <a:pt x="78" y="469"/>
                  </a:lnTo>
                  <a:lnTo>
                    <a:pt x="80" y="469"/>
                  </a:lnTo>
                  <a:lnTo>
                    <a:pt x="80" y="469"/>
                  </a:lnTo>
                  <a:lnTo>
                    <a:pt x="81" y="472"/>
                  </a:lnTo>
                  <a:lnTo>
                    <a:pt x="81" y="472"/>
                  </a:lnTo>
                  <a:lnTo>
                    <a:pt x="83" y="472"/>
                  </a:lnTo>
                  <a:lnTo>
                    <a:pt x="83" y="472"/>
                  </a:lnTo>
                  <a:lnTo>
                    <a:pt x="84" y="474"/>
                  </a:lnTo>
                  <a:lnTo>
                    <a:pt x="84" y="474"/>
                  </a:lnTo>
                  <a:lnTo>
                    <a:pt x="86" y="477"/>
                  </a:lnTo>
                  <a:lnTo>
                    <a:pt x="86" y="477"/>
                  </a:lnTo>
                  <a:lnTo>
                    <a:pt x="86" y="478"/>
                  </a:lnTo>
                  <a:lnTo>
                    <a:pt x="86" y="478"/>
                  </a:lnTo>
                  <a:lnTo>
                    <a:pt x="87" y="480"/>
                  </a:lnTo>
                  <a:lnTo>
                    <a:pt x="87" y="480"/>
                  </a:lnTo>
                  <a:lnTo>
                    <a:pt x="87" y="481"/>
                  </a:lnTo>
                  <a:lnTo>
                    <a:pt x="87" y="481"/>
                  </a:lnTo>
                  <a:lnTo>
                    <a:pt x="87" y="480"/>
                  </a:lnTo>
                  <a:lnTo>
                    <a:pt x="87" y="480"/>
                  </a:lnTo>
                  <a:lnTo>
                    <a:pt x="91" y="481"/>
                  </a:lnTo>
                  <a:lnTo>
                    <a:pt x="91" y="481"/>
                  </a:lnTo>
                  <a:lnTo>
                    <a:pt x="91" y="481"/>
                  </a:lnTo>
                  <a:lnTo>
                    <a:pt x="91" y="481"/>
                  </a:lnTo>
                  <a:lnTo>
                    <a:pt x="97" y="488"/>
                  </a:lnTo>
                  <a:lnTo>
                    <a:pt x="97" y="488"/>
                  </a:lnTo>
                  <a:lnTo>
                    <a:pt x="94" y="486"/>
                  </a:lnTo>
                  <a:lnTo>
                    <a:pt x="94" y="486"/>
                  </a:lnTo>
                  <a:lnTo>
                    <a:pt x="91" y="485"/>
                  </a:lnTo>
                  <a:lnTo>
                    <a:pt x="91" y="485"/>
                  </a:lnTo>
                  <a:lnTo>
                    <a:pt x="91" y="486"/>
                  </a:lnTo>
                  <a:lnTo>
                    <a:pt x="91" y="486"/>
                  </a:lnTo>
                  <a:lnTo>
                    <a:pt x="94" y="488"/>
                  </a:lnTo>
                  <a:lnTo>
                    <a:pt x="94" y="488"/>
                  </a:lnTo>
                  <a:lnTo>
                    <a:pt x="94" y="489"/>
                  </a:lnTo>
                  <a:lnTo>
                    <a:pt x="94" y="489"/>
                  </a:lnTo>
                  <a:lnTo>
                    <a:pt x="97" y="489"/>
                  </a:lnTo>
                  <a:lnTo>
                    <a:pt x="97" y="489"/>
                  </a:lnTo>
                  <a:lnTo>
                    <a:pt x="97" y="491"/>
                  </a:lnTo>
                  <a:lnTo>
                    <a:pt x="97" y="491"/>
                  </a:lnTo>
                  <a:lnTo>
                    <a:pt x="99" y="494"/>
                  </a:lnTo>
                  <a:lnTo>
                    <a:pt x="99" y="494"/>
                  </a:lnTo>
                  <a:lnTo>
                    <a:pt x="102" y="496"/>
                  </a:lnTo>
                  <a:lnTo>
                    <a:pt x="102" y="496"/>
                  </a:lnTo>
                  <a:lnTo>
                    <a:pt x="100" y="496"/>
                  </a:lnTo>
                  <a:lnTo>
                    <a:pt x="100" y="496"/>
                  </a:lnTo>
                  <a:lnTo>
                    <a:pt x="97" y="494"/>
                  </a:lnTo>
                  <a:lnTo>
                    <a:pt x="97" y="494"/>
                  </a:lnTo>
                  <a:lnTo>
                    <a:pt x="100" y="497"/>
                  </a:lnTo>
                  <a:lnTo>
                    <a:pt x="100" y="497"/>
                  </a:lnTo>
                  <a:lnTo>
                    <a:pt x="102" y="501"/>
                  </a:lnTo>
                  <a:lnTo>
                    <a:pt x="102" y="501"/>
                  </a:lnTo>
                  <a:lnTo>
                    <a:pt x="102" y="501"/>
                  </a:lnTo>
                  <a:lnTo>
                    <a:pt x="102" y="501"/>
                  </a:lnTo>
                  <a:lnTo>
                    <a:pt x="103" y="501"/>
                  </a:lnTo>
                  <a:lnTo>
                    <a:pt x="103" y="501"/>
                  </a:lnTo>
                  <a:lnTo>
                    <a:pt x="103" y="504"/>
                  </a:lnTo>
                  <a:lnTo>
                    <a:pt x="103" y="504"/>
                  </a:lnTo>
                  <a:lnTo>
                    <a:pt x="105" y="501"/>
                  </a:lnTo>
                  <a:lnTo>
                    <a:pt x="105" y="501"/>
                  </a:lnTo>
                  <a:lnTo>
                    <a:pt x="107" y="504"/>
                  </a:lnTo>
                  <a:lnTo>
                    <a:pt x="107" y="504"/>
                  </a:lnTo>
                  <a:lnTo>
                    <a:pt x="108" y="504"/>
                  </a:lnTo>
                  <a:lnTo>
                    <a:pt x="108" y="504"/>
                  </a:lnTo>
                  <a:lnTo>
                    <a:pt x="110" y="507"/>
                  </a:lnTo>
                  <a:lnTo>
                    <a:pt x="110" y="507"/>
                  </a:lnTo>
                  <a:lnTo>
                    <a:pt x="108" y="507"/>
                  </a:lnTo>
                  <a:lnTo>
                    <a:pt x="108" y="507"/>
                  </a:lnTo>
                  <a:lnTo>
                    <a:pt x="108" y="507"/>
                  </a:lnTo>
                  <a:lnTo>
                    <a:pt x="108" y="507"/>
                  </a:lnTo>
                  <a:lnTo>
                    <a:pt x="111" y="507"/>
                  </a:lnTo>
                  <a:lnTo>
                    <a:pt x="111" y="507"/>
                  </a:lnTo>
                  <a:lnTo>
                    <a:pt x="113" y="507"/>
                  </a:lnTo>
                  <a:lnTo>
                    <a:pt x="113" y="507"/>
                  </a:lnTo>
                  <a:lnTo>
                    <a:pt x="113" y="507"/>
                  </a:lnTo>
                  <a:lnTo>
                    <a:pt x="113" y="507"/>
                  </a:lnTo>
                  <a:lnTo>
                    <a:pt x="114" y="507"/>
                  </a:lnTo>
                  <a:lnTo>
                    <a:pt x="114" y="507"/>
                  </a:lnTo>
                  <a:lnTo>
                    <a:pt x="116" y="508"/>
                  </a:lnTo>
                  <a:lnTo>
                    <a:pt x="116" y="508"/>
                  </a:lnTo>
                  <a:lnTo>
                    <a:pt x="113" y="508"/>
                  </a:lnTo>
                  <a:lnTo>
                    <a:pt x="113" y="508"/>
                  </a:lnTo>
                  <a:lnTo>
                    <a:pt x="110" y="508"/>
                  </a:lnTo>
                  <a:lnTo>
                    <a:pt x="110" y="508"/>
                  </a:lnTo>
                  <a:lnTo>
                    <a:pt x="113" y="510"/>
                  </a:lnTo>
                  <a:lnTo>
                    <a:pt x="113" y="510"/>
                  </a:lnTo>
                  <a:lnTo>
                    <a:pt x="108" y="508"/>
                  </a:lnTo>
                  <a:lnTo>
                    <a:pt x="108" y="508"/>
                  </a:lnTo>
                  <a:lnTo>
                    <a:pt x="107" y="508"/>
                  </a:lnTo>
                  <a:lnTo>
                    <a:pt x="107" y="508"/>
                  </a:lnTo>
                  <a:lnTo>
                    <a:pt x="102" y="507"/>
                  </a:lnTo>
                  <a:lnTo>
                    <a:pt x="102" y="507"/>
                  </a:lnTo>
                  <a:lnTo>
                    <a:pt x="99" y="507"/>
                  </a:lnTo>
                  <a:lnTo>
                    <a:pt x="99" y="507"/>
                  </a:lnTo>
                  <a:lnTo>
                    <a:pt x="94" y="504"/>
                  </a:lnTo>
                  <a:lnTo>
                    <a:pt x="94" y="504"/>
                  </a:lnTo>
                  <a:lnTo>
                    <a:pt x="91" y="504"/>
                  </a:lnTo>
                  <a:lnTo>
                    <a:pt x="91" y="504"/>
                  </a:lnTo>
                  <a:lnTo>
                    <a:pt x="97" y="507"/>
                  </a:lnTo>
                  <a:lnTo>
                    <a:pt x="97" y="507"/>
                  </a:lnTo>
                  <a:lnTo>
                    <a:pt x="100" y="507"/>
                  </a:lnTo>
                  <a:lnTo>
                    <a:pt x="100" y="507"/>
                  </a:lnTo>
                  <a:lnTo>
                    <a:pt x="105" y="508"/>
                  </a:lnTo>
                  <a:lnTo>
                    <a:pt x="105" y="508"/>
                  </a:lnTo>
                  <a:lnTo>
                    <a:pt x="107" y="510"/>
                  </a:lnTo>
                  <a:lnTo>
                    <a:pt x="107" y="510"/>
                  </a:lnTo>
                  <a:lnTo>
                    <a:pt x="110" y="510"/>
                  </a:lnTo>
                  <a:lnTo>
                    <a:pt x="110" y="510"/>
                  </a:lnTo>
                  <a:lnTo>
                    <a:pt x="113" y="510"/>
                  </a:lnTo>
                  <a:lnTo>
                    <a:pt x="113" y="510"/>
                  </a:lnTo>
                  <a:lnTo>
                    <a:pt x="116" y="512"/>
                  </a:lnTo>
                  <a:lnTo>
                    <a:pt x="116" y="512"/>
                  </a:lnTo>
                  <a:lnTo>
                    <a:pt x="119" y="513"/>
                  </a:lnTo>
                  <a:lnTo>
                    <a:pt x="119" y="513"/>
                  </a:lnTo>
                  <a:lnTo>
                    <a:pt x="122" y="513"/>
                  </a:lnTo>
                  <a:lnTo>
                    <a:pt x="122" y="513"/>
                  </a:lnTo>
                  <a:lnTo>
                    <a:pt x="121" y="512"/>
                  </a:lnTo>
                  <a:lnTo>
                    <a:pt x="121" y="512"/>
                  </a:lnTo>
                  <a:lnTo>
                    <a:pt x="119" y="512"/>
                  </a:lnTo>
                  <a:lnTo>
                    <a:pt x="119" y="512"/>
                  </a:lnTo>
                  <a:lnTo>
                    <a:pt x="119" y="508"/>
                  </a:lnTo>
                  <a:lnTo>
                    <a:pt x="119" y="508"/>
                  </a:lnTo>
                  <a:lnTo>
                    <a:pt x="121" y="508"/>
                  </a:lnTo>
                  <a:lnTo>
                    <a:pt x="121" y="508"/>
                  </a:lnTo>
                  <a:lnTo>
                    <a:pt x="118" y="507"/>
                  </a:lnTo>
                  <a:lnTo>
                    <a:pt x="118" y="507"/>
                  </a:lnTo>
                  <a:lnTo>
                    <a:pt x="119" y="507"/>
                  </a:lnTo>
                  <a:lnTo>
                    <a:pt x="119" y="507"/>
                  </a:lnTo>
                  <a:lnTo>
                    <a:pt x="121" y="507"/>
                  </a:lnTo>
                  <a:lnTo>
                    <a:pt x="121" y="507"/>
                  </a:lnTo>
                  <a:lnTo>
                    <a:pt x="122" y="507"/>
                  </a:lnTo>
                  <a:lnTo>
                    <a:pt x="122" y="507"/>
                  </a:lnTo>
                  <a:lnTo>
                    <a:pt x="122" y="507"/>
                  </a:lnTo>
                  <a:lnTo>
                    <a:pt x="122" y="507"/>
                  </a:lnTo>
                  <a:lnTo>
                    <a:pt x="126" y="507"/>
                  </a:lnTo>
                  <a:lnTo>
                    <a:pt x="126" y="507"/>
                  </a:lnTo>
                  <a:lnTo>
                    <a:pt x="129" y="504"/>
                  </a:lnTo>
                  <a:lnTo>
                    <a:pt x="129" y="504"/>
                  </a:lnTo>
                  <a:lnTo>
                    <a:pt x="129" y="504"/>
                  </a:lnTo>
                  <a:lnTo>
                    <a:pt x="129" y="504"/>
                  </a:lnTo>
                  <a:lnTo>
                    <a:pt x="132" y="504"/>
                  </a:lnTo>
                  <a:lnTo>
                    <a:pt x="132" y="504"/>
                  </a:lnTo>
                  <a:lnTo>
                    <a:pt x="132" y="507"/>
                  </a:lnTo>
                  <a:lnTo>
                    <a:pt x="132" y="507"/>
                  </a:lnTo>
                  <a:lnTo>
                    <a:pt x="132" y="507"/>
                  </a:lnTo>
                  <a:lnTo>
                    <a:pt x="132" y="507"/>
                  </a:lnTo>
                  <a:lnTo>
                    <a:pt x="132" y="508"/>
                  </a:lnTo>
                  <a:lnTo>
                    <a:pt x="132" y="508"/>
                  </a:lnTo>
                  <a:lnTo>
                    <a:pt x="129" y="508"/>
                  </a:lnTo>
                  <a:lnTo>
                    <a:pt x="129" y="508"/>
                  </a:lnTo>
                  <a:lnTo>
                    <a:pt x="129" y="512"/>
                  </a:lnTo>
                  <a:lnTo>
                    <a:pt x="129" y="512"/>
                  </a:lnTo>
                  <a:lnTo>
                    <a:pt x="126" y="510"/>
                  </a:lnTo>
                  <a:lnTo>
                    <a:pt x="126" y="510"/>
                  </a:lnTo>
                  <a:lnTo>
                    <a:pt x="126" y="512"/>
                  </a:lnTo>
                  <a:lnTo>
                    <a:pt x="126" y="512"/>
                  </a:lnTo>
                  <a:lnTo>
                    <a:pt x="122" y="510"/>
                  </a:lnTo>
                  <a:lnTo>
                    <a:pt x="122" y="510"/>
                  </a:lnTo>
                  <a:lnTo>
                    <a:pt x="122" y="510"/>
                  </a:lnTo>
                  <a:lnTo>
                    <a:pt x="122" y="510"/>
                  </a:lnTo>
                  <a:lnTo>
                    <a:pt x="122" y="512"/>
                  </a:lnTo>
                  <a:lnTo>
                    <a:pt x="122" y="512"/>
                  </a:lnTo>
                  <a:lnTo>
                    <a:pt x="122" y="515"/>
                  </a:lnTo>
                  <a:lnTo>
                    <a:pt x="122" y="515"/>
                  </a:lnTo>
                  <a:lnTo>
                    <a:pt x="126" y="516"/>
                  </a:lnTo>
                  <a:lnTo>
                    <a:pt x="126" y="516"/>
                  </a:lnTo>
                  <a:lnTo>
                    <a:pt x="132" y="518"/>
                  </a:lnTo>
                  <a:lnTo>
                    <a:pt x="132" y="518"/>
                  </a:lnTo>
                  <a:lnTo>
                    <a:pt x="137" y="518"/>
                  </a:lnTo>
                  <a:lnTo>
                    <a:pt x="137" y="518"/>
                  </a:lnTo>
                  <a:lnTo>
                    <a:pt x="138" y="518"/>
                  </a:lnTo>
                  <a:lnTo>
                    <a:pt x="138" y="518"/>
                  </a:lnTo>
                  <a:lnTo>
                    <a:pt x="138" y="515"/>
                  </a:lnTo>
                  <a:lnTo>
                    <a:pt x="138" y="515"/>
                  </a:lnTo>
                  <a:lnTo>
                    <a:pt x="137" y="512"/>
                  </a:lnTo>
                  <a:lnTo>
                    <a:pt x="137" y="512"/>
                  </a:lnTo>
                  <a:lnTo>
                    <a:pt x="135" y="508"/>
                  </a:lnTo>
                  <a:lnTo>
                    <a:pt x="135" y="508"/>
                  </a:lnTo>
                  <a:lnTo>
                    <a:pt x="135" y="507"/>
                  </a:lnTo>
                  <a:lnTo>
                    <a:pt x="135" y="507"/>
                  </a:lnTo>
                  <a:lnTo>
                    <a:pt x="134" y="504"/>
                  </a:lnTo>
                  <a:lnTo>
                    <a:pt x="134" y="504"/>
                  </a:lnTo>
                  <a:lnTo>
                    <a:pt x="137" y="504"/>
                  </a:lnTo>
                  <a:lnTo>
                    <a:pt x="137" y="504"/>
                  </a:lnTo>
                  <a:lnTo>
                    <a:pt x="140" y="501"/>
                  </a:lnTo>
                  <a:lnTo>
                    <a:pt x="140" y="501"/>
                  </a:lnTo>
                  <a:lnTo>
                    <a:pt x="143" y="501"/>
                  </a:lnTo>
                  <a:lnTo>
                    <a:pt x="143" y="501"/>
                  </a:lnTo>
                  <a:lnTo>
                    <a:pt x="146" y="501"/>
                  </a:lnTo>
                  <a:lnTo>
                    <a:pt x="146" y="501"/>
                  </a:lnTo>
                  <a:lnTo>
                    <a:pt x="146" y="497"/>
                  </a:lnTo>
                  <a:lnTo>
                    <a:pt x="148" y="496"/>
                  </a:lnTo>
                  <a:lnTo>
                    <a:pt x="148" y="496"/>
                  </a:lnTo>
                  <a:lnTo>
                    <a:pt x="148" y="496"/>
                  </a:lnTo>
                  <a:close/>
                  <a:moveTo>
                    <a:pt x="137" y="524"/>
                  </a:moveTo>
                  <a:lnTo>
                    <a:pt x="137" y="524"/>
                  </a:lnTo>
                  <a:lnTo>
                    <a:pt x="137" y="521"/>
                  </a:lnTo>
                  <a:lnTo>
                    <a:pt x="137" y="521"/>
                  </a:lnTo>
                  <a:lnTo>
                    <a:pt x="138" y="521"/>
                  </a:lnTo>
                  <a:lnTo>
                    <a:pt x="138" y="521"/>
                  </a:lnTo>
                  <a:lnTo>
                    <a:pt x="138" y="524"/>
                  </a:lnTo>
                  <a:lnTo>
                    <a:pt x="138" y="524"/>
                  </a:lnTo>
                  <a:lnTo>
                    <a:pt x="140" y="524"/>
                  </a:lnTo>
                  <a:lnTo>
                    <a:pt x="140" y="524"/>
                  </a:lnTo>
                  <a:lnTo>
                    <a:pt x="140" y="524"/>
                  </a:lnTo>
                  <a:lnTo>
                    <a:pt x="140" y="524"/>
                  </a:lnTo>
                  <a:lnTo>
                    <a:pt x="143" y="524"/>
                  </a:lnTo>
                  <a:lnTo>
                    <a:pt x="143" y="524"/>
                  </a:lnTo>
                  <a:lnTo>
                    <a:pt x="140" y="521"/>
                  </a:lnTo>
                  <a:lnTo>
                    <a:pt x="140" y="521"/>
                  </a:lnTo>
                  <a:lnTo>
                    <a:pt x="138" y="521"/>
                  </a:lnTo>
                  <a:lnTo>
                    <a:pt x="138" y="521"/>
                  </a:lnTo>
                  <a:lnTo>
                    <a:pt x="134" y="518"/>
                  </a:lnTo>
                  <a:lnTo>
                    <a:pt x="134" y="518"/>
                  </a:lnTo>
                  <a:lnTo>
                    <a:pt x="135" y="521"/>
                  </a:lnTo>
                  <a:lnTo>
                    <a:pt x="137" y="524"/>
                  </a:lnTo>
                  <a:lnTo>
                    <a:pt x="137" y="524"/>
                  </a:lnTo>
                  <a:lnTo>
                    <a:pt x="137" y="524"/>
                  </a:lnTo>
                  <a:close/>
                  <a:moveTo>
                    <a:pt x="49" y="397"/>
                  </a:moveTo>
                  <a:lnTo>
                    <a:pt x="49" y="397"/>
                  </a:lnTo>
                  <a:lnTo>
                    <a:pt x="51" y="399"/>
                  </a:lnTo>
                  <a:lnTo>
                    <a:pt x="51" y="399"/>
                  </a:lnTo>
                  <a:lnTo>
                    <a:pt x="56" y="399"/>
                  </a:lnTo>
                  <a:lnTo>
                    <a:pt x="56" y="399"/>
                  </a:lnTo>
                  <a:lnTo>
                    <a:pt x="54" y="396"/>
                  </a:lnTo>
                  <a:lnTo>
                    <a:pt x="54" y="396"/>
                  </a:lnTo>
                  <a:lnTo>
                    <a:pt x="53" y="396"/>
                  </a:lnTo>
                  <a:lnTo>
                    <a:pt x="53" y="396"/>
                  </a:lnTo>
                  <a:lnTo>
                    <a:pt x="48" y="396"/>
                  </a:lnTo>
                  <a:lnTo>
                    <a:pt x="49" y="397"/>
                  </a:lnTo>
                  <a:lnTo>
                    <a:pt x="49" y="397"/>
                  </a:lnTo>
                  <a:lnTo>
                    <a:pt x="49" y="397"/>
                  </a:lnTo>
                  <a:close/>
                  <a:moveTo>
                    <a:pt x="43" y="372"/>
                  </a:moveTo>
                  <a:lnTo>
                    <a:pt x="43" y="372"/>
                  </a:lnTo>
                  <a:lnTo>
                    <a:pt x="43" y="369"/>
                  </a:lnTo>
                  <a:lnTo>
                    <a:pt x="43" y="369"/>
                  </a:lnTo>
                  <a:lnTo>
                    <a:pt x="45" y="369"/>
                  </a:lnTo>
                  <a:lnTo>
                    <a:pt x="45" y="369"/>
                  </a:lnTo>
                  <a:lnTo>
                    <a:pt x="45" y="367"/>
                  </a:lnTo>
                  <a:lnTo>
                    <a:pt x="45" y="367"/>
                  </a:lnTo>
                  <a:lnTo>
                    <a:pt x="41" y="366"/>
                  </a:lnTo>
                  <a:lnTo>
                    <a:pt x="41" y="366"/>
                  </a:lnTo>
                  <a:lnTo>
                    <a:pt x="45" y="366"/>
                  </a:lnTo>
                  <a:lnTo>
                    <a:pt x="45" y="366"/>
                  </a:lnTo>
                  <a:lnTo>
                    <a:pt x="41" y="362"/>
                  </a:lnTo>
                  <a:lnTo>
                    <a:pt x="41" y="362"/>
                  </a:lnTo>
                  <a:lnTo>
                    <a:pt x="41" y="361"/>
                  </a:lnTo>
                  <a:lnTo>
                    <a:pt x="41" y="361"/>
                  </a:lnTo>
                  <a:lnTo>
                    <a:pt x="41" y="359"/>
                  </a:lnTo>
                  <a:lnTo>
                    <a:pt x="41" y="359"/>
                  </a:lnTo>
                  <a:lnTo>
                    <a:pt x="41" y="358"/>
                  </a:lnTo>
                  <a:lnTo>
                    <a:pt x="41" y="358"/>
                  </a:lnTo>
                  <a:lnTo>
                    <a:pt x="43" y="356"/>
                  </a:lnTo>
                  <a:lnTo>
                    <a:pt x="43" y="356"/>
                  </a:lnTo>
                  <a:lnTo>
                    <a:pt x="41" y="353"/>
                  </a:lnTo>
                  <a:lnTo>
                    <a:pt x="41" y="353"/>
                  </a:lnTo>
                  <a:lnTo>
                    <a:pt x="38" y="350"/>
                  </a:lnTo>
                  <a:lnTo>
                    <a:pt x="38" y="350"/>
                  </a:lnTo>
                  <a:lnTo>
                    <a:pt x="38" y="350"/>
                  </a:lnTo>
                  <a:lnTo>
                    <a:pt x="38" y="350"/>
                  </a:lnTo>
                  <a:lnTo>
                    <a:pt x="35" y="350"/>
                  </a:lnTo>
                  <a:lnTo>
                    <a:pt x="35" y="350"/>
                  </a:lnTo>
                  <a:lnTo>
                    <a:pt x="35" y="350"/>
                  </a:lnTo>
                  <a:lnTo>
                    <a:pt x="35" y="350"/>
                  </a:lnTo>
                  <a:lnTo>
                    <a:pt x="32" y="350"/>
                  </a:lnTo>
                  <a:lnTo>
                    <a:pt x="32" y="350"/>
                  </a:lnTo>
                  <a:lnTo>
                    <a:pt x="32" y="351"/>
                  </a:lnTo>
                  <a:lnTo>
                    <a:pt x="32" y="351"/>
                  </a:lnTo>
                  <a:lnTo>
                    <a:pt x="32" y="353"/>
                  </a:lnTo>
                  <a:lnTo>
                    <a:pt x="32" y="353"/>
                  </a:lnTo>
                  <a:lnTo>
                    <a:pt x="35" y="356"/>
                  </a:lnTo>
                  <a:lnTo>
                    <a:pt x="35" y="356"/>
                  </a:lnTo>
                  <a:lnTo>
                    <a:pt x="35" y="361"/>
                  </a:lnTo>
                  <a:lnTo>
                    <a:pt x="35" y="361"/>
                  </a:lnTo>
                  <a:lnTo>
                    <a:pt x="35" y="366"/>
                  </a:lnTo>
                  <a:lnTo>
                    <a:pt x="35" y="366"/>
                  </a:lnTo>
                  <a:lnTo>
                    <a:pt x="35" y="369"/>
                  </a:lnTo>
                  <a:lnTo>
                    <a:pt x="35" y="369"/>
                  </a:lnTo>
                  <a:lnTo>
                    <a:pt x="35" y="370"/>
                  </a:lnTo>
                  <a:lnTo>
                    <a:pt x="35" y="370"/>
                  </a:lnTo>
                  <a:lnTo>
                    <a:pt x="38" y="372"/>
                  </a:lnTo>
                  <a:lnTo>
                    <a:pt x="38" y="372"/>
                  </a:lnTo>
                  <a:lnTo>
                    <a:pt x="41" y="372"/>
                  </a:lnTo>
                  <a:lnTo>
                    <a:pt x="41" y="372"/>
                  </a:lnTo>
                  <a:lnTo>
                    <a:pt x="43" y="372"/>
                  </a:lnTo>
                  <a:lnTo>
                    <a:pt x="43" y="372"/>
                  </a:lnTo>
                  <a:lnTo>
                    <a:pt x="43" y="372"/>
                  </a:lnTo>
                  <a:lnTo>
                    <a:pt x="43" y="372"/>
                  </a:lnTo>
                  <a:close/>
                  <a:moveTo>
                    <a:pt x="46" y="389"/>
                  </a:moveTo>
                  <a:lnTo>
                    <a:pt x="46" y="389"/>
                  </a:lnTo>
                  <a:lnTo>
                    <a:pt x="45" y="389"/>
                  </a:lnTo>
                  <a:lnTo>
                    <a:pt x="45" y="389"/>
                  </a:lnTo>
                  <a:lnTo>
                    <a:pt x="45" y="391"/>
                  </a:lnTo>
                  <a:lnTo>
                    <a:pt x="45" y="391"/>
                  </a:lnTo>
                  <a:lnTo>
                    <a:pt x="46" y="393"/>
                  </a:lnTo>
                  <a:lnTo>
                    <a:pt x="46" y="393"/>
                  </a:lnTo>
                  <a:lnTo>
                    <a:pt x="48" y="391"/>
                  </a:lnTo>
                  <a:lnTo>
                    <a:pt x="48" y="391"/>
                  </a:lnTo>
                  <a:lnTo>
                    <a:pt x="51" y="391"/>
                  </a:lnTo>
                  <a:lnTo>
                    <a:pt x="51" y="391"/>
                  </a:lnTo>
                  <a:lnTo>
                    <a:pt x="48" y="389"/>
                  </a:lnTo>
                  <a:lnTo>
                    <a:pt x="46" y="389"/>
                  </a:lnTo>
                  <a:lnTo>
                    <a:pt x="46" y="389"/>
                  </a:lnTo>
                  <a:lnTo>
                    <a:pt x="46" y="389"/>
                  </a:lnTo>
                  <a:close/>
                  <a:moveTo>
                    <a:pt x="135" y="528"/>
                  </a:moveTo>
                  <a:lnTo>
                    <a:pt x="135" y="528"/>
                  </a:lnTo>
                  <a:lnTo>
                    <a:pt x="137" y="528"/>
                  </a:lnTo>
                  <a:lnTo>
                    <a:pt x="137" y="528"/>
                  </a:lnTo>
                  <a:lnTo>
                    <a:pt x="134" y="528"/>
                  </a:lnTo>
                  <a:lnTo>
                    <a:pt x="135" y="528"/>
                  </a:lnTo>
                  <a:lnTo>
                    <a:pt x="135" y="528"/>
                  </a:lnTo>
                  <a:lnTo>
                    <a:pt x="135" y="528"/>
                  </a:lnTo>
                  <a:close/>
                  <a:moveTo>
                    <a:pt x="134" y="524"/>
                  </a:moveTo>
                  <a:lnTo>
                    <a:pt x="134" y="524"/>
                  </a:lnTo>
                  <a:lnTo>
                    <a:pt x="132" y="521"/>
                  </a:lnTo>
                  <a:lnTo>
                    <a:pt x="132" y="521"/>
                  </a:lnTo>
                  <a:lnTo>
                    <a:pt x="134" y="521"/>
                  </a:lnTo>
                  <a:lnTo>
                    <a:pt x="134" y="521"/>
                  </a:lnTo>
                  <a:lnTo>
                    <a:pt x="134" y="518"/>
                  </a:lnTo>
                  <a:lnTo>
                    <a:pt x="134" y="518"/>
                  </a:lnTo>
                  <a:lnTo>
                    <a:pt x="132" y="518"/>
                  </a:lnTo>
                  <a:lnTo>
                    <a:pt x="132" y="518"/>
                  </a:lnTo>
                  <a:lnTo>
                    <a:pt x="132" y="518"/>
                  </a:lnTo>
                  <a:lnTo>
                    <a:pt x="132" y="518"/>
                  </a:lnTo>
                  <a:lnTo>
                    <a:pt x="129" y="518"/>
                  </a:lnTo>
                  <a:lnTo>
                    <a:pt x="129" y="518"/>
                  </a:lnTo>
                  <a:lnTo>
                    <a:pt x="129" y="518"/>
                  </a:lnTo>
                  <a:lnTo>
                    <a:pt x="129" y="518"/>
                  </a:lnTo>
                  <a:lnTo>
                    <a:pt x="129" y="521"/>
                  </a:lnTo>
                  <a:lnTo>
                    <a:pt x="129" y="521"/>
                  </a:lnTo>
                  <a:lnTo>
                    <a:pt x="132" y="521"/>
                  </a:lnTo>
                  <a:lnTo>
                    <a:pt x="132" y="521"/>
                  </a:lnTo>
                  <a:lnTo>
                    <a:pt x="132" y="524"/>
                  </a:lnTo>
                  <a:lnTo>
                    <a:pt x="132" y="524"/>
                  </a:lnTo>
                  <a:lnTo>
                    <a:pt x="132" y="524"/>
                  </a:lnTo>
                  <a:lnTo>
                    <a:pt x="134" y="524"/>
                  </a:lnTo>
                  <a:lnTo>
                    <a:pt x="134" y="524"/>
                  </a:lnTo>
                  <a:lnTo>
                    <a:pt x="134" y="52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59" name="Freeform 237">
              <a:extLst>
                <a:ext uri="{FF2B5EF4-FFF2-40B4-BE49-F238E27FC236}">
                  <a16:creationId xmlns:a16="http://schemas.microsoft.com/office/drawing/2014/main" id="{7A668617-1D11-DB8A-CF75-A10B0DE61198}"/>
                </a:ext>
              </a:extLst>
            </p:cNvPr>
            <p:cNvSpPr>
              <a:spLocks noEditPoints="1"/>
            </p:cNvSpPr>
            <p:nvPr/>
          </p:nvSpPr>
          <p:spPr bwMode="auto">
            <a:xfrm>
              <a:off x="3858075" y="4731676"/>
              <a:ext cx="455344" cy="1060973"/>
            </a:xfrm>
            <a:custGeom>
              <a:avLst/>
              <a:gdLst>
                <a:gd name="T0" fmla="*/ 174 w 203"/>
                <a:gd name="T1" fmla="*/ 416 h 473"/>
                <a:gd name="T2" fmla="*/ 171 w 203"/>
                <a:gd name="T3" fmla="*/ 426 h 473"/>
                <a:gd name="T4" fmla="*/ 178 w 203"/>
                <a:gd name="T5" fmla="*/ 426 h 473"/>
                <a:gd name="T6" fmla="*/ 187 w 203"/>
                <a:gd name="T7" fmla="*/ 419 h 473"/>
                <a:gd name="T8" fmla="*/ 193 w 203"/>
                <a:gd name="T9" fmla="*/ 413 h 473"/>
                <a:gd name="T10" fmla="*/ 184 w 203"/>
                <a:gd name="T11" fmla="*/ 429 h 473"/>
                <a:gd name="T12" fmla="*/ 193 w 203"/>
                <a:gd name="T13" fmla="*/ 426 h 473"/>
                <a:gd name="T14" fmla="*/ 201 w 203"/>
                <a:gd name="T15" fmla="*/ 418 h 473"/>
                <a:gd name="T16" fmla="*/ 173 w 203"/>
                <a:gd name="T17" fmla="*/ 415 h 473"/>
                <a:gd name="T18" fmla="*/ 170 w 203"/>
                <a:gd name="T19" fmla="*/ 467 h 473"/>
                <a:gd name="T20" fmla="*/ 133 w 203"/>
                <a:gd name="T21" fmla="*/ 442 h 473"/>
                <a:gd name="T22" fmla="*/ 155 w 203"/>
                <a:gd name="T23" fmla="*/ 470 h 473"/>
                <a:gd name="T24" fmla="*/ 174 w 203"/>
                <a:gd name="T25" fmla="*/ 469 h 473"/>
                <a:gd name="T26" fmla="*/ 168 w 203"/>
                <a:gd name="T27" fmla="*/ 426 h 473"/>
                <a:gd name="T28" fmla="*/ 166 w 203"/>
                <a:gd name="T29" fmla="*/ 419 h 473"/>
                <a:gd name="T30" fmla="*/ 114 w 203"/>
                <a:gd name="T31" fmla="*/ 426 h 473"/>
                <a:gd name="T32" fmla="*/ 114 w 203"/>
                <a:gd name="T33" fmla="*/ 405 h 473"/>
                <a:gd name="T34" fmla="*/ 117 w 203"/>
                <a:gd name="T35" fmla="*/ 391 h 473"/>
                <a:gd name="T36" fmla="*/ 130 w 203"/>
                <a:gd name="T37" fmla="*/ 370 h 473"/>
                <a:gd name="T38" fmla="*/ 105 w 203"/>
                <a:gd name="T39" fmla="*/ 337 h 473"/>
                <a:gd name="T40" fmla="*/ 119 w 203"/>
                <a:gd name="T41" fmla="*/ 326 h 473"/>
                <a:gd name="T42" fmla="*/ 119 w 203"/>
                <a:gd name="T43" fmla="*/ 304 h 473"/>
                <a:gd name="T44" fmla="*/ 128 w 203"/>
                <a:gd name="T45" fmla="*/ 296 h 473"/>
                <a:gd name="T46" fmla="*/ 111 w 203"/>
                <a:gd name="T47" fmla="*/ 292 h 473"/>
                <a:gd name="T48" fmla="*/ 114 w 203"/>
                <a:gd name="T49" fmla="*/ 277 h 473"/>
                <a:gd name="T50" fmla="*/ 131 w 203"/>
                <a:gd name="T51" fmla="*/ 261 h 473"/>
                <a:gd name="T52" fmla="*/ 143 w 203"/>
                <a:gd name="T53" fmla="*/ 248 h 473"/>
                <a:gd name="T54" fmla="*/ 185 w 203"/>
                <a:gd name="T55" fmla="*/ 215 h 473"/>
                <a:gd name="T56" fmla="*/ 160 w 203"/>
                <a:gd name="T57" fmla="*/ 185 h 473"/>
                <a:gd name="T58" fmla="*/ 157 w 203"/>
                <a:gd name="T59" fmla="*/ 162 h 473"/>
                <a:gd name="T60" fmla="*/ 154 w 203"/>
                <a:gd name="T61" fmla="*/ 132 h 473"/>
                <a:gd name="T62" fmla="*/ 163 w 203"/>
                <a:gd name="T63" fmla="*/ 110 h 473"/>
                <a:gd name="T64" fmla="*/ 184 w 203"/>
                <a:gd name="T65" fmla="*/ 83 h 473"/>
                <a:gd name="T66" fmla="*/ 184 w 203"/>
                <a:gd name="T67" fmla="*/ 54 h 473"/>
                <a:gd name="T68" fmla="*/ 174 w 203"/>
                <a:gd name="T69" fmla="*/ 75 h 473"/>
                <a:gd name="T70" fmla="*/ 157 w 203"/>
                <a:gd name="T71" fmla="*/ 81 h 473"/>
                <a:gd name="T72" fmla="*/ 139 w 203"/>
                <a:gd name="T73" fmla="*/ 65 h 473"/>
                <a:gd name="T74" fmla="*/ 128 w 203"/>
                <a:gd name="T75" fmla="*/ 42 h 473"/>
                <a:gd name="T76" fmla="*/ 90 w 203"/>
                <a:gd name="T77" fmla="*/ 21 h 473"/>
                <a:gd name="T78" fmla="*/ 60 w 203"/>
                <a:gd name="T79" fmla="*/ 4 h 473"/>
                <a:gd name="T80" fmla="*/ 30 w 203"/>
                <a:gd name="T81" fmla="*/ 4 h 473"/>
                <a:gd name="T82" fmla="*/ 17 w 203"/>
                <a:gd name="T83" fmla="*/ 35 h 473"/>
                <a:gd name="T84" fmla="*/ 12 w 203"/>
                <a:gd name="T85" fmla="*/ 65 h 473"/>
                <a:gd name="T86" fmla="*/ 3 w 203"/>
                <a:gd name="T87" fmla="*/ 100 h 473"/>
                <a:gd name="T88" fmla="*/ 1 w 203"/>
                <a:gd name="T89" fmla="*/ 132 h 473"/>
                <a:gd name="T90" fmla="*/ 11 w 203"/>
                <a:gd name="T91" fmla="*/ 159 h 473"/>
                <a:gd name="T92" fmla="*/ 20 w 203"/>
                <a:gd name="T93" fmla="*/ 180 h 473"/>
                <a:gd name="T94" fmla="*/ 17 w 203"/>
                <a:gd name="T95" fmla="*/ 210 h 473"/>
                <a:gd name="T96" fmla="*/ 25 w 203"/>
                <a:gd name="T97" fmla="*/ 242 h 473"/>
                <a:gd name="T98" fmla="*/ 20 w 203"/>
                <a:gd name="T99" fmla="*/ 264 h 473"/>
                <a:gd name="T100" fmla="*/ 31 w 203"/>
                <a:gd name="T101" fmla="*/ 292 h 473"/>
                <a:gd name="T102" fmla="*/ 41 w 203"/>
                <a:gd name="T103" fmla="*/ 313 h 473"/>
                <a:gd name="T104" fmla="*/ 52 w 203"/>
                <a:gd name="T105" fmla="*/ 329 h 473"/>
                <a:gd name="T106" fmla="*/ 52 w 203"/>
                <a:gd name="T107" fmla="*/ 343 h 473"/>
                <a:gd name="T108" fmla="*/ 58 w 203"/>
                <a:gd name="T109" fmla="*/ 366 h 473"/>
                <a:gd name="T110" fmla="*/ 58 w 203"/>
                <a:gd name="T111" fmla="*/ 389 h 473"/>
                <a:gd name="T112" fmla="*/ 60 w 203"/>
                <a:gd name="T113" fmla="*/ 407 h 473"/>
                <a:gd name="T114" fmla="*/ 78 w 203"/>
                <a:gd name="T115" fmla="*/ 415 h 473"/>
                <a:gd name="T116" fmla="*/ 105 w 203"/>
                <a:gd name="T117" fmla="*/ 431 h 473"/>
                <a:gd name="T118" fmla="*/ 130 w 203"/>
                <a:gd name="T119" fmla="*/ 435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473">
                  <a:moveTo>
                    <a:pt x="187" y="419"/>
                  </a:moveTo>
                  <a:lnTo>
                    <a:pt x="187" y="416"/>
                  </a:lnTo>
                  <a:lnTo>
                    <a:pt x="187" y="416"/>
                  </a:lnTo>
                  <a:lnTo>
                    <a:pt x="187" y="416"/>
                  </a:lnTo>
                  <a:lnTo>
                    <a:pt x="187" y="415"/>
                  </a:lnTo>
                  <a:lnTo>
                    <a:pt x="185" y="416"/>
                  </a:lnTo>
                  <a:lnTo>
                    <a:pt x="185" y="416"/>
                  </a:lnTo>
                  <a:lnTo>
                    <a:pt x="179" y="416"/>
                  </a:lnTo>
                  <a:lnTo>
                    <a:pt x="178" y="416"/>
                  </a:lnTo>
                  <a:lnTo>
                    <a:pt x="174" y="416"/>
                  </a:lnTo>
                  <a:lnTo>
                    <a:pt x="174" y="416"/>
                  </a:lnTo>
                  <a:lnTo>
                    <a:pt x="174" y="418"/>
                  </a:lnTo>
                  <a:lnTo>
                    <a:pt x="174" y="418"/>
                  </a:lnTo>
                  <a:lnTo>
                    <a:pt x="176" y="418"/>
                  </a:lnTo>
                  <a:lnTo>
                    <a:pt x="179" y="421"/>
                  </a:lnTo>
                  <a:lnTo>
                    <a:pt x="178" y="421"/>
                  </a:lnTo>
                  <a:lnTo>
                    <a:pt x="176" y="423"/>
                  </a:lnTo>
                  <a:lnTo>
                    <a:pt x="174" y="423"/>
                  </a:lnTo>
                  <a:lnTo>
                    <a:pt x="173" y="424"/>
                  </a:lnTo>
                  <a:lnTo>
                    <a:pt x="174" y="426"/>
                  </a:lnTo>
                  <a:lnTo>
                    <a:pt x="174" y="426"/>
                  </a:lnTo>
                  <a:lnTo>
                    <a:pt x="171" y="426"/>
                  </a:lnTo>
                  <a:lnTo>
                    <a:pt x="171" y="426"/>
                  </a:lnTo>
                  <a:lnTo>
                    <a:pt x="171" y="426"/>
                  </a:lnTo>
                  <a:lnTo>
                    <a:pt x="168" y="426"/>
                  </a:lnTo>
                  <a:lnTo>
                    <a:pt x="168" y="427"/>
                  </a:lnTo>
                  <a:lnTo>
                    <a:pt x="171" y="429"/>
                  </a:lnTo>
                  <a:lnTo>
                    <a:pt x="171" y="429"/>
                  </a:lnTo>
                  <a:lnTo>
                    <a:pt x="171" y="429"/>
                  </a:lnTo>
                  <a:lnTo>
                    <a:pt x="173" y="431"/>
                  </a:lnTo>
                  <a:lnTo>
                    <a:pt x="174" y="429"/>
                  </a:lnTo>
                  <a:lnTo>
                    <a:pt x="178" y="427"/>
                  </a:lnTo>
                  <a:lnTo>
                    <a:pt x="178" y="426"/>
                  </a:lnTo>
                  <a:lnTo>
                    <a:pt x="179" y="426"/>
                  </a:lnTo>
                  <a:lnTo>
                    <a:pt x="181" y="426"/>
                  </a:lnTo>
                  <a:lnTo>
                    <a:pt x="181" y="426"/>
                  </a:lnTo>
                  <a:lnTo>
                    <a:pt x="182" y="423"/>
                  </a:lnTo>
                  <a:lnTo>
                    <a:pt x="184" y="423"/>
                  </a:lnTo>
                  <a:lnTo>
                    <a:pt x="185" y="419"/>
                  </a:lnTo>
                  <a:lnTo>
                    <a:pt x="187" y="419"/>
                  </a:lnTo>
                  <a:lnTo>
                    <a:pt x="187" y="419"/>
                  </a:lnTo>
                  <a:lnTo>
                    <a:pt x="187" y="419"/>
                  </a:lnTo>
                  <a:lnTo>
                    <a:pt x="187" y="419"/>
                  </a:lnTo>
                  <a:lnTo>
                    <a:pt x="187" y="419"/>
                  </a:lnTo>
                  <a:lnTo>
                    <a:pt x="187" y="419"/>
                  </a:lnTo>
                  <a:lnTo>
                    <a:pt x="187" y="419"/>
                  </a:lnTo>
                  <a:lnTo>
                    <a:pt x="187" y="419"/>
                  </a:lnTo>
                  <a:lnTo>
                    <a:pt x="187" y="419"/>
                  </a:lnTo>
                  <a:close/>
                  <a:moveTo>
                    <a:pt x="201" y="418"/>
                  </a:moveTo>
                  <a:lnTo>
                    <a:pt x="203" y="418"/>
                  </a:lnTo>
                  <a:lnTo>
                    <a:pt x="200" y="416"/>
                  </a:lnTo>
                  <a:lnTo>
                    <a:pt x="200" y="416"/>
                  </a:lnTo>
                  <a:lnTo>
                    <a:pt x="197" y="416"/>
                  </a:lnTo>
                  <a:lnTo>
                    <a:pt x="195" y="413"/>
                  </a:lnTo>
                  <a:lnTo>
                    <a:pt x="193" y="413"/>
                  </a:lnTo>
                  <a:lnTo>
                    <a:pt x="190" y="413"/>
                  </a:lnTo>
                  <a:lnTo>
                    <a:pt x="190" y="416"/>
                  </a:lnTo>
                  <a:lnTo>
                    <a:pt x="189" y="416"/>
                  </a:lnTo>
                  <a:lnTo>
                    <a:pt x="190" y="423"/>
                  </a:lnTo>
                  <a:lnTo>
                    <a:pt x="189" y="421"/>
                  </a:lnTo>
                  <a:lnTo>
                    <a:pt x="187" y="421"/>
                  </a:lnTo>
                  <a:lnTo>
                    <a:pt x="185" y="423"/>
                  </a:lnTo>
                  <a:lnTo>
                    <a:pt x="184" y="423"/>
                  </a:lnTo>
                  <a:lnTo>
                    <a:pt x="184" y="423"/>
                  </a:lnTo>
                  <a:lnTo>
                    <a:pt x="184" y="427"/>
                  </a:lnTo>
                  <a:lnTo>
                    <a:pt x="184" y="429"/>
                  </a:lnTo>
                  <a:lnTo>
                    <a:pt x="184" y="431"/>
                  </a:lnTo>
                  <a:lnTo>
                    <a:pt x="185" y="432"/>
                  </a:lnTo>
                  <a:lnTo>
                    <a:pt x="187" y="429"/>
                  </a:lnTo>
                  <a:lnTo>
                    <a:pt x="187" y="429"/>
                  </a:lnTo>
                  <a:lnTo>
                    <a:pt x="190" y="429"/>
                  </a:lnTo>
                  <a:lnTo>
                    <a:pt x="189" y="429"/>
                  </a:lnTo>
                  <a:lnTo>
                    <a:pt x="189" y="426"/>
                  </a:lnTo>
                  <a:lnTo>
                    <a:pt x="190" y="426"/>
                  </a:lnTo>
                  <a:lnTo>
                    <a:pt x="192" y="426"/>
                  </a:lnTo>
                  <a:lnTo>
                    <a:pt x="193" y="427"/>
                  </a:lnTo>
                  <a:lnTo>
                    <a:pt x="193" y="426"/>
                  </a:lnTo>
                  <a:lnTo>
                    <a:pt x="190" y="424"/>
                  </a:lnTo>
                  <a:lnTo>
                    <a:pt x="190" y="423"/>
                  </a:lnTo>
                  <a:lnTo>
                    <a:pt x="192" y="423"/>
                  </a:lnTo>
                  <a:lnTo>
                    <a:pt x="197" y="423"/>
                  </a:lnTo>
                  <a:lnTo>
                    <a:pt x="198" y="423"/>
                  </a:lnTo>
                  <a:lnTo>
                    <a:pt x="200" y="421"/>
                  </a:lnTo>
                  <a:lnTo>
                    <a:pt x="201" y="421"/>
                  </a:lnTo>
                  <a:lnTo>
                    <a:pt x="203" y="421"/>
                  </a:lnTo>
                  <a:lnTo>
                    <a:pt x="203" y="419"/>
                  </a:lnTo>
                  <a:lnTo>
                    <a:pt x="201" y="419"/>
                  </a:lnTo>
                  <a:lnTo>
                    <a:pt x="201" y="418"/>
                  </a:lnTo>
                  <a:lnTo>
                    <a:pt x="201" y="418"/>
                  </a:lnTo>
                  <a:lnTo>
                    <a:pt x="201" y="418"/>
                  </a:lnTo>
                  <a:lnTo>
                    <a:pt x="201" y="418"/>
                  </a:lnTo>
                  <a:lnTo>
                    <a:pt x="201" y="418"/>
                  </a:lnTo>
                  <a:lnTo>
                    <a:pt x="201" y="418"/>
                  </a:lnTo>
                  <a:lnTo>
                    <a:pt x="201" y="418"/>
                  </a:lnTo>
                  <a:lnTo>
                    <a:pt x="201" y="418"/>
                  </a:lnTo>
                  <a:lnTo>
                    <a:pt x="201" y="418"/>
                  </a:lnTo>
                  <a:close/>
                  <a:moveTo>
                    <a:pt x="173" y="416"/>
                  </a:moveTo>
                  <a:lnTo>
                    <a:pt x="174" y="416"/>
                  </a:lnTo>
                  <a:lnTo>
                    <a:pt x="173" y="415"/>
                  </a:lnTo>
                  <a:lnTo>
                    <a:pt x="173" y="416"/>
                  </a:lnTo>
                  <a:lnTo>
                    <a:pt x="173" y="416"/>
                  </a:lnTo>
                  <a:lnTo>
                    <a:pt x="173" y="416"/>
                  </a:lnTo>
                  <a:lnTo>
                    <a:pt x="173" y="416"/>
                  </a:lnTo>
                  <a:lnTo>
                    <a:pt x="173" y="416"/>
                  </a:lnTo>
                  <a:lnTo>
                    <a:pt x="173" y="416"/>
                  </a:lnTo>
                  <a:lnTo>
                    <a:pt x="173" y="416"/>
                  </a:lnTo>
                  <a:lnTo>
                    <a:pt x="173" y="416"/>
                  </a:lnTo>
                  <a:lnTo>
                    <a:pt x="173" y="416"/>
                  </a:lnTo>
                  <a:close/>
                  <a:moveTo>
                    <a:pt x="174" y="469"/>
                  </a:moveTo>
                  <a:lnTo>
                    <a:pt x="170" y="467"/>
                  </a:lnTo>
                  <a:lnTo>
                    <a:pt x="165" y="466"/>
                  </a:lnTo>
                  <a:lnTo>
                    <a:pt x="155" y="461"/>
                  </a:lnTo>
                  <a:lnTo>
                    <a:pt x="149" y="456"/>
                  </a:lnTo>
                  <a:lnTo>
                    <a:pt x="143" y="453"/>
                  </a:lnTo>
                  <a:lnTo>
                    <a:pt x="139" y="450"/>
                  </a:lnTo>
                  <a:lnTo>
                    <a:pt x="138" y="448"/>
                  </a:lnTo>
                  <a:lnTo>
                    <a:pt x="135" y="448"/>
                  </a:lnTo>
                  <a:lnTo>
                    <a:pt x="135" y="446"/>
                  </a:lnTo>
                  <a:lnTo>
                    <a:pt x="135" y="445"/>
                  </a:lnTo>
                  <a:lnTo>
                    <a:pt x="136" y="446"/>
                  </a:lnTo>
                  <a:lnTo>
                    <a:pt x="133" y="442"/>
                  </a:lnTo>
                  <a:lnTo>
                    <a:pt x="128" y="439"/>
                  </a:lnTo>
                  <a:lnTo>
                    <a:pt x="130" y="442"/>
                  </a:lnTo>
                  <a:lnTo>
                    <a:pt x="131" y="445"/>
                  </a:lnTo>
                  <a:lnTo>
                    <a:pt x="139" y="461"/>
                  </a:lnTo>
                  <a:lnTo>
                    <a:pt x="143" y="469"/>
                  </a:lnTo>
                  <a:lnTo>
                    <a:pt x="143" y="469"/>
                  </a:lnTo>
                  <a:lnTo>
                    <a:pt x="143" y="470"/>
                  </a:lnTo>
                  <a:lnTo>
                    <a:pt x="146" y="470"/>
                  </a:lnTo>
                  <a:lnTo>
                    <a:pt x="149" y="470"/>
                  </a:lnTo>
                  <a:lnTo>
                    <a:pt x="152" y="470"/>
                  </a:lnTo>
                  <a:lnTo>
                    <a:pt x="155" y="470"/>
                  </a:lnTo>
                  <a:lnTo>
                    <a:pt x="158" y="470"/>
                  </a:lnTo>
                  <a:lnTo>
                    <a:pt x="166" y="473"/>
                  </a:lnTo>
                  <a:lnTo>
                    <a:pt x="171" y="470"/>
                  </a:lnTo>
                  <a:lnTo>
                    <a:pt x="174" y="470"/>
                  </a:lnTo>
                  <a:lnTo>
                    <a:pt x="178" y="470"/>
                  </a:lnTo>
                  <a:lnTo>
                    <a:pt x="181" y="470"/>
                  </a:lnTo>
                  <a:lnTo>
                    <a:pt x="181" y="469"/>
                  </a:lnTo>
                  <a:lnTo>
                    <a:pt x="178" y="467"/>
                  </a:lnTo>
                  <a:lnTo>
                    <a:pt x="174" y="469"/>
                  </a:lnTo>
                  <a:lnTo>
                    <a:pt x="174" y="469"/>
                  </a:lnTo>
                  <a:lnTo>
                    <a:pt x="174" y="469"/>
                  </a:lnTo>
                  <a:lnTo>
                    <a:pt x="174" y="469"/>
                  </a:lnTo>
                  <a:lnTo>
                    <a:pt x="174" y="469"/>
                  </a:lnTo>
                  <a:lnTo>
                    <a:pt x="174" y="469"/>
                  </a:lnTo>
                  <a:lnTo>
                    <a:pt x="174" y="469"/>
                  </a:lnTo>
                  <a:lnTo>
                    <a:pt x="174" y="469"/>
                  </a:lnTo>
                  <a:lnTo>
                    <a:pt x="174" y="469"/>
                  </a:lnTo>
                  <a:close/>
                  <a:moveTo>
                    <a:pt x="166" y="419"/>
                  </a:moveTo>
                  <a:lnTo>
                    <a:pt x="165" y="419"/>
                  </a:lnTo>
                  <a:lnTo>
                    <a:pt x="165" y="423"/>
                  </a:lnTo>
                  <a:lnTo>
                    <a:pt x="168" y="424"/>
                  </a:lnTo>
                  <a:lnTo>
                    <a:pt x="168" y="426"/>
                  </a:lnTo>
                  <a:lnTo>
                    <a:pt x="170" y="424"/>
                  </a:lnTo>
                  <a:lnTo>
                    <a:pt x="170" y="423"/>
                  </a:lnTo>
                  <a:lnTo>
                    <a:pt x="168" y="423"/>
                  </a:lnTo>
                  <a:lnTo>
                    <a:pt x="168" y="423"/>
                  </a:lnTo>
                  <a:lnTo>
                    <a:pt x="166" y="423"/>
                  </a:lnTo>
                  <a:lnTo>
                    <a:pt x="166" y="421"/>
                  </a:lnTo>
                  <a:lnTo>
                    <a:pt x="166" y="419"/>
                  </a:lnTo>
                  <a:lnTo>
                    <a:pt x="166" y="419"/>
                  </a:lnTo>
                  <a:lnTo>
                    <a:pt x="166" y="419"/>
                  </a:lnTo>
                  <a:lnTo>
                    <a:pt x="166" y="419"/>
                  </a:lnTo>
                  <a:lnTo>
                    <a:pt x="166" y="419"/>
                  </a:lnTo>
                  <a:lnTo>
                    <a:pt x="166" y="419"/>
                  </a:lnTo>
                  <a:lnTo>
                    <a:pt x="166" y="419"/>
                  </a:lnTo>
                  <a:lnTo>
                    <a:pt x="166" y="419"/>
                  </a:lnTo>
                  <a:lnTo>
                    <a:pt x="166" y="419"/>
                  </a:lnTo>
                  <a:close/>
                  <a:moveTo>
                    <a:pt x="130" y="435"/>
                  </a:moveTo>
                  <a:lnTo>
                    <a:pt x="127" y="432"/>
                  </a:lnTo>
                  <a:lnTo>
                    <a:pt x="122" y="429"/>
                  </a:lnTo>
                  <a:lnTo>
                    <a:pt x="119" y="427"/>
                  </a:lnTo>
                  <a:lnTo>
                    <a:pt x="117" y="426"/>
                  </a:lnTo>
                  <a:lnTo>
                    <a:pt x="116" y="426"/>
                  </a:lnTo>
                  <a:lnTo>
                    <a:pt x="114" y="426"/>
                  </a:lnTo>
                  <a:lnTo>
                    <a:pt x="116" y="424"/>
                  </a:lnTo>
                  <a:lnTo>
                    <a:pt x="114" y="419"/>
                  </a:lnTo>
                  <a:lnTo>
                    <a:pt x="111" y="418"/>
                  </a:lnTo>
                  <a:lnTo>
                    <a:pt x="111" y="418"/>
                  </a:lnTo>
                  <a:lnTo>
                    <a:pt x="111" y="415"/>
                  </a:lnTo>
                  <a:lnTo>
                    <a:pt x="111" y="413"/>
                  </a:lnTo>
                  <a:lnTo>
                    <a:pt x="111" y="410"/>
                  </a:lnTo>
                  <a:lnTo>
                    <a:pt x="111" y="408"/>
                  </a:lnTo>
                  <a:lnTo>
                    <a:pt x="114" y="408"/>
                  </a:lnTo>
                  <a:lnTo>
                    <a:pt x="114" y="407"/>
                  </a:lnTo>
                  <a:lnTo>
                    <a:pt x="114" y="405"/>
                  </a:lnTo>
                  <a:lnTo>
                    <a:pt x="111" y="404"/>
                  </a:lnTo>
                  <a:lnTo>
                    <a:pt x="111" y="400"/>
                  </a:lnTo>
                  <a:lnTo>
                    <a:pt x="114" y="404"/>
                  </a:lnTo>
                  <a:lnTo>
                    <a:pt x="114" y="405"/>
                  </a:lnTo>
                  <a:lnTo>
                    <a:pt x="117" y="405"/>
                  </a:lnTo>
                  <a:lnTo>
                    <a:pt x="120" y="404"/>
                  </a:lnTo>
                  <a:lnTo>
                    <a:pt x="120" y="400"/>
                  </a:lnTo>
                  <a:lnTo>
                    <a:pt x="119" y="393"/>
                  </a:lnTo>
                  <a:lnTo>
                    <a:pt x="117" y="394"/>
                  </a:lnTo>
                  <a:lnTo>
                    <a:pt x="117" y="393"/>
                  </a:lnTo>
                  <a:lnTo>
                    <a:pt x="117" y="391"/>
                  </a:lnTo>
                  <a:lnTo>
                    <a:pt x="117" y="389"/>
                  </a:lnTo>
                  <a:lnTo>
                    <a:pt x="119" y="389"/>
                  </a:lnTo>
                  <a:lnTo>
                    <a:pt x="124" y="383"/>
                  </a:lnTo>
                  <a:lnTo>
                    <a:pt x="127" y="380"/>
                  </a:lnTo>
                  <a:lnTo>
                    <a:pt x="128" y="378"/>
                  </a:lnTo>
                  <a:lnTo>
                    <a:pt x="131" y="377"/>
                  </a:lnTo>
                  <a:lnTo>
                    <a:pt x="130" y="377"/>
                  </a:lnTo>
                  <a:lnTo>
                    <a:pt x="131" y="375"/>
                  </a:lnTo>
                  <a:lnTo>
                    <a:pt x="130" y="373"/>
                  </a:lnTo>
                  <a:lnTo>
                    <a:pt x="128" y="373"/>
                  </a:lnTo>
                  <a:lnTo>
                    <a:pt x="130" y="370"/>
                  </a:lnTo>
                  <a:lnTo>
                    <a:pt x="128" y="366"/>
                  </a:lnTo>
                  <a:lnTo>
                    <a:pt x="127" y="362"/>
                  </a:lnTo>
                  <a:lnTo>
                    <a:pt x="124" y="362"/>
                  </a:lnTo>
                  <a:lnTo>
                    <a:pt x="120" y="362"/>
                  </a:lnTo>
                  <a:lnTo>
                    <a:pt x="116" y="361"/>
                  </a:lnTo>
                  <a:lnTo>
                    <a:pt x="108" y="356"/>
                  </a:lnTo>
                  <a:lnTo>
                    <a:pt x="103" y="351"/>
                  </a:lnTo>
                  <a:lnTo>
                    <a:pt x="101" y="348"/>
                  </a:lnTo>
                  <a:lnTo>
                    <a:pt x="101" y="345"/>
                  </a:lnTo>
                  <a:lnTo>
                    <a:pt x="103" y="339"/>
                  </a:lnTo>
                  <a:lnTo>
                    <a:pt x="105" y="337"/>
                  </a:lnTo>
                  <a:lnTo>
                    <a:pt x="108" y="337"/>
                  </a:lnTo>
                  <a:lnTo>
                    <a:pt x="108" y="335"/>
                  </a:lnTo>
                  <a:lnTo>
                    <a:pt x="108" y="334"/>
                  </a:lnTo>
                  <a:lnTo>
                    <a:pt x="111" y="334"/>
                  </a:lnTo>
                  <a:lnTo>
                    <a:pt x="116" y="334"/>
                  </a:lnTo>
                  <a:lnTo>
                    <a:pt x="117" y="332"/>
                  </a:lnTo>
                  <a:lnTo>
                    <a:pt x="117" y="331"/>
                  </a:lnTo>
                  <a:lnTo>
                    <a:pt x="116" y="329"/>
                  </a:lnTo>
                  <a:lnTo>
                    <a:pt x="116" y="327"/>
                  </a:lnTo>
                  <a:lnTo>
                    <a:pt x="117" y="326"/>
                  </a:lnTo>
                  <a:lnTo>
                    <a:pt x="119" y="326"/>
                  </a:lnTo>
                  <a:lnTo>
                    <a:pt x="119" y="324"/>
                  </a:lnTo>
                  <a:lnTo>
                    <a:pt x="117" y="321"/>
                  </a:lnTo>
                  <a:lnTo>
                    <a:pt x="117" y="319"/>
                  </a:lnTo>
                  <a:lnTo>
                    <a:pt x="116" y="316"/>
                  </a:lnTo>
                  <a:lnTo>
                    <a:pt x="114" y="313"/>
                  </a:lnTo>
                  <a:lnTo>
                    <a:pt x="116" y="310"/>
                  </a:lnTo>
                  <a:lnTo>
                    <a:pt x="116" y="308"/>
                  </a:lnTo>
                  <a:lnTo>
                    <a:pt x="119" y="307"/>
                  </a:lnTo>
                  <a:lnTo>
                    <a:pt x="120" y="307"/>
                  </a:lnTo>
                  <a:lnTo>
                    <a:pt x="122" y="304"/>
                  </a:lnTo>
                  <a:lnTo>
                    <a:pt x="119" y="304"/>
                  </a:lnTo>
                  <a:lnTo>
                    <a:pt x="116" y="304"/>
                  </a:lnTo>
                  <a:lnTo>
                    <a:pt x="114" y="300"/>
                  </a:lnTo>
                  <a:lnTo>
                    <a:pt x="116" y="299"/>
                  </a:lnTo>
                  <a:lnTo>
                    <a:pt x="119" y="297"/>
                  </a:lnTo>
                  <a:lnTo>
                    <a:pt x="122" y="299"/>
                  </a:lnTo>
                  <a:lnTo>
                    <a:pt x="122" y="302"/>
                  </a:lnTo>
                  <a:lnTo>
                    <a:pt x="125" y="304"/>
                  </a:lnTo>
                  <a:lnTo>
                    <a:pt x="127" y="304"/>
                  </a:lnTo>
                  <a:lnTo>
                    <a:pt x="130" y="302"/>
                  </a:lnTo>
                  <a:lnTo>
                    <a:pt x="130" y="299"/>
                  </a:lnTo>
                  <a:lnTo>
                    <a:pt x="128" y="296"/>
                  </a:lnTo>
                  <a:lnTo>
                    <a:pt x="127" y="292"/>
                  </a:lnTo>
                  <a:lnTo>
                    <a:pt x="124" y="292"/>
                  </a:lnTo>
                  <a:lnTo>
                    <a:pt x="120" y="292"/>
                  </a:lnTo>
                  <a:lnTo>
                    <a:pt x="119" y="294"/>
                  </a:lnTo>
                  <a:lnTo>
                    <a:pt x="120" y="294"/>
                  </a:lnTo>
                  <a:lnTo>
                    <a:pt x="122" y="296"/>
                  </a:lnTo>
                  <a:lnTo>
                    <a:pt x="120" y="296"/>
                  </a:lnTo>
                  <a:lnTo>
                    <a:pt x="116" y="296"/>
                  </a:lnTo>
                  <a:lnTo>
                    <a:pt x="116" y="294"/>
                  </a:lnTo>
                  <a:lnTo>
                    <a:pt x="114" y="294"/>
                  </a:lnTo>
                  <a:lnTo>
                    <a:pt x="111" y="292"/>
                  </a:lnTo>
                  <a:lnTo>
                    <a:pt x="111" y="292"/>
                  </a:lnTo>
                  <a:lnTo>
                    <a:pt x="108" y="289"/>
                  </a:lnTo>
                  <a:lnTo>
                    <a:pt x="108" y="286"/>
                  </a:lnTo>
                  <a:lnTo>
                    <a:pt x="105" y="281"/>
                  </a:lnTo>
                  <a:lnTo>
                    <a:pt x="105" y="278"/>
                  </a:lnTo>
                  <a:lnTo>
                    <a:pt x="103" y="277"/>
                  </a:lnTo>
                  <a:lnTo>
                    <a:pt x="105" y="273"/>
                  </a:lnTo>
                  <a:lnTo>
                    <a:pt x="105" y="272"/>
                  </a:lnTo>
                  <a:lnTo>
                    <a:pt x="108" y="273"/>
                  </a:lnTo>
                  <a:lnTo>
                    <a:pt x="105" y="273"/>
                  </a:lnTo>
                  <a:lnTo>
                    <a:pt x="114" y="277"/>
                  </a:lnTo>
                  <a:lnTo>
                    <a:pt x="119" y="278"/>
                  </a:lnTo>
                  <a:lnTo>
                    <a:pt x="125" y="278"/>
                  </a:lnTo>
                  <a:lnTo>
                    <a:pt x="131" y="277"/>
                  </a:lnTo>
                  <a:lnTo>
                    <a:pt x="135" y="275"/>
                  </a:lnTo>
                  <a:lnTo>
                    <a:pt x="136" y="272"/>
                  </a:lnTo>
                  <a:lnTo>
                    <a:pt x="136" y="270"/>
                  </a:lnTo>
                  <a:lnTo>
                    <a:pt x="135" y="269"/>
                  </a:lnTo>
                  <a:lnTo>
                    <a:pt x="131" y="267"/>
                  </a:lnTo>
                  <a:lnTo>
                    <a:pt x="131" y="265"/>
                  </a:lnTo>
                  <a:lnTo>
                    <a:pt x="133" y="264"/>
                  </a:lnTo>
                  <a:lnTo>
                    <a:pt x="131" y="261"/>
                  </a:lnTo>
                  <a:lnTo>
                    <a:pt x="133" y="261"/>
                  </a:lnTo>
                  <a:lnTo>
                    <a:pt x="133" y="258"/>
                  </a:lnTo>
                  <a:lnTo>
                    <a:pt x="133" y="254"/>
                  </a:lnTo>
                  <a:lnTo>
                    <a:pt x="131" y="253"/>
                  </a:lnTo>
                  <a:lnTo>
                    <a:pt x="128" y="250"/>
                  </a:lnTo>
                  <a:lnTo>
                    <a:pt x="128" y="248"/>
                  </a:lnTo>
                  <a:lnTo>
                    <a:pt x="128" y="246"/>
                  </a:lnTo>
                  <a:lnTo>
                    <a:pt x="127" y="245"/>
                  </a:lnTo>
                  <a:lnTo>
                    <a:pt x="130" y="246"/>
                  </a:lnTo>
                  <a:lnTo>
                    <a:pt x="135" y="248"/>
                  </a:lnTo>
                  <a:lnTo>
                    <a:pt x="143" y="248"/>
                  </a:lnTo>
                  <a:lnTo>
                    <a:pt x="152" y="246"/>
                  </a:lnTo>
                  <a:lnTo>
                    <a:pt x="162" y="243"/>
                  </a:lnTo>
                  <a:lnTo>
                    <a:pt x="171" y="242"/>
                  </a:lnTo>
                  <a:lnTo>
                    <a:pt x="178" y="237"/>
                  </a:lnTo>
                  <a:lnTo>
                    <a:pt x="181" y="235"/>
                  </a:lnTo>
                  <a:lnTo>
                    <a:pt x="181" y="232"/>
                  </a:lnTo>
                  <a:lnTo>
                    <a:pt x="181" y="229"/>
                  </a:lnTo>
                  <a:lnTo>
                    <a:pt x="184" y="223"/>
                  </a:lnTo>
                  <a:lnTo>
                    <a:pt x="185" y="219"/>
                  </a:lnTo>
                  <a:lnTo>
                    <a:pt x="187" y="218"/>
                  </a:lnTo>
                  <a:lnTo>
                    <a:pt x="185" y="215"/>
                  </a:lnTo>
                  <a:lnTo>
                    <a:pt x="185" y="212"/>
                  </a:lnTo>
                  <a:lnTo>
                    <a:pt x="184" y="210"/>
                  </a:lnTo>
                  <a:lnTo>
                    <a:pt x="184" y="210"/>
                  </a:lnTo>
                  <a:lnTo>
                    <a:pt x="181" y="208"/>
                  </a:lnTo>
                  <a:lnTo>
                    <a:pt x="178" y="207"/>
                  </a:lnTo>
                  <a:lnTo>
                    <a:pt x="174" y="202"/>
                  </a:lnTo>
                  <a:lnTo>
                    <a:pt x="174" y="199"/>
                  </a:lnTo>
                  <a:lnTo>
                    <a:pt x="174" y="196"/>
                  </a:lnTo>
                  <a:lnTo>
                    <a:pt x="174" y="194"/>
                  </a:lnTo>
                  <a:lnTo>
                    <a:pt x="168" y="188"/>
                  </a:lnTo>
                  <a:lnTo>
                    <a:pt x="160" y="185"/>
                  </a:lnTo>
                  <a:lnTo>
                    <a:pt x="157" y="183"/>
                  </a:lnTo>
                  <a:lnTo>
                    <a:pt x="155" y="180"/>
                  </a:lnTo>
                  <a:lnTo>
                    <a:pt x="157" y="180"/>
                  </a:lnTo>
                  <a:lnTo>
                    <a:pt x="157" y="178"/>
                  </a:lnTo>
                  <a:lnTo>
                    <a:pt x="157" y="177"/>
                  </a:lnTo>
                  <a:lnTo>
                    <a:pt x="154" y="170"/>
                  </a:lnTo>
                  <a:lnTo>
                    <a:pt x="154" y="167"/>
                  </a:lnTo>
                  <a:lnTo>
                    <a:pt x="154" y="164"/>
                  </a:lnTo>
                  <a:lnTo>
                    <a:pt x="154" y="164"/>
                  </a:lnTo>
                  <a:lnTo>
                    <a:pt x="155" y="164"/>
                  </a:lnTo>
                  <a:lnTo>
                    <a:pt x="157" y="162"/>
                  </a:lnTo>
                  <a:lnTo>
                    <a:pt x="155" y="161"/>
                  </a:lnTo>
                  <a:lnTo>
                    <a:pt x="154" y="158"/>
                  </a:lnTo>
                  <a:lnTo>
                    <a:pt x="154" y="153"/>
                  </a:lnTo>
                  <a:lnTo>
                    <a:pt x="154" y="151"/>
                  </a:lnTo>
                  <a:lnTo>
                    <a:pt x="152" y="148"/>
                  </a:lnTo>
                  <a:lnTo>
                    <a:pt x="154" y="145"/>
                  </a:lnTo>
                  <a:lnTo>
                    <a:pt x="154" y="142"/>
                  </a:lnTo>
                  <a:lnTo>
                    <a:pt x="154" y="140"/>
                  </a:lnTo>
                  <a:lnTo>
                    <a:pt x="154" y="138"/>
                  </a:lnTo>
                  <a:lnTo>
                    <a:pt x="154" y="135"/>
                  </a:lnTo>
                  <a:lnTo>
                    <a:pt x="154" y="132"/>
                  </a:lnTo>
                  <a:lnTo>
                    <a:pt x="154" y="132"/>
                  </a:lnTo>
                  <a:lnTo>
                    <a:pt x="154" y="129"/>
                  </a:lnTo>
                  <a:lnTo>
                    <a:pt x="152" y="127"/>
                  </a:lnTo>
                  <a:lnTo>
                    <a:pt x="154" y="126"/>
                  </a:lnTo>
                  <a:lnTo>
                    <a:pt x="154" y="123"/>
                  </a:lnTo>
                  <a:lnTo>
                    <a:pt x="154" y="121"/>
                  </a:lnTo>
                  <a:lnTo>
                    <a:pt x="157" y="119"/>
                  </a:lnTo>
                  <a:lnTo>
                    <a:pt x="157" y="116"/>
                  </a:lnTo>
                  <a:lnTo>
                    <a:pt x="160" y="115"/>
                  </a:lnTo>
                  <a:lnTo>
                    <a:pt x="162" y="113"/>
                  </a:lnTo>
                  <a:lnTo>
                    <a:pt x="163" y="110"/>
                  </a:lnTo>
                  <a:lnTo>
                    <a:pt x="166" y="104"/>
                  </a:lnTo>
                  <a:lnTo>
                    <a:pt x="170" y="97"/>
                  </a:lnTo>
                  <a:lnTo>
                    <a:pt x="171" y="94"/>
                  </a:lnTo>
                  <a:lnTo>
                    <a:pt x="174" y="94"/>
                  </a:lnTo>
                  <a:lnTo>
                    <a:pt x="174" y="94"/>
                  </a:lnTo>
                  <a:lnTo>
                    <a:pt x="171" y="94"/>
                  </a:lnTo>
                  <a:lnTo>
                    <a:pt x="178" y="91"/>
                  </a:lnTo>
                  <a:lnTo>
                    <a:pt x="178" y="88"/>
                  </a:lnTo>
                  <a:lnTo>
                    <a:pt x="181" y="86"/>
                  </a:lnTo>
                  <a:lnTo>
                    <a:pt x="184" y="85"/>
                  </a:lnTo>
                  <a:lnTo>
                    <a:pt x="184" y="83"/>
                  </a:lnTo>
                  <a:lnTo>
                    <a:pt x="187" y="81"/>
                  </a:lnTo>
                  <a:lnTo>
                    <a:pt x="192" y="78"/>
                  </a:lnTo>
                  <a:lnTo>
                    <a:pt x="195" y="77"/>
                  </a:lnTo>
                  <a:lnTo>
                    <a:pt x="195" y="77"/>
                  </a:lnTo>
                  <a:lnTo>
                    <a:pt x="195" y="75"/>
                  </a:lnTo>
                  <a:lnTo>
                    <a:pt x="195" y="69"/>
                  </a:lnTo>
                  <a:lnTo>
                    <a:pt x="193" y="59"/>
                  </a:lnTo>
                  <a:lnTo>
                    <a:pt x="192" y="58"/>
                  </a:lnTo>
                  <a:lnTo>
                    <a:pt x="189" y="54"/>
                  </a:lnTo>
                  <a:lnTo>
                    <a:pt x="185" y="54"/>
                  </a:lnTo>
                  <a:lnTo>
                    <a:pt x="184" y="54"/>
                  </a:lnTo>
                  <a:lnTo>
                    <a:pt x="184" y="56"/>
                  </a:lnTo>
                  <a:lnTo>
                    <a:pt x="181" y="54"/>
                  </a:lnTo>
                  <a:lnTo>
                    <a:pt x="181" y="56"/>
                  </a:lnTo>
                  <a:lnTo>
                    <a:pt x="181" y="58"/>
                  </a:lnTo>
                  <a:lnTo>
                    <a:pt x="181" y="65"/>
                  </a:lnTo>
                  <a:lnTo>
                    <a:pt x="181" y="69"/>
                  </a:lnTo>
                  <a:lnTo>
                    <a:pt x="181" y="69"/>
                  </a:lnTo>
                  <a:lnTo>
                    <a:pt x="181" y="69"/>
                  </a:lnTo>
                  <a:lnTo>
                    <a:pt x="178" y="73"/>
                  </a:lnTo>
                  <a:lnTo>
                    <a:pt x="178" y="73"/>
                  </a:lnTo>
                  <a:lnTo>
                    <a:pt x="174" y="75"/>
                  </a:lnTo>
                  <a:lnTo>
                    <a:pt x="174" y="78"/>
                  </a:lnTo>
                  <a:lnTo>
                    <a:pt x="171" y="80"/>
                  </a:lnTo>
                  <a:lnTo>
                    <a:pt x="171" y="81"/>
                  </a:lnTo>
                  <a:lnTo>
                    <a:pt x="170" y="80"/>
                  </a:lnTo>
                  <a:lnTo>
                    <a:pt x="168" y="80"/>
                  </a:lnTo>
                  <a:lnTo>
                    <a:pt x="165" y="81"/>
                  </a:lnTo>
                  <a:lnTo>
                    <a:pt x="165" y="83"/>
                  </a:lnTo>
                  <a:lnTo>
                    <a:pt x="162" y="81"/>
                  </a:lnTo>
                  <a:lnTo>
                    <a:pt x="160" y="81"/>
                  </a:lnTo>
                  <a:lnTo>
                    <a:pt x="158" y="81"/>
                  </a:lnTo>
                  <a:lnTo>
                    <a:pt x="157" y="81"/>
                  </a:lnTo>
                  <a:lnTo>
                    <a:pt x="152" y="81"/>
                  </a:lnTo>
                  <a:lnTo>
                    <a:pt x="149" y="81"/>
                  </a:lnTo>
                  <a:lnTo>
                    <a:pt x="143" y="78"/>
                  </a:lnTo>
                  <a:lnTo>
                    <a:pt x="139" y="78"/>
                  </a:lnTo>
                  <a:lnTo>
                    <a:pt x="136" y="80"/>
                  </a:lnTo>
                  <a:lnTo>
                    <a:pt x="136" y="78"/>
                  </a:lnTo>
                  <a:lnTo>
                    <a:pt x="136" y="77"/>
                  </a:lnTo>
                  <a:lnTo>
                    <a:pt x="138" y="72"/>
                  </a:lnTo>
                  <a:lnTo>
                    <a:pt x="139" y="72"/>
                  </a:lnTo>
                  <a:lnTo>
                    <a:pt x="139" y="69"/>
                  </a:lnTo>
                  <a:lnTo>
                    <a:pt x="139" y="65"/>
                  </a:lnTo>
                  <a:lnTo>
                    <a:pt x="139" y="62"/>
                  </a:lnTo>
                  <a:lnTo>
                    <a:pt x="143" y="59"/>
                  </a:lnTo>
                  <a:lnTo>
                    <a:pt x="143" y="56"/>
                  </a:lnTo>
                  <a:lnTo>
                    <a:pt x="146" y="53"/>
                  </a:lnTo>
                  <a:lnTo>
                    <a:pt x="143" y="51"/>
                  </a:lnTo>
                  <a:lnTo>
                    <a:pt x="143" y="48"/>
                  </a:lnTo>
                  <a:lnTo>
                    <a:pt x="139" y="48"/>
                  </a:lnTo>
                  <a:lnTo>
                    <a:pt x="136" y="48"/>
                  </a:lnTo>
                  <a:lnTo>
                    <a:pt x="135" y="45"/>
                  </a:lnTo>
                  <a:lnTo>
                    <a:pt x="133" y="45"/>
                  </a:lnTo>
                  <a:lnTo>
                    <a:pt x="128" y="42"/>
                  </a:lnTo>
                  <a:lnTo>
                    <a:pt x="122" y="38"/>
                  </a:lnTo>
                  <a:lnTo>
                    <a:pt x="116" y="35"/>
                  </a:lnTo>
                  <a:lnTo>
                    <a:pt x="114" y="34"/>
                  </a:lnTo>
                  <a:lnTo>
                    <a:pt x="111" y="32"/>
                  </a:lnTo>
                  <a:lnTo>
                    <a:pt x="108" y="32"/>
                  </a:lnTo>
                  <a:lnTo>
                    <a:pt x="105" y="31"/>
                  </a:lnTo>
                  <a:lnTo>
                    <a:pt x="101" y="31"/>
                  </a:lnTo>
                  <a:lnTo>
                    <a:pt x="98" y="29"/>
                  </a:lnTo>
                  <a:lnTo>
                    <a:pt x="95" y="24"/>
                  </a:lnTo>
                  <a:lnTo>
                    <a:pt x="90" y="21"/>
                  </a:lnTo>
                  <a:lnTo>
                    <a:pt x="90" y="21"/>
                  </a:lnTo>
                  <a:lnTo>
                    <a:pt x="84" y="16"/>
                  </a:lnTo>
                  <a:lnTo>
                    <a:pt x="84" y="13"/>
                  </a:lnTo>
                  <a:lnTo>
                    <a:pt x="81" y="10"/>
                  </a:lnTo>
                  <a:lnTo>
                    <a:pt x="81" y="10"/>
                  </a:lnTo>
                  <a:lnTo>
                    <a:pt x="79" y="10"/>
                  </a:lnTo>
                  <a:lnTo>
                    <a:pt x="76" y="7"/>
                  </a:lnTo>
                  <a:lnTo>
                    <a:pt x="74" y="4"/>
                  </a:lnTo>
                  <a:lnTo>
                    <a:pt x="73" y="4"/>
                  </a:lnTo>
                  <a:lnTo>
                    <a:pt x="70" y="4"/>
                  </a:lnTo>
                  <a:lnTo>
                    <a:pt x="63" y="4"/>
                  </a:lnTo>
                  <a:lnTo>
                    <a:pt x="60" y="4"/>
                  </a:lnTo>
                  <a:lnTo>
                    <a:pt x="58" y="7"/>
                  </a:lnTo>
                  <a:lnTo>
                    <a:pt x="58" y="10"/>
                  </a:lnTo>
                  <a:lnTo>
                    <a:pt x="55" y="15"/>
                  </a:lnTo>
                  <a:lnTo>
                    <a:pt x="52" y="10"/>
                  </a:lnTo>
                  <a:lnTo>
                    <a:pt x="49" y="7"/>
                  </a:lnTo>
                  <a:lnTo>
                    <a:pt x="47" y="4"/>
                  </a:lnTo>
                  <a:lnTo>
                    <a:pt x="43" y="4"/>
                  </a:lnTo>
                  <a:lnTo>
                    <a:pt x="38" y="4"/>
                  </a:lnTo>
                  <a:lnTo>
                    <a:pt x="35" y="2"/>
                  </a:lnTo>
                  <a:lnTo>
                    <a:pt x="30" y="0"/>
                  </a:lnTo>
                  <a:lnTo>
                    <a:pt x="30" y="4"/>
                  </a:lnTo>
                  <a:lnTo>
                    <a:pt x="27" y="7"/>
                  </a:lnTo>
                  <a:lnTo>
                    <a:pt x="24" y="7"/>
                  </a:lnTo>
                  <a:lnTo>
                    <a:pt x="24" y="10"/>
                  </a:lnTo>
                  <a:lnTo>
                    <a:pt x="20" y="15"/>
                  </a:lnTo>
                  <a:lnTo>
                    <a:pt x="20" y="15"/>
                  </a:lnTo>
                  <a:lnTo>
                    <a:pt x="20" y="16"/>
                  </a:lnTo>
                  <a:lnTo>
                    <a:pt x="24" y="21"/>
                  </a:lnTo>
                  <a:lnTo>
                    <a:pt x="24" y="27"/>
                  </a:lnTo>
                  <a:lnTo>
                    <a:pt x="20" y="32"/>
                  </a:lnTo>
                  <a:lnTo>
                    <a:pt x="20" y="34"/>
                  </a:lnTo>
                  <a:lnTo>
                    <a:pt x="17" y="35"/>
                  </a:lnTo>
                  <a:lnTo>
                    <a:pt x="14" y="37"/>
                  </a:lnTo>
                  <a:lnTo>
                    <a:pt x="9" y="38"/>
                  </a:lnTo>
                  <a:lnTo>
                    <a:pt x="8" y="42"/>
                  </a:lnTo>
                  <a:lnTo>
                    <a:pt x="9" y="45"/>
                  </a:lnTo>
                  <a:lnTo>
                    <a:pt x="11" y="48"/>
                  </a:lnTo>
                  <a:lnTo>
                    <a:pt x="9" y="48"/>
                  </a:lnTo>
                  <a:lnTo>
                    <a:pt x="8" y="50"/>
                  </a:lnTo>
                  <a:lnTo>
                    <a:pt x="9" y="54"/>
                  </a:lnTo>
                  <a:lnTo>
                    <a:pt x="12" y="59"/>
                  </a:lnTo>
                  <a:lnTo>
                    <a:pt x="12" y="62"/>
                  </a:lnTo>
                  <a:lnTo>
                    <a:pt x="12" y="65"/>
                  </a:lnTo>
                  <a:lnTo>
                    <a:pt x="11" y="65"/>
                  </a:lnTo>
                  <a:lnTo>
                    <a:pt x="12" y="69"/>
                  </a:lnTo>
                  <a:lnTo>
                    <a:pt x="14" y="72"/>
                  </a:lnTo>
                  <a:lnTo>
                    <a:pt x="14" y="75"/>
                  </a:lnTo>
                  <a:lnTo>
                    <a:pt x="14" y="77"/>
                  </a:lnTo>
                  <a:lnTo>
                    <a:pt x="12" y="77"/>
                  </a:lnTo>
                  <a:lnTo>
                    <a:pt x="11" y="77"/>
                  </a:lnTo>
                  <a:lnTo>
                    <a:pt x="9" y="81"/>
                  </a:lnTo>
                  <a:lnTo>
                    <a:pt x="8" y="89"/>
                  </a:lnTo>
                  <a:lnTo>
                    <a:pt x="4" y="94"/>
                  </a:lnTo>
                  <a:lnTo>
                    <a:pt x="3" y="100"/>
                  </a:lnTo>
                  <a:lnTo>
                    <a:pt x="3" y="105"/>
                  </a:lnTo>
                  <a:lnTo>
                    <a:pt x="1" y="107"/>
                  </a:lnTo>
                  <a:lnTo>
                    <a:pt x="1" y="110"/>
                  </a:lnTo>
                  <a:lnTo>
                    <a:pt x="1" y="113"/>
                  </a:lnTo>
                  <a:lnTo>
                    <a:pt x="4" y="118"/>
                  </a:lnTo>
                  <a:lnTo>
                    <a:pt x="4" y="123"/>
                  </a:lnTo>
                  <a:lnTo>
                    <a:pt x="4" y="124"/>
                  </a:lnTo>
                  <a:lnTo>
                    <a:pt x="3" y="124"/>
                  </a:lnTo>
                  <a:lnTo>
                    <a:pt x="3" y="126"/>
                  </a:lnTo>
                  <a:lnTo>
                    <a:pt x="3" y="127"/>
                  </a:lnTo>
                  <a:lnTo>
                    <a:pt x="1" y="132"/>
                  </a:lnTo>
                  <a:lnTo>
                    <a:pt x="1" y="132"/>
                  </a:lnTo>
                  <a:lnTo>
                    <a:pt x="1" y="135"/>
                  </a:lnTo>
                  <a:lnTo>
                    <a:pt x="0" y="138"/>
                  </a:lnTo>
                  <a:lnTo>
                    <a:pt x="1" y="142"/>
                  </a:lnTo>
                  <a:lnTo>
                    <a:pt x="4" y="145"/>
                  </a:lnTo>
                  <a:lnTo>
                    <a:pt x="6" y="146"/>
                  </a:lnTo>
                  <a:lnTo>
                    <a:pt x="6" y="148"/>
                  </a:lnTo>
                  <a:lnTo>
                    <a:pt x="8" y="151"/>
                  </a:lnTo>
                  <a:lnTo>
                    <a:pt x="11" y="156"/>
                  </a:lnTo>
                  <a:lnTo>
                    <a:pt x="11" y="158"/>
                  </a:lnTo>
                  <a:lnTo>
                    <a:pt x="11" y="159"/>
                  </a:lnTo>
                  <a:lnTo>
                    <a:pt x="12" y="159"/>
                  </a:lnTo>
                  <a:lnTo>
                    <a:pt x="14" y="161"/>
                  </a:lnTo>
                  <a:lnTo>
                    <a:pt x="12" y="164"/>
                  </a:lnTo>
                  <a:lnTo>
                    <a:pt x="14" y="164"/>
                  </a:lnTo>
                  <a:lnTo>
                    <a:pt x="14" y="167"/>
                  </a:lnTo>
                  <a:lnTo>
                    <a:pt x="14" y="164"/>
                  </a:lnTo>
                  <a:lnTo>
                    <a:pt x="17" y="167"/>
                  </a:lnTo>
                  <a:lnTo>
                    <a:pt x="17" y="170"/>
                  </a:lnTo>
                  <a:lnTo>
                    <a:pt x="17" y="175"/>
                  </a:lnTo>
                  <a:lnTo>
                    <a:pt x="20" y="178"/>
                  </a:lnTo>
                  <a:lnTo>
                    <a:pt x="20" y="180"/>
                  </a:lnTo>
                  <a:lnTo>
                    <a:pt x="17" y="181"/>
                  </a:lnTo>
                  <a:lnTo>
                    <a:pt x="17" y="183"/>
                  </a:lnTo>
                  <a:lnTo>
                    <a:pt x="17" y="188"/>
                  </a:lnTo>
                  <a:lnTo>
                    <a:pt x="17" y="191"/>
                  </a:lnTo>
                  <a:lnTo>
                    <a:pt x="17" y="194"/>
                  </a:lnTo>
                  <a:lnTo>
                    <a:pt x="14" y="194"/>
                  </a:lnTo>
                  <a:lnTo>
                    <a:pt x="17" y="196"/>
                  </a:lnTo>
                  <a:lnTo>
                    <a:pt x="17" y="199"/>
                  </a:lnTo>
                  <a:lnTo>
                    <a:pt x="20" y="205"/>
                  </a:lnTo>
                  <a:lnTo>
                    <a:pt x="17" y="207"/>
                  </a:lnTo>
                  <a:lnTo>
                    <a:pt x="17" y="210"/>
                  </a:lnTo>
                  <a:lnTo>
                    <a:pt x="17" y="212"/>
                  </a:lnTo>
                  <a:lnTo>
                    <a:pt x="14" y="212"/>
                  </a:lnTo>
                  <a:lnTo>
                    <a:pt x="14" y="215"/>
                  </a:lnTo>
                  <a:lnTo>
                    <a:pt x="14" y="219"/>
                  </a:lnTo>
                  <a:lnTo>
                    <a:pt x="17" y="223"/>
                  </a:lnTo>
                  <a:lnTo>
                    <a:pt x="17" y="229"/>
                  </a:lnTo>
                  <a:lnTo>
                    <a:pt x="17" y="229"/>
                  </a:lnTo>
                  <a:lnTo>
                    <a:pt x="20" y="232"/>
                  </a:lnTo>
                  <a:lnTo>
                    <a:pt x="24" y="237"/>
                  </a:lnTo>
                  <a:lnTo>
                    <a:pt x="24" y="240"/>
                  </a:lnTo>
                  <a:lnTo>
                    <a:pt x="25" y="242"/>
                  </a:lnTo>
                  <a:lnTo>
                    <a:pt x="25" y="243"/>
                  </a:lnTo>
                  <a:lnTo>
                    <a:pt x="24" y="246"/>
                  </a:lnTo>
                  <a:lnTo>
                    <a:pt x="20" y="246"/>
                  </a:lnTo>
                  <a:lnTo>
                    <a:pt x="20" y="250"/>
                  </a:lnTo>
                  <a:lnTo>
                    <a:pt x="20" y="253"/>
                  </a:lnTo>
                  <a:lnTo>
                    <a:pt x="24" y="258"/>
                  </a:lnTo>
                  <a:lnTo>
                    <a:pt x="20" y="258"/>
                  </a:lnTo>
                  <a:lnTo>
                    <a:pt x="20" y="261"/>
                  </a:lnTo>
                  <a:lnTo>
                    <a:pt x="24" y="261"/>
                  </a:lnTo>
                  <a:lnTo>
                    <a:pt x="24" y="264"/>
                  </a:lnTo>
                  <a:lnTo>
                    <a:pt x="20" y="264"/>
                  </a:lnTo>
                  <a:lnTo>
                    <a:pt x="24" y="265"/>
                  </a:lnTo>
                  <a:lnTo>
                    <a:pt x="24" y="265"/>
                  </a:lnTo>
                  <a:lnTo>
                    <a:pt x="24" y="267"/>
                  </a:lnTo>
                  <a:lnTo>
                    <a:pt x="24" y="272"/>
                  </a:lnTo>
                  <a:lnTo>
                    <a:pt x="25" y="278"/>
                  </a:lnTo>
                  <a:lnTo>
                    <a:pt x="27" y="281"/>
                  </a:lnTo>
                  <a:lnTo>
                    <a:pt x="27" y="285"/>
                  </a:lnTo>
                  <a:lnTo>
                    <a:pt x="28" y="288"/>
                  </a:lnTo>
                  <a:lnTo>
                    <a:pt x="31" y="289"/>
                  </a:lnTo>
                  <a:lnTo>
                    <a:pt x="31" y="292"/>
                  </a:lnTo>
                  <a:lnTo>
                    <a:pt x="31" y="292"/>
                  </a:lnTo>
                  <a:lnTo>
                    <a:pt x="30" y="292"/>
                  </a:lnTo>
                  <a:lnTo>
                    <a:pt x="28" y="294"/>
                  </a:lnTo>
                  <a:lnTo>
                    <a:pt x="30" y="297"/>
                  </a:lnTo>
                  <a:lnTo>
                    <a:pt x="31" y="302"/>
                  </a:lnTo>
                  <a:lnTo>
                    <a:pt x="33" y="305"/>
                  </a:lnTo>
                  <a:lnTo>
                    <a:pt x="36" y="307"/>
                  </a:lnTo>
                  <a:lnTo>
                    <a:pt x="38" y="308"/>
                  </a:lnTo>
                  <a:lnTo>
                    <a:pt x="38" y="310"/>
                  </a:lnTo>
                  <a:lnTo>
                    <a:pt x="38" y="310"/>
                  </a:lnTo>
                  <a:lnTo>
                    <a:pt x="39" y="313"/>
                  </a:lnTo>
                  <a:lnTo>
                    <a:pt x="41" y="313"/>
                  </a:lnTo>
                  <a:lnTo>
                    <a:pt x="41" y="316"/>
                  </a:lnTo>
                  <a:lnTo>
                    <a:pt x="41" y="316"/>
                  </a:lnTo>
                  <a:lnTo>
                    <a:pt x="44" y="319"/>
                  </a:lnTo>
                  <a:lnTo>
                    <a:pt x="43" y="319"/>
                  </a:lnTo>
                  <a:lnTo>
                    <a:pt x="43" y="321"/>
                  </a:lnTo>
                  <a:lnTo>
                    <a:pt x="44" y="323"/>
                  </a:lnTo>
                  <a:lnTo>
                    <a:pt x="46" y="324"/>
                  </a:lnTo>
                  <a:lnTo>
                    <a:pt x="49" y="324"/>
                  </a:lnTo>
                  <a:lnTo>
                    <a:pt x="52" y="324"/>
                  </a:lnTo>
                  <a:lnTo>
                    <a:pt x="52" y="326"/>
                  </a:lnTo>
                  <a:lnTo>
                    <a:pt x="52" y="329"/>
                  </a:lnTo>
                  <a:lnTo>
                    <a:pt x="47" y="331"/>
                  </a:lnTo>
                  <a:lnTo>
                    <a:pt x="46" y="331"/>
                  </a:lnTo>
                  <a:lnTo>
                    <a:pt x="44" y="331"/>
                  </a:lnTo>
                  <a:lnTo>
                    <a:pt x="47" y="332"/>
                  </a:lnTo>
                  <a:lnTo>
                    <a:pt x="49" y="332"/>
                  </a:lnTo>
                  <a:lnTo>
                    <a:pt x="55" y="335"/>
                  </a:lnTo>
                  <a:lnTo>
                    <a:pt x="55" y="337"/>
                  </a:lnTo>
                  <a:lnTo>
                    <a:pt x="55" y="339"/>
                  </a:lnTo>
                  <a:lnTo>
                    <a:pt x="52" y="340"/>
                  </a:lnTo>
                  <a:lnTo>
                    <a:pt x="52" y="342"/>
                  </a:lnTo>
                  <a:lnTo>
                    <a:pt x="52" y="343"/>
                  </a:lnTo>
                  <a:lnTo>
                    <a:pt x="55" y="345"/>
                  </a:lnTo>
                  <a:lnTo>
                    <a:pt x="55" y="348"/>
                  </a:lnTo>
                  <a:lnTo>
                    <a:pt x="52" y="348"/>
                  </a:lnTo>
                  <a:lnTo>
                    <a:pt x="58" y="354"/>
                  </a:lnTo>
                  <a:lnTo>
                    <a:pt x="58" y="354"/>
                  </a:lnTo>
                  <a:lnTo>
                    <a:pt x="58" y="358"/>
                  </a:lnTo>
                  <a:lnTo>
                    <a:pt x="58" y="359"/>
                  </a:lnTo>
                  <a:lnTo>
                    <a:pt x="58" y="361"/>
                  </a:lnTo>
                  <a:lnTo>
                    <a:pt x="58" y="362"/>
                  </a:lnTo>
                  <a:lnTo>
                    <a:pt x="58" y="364"/>
                  </a:lnTo>
                  <a:lnTo>
                    <a:pt x="58" y="366"/>
                  </a:lnTo>
                  <a:lnTo>
                    <a:pt x="58" y="367"/>
                  </a:lnTo>
                  <a:lnTo>
                    <a:pt x="55" y="372"/>
                  </a:lnTo>
                  <a:lnTo>
                    <a:pt x="55" y="375"/>
                  </a:lnTo>
                  <a:lnTo>
                    <a:pt x="58" y="377"/>
                  </a:lnTo>
                  <a:lnTo>
                    <a:pt x="60" y="378"/>
                  </a:lnTo>
                  <a:lnTo>
                    <a:pt x="62" y="380"/>
                  </a:lnTo>
                  <a:lnTo>
                    <a:pt x="60" y="380"/>
                  </a:lnTo>
                  <a:lnTo>
                    <a:pt x="58" y="383"/>
                  </a:lnTo>
                  <a:lnTo>
                    <a:pt x="60" y="386"/>
                  </a:lnTo>
                  <a:lnTo>
                    <a:pt x="60" y="389"/>
                  </a:lnTo>
                  <a:lnTo>
                    <a:pt x="58" y="389"/>
                  </a:lnTo>
                  <a:lnTo>
                    <a:pt x="58" y="391"/>
                  </a:lnTo>
                  <a:lnTo>
                    <a:pt x="55" y="393"/>
                  </a:lnTo>
                  <a:lnTo>
                    <a:pt x="55" y="394"/>
                  </a:lnTo>
                  <a:lnTo>
                    <a:pt x="55" y="394"/>
                  </a:lnTo>
                  <a:lnTo>
                    <a:pt x="55" y="396"/>
                  </a:lnTo>
                  <a:lnTo>
                    <a:pt x="55" y="396"/>
                  </a:lnTo>
                  <a:lnTo>
                    <a:pt x="55" y="397"/>
                  </a:lnTo>
                  <a:lnTo>
                    <a:pt x="58" y="400"/>
                  </a:lnTo>
                  <a:lnTo>
                    <a:pt x="58" y="402"/>
                  </a:lnTo>
                  <a:lnTo>
                    <a:pt x="58" y="405"/>
                  </a:lnTo>
                  <a:lnTo>
                    <a:pt x="60" y="407"/>
                  </a:lnTo>
                  <a:lnTo>
                    <a:pt x="60" y="407"/>
                  </a:lnTo>
                  <a:lnTo>
                    <a:pt x="62" y="408"/>
                  </a:lnTo>
                  <a:lnTo>
                    <a:pt x="62" y="408"/>
                  </a:lnTo>
                  <a:lnTo>
                    <a:pt x="63" y="410"/>
                  </a:lnTo>
                  <a:lnTo>
                    <a:pt x="65" y="412"/>
                  </a:lnTo>
                  <a:lnTo>
                    <a:pt x="66" y="413"/>
                  </a:lnTo>
                  <a:lnTo>
                    <a:pt x="68" y="413"/>
                  </a:lnTo>
                  <a:lnTo>
                    <a:pt x="70" y="412"/>
                  </a:lnTo>
                  <a:lnTo>
                    <a:pt x="74" y="412"/>
                  </a:lnTo>
                  <a:lnTo>
                    <a:pt x="76" y="412"/>
                  </a:lnTo>
                  <a:lnTo>
                    <a:pt x="78" y="415"/>
                  </a:lnTo>
                  <a:lnTo>
                    <a:pt x="78" y="415"/>
                  </a:lnTo>
                  <a:lnTo>
                    <a:pt x="79" y="416"/>
                  </a:lnTo>
                  <a:lnTo>
                    <a:pt x="79" y="419"/>
                  </a:lnTo>
                  <a:lnTo>
                    <a:pt x="81" y="421"/>
                  </a:lnTo>
                  <a:lnTo>
                    <a:pt x="81" y="424"/>
                  </a:lnTo>
                  <a:lnTo>
                    <a:pt x="84" y="427"/>
                  </a:lnTo>
                  <a:lnTo>
                    <a:pt x="87" y="431"/>
                  </a:lnTo>
                  <a:lnTo>
                    <a:pt x="90" y="431"/>
                  </a:lnTo>
                  <a:lnTo>
                    <a:pt x="93" y="432"/>
                  </a:lnTo>
                  <a:lnTo>
                    <a:pt x="97" y="431"/>
                  </a:lnTo>
                  <a:lnTo>
                    <a:pt x="105" y="431"/>
                  </a:lnTo>
                  <a:lnTo>
                    <a:pt x="111" y="432"/>
                  </a:lnTo>
                  <a:lnTo>
                    <a:pt x="119" y="434"/>
                  </a:lnTo>
                  <a:lnTo>
                    <a:pt x="125" y="435"/>
                  </a:lnTo>
                  <a:lnTo>
                    <a:pt x="128" y="435"/>
                  </a:lnTo>
                  <a:lnTo>
                    <a:pt x="130" y="435"/>
                  </a:lnTo>
                  <a:lnTo>
                    <a:pt x="130" y="435"/>
                  </a:lnTo>
                  <a:lnTo>
                    <a:pt x="130" y="435"/>
                  </a:lnTo>
                  <a:lnTo>
                    <a:pt x="130" y="435"/>
                  </a:lnTo>
                  <a:lnTo>
                    <a:pt x="130" y="435"/>
                  </a:lnTo>
                  <a:lnTo>
                    <a:pt x="130" y="435"/>
                  </a:lnTo>
                  <a:lnTo>
                    <a:pt x="130" y="435"/>
                  </a:lnTo>
                  <a:lnTo>
                    <a:pt x="130" y="435"/>
                  </a:lnTo>
                  <a:lnTo>
                    <a:pt x="130" y="43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60" name="Freeform 229">
              <a:extLst>
                <a:ext uri="{FF2B5EF4-FFF2-40B4-BE49-F238E27FC236}">
                  <a16:creationId xmlns:a16="http://schemas.microsoft.com/office/drawing/2014/main" id="{979B1BFC-D788-5C68-A806-D569DE064C16}"/>
                </a:ext>
              </a:extLst>
            </p:cNvPr>
            <p:cNvSpPr>
              <a:spLocks/>
            </p:cNvSpPr>
            <p:nvPr/>
          </p:nvSpPr>
          <p:spPr bwMode="auto">
            <a:xfrm>
              <a:off x="5313828" y="1930082"/>
              <a:ext cx="231037" cy="89723"/>
            </a:xfrm>
            <a:custGeom>
              <a:avLst/>
              <a:gdLst>
                <a:gd name="T0" fmla="*/ 13 w 103"/>
                <a:gd name="T1" fmla="*/ 13 h 40"/>
                <a:gd name="T2" fmla="*/ 16 w 103"/>
                <a:gd name="T3" fmla="*/ 13 h 40"/>
                <a:gd name="T4" fmla="*/ 22 w 103"/>
                <a:gd name="T5" fmla="*/ 11 h 40"/>
                <a:gd name="T6" fmla="*/ 25 w 103"/>
                <a:gd name="T7" fmla="*/ 13 h 40"/>
                <a:gd name="T8" fmla="*/ 19 w 103"/>
                <a:gd name="T9" fmla="*/ 16 h 40"/>
                <a:gd name="T10" fmla="*/ 11 w 103"/>
                <a:gd name="T11" fmla="*/ 19 h 40"/>
                <a:gd name="T12" fmla="*/ 3 w 103"/>
                <a:gd name="T13" fmla="*/ 19 h 40"/>
                <a:gd name="T14" fmla="*/ 11 w 103"/>
                <a:gd name="T15" fmla="*/ 22 h 40"/>
                <a:gd name="T16" fmla="*/ 19 w 103"/>
                <a:gd name="T17" fmla="*/ 22 h 40"/>
                <a:gd name="T18" fmla="*/ 24 w 103"/>
                <a:gd name="T19" fmla="*/ 22 h 40"/>
                <a:gd name="T20" fmla="*/ 19 w 103"/>
                <a:gd name="T21" fmla="*/ 25 h 40"/>
                <a:gd name="T22" fmla="*/ 24 w 103"/>
                <a:gd name="T23" fmla="*/ 25 h 40"/>
                <a:gd name="T24" fmla="*/ 19 w 103"/>
                <a:gd name="T25" fmla="*/ 29 h 40"/>
                <a:gd name="T26" fmla="*/ 13 w 103"/>
                <a:gd name="T27" fmla="*/ 30 h 40"/>
                <a:gd name="T28" fmla="*/ 19 w 103"/>
                <a:gd name="T29" fmla="*/ 33 h 40"/>
                <a:gd name="T30" fmla="*/ 25 w 103"/>
                <a:gd name="T31" fmla="*/ 33 h 40"/>
                <a:gd name="T32" fmla="*/ 29 w 103"/>
                <a:gd name="T33" fmla="*/ 35 h 40"/>
                <a:gd name="T34" fmla="*/ 32 w 103"/>
                <a:gd name="T35" fmla="*/ 35 h 40"/>
                <a:gd name="T36" fmla="*/ 48 w 103"/>
                <a:gd name="T37" fmla="*/ 40 h 40"/>
                <a:gd name="T38" fmla="*/ 57 w 103"/>
                <a:gd name="T39" fmla="*/ 35 h 40"/>
                <a:gd name="T40" fmla="*/ 65 w 103"/>
                <a:gd name="T41" fmla="*/ 33 h 40"/>
                <a:gd name="T42" fmla="*/ 75 w 103"/>
                <a:gd name="T43" fmla="*/ 32 h 40"/>
                <a:gd name="T44" fmla="*/ 91 w 103"/>
                <a:gd name="T45" fmla="*/ 25 h 40"/>
                <a:gd name="T46" fmla="*/ 94 w 103"/>
                <a:gd name="T47" fmla="*/ 22 h 40"/>
                <a:gd name="T48" fmla="*/ 99 w 103"/>
                <a:gd name="T49" fmla="*/ 19 h 40"/>
                <a:gd name="T50" fmla="*/ 97 w 103"/>
                <a:gd name="T51" fmla="*/ 19 h 40"/>
                <a:gd name="T52" fmla="*/ 103 w 103"/>
                <a:gd name="T53" fmla="*/ 19 h 40"/>
                <a:gd name="T54" fmla="*/ 103 w 103"/>
                <a:gd name="T55" fmla="*/ 16 h 40"/>
                <a:gd name="T56" fmla="*/ 103 w 103"/>
                <a:gd name="T57" fmla="*/ 13 h 40"/>
                <a:gd name="T58" fmla="*/ 94 w 103"/>
                <a:gd name="T59" fmla="*/ 13 h 40"/>
                <a:gd name="T60" fmla="*/ 94 w 103"/>
                <a:gd name="T61" fmla="*/ 8 h 40"/>
                <a:gd name="T62" fmla="*/ 92 w 103"/>
                <a:gd name="T63" fmla="*/ 3 h 40"/>
                <a:gd name="T64" fmla="*/ 91 w 103"/>
                <a:gd name="T65" fmla="*/ 2 h 40"/>
                <a:gd name="T66" fmla="*/ 84 w 103"/>
                <a:gd name="T67" fmla="*/ 2 h 40"/>
                <a:gd name="T68" fmla="*/ 78 w 103"/>
                <a:gd name="T69" fmla="*/ 0 h 40"/>
                <a:gd name="T70" fmla="*/ 72 w 103"/>
                <a:gd name="T71" fmla="*/ 3 h 40"/>
                <a:gd name="T72" fmla="*/ 62 w 103"/>
                <a:gd name="T73" fmla="*/ 3 h 40"/>
                <a:gd name="T74" fmla="*/ 60 w 103"/>
                <a:gd name="T75" fmla="*/ 11 h 40"/>
                <a:gd name="T76" fmla="*/ 52 w 103"/>
                <a:gd name="T77" fmla="*/ 5 h 40"/>
                <a:gd name="T78" fmla="*/ 48 w 103"/>
                <a:gd name="T79" fmla="*/ 9 h 40"/>
                <a:gd name="T80" fmla="*/ 41 w 103"/>
                <a:gd name="T81" fmla="*/ 5 h 40"/>
                <a:gd name="T82" fmla="*/ 38 w 103"/>
                <a:gd name="T83" fmla="*/ 11 h 40"/>
                <a:gd name="T84" fmla="*/ 33 w 103"/>
                <a:gd name="T85" fmla="*/ 13 h 40"/>
                <a:gd name="T86" fmla="*/ 30 w 103"/>
                <a:gd name="T87" fmla="*/ 14 h 40"/>
                <a:gd name="T88" fmla="*/ 25 w 103"/>
                <a:gd name="T89" fmla="*/ 9 h 40"/>
                <a:gd name="T90" fmla="*/ 29 w 103"/>
                <a:gd name="T91" fmla="*/ 6 h 40"/>
                <a:gd name="T92" fmla="*/ 25 w 103"/>
                <a:gd name="T93" fmla="*/ 3 h 40"/>
                <a:gd name="T94" fmla="*/ 16 w 103"/>
                <a:gd name="T95" fmla="*/ 0 h 40"/>
                <a:gd name="T96" fmla="*/ 19 w 103"/>
                <a:gd name="T97" fmla="*/ 3 h 40"/>
                <a:gd name="T98" fmla="*/ 19 w 103"/>
                <a:gd name="T99" fmla="*/ 8 h 40"/>
                <a:gd name="T100" fmla="*/ 16 w 103"/>
                <a:gd name="T101" fmla="*/ 6 h 40"/>
                <a:gd name="T102" fmla="*/ 13 w 103"/>
                <a:gd name="T103" fmla="*/ 3 h 40"/>
                <a:gd name="T104" fmla="*/ 11 w 103"/>
                <a:gd name="T105" fmla="*/ 6 h 40"/>
                <a:gd name="T106" fmla="*/ 11 w 103"/>
                <a:gd name="T107" fmla="*/ 8 h 40"/>
                <a:gd name="T108" fmla="*/ 11 w 103"/>
                <a:gd name="T109" fmla="*/ 9 h 40"/>
                <a:gd name="T110" fmla="*/ 8 w 103"/>
                <a:gd name="T111" fmla="*/ 9 h 40"/>
                <a:gd name="T112" fmla="*/ 5 w 103"/>
                <a:gd name="T113" fmla="*/ 11 h 40"/>
                <a:gd name="T114" fmla="*/ 0 w 103"/>
                <a:gd name="T115" fmla="*/ 13 h 40"/>
                <a:gd name="T116" fmla="*/ 5 w 103"/>
                <a:gd name="T11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 h="40">
                  <a:moveTo>
                    <a:pt x="5" y="14"/>
                  </a:moveTo>
                  <a:lnTo>
                    <a:pt x="5" y="14"/>
                  </a:lnTo>
                  <a:lnTo>
                    <a:pt x="11" y="13"/>
                  </a:lnTo>
                  <a:lnTo>
                    <a:pt x="11" y="13"/>
                  </a:lnTo>
                  <a:lnTo>
                    <a:pt x="11" y="13"/>
                  </a:lnTo>
                  <a:lnTo>
                    <a:pt x="13" y="13"/>
                  </a:lnTo>
                  <a:lnTo>
                    <a:pt x="13" y="13"/>
                  </a:lnTo>
                  <a:lnTo>
                    <a:pt x="13" y="13"/>
                  </a:lnTo>
                  <a:lnTo>
                    <a:pt x="13" y="11"/>
                  </a:lnTo>
                  <a:lnTo>
                    <a:pt x="16" y="11"/>
                  </a:lnTo>
                  <a:lnTo>
                    <a:pt x="16" y="13"/>
                  </a:lnTo>
                  <a:lnTo>
                    <a:pt x="16" y="13"/>
                  </a:lnTo>
                  <a:lnTo>
                    <a:pt x="19" y="11"/>
                  </a:lnTo>
                  <a:lnTo>
                    <a:pt x="19" y="11"/>
                  </a:lnTo>
                  <a:lnTo>
                    <a:pt x="19" y="13"/>
                  </a:lnTo>
                  <a:lnTo>
                    <a:pt x="19" y="13"/>
                  </a:lnTo>
                  <a:lnTo>
                    <a:pt x="22" y="11"/>
                  </a:lnTo>
                  <a:lnTo>
                    <a:pt x="22" y="11"/>
                  </a:lnTo>
                  <a:lnTo>
                    <a:pt x="19" y="13"/>
                  </a:lnTo>
                  <a:lnTo>
                    <a:pt x="19" y="13"/>
                  </a:lnTo>
                  <a:lnTo>
                    <a:pt x="22" y="13"/>
                  </a:lnTo>
                  <a:lnTo>
                    <a:pt x="22" y="13"/>
                  </a:lnTo>
                  <a:lnTo>
                    <a:pt x="22" y="13"/>
                  </a:lnTo>
                  <a:lnTo>
                    <a:pt x="25" y="13"/>
                  </a:lnTo>
                  <a:lnTo>
                    <a:pt x="25" y="13"/>
                  </a:lnTo>
                  <a:lnTo>
                    <a:pt x="22" y="14"/>
                  </a:lnTo>
                  <a:lnTo>
                    <a:pt x="16" y="16"/>
                  </a:lnTo>
                  <a:lnTo>
                    <a:pt x="16" y="16"/>
                  </a:lnTo>
                  <a:lnTo>
                    <a:pt x="19" y="16"/>
                  </a:lnTo>
                  <a:lnTo>
                    <a:pt x="19" y="16"/>
                  </a:lnTo>
                  <a:lnTo>
                    <a:pt x="24" y="16"/>
                  </a:lnTo>
                  <a:lnTo>
                    <a:pt x="24" y="16"/>
                  </a:lnTo>
                  <a:lnTo>
                    <a:pt x="22" y="19"/>
                  </a:lnTo>
                  <a:lnTo>
                    <a:pt x="16" y="19"/>
                  </a:lnTo>
                  <a:lnTo>
                    <a:pt x="13" y="19"/>
                  </a:lnTo>
                  <a:lnTo>
                    <a:pt x="11" y="19"/>
                  </a:lnTo>
                  <a:lnTo>
                    <a:pt x="11" y="19"/>
                  </a:lnTo>
                  <a:lnTo>
                    <a:pt x="10" y="19"/>
                  </a:lnTo>
                  <a:lnTo>
                    <a:pt x="8" y="19"/>
                  </a:lnTo>
                  <a:lnTo>
                    <a:pt x="8" y="19"/>
                  </a:lnTo>
                  <a:lnTo>
                    <a:pt x="3" y="19"/>
                  </a:lnTo>
                  <a:lnTo>
                    <a:pt x="3" y="19"/>
                  </a:lnTo>
                  <a:lnTo>
                    <a:pt x="2" y="19"/>
                  </a:lnTo>
                  <a:lnTo>
                    <a:pt x="2" y="22"/>
                  </a:lnTo>
                  <a:lnTo>
                    <a:pt x="3" y="22"/>
                  </a:lnTo>
                  <a:lnTo>
                    <a:pt x="5" y="22"/>
                  </a:lnTo>
                  <a:lnTo>
                    <a:pt x="5" y="22"/>
                  </a:lnTo>
                  <a:lnTo>
                    <a:pt x="11" y="22"/>
                  </a:lnTo>
                  <a:lnTo>
                    <a:pt x="11" y="22"/>
                  </a:lnTo>
                  <a:lnTo>
                    <a:pt x="13" y="22"/>
                  </a:lnTo>
                  <a:lnTo>
                    <a:pt x="13" y="22"/>
                  </a:lnTo>
                  <a:lnTo>
                    <a:pt x="16" y="22"/>
                  </a:lnTo>
                  <a:lnTo>
                    <a:pt x="19" y="22"/>
                  </a:lnTo>
                  <a:lnTo>
                    <a:pt x="19" y="22"/>
                  </a:lnTo>
                  <a:lnTo>
                    <a:pt x="16" y="24"/>
                  </a:lnTo>
                  <a:lnTo>
                    <a:pt x="16" y="24"/>
                  </a:lnTo>
                  <a:lnTo>
                    <a:pt x="19" y="25"/>
                  </a:lnTo>
                  <a:lnTo>
                    <a:pt x="19" y="25"/>
                  </a:lnTo>
                  <a:lnTo>
                    <a:pt x="22" y="24"/>
                  </a:lnTo>
                  <a:lnTo>
                    <a:pt x="24" y="22"/>
                  </a:lnTo>
                  <a:lnTo>
                    <a:pt x="24" y="22"/>
                  </a:lnTo>
                  <a:lnTo>
                    <a:pt x="22" y="24"/>
                  </a:lnTo>
                  <a:lnTo>
                    <a:pt x="22" y="24"/>
                  </a:lnTo>
                  <a:lnTo>
                    <a:pt x="22" y="24"/>
                  </a:lnTo>
                  <a:lnTo>
                    <a:pt x="19" y="25"/>
                  </a:lnTo>
                  <a:lnTo>
                    <a:pt x="19" y="25"/>
                  </a:lnTo>
                  <a:lnTo>
                    <a:pt x="22" y="25"/>
                  </a:lnTo>
                  <a:lnTo>
                    <a:pt x="22" y="25"/>
                  </a:lnTo>
                  <a:lnTo>
                    <a:pt x="19" y="27"/>
                  </a:lnTo>
                  <a:lnTo>
                    <a:pt x="19" y="27"/>
                  </a:lnTo>
                  <a:lnTo>
                    <a:pt x="22" y="27"/>
                  </a:lnTo>
                  <a:lnTo>
                    <a:pt x="24" y="25"/>
                  </a:lnTo>
                  <a:lnTo>
                    <a:pt x="24" y="25"/>
                  </a:lnTo>
                  <a:lnTo>
                    <a:pt x="22" y="27"/>
                  </a:lnTo>
                  <a:lnTo>
                    <a:pt x="19" y="29"/>
                  </a:lnTo>
                  <a:lnTo>
                    <a:pt x="22" y="29"/>
                  </a:lnTo>
                  <a:lnTo>
                    <a:pt x="22" y="29"/>
                  </a:lnTo>
                  <a:lnTo>
                    <a:pt x="19" y="29"/>
                  </a:lnTo>
                  <a:lnTo>
                    <a:pt x="19" y="29"/>
                  </a:lnTo>
                  <a:lnTo>
                    <a:pt x="16" y="30"/>
                  </a:lnTo>
                  <a:lnTo>
                    <a:pt x="16" y="30"/>
                  </a:lnTo>
                  <a:lnTo>
                    <a:pt x="16" y="30"/>
                  </a:lnTo>
                  <a:lnTo>
                    <a:pt x="13" y="32"/>
                  </a:lnTo>
                  <a:lnTo>
                    <a:pt x="13" y="30"/>
                  </a:lnTo>
                  <a:lnTo>
                    <a:pt x="13" y="30"/>
                  </a:lnTo>
                  <a:lnTo>
                    <a:pt x="11" y="32"/>
                  </a:lnTo>
                  <a:lnTo>
                    <a:pt x="11" y="33"/>
                  </a:lnTo>
                  <a:lnTo>
                    <a:pt x="11" y="33"/>
                  </a:lnTo>
                  <a:lnTo>
                    <a:pt x="19" y="33"/>
                  </a:lnTo>
                  <a:lnTo>
                    <a:pt x="19" y="33"/>
                  </a:lnTo>
                  <a:lnTo>
                    <a:pt x="22" y="33"/>
                  </a:lnTo>
                  <a:lnTo>
                    <a:pt x="22" y="33"/>
                  </a:lnTo>
                  <a:lnTo>
                    <a:pt x="25" y="32"/>
                  </a:lnTo>
                  <a:lnTo>
                    <a:pt x="27" y="32"/>
                  </a:lnTo>
                  <a:lnTo>
                    <a:pt x="25" y="33"/>
                  </a:lnTo>
                  <a:lnTo>
                    <a:pt x="25" y="33"/>
                  </a:lnTo>
                  <a:lnTo>
                    <a:pt x="27" y="33"/>
                  </a:lnTo>
                  <a:lnTo>
                    <a:pt x="29" y="33"/>
                  </a:lnTo>
                  <a:lnTo>
                    <a:pt x="29" y="33"/>
                  </a:lnTo>
                  <a:lnTo>
                    <a:pt x="30" y="33"/>
                  </a:lnTo>
                  <a:lnTo>
                    <a:pt x="29" y="35"/>
                  </a:lnTo>
                  <a:lnTo>
                    <a:pt x="29" y="35"/>
                  </a:lnTo>
                  <a:lnTo>
                    <a:pt x="32" y="35"/>
                  </a:lnTo>
                  <a:lnTo>
                    <a:pt x="33" y="33"/>
                  </a:lnTo>
                  <a:lnTo>
                    <a:pt x="33" y="35"/>
                  </a:lnTo>
                  <a:lnTo>
                    <a:pt x="33" y="35"/>
                  </a:lnTo>
                  <a:lnTo>
                    <a:pt x="32" y="35"/>
                  </a:lnTo>
                  <a:lnTo>
                    <a:pt x="32" y="35"/>
                  </a:lnTo>
                  <a:lnTo>
                    <a:pt x="33" y="36"/>
                  </a:lnTo>
                  <a:lnTo>
                    <a:pt x="35" y="36"/>
                  </a:lnTo>
                  <a:lnTo>
                    <a:pt x="38" y="36"/>
                  </a:lnTo>
                  <a:lnTo>
                    <a:pt x="38" y="36"/>
                  </a:lnTo>
                  <a:lnTo>
                    <a:pt x="48" y="40"/>
                  </a:lnTo>
                  <a:lnTo>
                    <a:pt x="48" y="40"/>
                  </a:lnTo>
                  <a:lnTo>
                    <a:pt x="52" y="36"/>
                  </a:lnTo>
                  <a:lnTo>
                    <a:pt x="52" y="36"/>
                  </a:lnTo>
                  <a:lnTo>
                    <a:pt x="56" y="36"/>
                  </a:lnTo>
                  <a:lnTo>
                    <a:pt x="56" y="36"/>
                  </a:lnTo>
                  <a:lnTo>
                    <a:pt x="57" y="36"/>
                  </a:lnTo>
                  <a:lnTo>
                    <a:pt x="57" y="35"/>
                  </a:lnTo>
                  <a:lnTo>
                    <a:pt x="57" y="35"/>
                  </a:lnTo>
                  <a:lnTo>
                    <a:pt x="57" y="35"/>
                  </a:lnTo>
                  <a:lnTo>
                    <a:pt x="57" y="35"/>
                  </a:lnTo>
                  <a:lnTo>
                    <a:pt x="62" y="35"/>
                  </a:lnTo>
                  <a:lnTo>
                    <a:pt x="62" y="35"/>
                  </a:lnTo>
                  <a:lnTo>
                    <a:pt x="65" y="33"/>
                  </a:lnTo>
                  <a:lnTo>
                    <a:pt x="67" y="32"/>
                  </a:lnTo>
                  <a:lnTo>
                    <a:pt x="67" y="32"/>
                  </a:lnTo>
                  <a:lnTo>
                    <a:pt x="68" y="33"/>
                  </a:lnTo>
                  <a:lnTo>
                    <a:pt x="68" y="33"/>
                  </a:lnTo>
                  <a:lnTo>
                    <a:pt x="75" y="32"/>
                  </a:lnTo>
                  <a:lnTo>
                    <a:pt x="75" y="32"/>
                  </a:lnTo>
                  <a:lnTo>
                    <a:pt x="83" y="27"/>
                  </a:lnTo>
                  <a:lnTo>
                    <a:pt x="83" y="27"/>
                  </a:lnTo>
                  <a:lnTo>
                    <a:pt x="84" y="27"/>
                  </a:lnTo>
                  <a:lnTo>
                    <a:pt x="87" y="27"/>
                  </a:lnTo>
                  <a:lnTo>
                    <a:pt x="87" y="27"/>
                  </a:lnTo>
                  <a:lnTo>
                    <a:pt x="91" y="25"/>
                  </a:lnTo>
                  <a:lnTo>
                    <a:pt x="92" y="24"/>
                  </a:lnTo>
                  <a:lnTo>
                    <a:pt x="92" y="24"/>
                  </a:lnTo>
                  <a:lnTo>
                    <a:pt x="92" y="24"/>
                  </a:lnTo>
                  <a:lnTo>
                    <a:pt x="94" y="22"/>
                  </a:lnTo>
                  <a:lnTo>
                    <a:pt x="94" y="22"/>
                  </a:lnTo>
                  <a:lnTo>
                    <a:pt x="94" y="22"/>
                  </a:lnTo>
                  <a:lnTo>
                    <a:pt x="94" y="22"/>
                  </a:lnTo>
                  <a:lnTo>
                    <a:pt x="95" y="22"/>
                  </a:lnTo>
                  <a:lnTo>
                    <a:pt x="97" y="22"/>
                  </a:lnTo>
                  <a:lnTo>
                    <a:pt x="100" y="22"/>
                  </a:lnTo>
                  <a:lnTo>
                    <a:pt x="100" y="22"/>
                  </a:lnTo>
                  <a:lnTo>
                    <a:pt x="99" y="19"/>
                  </a:lnTo>
                  <a:lnTo>
                    <a:pt x="100" y="19"/>
                  </a:lnTo>
                  <a:lnTo>
                    <a:pt x="99" y="19"/>
                  </a:lnTo>
                  <a:lnTo>
                    <a:pt x="99" y="19"/>
                  </a:lnTo>
                  <a:lnTo>
                    <a:pt x="102" y="19"/>
                  </a:lnTo>
                  <a:lnTo>
                    <a:pt x="102" y="19"/>
                  </a:lnTo>
                  <a:lnTo>
                    <a:pt x="97" y="19"/>
                  </a:lnTo>
                  <a:lnTo>
                    <a:pt x="97" y="19"/>
                  </a:lnTo>
                  <a:lnTo>
                    <a:pt x="99" y="19"/>
                  </a:lnTo>
                  <a:lnTo>
                    <a:pt x="100" y="19"/>
                  </a:lnTo>
                  <a:lnTo>
                    <a:pt x="102" y="19"/>
                  </a:lnTo>
                  <a:lnTo>
                    <a:pt x="103" y="19"/>
                  </a:lnTo>
                  <a:lnTo>
                    <a:pt x="103" y="19"/>
                  </a:lnTo>
                  <a:lnTo>
                    <a:pt x="103" y="16"/>
                  </a:lnTo>
                  <a:lnTo>
                    <a:pt x="103" y="16"/>
                  </a:lnTo>
                  <a:lnTo>
                    <a:pt x="100" y="16"/>
                  </a:lnTo>
                  <a:lnTo>
                    <a:pt x="100" y="16"/>
                  </a:lnTo>
                  <a:lnTo>
                    <a:pt x="103" y="16"/>
                  </a:lnTo>
                  <a:lnTo>
                    <a:pt x="103" y="16"/>
                  </a:lnTo>
                  <a:lnTo>
                    <a:pt x="100" y="16"/>
                  </a:lnTo>
                  <a:lnTo>
                    <a:pt x="100" y="16"/>
                  </a:lnTo>
                  <a:lnTo>
                    <a:pt x="102" y="14"/>
                  </a:lnTo>
                  <a:lnTo>
                    <a:pt x="103" y="14"/>
                  </a:lnTo>
                  <a:lnTo>
                    <a:pt x="103" y="13"/>
                  </a:lnTo>
                  <a:lnTo>
                    <a:pt x="103" y="13"/>
                  </a:lnTo>
                  <a:lnTo>
                    <a:pt x="102" y="13"/>
                  </a:lnTo>
                  <a:lnTo>
                    <a:pt x="99" y="11"/>
                  </a:lnTo>
                  <a:lnTo>
                    <a:pt x="99" y="11"/>
                  </a:lnTo>
                  <a:lnTo>
                    <a:pt x="97" y="11"/>
                  </a:lnTo>
                  <a:lnTo>
                    <a:pt x="94" y="13"/>
                  </a:lnTo>
                  <a:lnTo>
                    <a:pt x="94" y="13"/>
                  </a:lnTo>
                  <a:lnTo>
                    <a:pt x="97" y="11"/>
                  </a:lnTo>
                  <a:lnTo>
                    <a:pt x="97" y="9"/>
                  </a:lnTo>
                  <a:lnTo>
                    <a:pt x="97" y="9"/>
                  </a:lnTo>
                  <a:lnTo>
                    <a:pt x="92" y="9"/>
                  </a:lnTo>
                  <a:lnTo>
                    <a:pt x="92" y="9"/>
                  </a:lnTo>
                  <a:lnTo>
                    <a:pt x="94" y="8"/>
                  </a:lnTo>
                  <a:lnTo>
                    <a:pt x="95" y="6"/>
                  </a:lnTo>
                  <a:lnTo>
                    <a:pt x="95" y="6"/>
                  </a:lnTo>
                  <a:lnTo>
                    <a:pt x="92" y="5"/>
                  </a:lnTo>
                  <a:lnTo>
                    <a:pt x="91" y="5"/>
                  </a:lnTo>
                  <a:lnTo>
                    <a:pt x="91" y="5"/>
                  </a:lnTo>
                  <a:lnTo>
                    <a:pt x="92" y="3"/>
                  </a:lnTo>
                  <a:lnTo>
                    <a:pt x="92" y="3"/>
                  </a:lnTo>
                  <a:lnTo>
                    <a:pt x="92" y="3"/>
                  </a:lnTo>
                  <a:lnTo>
                    <a:pt x="94" y="2"/>
                  </a:lnTo>
                  <a:lnTo>
                    <a:pt x="97" y="2"/>
                  </a:lnTo>
                  <a:lnTo>
                    <a:pt x="97" y="2"/>
                  </a:lnTo>
                  <a:lnTo>
                    <a:pt x="91" y="2"/>
                  </a:lnTo>
                  <a:lnTo>
                    <a:pt x="89" y="3"/>
                  </a:lnTo>
                  <a:lnTo>
                    <a:pt x="87" y="5"/>
                  </a:lnTo>
                  <a:lnTo>
                    <a:pt x="87" y="5"/>
                  </a:lnTo>
                  <a:lnTo>
                    <a:pt x="86" y="3"/>
                  </a:lnTo>
                  <a:lnTo>
                    <a:pt x="84" y="2"/>
                  </a:lnTo>
                  <a:lnTo>
                    <a:pt x="84" y="2"/>
                  </a:lnTo>
                  <a:lnTo>
                    <a:pt x="84" y="0"/>
                  </a:lnTo>
                  <a:lnTo>
                    <a:pt x="83" y="0"/>
                  </a:lnTo>
                  <a:lnTo>
                    <a:pt x="79" y="0"/>
                  </a:lnTo>
                  <a:lnTo>
                    <a:pt x="79" y="0"/>
                  </a:lnTo>
                  <a:lnTo>
                    <a:pt x="78" y="0"/>
                  </a:lnTo>
                  <a:lnTo>
                    <a:pt x="78" y="0"/>
                  </a:lnTo>
                  <a:lnTo>
                    <a:pt x="78" y="0"/>
                  </a:lnTo>
                  <a:lnTo>
                    <a:pt x="78" y="0"/>
                  </a:lnTo>
                  <a:lnTo>
                    <a:pt x="78" y="3"/>
                  </a:lnTo>
                  <a:lnTo>
                    <a:pt x="78" y="5"/>
                  </a:lnTo>
                  <a:lnTo>
                    <a:pt x="78" y="5"/>
                  </a:lnTo>
                  <a:lnTo>
                    <a:pt x="72" y="3"/>
                  </a:lnTo>
                  <a:lnTo>
                    <a:pt x="72" y="3"/>
                  </a:lnTo>
                  <a:lnTo>
                    <a:pt x="68" y="5"/>
                  </a:lnTo>
                  <a:lnTo>
                    <a:pt x="67" y="8"/>
                  </a:lnTo>
                  <a:lnTo>
                    <a:pt x="67" y="8"/>
                  </a:lnTo>
                  <a:lnTo>
                    <a:pt x="64" y="5"/>
                  </a:lnTo>
                  <a:lnTo>
                    <a:pt x="62" y="3"/>
                  </a:lnTo>
                  <a:lnTo>
                    <a:pt x="60" y="5"/>
                  </a:lnTo>
                  <a:lnTo>
                    <a:pt x="60" y="5"/>
                  </a:lnTo>
                  <a:lnTo>
                    <a:pt x="60" y="6"/>
                  </a:lnTo>
                  <a:lnTo>
                    <a:pt x="60" y="6"/>
                  </a:lnTo>
                  <a:lnTo>
                    <a:pt x="62" y="8"/>
                  </a:lnTo>
                  <a:lnTo>
                    <a:pt x="60" y="11"/>
                  </a:lnTo>
                  <a:lnTo>
                    <a:pt x="60" y="11"/>
                  </a:lnTo>
                  <a:lnTo>
                    <a:pt x="59" y="6"/>
                  </a:lnTo>
                  <a:lnTo>
                    <a:pt x="57" y="5"/>
                  </a:lnTo>
                  <a:lnTo>
                    <a:pt x="54" y="3"/>
                  </a:lnTo>
                  <a:lnTo>
                    <a:pt x="54" y="3"/>
                  </a:lnTo>
                  <a:lnTo>
                    <a:pt x="52" y="5"/>
                  </a:lnTo>
                  <a:lnTo>
                    <a:pt x="52" y="5"/>
                  </a:lnTo>
                  <a:lnTo>
                    <a:pt x="49" y="5"/>
                  </a:lnTo>
                  <a:lnTo>
                    <a:pt x="49" y="5"/>
                  </a:lnTo>
                  <a:lnTo>
                    <a:pt x="48" y="6"/>
                  </a:lnTo>
                  <a:lnTo>
                    <a:pt x="48" y="9"/>
                  </a:lnTo>
                  <a:lnTo>
                    <a:pt x="48" y="9"/>
                  </a:lnTo>
                  <a:lnTo>
                    <a:pt x="48" y="9"/>
                  </a:lnTo>
                  <a:lnTo>
                    <a:pt x="45" y="8"/>
                  </a:lnTo>
                  <a:lnTo>
                    <a:pt x="43" y="5"/>
                  </a:lnTo>
                  <a:lnTo>
                    <a:pt x="43" y="5"/>
                  </a:lnTo>
                  <a:lnTo>
                    <a:pt x="41" y="5"/>
                  </a:lnTo>
                  <a:lnTo>
                    <a:pt x="41" y="5"/>
                  </a:lnTo>
                  <a:lnTo>
                    <a:pt x="40" y="8"/>
                  </a:lnTo>
                  <a:lnTo>
                    <a:pt x="40" y="8"/>
                  </a:lnTo>
                  <a:lnTo>
                    <a:pt x="40" y="11"/>
                  </a:lnTo>
                  <a:lnTo>
                    <a:pt x="40" y="11"/>
                  </a:lnTo>
                  <a:lnTo>
                    <a:pt x="38" y="11"/>
                  </a:lnTo>
                  <a:lnTo>
                    <a:pt x="38" y="11"/>
                  </a:lnTo>
                  <a:lnTo>
                    <a:pt x="38" y="13"/>
                  </a:lnTo>
                  <a:lnTo>
                    <a:pt x="37" y="13"/>
                  </a:lnTo>
                  <a:lnTo>
                    <a:pt x="35" y="11"/>
                  </a:lnTo>
                  <a:lnTo>
                    <a:pt x="35" y="11"/>
                  </a:lnTo>
                  <a:lnTo>
                    <a:pt x="33" y="11"/>
                  </a:lnTo>
                  <a:lnTo>
                    <a:pt x="33" y="13"/>
                  </a:lnTo>
                  <a:lnTo>
                    <a:pt x="32" y="14"/>
                  </a:lnTo>
                  <a:lnTo>
                    <a:pt x="32" y="13"/>
                  </a:lnTo>
                  <a:lnTo>
                    <a:pt x="32" y="13"/>
                  </a:lnTo>
                  <a:lnTo>
                    <a:pt x="30" y="16"/>
                  </a:lnTo>
                  <a:lnTo>
                    <a:pt x="30" y="16"/>
                  </a:lnTo>
                  <a:lnTo>
                    <a:pt x="30" y="14"/>
                  </a:lnTo>
                  <a:lnTo>
                    <a:pt x="29" y="13"/>
                  </a:lnTo>
                  <a:lnTo>
                    <a:pt x="27" y="13"/>
                  </a:lnTo>
                  <a:lnTo>
                    <a:pt x="27" y="13"/>
                  </a:lnTo>
                  <a:lnTo>
                    <a:pt x="29" y="13"/>
                  </a:lnTo>
                  <a:lnTo>
                    <a:pt x="29" y="11"/>
                  </a:lnTo>
                  <a:lnTo>
                    <a:pt x="25" y="9"/>
                  </a:lnTo>
                  <a:lnTo>
                    <a:pt x="25" y="9"/>
                  </a:lnTo>
                  <a:lnTo>
                    <a:pt x="29" y="9"/>
                  </a:lnTo>
                  <a:lnTo>
                    <a:pt x="30" y="9"/>
                  </a:lnTo>
                  <a:lnTo>
                    <a:pt x="30" y="6"/>
                  </a:lnTo>
                  <a:lnTo>
                    <a:pt x="29" y="6"/>
                  </a:lnTo>
                  <a:lnTo>
                    <a:pt x="29" y="6"/>
                  </a:lnTo>
                  <a:lnTo>
                    <a:pt x="30" y="6"/>
                  </a:lnTo>
                  <a:lnTo>
                    <a:pt x="29" y="5"/>
                  </a:lnTo>
                  <a:lnTo>
                    <a:pt x="29" y="5"/>
                  </a:lnTo>
                  <a:lnTo>
                    <a:pt x="27" y="5"/>
                  </a:lnTo>
                  <a:lnTo>
                    <a:pt x="25" y="3"/>
                  </a:lnTo>
                  <a:lnTo>
                    <a:pt x="25" y="3"/>
                  </a:lnTo>
                  <a:lnTo>
                    <a:pt x="24" y="2"/>
                  </a:lnTo>
                  <a:lnTo>
                    <a:pt x="22" y="2"/>
                  </a:lnTo>
                  <a:lnTo>
                    <a:pt x="22" y="2"/>
                  </a:lnTo>
                  <a:lnTo>
                    <a:pt x="19" y="0"/>
                  </a:lnTo>
                  <a:lnTo>
                    <a:pt x="19" y="0"/>
                  </a:lnTo>
                  <a:lnTo>
                    <a:pt x="16" y="0"/>
                  </a:lnTo>
                  <a:lnTo>
                    <a:pt x="16" y="2"/>
                  </a:lnTo>
                  <a:lnTo>
                    <a:pt x="16" y="2"/>
                  </a:lnTo>
                  <a:lnTo>
                    <a:pt x="19" y="3"/>
                  </a:lnTo>
                  <a:lnTo>
                    <a:pt x="22" y="3"/>
                  </a:lnTo>
                  <a:lnTo>
                    <a:pt x="22" y="3"/>
                  </a:lnTo>
                  <a:lnTo>
                    <a:pt x="19" y="3"/>
                  </a:lnTo>
                  <a:lnTo>
                    <a:pt x="16" y="3"/>
                  </a:lnTo>
                  <a:lnTo>
                    <a:pt x="16" y="3"/>
                  </a:lnTo>
                  <a:lnTo>
                    <a:pt x="19" y="5"/>
                  </a:lnTo>
                  <a:lnTo>
                    <a:pt x="19" y="6"/>
                  </a:lnTo>
                  <a:lnTo>
                    <a:pt x="19" y="6"/>
                  </a:lnTo>
                  <a:lnTo>
                    <a:pt x="19" y="8"/>
                  </a:lnTo>
                  <a:lnTo>
                    <a:pt x="19" y="8"/>
                  </a:lnTo>
                  <a:lnTo>
                    <a:pt x="19" y="8"/>
                  </a:lnTo>
                  <a:lnTo>
                    <a:pt x="19" y="6"/>
                  </a:lnTo>
                  <a:lnTo>
                    <a:pt x="19" y="6"/>
                  </a:lnTo>
                  <a:lnTo>
                    <a:pt x="16" y="6"/>
                  </a:lnTo>
                  <a:lnTo>
                    <a:pt x="16" y="6"/>
                  </a:lnTo>
                  <a:lnTo>
                    <a:pt x="16" y="5"/>
                  </a:lnTo>
                  <a:lnTo>
                    <a:pt x="16" y="6"/>
                  </a:lnTo>
                  <a:lnTo>
                    <a:pt x="16" y="5"/>
                  </a:lnTo>
                  <a:lnTo>
                    <a:pt x="16" y="5"/>
                  </a:lnTo>
                  <a:lnTo>
                    <a:pt x="13" y="3"/>
                  </a:lnTo>
                  <a:lnTo>
                    <a:pt x="13" y="3"/>
                  </a:lnTo>
                  <a:lnTo>
                    <a:pt x="11" y="3"/>
                  </a:lnTo>
                  <a:lnTo>
                    <a:pt x="11" y="5"/>
                  </a:lnTo>
                  <a:lnTo>
                    <a:pt x="11" y="5"/>
                  </a:lnTo>
                  <a:lnTo>
                    <a:pt x="11" y="5"/>
                  </a:lnTo>
                  <a:lnTo>
                    <a:pt x="11" y="5"/>
                  </a:lnTo>
                  <a:lnTo>
                    <a:pt x="11" y="6"/>
                  </a:lnTo>
                  <a:lnTo>
                    <a:pt x="11" y="6"/>
                  </a:lnTo>
                  <a:lnTo>
                    <a:pt x="8" y="5"/>
                  </a:lnTo>
                  <a:lnTo>
                    <a:pt x="8" y="5"/>
                  </a:lnTo>
                  <a:lnTo>
                    <a:pt x="8" y="6"/>
                  </a:lnTo>
                  <a:lnTo>
                    <a:pt x="10" y="8"/>
                  </a:lnTo>
                  <a:lnTo>
                    <a:pt x="11" y="8"/>
                  </a:lnTo>
                  <a:lnTo>
                    <a:pt x="11" y="8"/>
                  </a:lnTo>
                  <a:lnTo>
                    <a:pt x="10" y="8"/>
                  </a:lnTo>
                  <a:lnTo>
                    <a:pt x="6" y="8"/>
                  </a:lnTo>
                  <a:lnTo>
                    <a:pt x="6" y="8"/>
                  </a:lnTo>
                  <a:lnTo>
                    <a:pt x="11" y="9"/>
                  </a:lnTo>
                  <a:lnTo>
                    <a:pt x="11" y="9"/>
                  </a:lnTo>
                  <a:lnTo>
                    <a:pt x="10" y="9"/>
                  </a:lnTo>
                  <a:lnTo>
                    <a:pt x="10" y="9"/>
                  </a:lnTo>
                  <a:lnTo>
                    <a:pt x="11" y="11"/>
                  </a:lnTo>
                  <a:lnTo>
                    <a:pt x="11" y="11"/>
                  </a:lnTo>
                  <a:lnTo>
                    <a:pt x="10" y="11"/>
                  </a:lnTo>
                  <a:lnTo>
                    <a:pt x="8" y="9"/>
                  </a:lnTo>
                  <a:lnTo>
                    <a:pt x="5" y="9"/>
                  </a:lnTo>
                  <a:lnTo>
                    <a:pt x="3" y="9"/>
                  </a:lnTo>
                  <a:lnTo>
                    <a:pt x="3" y="9"/>
                  </a:lnTo>
                  <a:lnTo>
                    <a:pt x="5" y="11"/>
                  </a:lnTo>
                  <a:lnTo>
                    <a:pt x="5" y="11"/>
                  </a:lnTo>
                  <a:lnTo>
                    <a:pt x="5" y="11"/>
                  </a:lnTo>
                  <a:lnTo>
                    <a:pt x="5" y="13"/>
                  </a:lnTo>
                  <a:lnTo>
                    <a:pt x="5" y="13"/>
                  </a:lnTo>
                  <a:lnTo>
                    <a:pt x="2" y="11"/>
                  </a:lnTo>
                  <a:lnTo>
                    <a:pt x="0" y="11"/>
                  </a:lnTo>
                  <a:lnTo>
                    <a:pt x="0" y="13"/>
                  </a:lnTo>
                  <a:lnTo>
                    <a:pt x="0" y="13"/>
                  </a:lnTo>
                  <a:lnTo>
                    <a:pt x="2" y="13"/>
                  </a:lnTo>
                  <a:lnTo>
                    <a:pt x="5" y="14"/>
                  </a:lnTo>
                  <a:lnTo>
                    <a:pt x="5" y="14"/>
                  </a:lnTo>
                  <a:lnTo>
                    <a:pt x="5" y="14"/>
                  </a:lnTo>
                  <a:lnTo>
                    <a:pt x="5" y="14"/>
                  </a:lnTo>
                  <a:lnTo>
                    <a:pt x="5" y="14"/>
                  </a:lnTo>
                  <a:lnTo>
                    <a:pt x="5" y="14"/>
                  </a:lnTo>
                  <a:lnTo>
                    <a:pt x="5" y="14"/>
                  </a:lnTo>
                  <a:lnTo>
                    <a:pt x="5" y="14"/>
                  </a:lnTo>
                  <a:lnTo>
                    <a:pt x="5" y="14"/>
                  </a:lnTo>
                  <a:lnTo>
                    <a:pt x="5" y="1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61" name="Freeform 233">
              <a:extLst>
                <a:ext uri="{FF2B5EF4-FFF2-40B4-BE49-F238E27FC236}">
                  <a16:creationId xmlns:a16="http://schemas.microsoft.com/office/drawing/2014/main" id="{9B9EF29A-533A-E7D7-B470-4D476BA665C9}"/>
                </a:ext>
              </a:extLst>
            </p:cNvPr>
            <p:cNvSpPr>
              <a:spLocks noEditPoints="1"/>
            </p:cNvSpPr>
            <p:nvPr/>
          </p:nvSpPr>
          <p:spPr bwMode="auto">
            <a:xfrm>
              <a:off x="1760803" y="1795497"/>
              <a:ext cx="1184341" cy="522636"/>
            </a:xfrm>
            <a:custGeom>
              <a:avLst/>
              <a:gdLst>
                <a:gd name="T0" fmla="*/ 74 w 528"/>
                <a:gd name="T1" fmla="*/ 211 h 233"/>
                <a:gd name="T2" fmla="*/ 435 w 528"/>
                <a:gd name="T3" fmla="*/ 158 h 233"/>
                <a:gd name="T4" fmla="*/ 401 w 528"/>
                <a:gd name="T5" fmla="*/ 157 h 233"/>
                <a:gd name="T6" fmla="*/ 520 w 528"/>
                <a:gd name="T7" fmla="*/ 17 h 233"/>
                <a:gd name="T8" fmla="*/ 457 w 528"/>
                <a:gd name="T9" fmla="*/ 12 h 233"/>
                <a:gd name="T10" fmla="*/ 427 w 528"/>
                <a:gd name="T11" fmla="*/ 3 h 233"/>
                <a:gd name="T12" fmla="*/ 373 w 528"/>
                <a:gd name="T13" fmla="*/ 9 h 233"/>
                <a:gd name="T14" fmla="*/ 273 w 528"/>
                <a:gd name="T15" fmla="*/ 41 h 233"/>
                <a:gd name="T16" fmla="*/ 281 w 528"/>
                <a:gd name="T17" fmla="*/ 60 h 233"/>
                <a:gd name="T18" fmla="*/ 258 w 528"/>
                <a:gd name="T19" fmla="*/ 60 h 233"/>
                <a:gd name="T20" fmla="*/ 219 w 528"/>
                <a:gd name="T21" fmla="*/ 76 h 233"/>
                <a:gd name="T22" fmla="*/ 235 w 528"/>
                <a:gd name="T23" fmla="*/ 82 h 233"/>
                <a:gd name="T24" fmla="*/ 212 w 528"/>
                <a:gd name="T25" fmla="*/ 103 h 233"/>
                <a:gd name="T26" fmla="*/ 168 w 528"/>
                <a:gd name="T27" fmla="*/ 114 h 233"/>
                <a:gd name="T28" fmla="*/ 152 w 528"/>
                <a:gd name="T29" fmla="*/ 131 h 233"/>
                <a:gd name="T30" fmla="*/ 179 w 528"/>
                <a:gd name="T31" fmla="*/ 135 h 233"/>
                <a:gd name="T32" fmla="*/ 150 w 528"/>
                <a:gd name="T33" fmla="*/ 162 h 233"/>
                <a:gd name="T34" fmla="*/ 182 w 528"/>
                <a:gd name="T35" fmla="*/ 158 h 233"/>
                <a:gd name="T36" fmla="*/ 168 w 528"/>
                <a:gd name="T37" fmla="*/ 176 h 233"/>
                <a:gd name="T38" fmla="*/ 109 w 528"/>
                <a:gd name="T39" fmla="*/ 198 h 233"/>
                <a:gd name="T40" fmla="*/ 88 w 528"/>
                <a:gd name="T41" fmla="*/ 208 h 233"/>
                <a:gd name="T42" fmla="*/ 125 w 528"/>
                <a:gd name="T43" fmla="*/ 200 h 233"/>
                <a:gd name="T44" fmla="*/ 155 w 528"/>
                <a:gd name="T45" fmla="*/ 189 h 233"/>
                <a:gd name="T46" fmla="*/ 212 w 528"/>
                <a:gd name="T47" fmla="*/ 169 h 233"/>
                <a:gd name="T48" fmla="*/ 238 w 528"/>
                <a:gd name="T49" fmla="*/ 150 h 233"/>
                <a:gd name="T50" fmla="*/ 290 w 528"/>
                <a:gd name="T51" fmla="*/ 130 h 233"/>
                <a:gd name="T52" fmla="*/ 284 w 528"/>
                <a:gd name="T53" fmla="*/ 138 h 233"/>
                <a:gd name="T54" fmla="*/ 276 w 528"/>
                <a:gd name="T55" fmla="*/ 150 h 233"/>
                <a:gd name="T56" fmla="*/ 309 w 528"/>
                <a:gd name="T57" fmla="*/ 141 h 233"/>
                <a:gd name="T58" fmla="*/ 328 w 528"/>
                <a:gd name="T59" fmla="*/ 130 h 233"/>
                <a:gd name="T60" fmla="*/ 343 w 528"/>
                <a:gd name="T61" fmla="*/ 138 h 233"/>
                <a:gd name="T62" fmla="*/ 392 w 528"/>
                <a:gd name="T63" fmla="*/ 144 h 233"/>
                <a:gd name="T64" fmla="*/ 403 w 528"/>
                <a:gd name="T65" fmla="*/ 166 h 233"/>
                <a:gd name="T66" fmla="*/ 416 w 528"/>
                <a:gd name="T67" fmla="*/ 158 h 233"/>
                <a:gd name="T68" fmla="*/ 427 w 528"/>
                <a:gd name="T69" fmla="*/ 166 h 233"/>
                <a:gd name="T70" fmla="*/ 422 w 528"/>
                <a:gd name="T71" fmla="*/ 179 h 233"/>
                <a:gd name="T72" fmla="*/ 414 w 528"/>
                <a:gd name="T73" fmla="*/ 201 h 233"/>
                <a:gd name="T74" fmla="*/ 416 w 528"/>
                <a:gd name="T75" fmla="*/ 203 h 233"/>
                <a:gd name="T76" fmla="*/ 419 w 528"/>
                <a:gd name="T77" fmla="*/ 212 h 233"/>
                <a:gd name="T78" fmla="*/ 412 w 528"/>
                <a:gd name="T79" fmla="*/ 177 h 233"/>
                <a:gd name="T80" fmla="*/ 416 w 528"/>
                <a:gd name="T81" fmla="*/ 173 h 233"/>
                <a:gd name="T82" fmla="*/ 1 w 528"/>
                <a:gd name="T83" fmla="*/ 233 h 233"/>
                <a:gd name="T84" fmla="*/ 8 w 528"/>
                <a:gd name="T85" fmla="*/ 231 h 233"/>
                <a:gd name="T86" fmla="*/ 35 w 528"/>
                <a:gd name="T87" fmla="*/ 220 h 233"/>
                <a:gd name="T88" fmla="*/ 57 w 528"/>
                <a:gd name="T89" fmla="*/ 212 h 233"/>
                <a:gd name="T90" fmla="*/ 73 w 528"/>
                <a:gd name="T91" fmla="*/ 209 h 233"/>
                <a:gd name="T92" fmla="*/ 122 w 528"/>
                <a:gd name="T93" fmla="*/ 146 h 233"/>
                <a:gd name="T94" fmla="*/ 203 w 528"/>
                <a:gd name="T95" fmla="*/ 184 h 233"/>
                <a:gd name="T96" fmla="*/ 209 w 528"/>
                <a:gd name="T97" fmla="*/ 176 h 233"/>
                <a:gd name="T98" fmla="*/ 222 w 528"/>
                <a:gd name="T99" fmla="*/ 177 h 233"/>
                <a:gd name="T100" fmla="*/ 149 w 528"/>
                <a:gd name="T101" fmla="*/ 103 h 233"/>
                <a:gd name="T102" fmla="*/ 147 w 528"/>
                <a:gd name="T103" fmla="*/ 103 h 233"/>
                <a:gd name="T104" fmla="*/ 404 w 528"/>
                <a:gd name="T105" fmla="*/ 176 h 233"/>
                <a:gd name="T106" fmla="*/ 393 w 528"/>
                <a:gd name="T107" fmla="*/ 195 h 233"/>
                <a:gd name="T108" fmla="*/ 412 w 528"/>
                <a:gd name="T109" fmla="*/ 169 h 233"/>
                <a:gd name="T110" fmla="*/ 397 w 528"/>
                <a:gd name="T111" fmla="*/ 173 h 233"/>
                <a:gd name="T112" fmla="*/ 409 w 528"/>
                <a:gd name="T113" fmla="*/ 190 h 233"/>
                <a:gd name="T114" fmla="*/ 409 w 528"/>
                <a:gd name="T115" fmla="*/ 189 h 233"/>
                <a:gd name="T116" fmla="*/ 404 w 528"/>
                <a:gd name="T117" fmla="*/ 200 h 233"/>
                <a:gd name="T118" fmla="*/ 401 w 528"/>
                <a:gd name="T119" fmla="*/ 212 h 233"/>
                <a:gd name="T120" fmla="*/ 411 w 528"/>
                <a:gd name="T121"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233">
                  <a:moveTo>
                    <a:pt x="209" y="69"/>
                  </a:moveTo>
                  <a:lnTo>
                    <a:pt x="206" y="71"/>
                  </a:lnTo>
                  <a:lnTo>
                    <a:pt x="209" y="69"/>
                  </a:lnTo>
                  <a:lnTo>
                    <a:pt x="209" y="69"/>
                  </a:lnTo>
                  <a:lnTo>
                    <a:pt x="209" y="69"/>
                  </a:lnTo>
                  <a:lnTo>
                    <a:pt x="209" y="69"/>
                  </a:lnTo>
                  <a:lnTo>
                    <a:pt x="209" y="69"/>
                  </a:lnTo>
                  <a:lnTo>
                    <a:pt x="209" y="69"/>
                  </a:lnTo>
                  <a:lnTo>
                    <a:pt x="209" y="69"/>
                  </a:lnTo>
                  <a:lnTo>
                    <a:pt x="209" y="69"/>
                  </a:lnTo>
                  <a:lnTo>
                    <a:pt x="209" y="69"/>
                  </a:lnTo>
                  <a:lnTo>
                    <a:pt x="209" y="69"/>
                  </a:lnTo>
                  <a:close/>
                  <a:moveTo>
                    <a:pt x="74" y="211"/>
                  </a:moveTo>
                  <a:lnTo>
                    <a:pt x="77" y="209"/>
                  </a:lnTo>
                  <a:lnTo>
                    <a:pt x="73" y="212"/>
                  </a:lnTo>
                  <a:lnTo>
                    <a:pt x="74" y="211"/>
                  </a:lnTo>
                  <a:lnTo>
                    <a:pt x="74" y="211"/>
                  </a:lnTo>
                  <a:lnTo>
                    <a:pt x="74" y="211"/>
                  </a:lnTo>
                  <a:lnTo>
                    <a:pt x="74" y="211"/>
                  </a:lnTo>
                  <a:lnTo>
                    <a:pt x="74" y="211"/>
                  </a:lnTo>
                  <a:lnTo>
                    <a:pt x="74" y="211"/>
                  </a:lnTo>
                  <a:lnTo>
                    <a:pt x="74" y="211"/>
                  </a:lnTo>
                  <a:lnTo>
                    <a:pt x="74" y="211"/>
                  </a:lnTo>
                  <a:lnTo>
                    <a:pt x="74" y="211"/>
                  </a:lnTo>
                  <a:close/>
                  <a:moveTo>
                    <a:pt x="436" y="192"/>
                  </a:moveTo>
                  <a:lnTo>
                    <a:pt x="433" y="190"/>
                  </a:lnTo>
                  <a:lnTo>
                    <a:pt x="431" y="189"/>
                  </a:lnTo>
                  <a:lnTo>
                    <a:pt x="430" y="189"/>
                  </a:lnTo>
                  <a:lnTo>
                    <a:pt x="430" y="185"/>
                  </a:lnTo>
                  <a:lnTo>
                    <a:pt x="431" y="182"/>
                  </a:lnTo>
                  <a:lnTo>
                    <a:pt x="431" y="181"/>
                  </a:lnTo>
                  <a:lnTo>
                    <a:pt x="433" y="179"/>
                  </a:lnTo>
                  <a:lnTo>
                    <a:pt x="433" y="177"/>
                  </a:lnTo>
                  <a:lnTo>
                    <a:pt x="433" y="176"/>
                  </a:lnTo>
                  <a:lnTo>
                    <a:pt x="435" y="166"/>
                  </a:lnTo>
                  <a:lnTo>
                    <a:pt x="436" y="163"/>
                  </a:lnTo>
                  <a:lnTo>
                    <a:pt x="436" y="162"/>
                  </a:lnTo>
                  <a:lnTo>
                    <a:pt x="435" y="158"/>
                  </a:lnTo>
                  <a:lnTo>
                    <a:pt x="435" y="157"/>
                  </a:lnTo>
                  <a:lnTo>
                    <a:pt x="435" y="155"/>
                  </a:lnTo>
                  <a:lnTo>
                    <a:pt x="435" y="154"/>
                  </a:lnTo>
                  <a:lnTo>
                    <a:pt x="433" y="152"/>
                  </a:lnTo>
                  <a:lnTo>
                    <a:pt x="433" y="150"/>
                  </a:lnTo>
                  <a:lnTo>
                    <a:pt x="435" y="149"/>
                  </a:lnTo>
                  <a:lnTo>
                    <a:pt x="436" y="147"/>
                  </a:lnTo>
                  <a:lnTo>
                    <a:pt x="435" y="146"/>
                  </a:lnTo>
                  <a:lnTo>
                    <a:pt x="430" y="146"/>
                  </a:lnTo>
                  <a:lnTo>
                    <a:pt x="428" y="147"/>
                  </a:lnTo>
                  <a:lnTo>
                    <a:pt x="427" y="147"/>
                  </a:lnTo>
                  <a:lnTo>
                    <a:pt x="425" y="147"/>
                  </a:lnTo>
                  <a:lnTo>
                    <a:pt x="422" y="147"/>
                  </a:lnTo>
                  <a:lnTo>
                    <a:pt x="422" y="150"/>
                  </a:lnTo>
                  <a:lnTo>
                    <a:pt x="419" y="150"/>
                  </a:lnTo>
                  <a:lnTo>
                    <a:pt x="419" y="150"/>
                  </a:lnTo>
                  <a:lnTo>
                    <a:pt x="417" y="152"/>
                  </a:lnTo>
                  <a:lnTo>
                    <a:pt x="416" y="154"/>
                  </a:lnTo>
                  <a:lnTo>
                    <a:pt x="401" y="157"/>
                  </a:lnTo>
                  <a:lnTo>
                    <a:pt x="404" y="155"/>
                  </a:lnTo>
                  <a:lnTo>
                    <a:pt x="404" y="152"/>
                  </a:lnTo>
                  <a:lnTo>
                    <a:pt x="403" y="149"/>
                  </a:lnTo>
                  <a:lnTo>
                    <a:pt x="403" y="146"/>
                  </a:lnTo>
                  <a:lnTo>
                    <a:pt x="401" y="142"/>
                  </a:lnTo>
                  <a:lnTo>
                    <a:pt x="401" y="141"/>
                  </a:lnTo>
                  <a:lnTo>
                    <a:pt x="403" y="141"/>
                  </a:lnTo>
                  <a:lnTo>
                    <a:pt x="406" y="138"/>
                  </a:lnTo>
                  <a:lnTo>
                    <a:pt x="400" y="138"/>
                  </a:lnTo>
                  <a:lnTo>
                    <a:pt x="397" y="141"/>
                  </a:lnTo>
                  <a:lnTo>
                    <a:pt x="393" y="141"/>
                  </a:lnTo>
                  <a:lnTo>
                    <a:pt x="392" y="141"/>
                  </a:lnTo>
                  <a:lnTo>
                    <a:pt x="390" y="141"/>
                  </a:lnTo>
                  <a:lnTo>
                    <a:pt x="387" y="138"/>
                  </a:lnTo>
                  <a:lnTo>
                    <a:pt x="528" y="20"/>
                  </a:lnTo>
                  <a:lnTo>
                    <a:pt x="527" y="20"/>
                  </a:lnTo>
                  <a:lnTo>
                    <a:pt x="525" y="20"/>
                  </a:lnTo>
                  <a:lnTo>
                    <a:pt x="522" y="19"/>
                  </a:lnTo>
                  <a:lnTo>
                    <a:pt x="520" y="17"/>
                  </a:lnTo>
                  <a:lnTo>
                    <a:pt x="517" y="15"/>
                  </a:lnTo>
                  <a:lnTo>
                    <a:pt x="512" y="15"/>
                  </a:lnTo>
                  <a:lnTo>
                    <a:pt x="509" y="15"/>
                  </a:lnTo>
                  <a:lnTo>
                    <a:pt x="506" y="15"/>
                  </a:lnTo>
                  <a:lnTo>
                    <a:pt x="506" y="15"/>
                  </a:lnTo>
                  <a:lnTo>
                    <a:pt x="503" y="15"/>
                  </a:lnTo>
                  <a:lnTo>
                    <a:pt x="497" y="15"/>
                  </a:lnTo>
                  <a:lnTo>
                    <a:pt x="495" y="15"/>
                  </a:lnTo>
                  <a:lnTo>
                    <a:pt x="493" y="15"/>
                  </a:lnTo>
                  <a:lnTo>
                    <a:pt x="492" y="15"/>
                  </a:lnTo>
                  <a:lnTo>
                    <a:pt x="489" y="15"/>
                  </a:lnTo>
                  <a:lnTo>
                    <a:pt x="482" y="15"/>
                  </a:lnTo>
                  <a:lnTo>
                    <a:pt x="481" y="15"/>
                  </a:lnTo>
                  <a:lnTo>
                    <a:pt x="477" y="12"/>
                  </a:lnTo>
                  <a:lnTo>
                    <a:pt x="474" y="12"/>
                  </a:lnTo>
                  <a:lnTo>
                    <a:pt x="473" y="12"/>
                  </a:lnTo>
                  <a:lnTo>
                    <a:pt x="468" y="9"/>
                  </a:lnTo>
                  <a:lnTo>
                    <a:pt x="462" y="9"/>
                  </a:lnTo>
                  <a:lnTo>
                    <a:pt x="457" y="12"/>
                  </a:lnTo>
                  <a:lnTo>
                    <a:pt x="457" y="9"/>
                  </a:lnTo>
                  <a:lnTo>
                    <a:pt x="454" y="9"/>
                  </a:lnTo>
                  <a:lnTo>
                    <a:pt x="450" y="12"/>
                  </a:lnTo>
                  <a:lnTo>
                    <a:pt x="447" y="12"/>
                  </a:lnTo>
                  <a:lnTo>
                    <a:pt x="444" y="9"/>
                  </a:lnTo>
                  <a:lnTo>
                    <a:pt x="441" y="9"/>
                  </a:lnTo>
                  <a:lnTo>
                    <a:pt x="444" y="6"/>
                  </a:lnTo>
                  <a:lnTo>
                    <a:pt x="447" y="6"/>
                  </a:lnTo>
                  <a:lnTo>
                    <a:pt x="441" y="6"/>
                  </a:lnTo>
                  <a:lnTo>
                    <a:pt x="433" y="6"/>
                  </a:lnTo>
                  <a:lnTo>
                    <a:pt x="428" y="6"/>
                  </a:lnTo>
                  <a:lnTo>
                    <a:pt x="427" y="6"/>
                  </a:lnTo>
                  <a:lnTo>
                    <a:pt x="425" y="6"/>
                  </a:lnTo>
                  <a:lnTo>
                    <a:pt x="427" y="6"/>
                  </a:lnTo>
                  <a:lnTo>
                    <a:pt x="428" y="6"/>
                  </a:lnTo>
                  <a:lnTo>
                    <a:pt x="428" y="4"/>
                  </a:lnTo>
                  <a:lnTo>
                    <a:pt x="427" y="4"/>
                  </a:lnTo>
                  <a:lnTo>
                    <a:pt x="425" y="4"/>
                  </a:lnTo>
                  <a:lnTo>
                    <a:pt x="427" y="3"/>
                  </a:lnTo>
                  <a:lnTo>
                    <a:pt x="425" y="3"/>
                  </a:lnTo>
                  <a:lnTo>
                    <a:pt x="425" y="4"/>
                  </a:lnTo>
                  <a:lnTo>
                    <a:pt x="419" y="6"/>
                  </a:lnTo>
                  <a:lnTo>
                    <a:pt x="414" y="6"/>
                  </a:lnTo>
                  <a:lnTo>
                    <a:pt x="414" y="6"/>
                  </a:lnTo>
                  <a:lnTo>
                    <a:pt x="419" y="6"/>
                  </a:lnTo>
                  <a:lnTo>
                    <a:pt x="422" y="4"/>
                  </a:lnTo>
                  <a:lnTo>
                    <a:pt x="422" y="3"/>
                  </a:lnTo>
                  <a:lnTo>
                    <a:pt x="419" y="1"/>
                  </a:lnTo>
                  <a:lnTo>
                    <a:pt x="416" y="1"/>
                  </a:lnTo>
                  <a:lnTo>
                    <a:pt x="419" y="0"/>
                  </a:lnTo>
                  <a:lnTo>
                    <a:pt x="400" y="6"/>
                  </a:lnTo>
                  <a:lnTo>
                    <a:pt x="390" y="6"/>
                  </a:lnTo>
                  <a:lnTo>
                    <a:pt x="387" y="6"/>
                  </a:lnTo>
                  <a:lnTo>
                    <a:pt x="381" y="6"/>
                  </a:lnTo>
                  <a:lnTo>
                    <a:pt x="384" y="6"/>
                  </a:lnTo>
                  <a:lnTo>
                    <a:pt x="377" y="6"/>
                  </a:lnTo>
                  <a:lnTo>
                    <a:pt x="371" y="9"/>
                  </a:lnTo>
                  <a:lnTo>
                    <a:pt x="373" y="9"/>
                  </a:lnTo>
                  <a:lnTo>
                    <a:pt x="373" y="9"/>
                  </a:lnTo>
                  <a:lnTo>
                    <a:pt x="366" y="9"/>
                  </a:lnTo>
                  <a:lnTo>
                    <a:pt x="360" y="12"/>
                  </a:lnTo>
                  <a:lnTo>
                    <a:pt x="347" y="15"/>
                  </a:lnTo>
                  <a:lnTo>
                    <a:pt x="350" y="12"/>
                  </a:lnTo>
                  <a:lnTo>
                    <a:pt x="341" y="15"/>
                  </a:lnTo>
                  <a:lnTo>
                    <a:pt x="335" y="19"/>
                  </a:lnTo>
                  <a:lnTo>
                    <a:pt x="325" y="22"/>
                  </a:lnTo>
                  <a:lnTo>
                    <a:pt x="319" y="25"/>
                  </a:lnTo>
                  <a:lnTo>
                    <a:pt x="322" y="23"/>
                  </a:lnTo>
                  <a:lnTo>
                    <a:pt x="308" y="28"/>
                  </a:lnTo>
                  <a:lnTo>
                    <a:pt x="293" y="30"/>
                  </a:lnTo>
                  <a:lnTo>
                    <a:pt x="287" y="30"/>
                  </a:lnTo>
                  <a:lnTo>
                    <a:pt x="281" y="33"/>
                  </a:lnTo>
                  <a:lnTo>
                    <a:pt x="274" y="36"/>
                  </a:lnTo>
                  <a:lnTo>
                    <a:pt x="268" y="38"/>
                  </a:lnTo>
                  <a:lnTo>
                    <a:pt x="271" y="38"/>
                  </a:lnTo>
                  <a:lnTo>
                    <a:pt x="271" y="39"/>
                  </a:lnTo>
                  <a:lnTo>
                    <a:pt x="273" y="41"/>
                  </a:lnTo>
                  <a:lnTo>
                    <a:pt x="274" y="41"/>
                  </a:lnTo>
                  <a:lnTo>
                    <a:pt x="277" y="41"/>
                  </a:lnTo>
                  <a:lnTo>
                    <a:pt x="277" y="44"/>
                  </a:lnTo>
                  <a:lnTo>
                    <a:pt x="279" y="47"/>
                  </a:lnTo>
                  <a:lnTo>
                    <a:pt x="277" y="47"/>
                  </a:lnTo>
                  <a:lnTo>
                    <a:pt x="276" y="50"/>
                  </a:lnTo>
                  <a:lnTo>
                    <a:pt x="274" y="52"/>
                  </a:lnTo>
                  <a:lnTo>
                    <a:pt x="277" y="52"/>
                  </a:lnTo>
                  <a:lnTo>
                    <a:pt x="281" y="52"/>
                  </a:lnTo>
                  <a:lnTo>
                    <a:pt x="284" y="52"/>
                  </a:lnTo>
                  <a:lnTo>
                    <a:pt x="285" y="52"/>
                  </a:lnTo>
                  <a:lnTo>
                    <a:pt x="284" y="54"/>
                  </a:lnTo>
                  <a:lnTo>
                    <a:pt x="282" y="54"/>
                  </a:lnTo>
                  <a:lnTo>
                    <a:pt x="281" y="55"/>
                  </a:lnTo>
                  <a:lnTo>
                    <a:pt x="281" y="57"/>
                  </a:lnTo>
                  <a:lnTo>
                    <a:pt x="281" y="58"/>
                  </a:lnTo>
                  <a:lnTo>
                    <a:pt x="279" y="60"/>
                  </a:lnTo>
                  <a:lnTo>
                    <a:pt x="277" y="62"/>
                  </a:lnTo>
                  <a:lnTo>
                    <a:pt x="281" y="60"/>
                  </a:lnTo>
                  <a:lnTo>
                    <a:pt x="285" y="62"/>
                  </a:lnTo>
                  <a:lnTo>
                    <a:pt x="284" y="63"/>
                  </a:lnTo>
                  <a:lnTo>
                    <a:pt x="281" y="65"/>
                  </a:lnTo>
                  <a:lnTo>
                    <a:pt x="282" y="63"/>
                  </a:lnTo>
                  <a:lnTo>
                    <a:pt x="281" y="63"/>
                  </a:lnTo>
                  <a:lnTo>
                    <a:pt x="277" y="63"/>
                  </a:lnTo>
                  <a:lnTo>
                    <a:pt x="274" y="65"/>
                  </a:lnTo>
                  <a:lnTo>
                    <a:pt x="268" y="65"/>
                  </a:lnTo>
                  <a:lnTo>
                    <a:pt x="266" y="65"/>
                  </a:lnTo>
                  <a:lnTo>
                    <a:pt x="265" y="66"/>
                  </a:lnTo>
                  <a:lnTo>
                    <a:pt x="265" y="65"/>
                  </a:lnTo>
                  <a:lnTo>
                    <a:pt x="265" y="65"/>
                  </a:lnTo>
                  <a:lnTo>
                    <a:pt x="262" y="65"/>
                  </a:lnTo>
                  <a:lnTo>
                    <a:pt x="258" y="65"/>
                  </a:lnTo>
                  <a:lnTo>
                    <a:pt x="255" y="65"/>
                  </a:lnTo>
                  <a:lnTo>
                    <a:pt x="255" y="65"/>
                  </a:lnTo>
                  <a:lnTo>
                    <a:pt x="255" y="63"/>
                  </a:lnTo>
                  <a:lnTo>
                    <a:pt x="254" y="63"/>
                  </a:lnTo>
                  <a:lnTo>
                    <a:pt x="258" y="60"/>
                  </a:lnTo>
                  <a:lnTo>
                    <a:pt x="262" y="58"/>
                  </a:lnTo>
                  <a:lnTo>
                    <a:pt x="262" y="58"/>
                  </a:lnTo>
                  <a:lnTo>
                    <a:pt x="255" y="58"/>
                  </a:lnTo>
                  <a:lnTo>
                    <a:pt x="249" y="60"/>
                  </a:lnTo>
                  <a:lnTo>
                    <a:pt x="242" y="62"/>
                  </a:lnTo>
                  <a:lnTo>
                    <a:pt x="239" y="62"/>
                  </a:lnTo>
                  <a:lnTo>
                    <a:pt x="238" y="63"/>
                  </a:lnTo>
                  <a:lnTo>
                    <a:pt x="239" y="65"/>
                  </a:lnTo>
                  <a:lnTo>
                    <a:pt x="231" y="65"/>
                  </a:lnTo>
                  <a:lnTo>
                    <a:pt x="227" y="65"/>
                  </a:lnTo>
                  <a:lnTo>
                    <a:pt x="223" y="66"/>
                  </a:lnTo>
                  <a:lnTo>
                    <a:pt x="219" y="68"/>
                  </a:lnTo>
                  <a:lnTo>
                    <a:pt x="216" y="68"/>
                  </a:lnTo>
                  <a:lnTo>
                    <a:pt x="211" y="69"/>
                  </a:lnTo>
                  <a:lnTo>
                    <a:pt x="206" y="71"/>
                  </a:lnTo>
                  <a:lnTo>
                    <a:pt x="209" y="74"/>
                  </a:lnTo>
                  <a:lnTo>
                    <a:pt x="214" y="74"/>
                  </a:lnTo>
                  <a:lnTo>
                    <a:pt x="216" y="74"/>
                  </a:lnTo>
                  <a:lnTo>
                    <a:pt x="219" y="76"/>
                  </a:lnTo>
                  <a:lnTo>
                    <a:pt x="216" y="76"/>
                  </a:lnTo>
                  <a:lnTo>
                    <a:pt x="212" y="76"/>
                  </a:lnTo>
                  <a:lnTo>
                    <a:pt x="211" y="76"/>
                  </a:lnTo>
                  <a:lnTo>
                    <a:pt x="209" y="76"/>
                  </a:lnTo>
                  <a:lnTo>
                    <a:pt x="209" y="79"/>
                  </a:lnTo>
                  <a:lnTo>
                    <a:pt x="209" y="79"/>
                  </a:lnTo>
                  <a:lnTo>
                    <a:pt x="206" y="82"/>
                  </a:lnTo>
                  <a:lnTo>
                    <a:pt x="206" y="82"/>
                  </a:lnTo>
                  <a:lnTo>
                    <a:pt x="206" y="82"/>
                  </a:lnTo>
                  <a:lnTo>
                    <a:pt x="206" y="84"/>
                  </a:lnTo>
                  <a:lnTo>
                    <a:pt x="211" y="84"/>
                  </a:lnTo>
                  <a:lnTo>
                    <a:pt x="217" y="84"/>
                  </a:lnTo>
                  <a:lnTo>
                    <a:pt x="223" y="84"/>
                  </a:lnTo>
                  <a:lnTo>
                    <a:pt x="230" y="84"/>
                  </a:lnTo>
                  <a:lnTo>
                    <a:pt x="231" y="85"/>
                  </a:lnTo>
                  <a:lnTo>
                    <a:pt x="231" y="85"/>
                  </a:lnTo>
                  <a:lnTo>
                    <a:pt x="233" y="84"/>
                  </a:lnTo>
                  <a:lnTo>
                    <a:pt x="231" y="84"/>
                  </a:lnTo>
                  <a:lnTo>
                    <a:pt x="235" y="82"/>
                  </a:lnTo>
                  <a:lnTo>
                    <a:pt x="235" y="84"/>
                  </a:lnTo>
                  <a:lnTo>
                    <a:pt x="233" y="87"/>
                  </a:lnTo>
                  <a:lnTo>
                    <a:pt x="242" y="82"/>
                  </a:lnTo>
                  <a:lnTo>
                    <a:pt x="247" y="82"/>
                  </a:lnTo>
                  <a:lnTo>
                    <a:pt x="250" y="82"/>
                  </a:lnTo>
                  <a:lnTo>
                    <a:pt x="252" y="82"/>
                  </a:lnTo>
                  <a:lnTo>
                    <a:pt x="255" y="82"/>
                  </a:lnTo>
                  <a:lnTo>
                    <a:pt x="260" y="81"/>
                  </a:lnTo>
                  <a:lnTo>
                    <a:pt x="262" y="82"/>
                  </a:lnTo>
                  <a:lnTo>
                    <a:pt x="258" y="82"/>
                  </a:lnTo>
                  <a:lnTo>
                    <a:pt x="255" y="84"/>
                  </a:lnTo>
                  <a:lnTo>
                    <a:pt x="247" y="85"/>
                  </a:lnTo>
                  <a:lnTo>
                    <a:pt x="249" y="85"/>
                  </a:lnTo>
                  <a:lnTo>
                    <a:pt x="249" y="87"/>
                  </a:lnTo>
                  <a:lnTo>
                    <a:pt x="247" y="90"/>
                  </a:lnTo>
                  <a:lnTo>
                    <a:pt x="241" y="95"/>
                  </a:lnTo>
                  <a:lnTo>
                    <a:pt x="233" y="96"/>
                  </a:lnTo>
                  <a:lnTo>
                    <a:pt x="225" y="96"/>
                  </a:lnTo>
                  <a:lnTo>
                    <a:pt x="212" y="103"/>
                  </a:lnTo>
                  <a:lnTo>
                    <a:pt x="206" y="103"/>
                  </a:lnTo>
                  <a:lnTo>
                    <a:pt x="204" y="103"/>
                  </a:lnTo>
                  <a:lnTo>
                    <a:pt x="206" y="103"/>
                  </a:lnTo>
                  <a:lnTo>
                    <a:pt x="206" y="100"/>
                  </a:lnTo>
                  <a:lnTo>
                    <a:pt x="203" y="100"/>
                  </a:lnTo>
                  <a:lnTo>
                    <a:pt x="198" y="100"/>
                  </a:lnTo>
                  <a:lnTo>
                    <a:pt x="196" y="103"/>
                  </a:lnTo>
                  <a:lnTo>
                    <a:pt x="196" y="103"/>
                  </a:lnTo>
                  <a:lnTo>
                    <a:pt x="193" y="103"/>
                  </a:lnTo>
                  <a:lnTo>
                    <a:pt x="190" y="106"/>
                  </a:lnTo>
                  <a:lnTo>
                    <a:pt x="184" y="108"/>
                  </a:lnTo>
                  <a:lnTo>
                    <a:pt x="190" y="106"/>
                  </a:lnTo>
                  <a:lnTo>
                    <a:pt x="185" y="108"/>
                  </a:lnTo>
                  <a:lnTo>
                    <a:pt x="182" y="109"/>
                  </a:lnTo>
                  <a:lnTo>
                    <a:pt x="184" y="111"/>
                  </a:lnTo>
                  <a:lnTo>
                    <a:pt x="182" y="111"/>
                  </a:lnTo>
                  <a:lnTo>
                    <a:pt x="181" y="109"/>
                  </a:lnTo>
                  <a:lnTo>
                    <a:pt x="177" y="111"/>
                  </a:lnTo>
                  <a:lnTo>
                    <a:pt x="168" y="114"/>
                  </a:lnTo>
                  <a:lnTo>
                    <a:pt x="165" y="117"/>
                  </a:lnTo>
                  <a:lnTo>
                    <a:pt x="160" y="119"/>
                  </a:lnTo>
                  <a:lnTo>
                    <a:pt x="158" y="120"/>
                  </a:lnTo>
                  <a:lnTo>
                    <a:pt x="157" y="120"/>
                  </a:lnTo>
                  <a:lnTo>
                    <a:pt x="155" y="120"/>
                  </a:lnTo>
                  <a:lnTo>
                    <a:pt x="154" y="122"/>
                  </a:lnTo>
                  <a:lnTo>
                    <a:pt x="152" y="123"/>
                  </a:lnTo>
                  <a:lnTo>
                    <a:pt x="155" y="123"/>
                  </a:lnTo>
                  <a:lnTo>
                    <a:pt x="152" y="125"/>
                  </a:lnTo>
                  <a:lnTo>
                    <a:pt x="150" y="127"/>
                  </a:lnTo>
                  <a:lnTo>
                    <a:pt x="150" y="128"/>
                  </a:lnTo>
                  <a:lnTo>
                    <a:pt x="150" y="130"/>
                  </a:lnTo>
                  <a:lnTo>
                    <a:pt x="152" y="128"/>
                  </a:lnTo>
                  <a:lnTo>
                    <a:pt x="155" y="128"/>
                  </a:lnTo>
                  <a:lnTo>
                    <a:pt x="157" y="127"/>
                  </a:lnTo>
                  <a:lnTo>
                    <a:pt x="155" y="130"/>
                  </a:lnTo>
                  <a:lnTo>
                    <a:pt x="152" y="131"/>
                  </a:lnTo>
                  <a:lnTo>
                    <a:pt x="154" y="131"/>
                  </a:lnTo>
                  <a:lnTo>
                    <a:pt x="152" y="131"/>
                  </a:lnTo>
                  <a:lnTo>
                    <a:pt x="150" y="135"/>
                  </a:lnTo>
                  <a:lnTo>
                    <a:pt x="146" y="135"/>
                  </a:lnTo>
                  <a:lnTo>
                    <a:pt x="142" y="138"/>
                  </a:lnTo>
                  <a:lnTo>
                    <a:pt x="144" y="138"/>
                  </a:lnTo>
                  <a:lnTo>
                    <a:pt x="142" y="138"/>
                  </a:lnTo>
                  <a:lnTo>
                    <a:pt x="144" y="138"/>
                  </a:lnTo>
                  <a:lnTo>
                    <a:pt x="146" y="138"/>
                  </a:lnTo>
                  <a:lnTo>
                    <a:pt x="144" y="141"/>
                  </a:lnTo>
                  <a:lnTo>
                    <a:pt x="146" y="141"/>
                  </a:lnTo>
                  <a:lnTo>
                    <a:pt x="146" y="142"/>
                  </a:lnTo>
                  <a:lnTo>
                    <a:pt x="144" y="142"/>
                  </a:lnTo>
                  <a:lnTo>
                    <a:pt x="142" y="144"/>
                  </a:lnTo>
                  <a:lnTo>
                    <a:pt x="157" y="144"/>
                  </a:lnTo>
                  <a:lnTo>
                    <a:pt x="163" y="142"/>
                  </a:lnTo>
                  <a:lnTo>
                    <a:pt x="165" y="141"/>
                  </a:lnTo>
                  <a:lnTo>
                    <a:pt x="165" y="141"/>
                  </a:lnTo>
                  <a:lnTo>
                    <a:pt x="171" y="138"/>
                  </a:lnTo>
                  <a:lnTo>
                    <a:pt x="177" y="135"/>
                  </a:lnTo>
                  <a:lnTo>
                    <a:pt x="179" y="135"/>
                  </a:lnTo>
                  <a:lnTo>
                    <a:pt x="181" y="135"/>
                  </a:lnTo>
                  <a:lnTo>
                    <a:pt x="174" y="138"/>
                  </a:lnTo>
                  <a:lnTo>
                    <a:pt x="171" y="138"/>
                  </a:lnTo>
                  <a:lnTo>
                    <a:pt x="168" y="141"/>
                  </a:lnTo>
                  <a:lnTo>
                    <a:pt x="168" y="141"/>
                  </a:lnTo>
                  <a:lnTo>
                    <a:pt x="165" y="144"/>
                  </a:lnTo>
                  <a:lnTo>
                    <a:pt x="165" y="147"/>
                  </a:lnTo>
                  <a:lnTo>
                    <a:pt x="163" y="149"/>
                  </a:lnTo>
                  <a:lnTo>
                    <a:pt x="158" y="152"/>
                  </a:lnTo>
                  <a:lnTo>
                    <a:pt x="155" y="152"/>
                  </a:lnTo>
                  <a:lnTo>
                    <a:pt x="154" y="155"/>
                  </a:lnTo>
                  <a:lnTo>
                    <a:pt x="158" y="155"/>
                  </a:lnTo>
                  <a:lnTo>
                    <a:pt x="154" y="157"/>
                  </a:lnTo>
                  <a:lnTo>
                    <a:pt x="152" y="158"/>
                  </a:lnTo>
                  <a:lnTo>
                    <a:pt x="150" y="160"/>
                  </a:lnTo>
                  <a:lnTo>
                    <a:pt x="147" y="160"/>
                  </a:lnTo>
                  <a:lnTo>
                    <a:pt x="144" y="162"/>
                  </a:lnTo>
                  <a:lnTo>
                    <a:pt x="147" y="162"/>
                  </a:lnTo>
                  <a:lnTo>
                    <a:pt x="150" y="162"/>
                  </a:lnTo>
                  <a:lnTo>
                    <a:pt x="157" y="160"/>
                  </a:lnTo>
                  <a:lnTo>
                    <a:pt x="163" y="157"/>
                  </a:lnTo>
                  <a:lnTo>
                    <a:pt x="165" y="155"/>
                  </a:lnTo>
                  <a:lnTo>
                    <a:pt x="168" y="157"/>
                  </a:lnTo>
                  <a:lnTo>
                    <a:pt x="168" y="157"/>
                  </a:lnTo>
                  <a:lnTo>
                    <a:pt x="168" y="158"/>
                  </a:lnTo>
                  <a:lnTo>
                    <a:pt x="171" y="158"/>
                  </a:lnTo>
                  <a:lnTo>
                    <a:pt x="168" y="160"/>
                  </a:lnTo>
                  <a:lnTo>
                    <a:pt x="171" y="158"/>
                  </a:lnTo>
                  <a:lnTo>
                    <a:pt x="174" y="158"/>
                  </a:lnTo>
                  <a:lnTo>
                    <a:pt x="174" y="160"/>
                  </a:lnTo>
                  <a:lnTo>
                    <a:pt x="174" y="162"/>
                  </a:lnTo>
                  <a:lnTo>
                    <a:pt x="174" y="163"/>
                  </a:lnTo>
                  <a:lnTo>
                    <a:pt x="174" y="165"/>
                  </a:lnTo>
                  <a:lnTo>
                    <a:pt x="176" y="165"/>
                  </a:lnTo>
                  <a:lnTo>
                    <a:pt x="177" y="162"/>
                  </a:lnTo>
                  <a:lnTo>
                    <a:pt x="181" y="158"/>
                  </a:lnTo>
                  <a:lnTo>
                    <a:pt x="184" y="157"/>
                  </a:lnTo>
                  <a:lnTo>
                    <a:pt x="182" y="158"/>
                  </a:lnTo>
                  <a:lnTo>
                    <a:pt x="184" y="158"/>
                  </a:lnTo>
                  <a:lnTo>
                    <a:pt x="184" y="160"/>
                  </a:lnTo>
                  <a:lnTo>
                    <a:pt x="184" y="162"/>
                  </a:lnTo>
                  <a:lnTo>
                    <a:pt x="185" y="162"/>
                  </a:lnTo>
                  <a:lnTo>
                    <a:pt x="189" y="162"/>
                  </a:lnTo>
                  <a:lnTo>
                    <a:pt x="193" y="160"/>
                  </a:lnTo>
                  <a:lnTo>
                    <a:pt x="200" y="158"/>
                  </a:lnTo>
                  <a:lnTo>
                    <a:pt x="195" y="162"/>
                  </a:lnTo>
                  <a:lnTo>
                    <a:pt x="189" y="163"/>
                  </a:lnTo>
                  <a:lnTo>
                    <a:pt x="187" y="165"/>
                  </a:lnTo>
                  <a:lnTo>
                    <a:pt x="185" y="166"/>
                  </a:lnTo>
                  <a:lnTo>
                    <a:pt x="184" y="166"/>
                  </a:lnTo>
                  <a:lnTo>
                    <a:pt x="179" y="169"/>
                  </a:lnTo>
                  <a:lnTo>
                    <a:pt x="174" y="173"/>
                  </a:lnTo>
                  <a:lnTo>
                    <a:pt x="174" y="176"/>
                  </a:lnTo>
                  <a:lnTo>
                    <a:pt x="174" y="176"/>
                  </a:lnTo>
                  <a:lnTo>
                    <a:pt x="171" y="176"/>
                  </a:lnTo>
                  <a:lnTo>
                    <a:pt x="171" y="176"/>
                  </a:lnTo>
                  <a:lnTo>
                    <a:pt x="168" y="176"/>
                  </a:lnTo>
                  <a:lnTo>
                    <a:pt x="162" y="179"/>
                  </a:lnTo>
                  <a:lnTo>
                    <a:pt x="158" y="181"/>
                  </a:lnTo>
                  <a:lnTo>
                    <a:pt x="154" y="184"/>
                  </a:lnTo>
                  <a:lnTo>
                    <a:pt x="152" y="185"/>
                  </a:lnTo>
                  <a:lnTo>
                    <a:pt x="150" y="185"/>
                  </a:lnTo>
                  <a:lnTo>
                    <a:pt x="146" y="185"/>
                  </a:lnTo>
                  <a:lnTo>
                    <a:pt x="136" y="189"/>
                  </a:lnTo>
                  <a:lnTo>
                    <a:pt x="127" y="193"/>
                  </a:lnTo>
                  <a:lnTo>
                    <a:pt x="120" y="196"/>
                  </a:lnTo>
                  <a:lnTo>
                    <a:pt x="119" y="198"/>
                  </a:lnTo>
                  <a:lnTo>
                    <a:pt x="119" y="200"/>
                  </a:lnTo>
                  <a:lnTo>
                    <a:pt x="117" y="200"/>
                  </a:lnTo>
                  <a:lnTo>
                    <a:pt x="117" y="198"/>
                  </a:lnTo>
                  <a:lnTo>
                    <a:pt x="115" y="200"/>
                  </a:lnTo>
                  <a:lnTo>
                    <a:pt x="111" y="200"/>
                  </a:lnTo>
                  <a:lnTo>
                    <a:pt x="112" y="198"/>
                  </a:lnTo>
                  <a:lnTo>
                    <a:pt x="114" y="196"/>
                  </a:lnTo>
                  <a:lnTo>
                    <a:pt x="111" y="198"/>
                  </a:lnTo>
                  <a:lnTo>
                    <a:pt x="109" y="198"/>
                  </a:lnTo>
                  <a:lnTo>
                    <a:pt x="111" y="196"/>
                  </a:lnTo>
                  <a:lnTo>
                    <a:pt x="101" y="200"/>
                  </a:lnTo>
                  <a:lnTo>
                    <a:pt x="93" y="201"/>
                  </a:lnTo>
                  <a:lnTo>
                    <a:pt x="88" y="203"/>
                  </a:lnTo>
                  <a:lnTo>
                    <a:pt x="85" y="204"/>
                  </a:lnTo>
                  <a:lnTo>
                    <a:pt x="81" y="206"/>
                  </a:lnTo>
                  <a:lnTo>
                    <a:pt x="77" y="209"/>
                  </a:lnTo>
                  <a:lnTo>
                    <a:pt x="77" y="209"/>
                  </a:lnTo>
                  <a:lnTo>
                    <a:pt x="77" y="211"/>
                  </a:lnTo>
                  <a:lnTo>
                    <a:pt x="81" y="209"/>
                  </a:lnTo>
                  <a:lnTo>
                    <a:pt x="84" y="209"/>
                  </a:lnTo>
                  <a:lnTo>
                    <a:pt x="84" y="208"/>
                  </a:lnTo>
                  <a:lnTo>
                    <a:pt x="84" y="206"/>
                  </a:lnTo>
                  <a:lnTo>
                    <a:pt x="85" y="206"/>
                  </a:lnTo>
                  <a:lnTo>
                    <a:pt x="85" y="208"/>
                  </a:lnTo>
                  <a:lnTo>
                    <a:pt x="84" y="209"/>
                  </a:lnTo>
                  <a:lnTo>
                    <a:pt x="85" y="209"/>
                  </a:lnTo>
                  <a:lnTo>
                    <a:pt x="87" y="209"/>
                  </a:lnTo>
                  <a:lnTo>
                    <a:pt x="88" y="208"/>
                  </a:lnTo>
                  <a:lnTo>
                    <a:pt x="88" y="209"/>
                  </a:lnTo>
                  <a:lnTo>
                    <a:pt x="92" y="206"/>
                  </a:lnTo>
                  <a:lnTo>
                    <a:pt x="95" y="204"/>
                  </a:lnTo>
                  <a:lnTo>
                    <a:pt x="101" y="201"/>
                  </a:lnTo>
                  <a:lnTo>
                    <a:pt x="101" y="201"/>
                  </a:lnTo>
                  <a:lnTo>
                    <a:pt x="104" y="203"/>
                  </a:lnTo>
                  <a:lnTo>
                    <a:pt x="101" y="203"/>
                  </a:lnTo>
                  <a:lnTo>
                    <a:pt x="100" y="204"/>
                  </a:lnTo>
                  <a:lnTo>
                    <a:pt x="104" y="204"/>
                  </a:lnTo>
                  <a:lnTo>
                    <a:pt x="106" y="203"/>
                  </a:lnTo>
                  <a:lnTo>
                    <a:pt x="108" y="203"/>
                  </a:lnTo>
                  <a:lnTo>
                    <a:pt x="109" y="203"/>
                  </a:lnTo>
                  <a:lnTo>
                    <a:pt x="111" y="201"/>
                  </a:lnTo>
                  <a:lnTo>
                    <a:pt x="111" y="203"/>
                  </a:lnTo>
                  <a:lnTo>
                    <a:pt x="115" y="200"/>
                  </a:lnTo>
                  <a:lnTo>
                    <a:pt x="119" y="200"/>
                  </a:lnTo>
                  <a:lnTo>
                    <a:pt x="122" y="200"/>
                  </a:lnTo>
                  <a:lnTo>
                    <a:pt x="123" y="200"/>
                  </a:lnTo>
                  <a:lnTo>
                    <a:pt x="125" y="200"/>
                  </a:lnTo>
                  <a:lnTo>
                    <a:pt x="120" y="201"/>
                  </a:lnTo>
                  <a:lnTo>
                    <a:pt x="123" y="200"/>
                  </a:lnTo>
                  <a:lnTo>
                    <a:pt x="127" y="200"/>
                  </a:lnTo>
                  <a:lnTo>
                    <a:pt x="130" y="198"/>
                  </a:lnTo>
                  <a:lnTo>
                    <a:pt x="133" y="198"/>
                  </a:lnTo>
                  <a:lnTo>
                    <a:pt x="136" y="198"/>
                  </a:lnTo>
                  <a:lnTo>
                    <a:pt x="139" y="196"/>
                  </a:lnTo>
                  <a:lnTo>
                    <a:pt x="139" y="195"/>
                  </a:lnTo>
                  <a:lnTo>
                    <a:pt x="141" y="195"/>
                  </a:lnTo>
                  <a:lnTo>
                    <a:pt x="139" y="196"/>
                  </a:lnTo>
                  <a:lnTo>
                    <a:pt x="142" y="195"/>
                  </a:lnTo>
                  <a:lnTo>
                    <a:pt x="146" y="193"/>
                  </a:lnTo>
                  <a:lnTo>
                    <a:pt x="144" y="193"/>
                  </a:lnTo>
                  <a:lnTo>
                    <a:pt x="142" y="193"/>
                  </a:lnTo>
                  <a:lnTo>
                    <a:pt x="146" y="192"/>
                  </a:lnTo>
                  <a:lnTo>
                    <a:pt x="150" y="190"/>
                  </a:lnTo>
                  <a:lnTo>
                    <a:pt x="154" y="190"/>
                  </a:lnTo>
                  <a:lnTo>
                    <a:pt x="154" y="189"/>
                  </a:lnTo>
                  <a:lnTo>
                    <a:pt x="155" y="189"/>
                  </a:lnTo>
                  <a:lnTo>
                    <a:pt x="158" y="189"/>
                  </a:lnTo>
                  <a:lnTo>
                    <a:pt x="160" y="189"/>
                  </a:lnTo>
                  <a:lnTo>
                    <a:pt x="162" y="187"/>
                  </a:lnTo>
                  <a:lnTo>
                    <a:pt x="163" y="185"/>
                  </a:lnTo>
                  <a:lnTo>
                    <a:pt x="165" y="185"/>
                  </a:lnTo>
                  <a:lnTo>
                    <a:pt x="165" y="185"/>
                  </a:lnTo>
                  <a:lnTo>
                    <a:pt x="171" y="184"/>
                  </a:lnTo>
                  <a:lnTo>
                    <a:pt x="174" y="182"/>
                  </a:lnTo>
                  <a:lnTo>
                    <a:pt x="179" y="181"/>
                  </a:lnTo>
                  <a:lnTo>
                    <a:pt x="181" y="179"/>
                  </a:lnTo>
                  <a:lnTo>
                    <a:pt x="184" y="177"/>
                  </a:lnTo>
                  <a:lnTo>
                    <a:pt x="187" y="176"/>
                  </a:lnTo>
                  <a:lnTo>
                    <a:pt x="189" y="176"/>
                  </a:lnTo>
                  <a:lnTo>
                    <a:pt x="190" y="176"/>
                  </a:lnTo>
                  <a:lnTo>
                    <a:pt x="195" y="176"/>
                  </a:lnTo>
                  <a:lnTo>
                    <a:pt x="198" y="173"/>
                  </a:lnTo>
                  <a:lnTo>
                    <a:pt x="203" y="173"/>
                  </a:lnTo>
                  <a:lnTo>
                    <a:pt x="209" y="169"/>
                  </a:lnTo>
                  <a:lnTo>
                    <a:pt x="212" y="169"/>
                  </a:lnTo>
                  <a:lnTo>
                    <a:pt x="216" y="166"/>
                  </a:lnTo>
                  <a:lnTo>
                    <a:pt x="217" y="169"/>
                  </a:lnTo>
                  <a:lnTo>
                    <a:pt x="217" y="166"/>
                  </a:lnTo>
                  <a:lnTo>
                    <a:pt x="220" y="166"/>
                  </a:lnTo>
                  <a:lnTo>
                    <a:pt x="222" y="166"/>
                  </a:lnTo>
                  <a:lnTo>
                    <a:pt x="223" y="165"/>
                  </a:lnTo>
                  <a:lnTo>
                    <a:pt x="227" y="163"/>
                  </a:lnTo>
                  <a:lnTo>
                    <a:pt x="231" y="162"/>
                  </a:lnTo>
                  <a:lnTo>
                    <a:pt x="233" y="160"/>
                  </a:lnTo>
                  <a:lnTo>
                    <a:pt x="238" y="158"/>
                  </a:lnTo>
                  <a:lnTo>
                    <a:pt x="238" y="157"/>
                  </a:lnTo>
                  <a:lnTo>
                    <a:pt x="238" y="155"/>
                  </a:lnTo>
                  <a:lnTo>
                    <a:pt x="235" y="155"/>
                  </a:lnTo>
                  <a:lnTo>
                    <a:pt x="231" y="155"/>
                  </a:lnTo>
                  <a:lnTo>
                    <a:pt x="233" y="154"/>
                  </a:lnTo>
                  <a:lnTo>
                    <a:pt x="236" y="152"/>
                  </a:lnTo>
                  <a:lnTo>
                    <a:pt x="238" y="152"/>
                  </a:lnTo>
                  <a:lnTo>
                    <a:pt x="239" y="152"/>
                  </a:lnTo>
                  <a:lnTo>
                    <a:pt x="238" y="150"/>
                  </a:lnTo>
                  <a:lnTo>
                    <a:pt x="242" y="150"/>
                  </a:lnTo>
                  <a:lnTo>
                    <a:pt x="244" y="149"/>
                  </a:lnTo>
                  <a:lnTo>
                    <a:pt x="249" y="147"/>
                  </a:lnTo>
                  <a:lnTo>
                    <a:pt x="250" y="146"/>
                  </a:lnTo>
                  <a:lnTo>
                    <a:pt x="250" y="147"/>
                  </a:lnTo>
                  <a:lnTo>
                    <a:pt x="254" y="147"/>
                  </a:lnTo>
                  <a:lnTo>
                    <a:pt x="255" y="146"/>
                  </a:lnTo>
                  <a:lnTo>
                    <a:pt x="255" y="144"/>
                  </a:lnTo>
                  <a:lnTo>
                    <a:pt x="258" y="144"/>
                  </a:lnTo>
                  <a:lnTo>
                    <a:pt x="265" y="142"/>
                  </a:lnTo>
                  <a:lnTo>
                    <a:pt x="265" y="141"/>
                  </a:lnTo>
                  <a:lnTo>
                    <a:pt x="262" y="138"/>
                  </a:lnTo>
                  <a:lnTo>
                    <a:pt x="265" y="141"/>
                  </a:lnTo>
                  <a:lnTo>
                    <a:pt x="266" y="141"/>
                  </a:lnTo>
                  <a:lnTo>
                    <a:pt x="273" y="138"/>
                  </a:lnTo>
                  <a:lnTo>
                    <a:pt x="277" y="135"/>
                  </a:lnTo>
                  <a:lnTo>
                    <a:pt x="282" y="135"/>
                  </a:lnTo>
                  <a:lnTo>
                    <a:pt x="287" y="131"/>
                  </a:lnTo>
                  <a:lnTo>
                    <a:pt x="290" y="130"/>
                  </a:lnTo>
                  <a:lnTo>
                    <a:pt x="293" y="130"/>
                  </a:lnTo>
                  <a:lnTo>
                    <a:pt x="296" y="128"/>
                  </a:lnTo>
                  <a:lnTo>
                    <a:pt x="300" y="127"/>
                  </a:lnTo>
                  <a:lnTo>
                    <a:pt x="301" y="127"/>
                  </a:lnTo>
                  <a:lnTo>
                    <a:pt x="304" y="125"/>
                  </a:lnTo>
                  <a:lnTo>
                    <a:pt x="304" y="127"/>
                  </a:lnTo>
                  <a:lnTo>
                    <a:pt x="306" y="127"/>
                  </a:lnTo>
                  <a:lnTo>
                    <a:pt x="309" y="127"/>
                  </a:lnTo>
                  <a:lnTo>
                    <a:pt x="308" y="128"/>
                  </a:lnTo>
                  <a:lnTo>
                    <a:pt x="309" y="130"/>
                  </a:lnTo>
                  <a:lnTo>
                    <a:pt x="312" y="131"/>
                  </a:lnTo>
                  <a:lnTo>
                    <a:pt x="309" y="131"/>
                  </a:lnTo>
                  <a:lnTo>
                    <a:pt x="304" y="131"/>
                  </a:lnTo>
                  <a:lnTo>
                    <a:pt x="303" y="131"/>
                  </a:lnTo>
                  <a:lnTo>
                    <a:pt x="301" y="131"/>
                  </a:lnTo>
                  <a:lnTo>
                    <a:pt x="301" y="130"/>
                  </a:lnTo>
                  <a:lnTo>
                    <a:pt x="287" y="135"/>
                  </a:lnTo>
                  <a:lnTo>
                    <a:pt x="285" y="135"/>
                  </a:lnTo>
                  <a:lnTo>
                    <a:pt x="284" y="138"/>
                  </a:lnTo>
                  <a:lnTo>
                    <a:pt x="277" y="141"/>
                  </a:lnTo>
                  <a:lnTo>
                    <a:pt x="271" y="142"/>
                  </a:lnTo>
                  <a:lnTo>
                    <a:pt x="268" y="146"/>
                  </a:lnTo>
                  <a:lnTo>
                    <a:pt x="266" y="147"/>
                  </a:lnTo>
                  <a:lnTo>
                    <a:pt x="268" y="147"/>
                  </a:lnTo>
                  <a:lnTo>
                    <a:pt x="269" y="147"/>
                  </a:lnTo>
                  <a:lnTo>
                    <a:pt x="262" y="150"/>
                  </a:lnTo>
                  <a:lnTo>
                    <a:pt x="258" y="152"/>
                  </a:lnTo>
                  <a:lnTo>
                    <a:pt x="258" y="154"/>
                  </a:lnTo>
                  <a:lnTo>
                    <a:pt x="262" y="154"/>
                  </a:lnTo>
                  <a:lnTo>
                    <a:pt x="262" y="154"/>
                  </a:lnTo>
                  <a:lnTo>
                    <a:pt x="265" y="154"/>
                  </a:lnTo>
                  <a:lnTo>
                    <a:pt x="265" y="154"/>
                  </a:lnTo>
                  <a:lnTo>
                    <a:pt x="265" y="152"/>
                  </a:lnTo>
                  <a:lnTo>
                    <a:pt x="268" y="152"/>
                  </a:lnTo>
                  <a:lnTo>
                    <a:pt x="271" y="150"/>
                  </a:lnTo>
                  <a:lnTo>
                    <a:pt x="274" y="149"/>
                  </a:lnTo>
                  <a:lnTo>
                    <a:pt x="277" y="149"/>
                  </a:lnTo>
                  <a:lnTo>
                    <a:pt x="276" y="150"/>
                  </a:lnTo>
                  <a:lnTo>
                    <a:pt x="282" y="147"/>
                  </a:lnTo>
                  <a:lnTo>
                    <a:pt x="277" y="150"/>
                  </a:lnTo>
                  <a:lnTo>
                    <a:pt x="285" y="147"/>
                  </a:lnTo>
                  <a:lnTo>
                    <a:pt x="287" y="146"/>
                  </a:lnTo>
                  <a:lnTo>
                    <a:pt x="287" y="147"/>
                  </a:lnTo>
                  <a:lnTo>
                    <a:pt x="290" y="144"/>
                  </a:lnTo>
                  <a:lnTo>
                    <a:pt x="290" y="144"/>
                  </a:lnTo>
                  <a:lnTo>
                    <a:pt x="290" y="146"/>
                  </a:lnTo>
                  <a:lnTo>
                    <a:pt x="293" y="142"/>
                  </a:lnTo>
                  <a:lnTo>
                    <a:pt x="296" y="141"/>
                  </a:lnTo>
                  <a:lnTo>
                    <a:pt x="296" y="144"/>
                  </a:lnTo>
                  <a:lnTo>
                    <a:pt x="296" y="142"/>
                  </a:lnTo>
                  <a:lnTo>
                    <a:pt x="300" y="142"/>
                  </a:lnTo>
                  <a:lnTo>
                    <a:pt x="300" y="144"/>
                  </a:lnTo>
                  <a:lnTo>
                    <a:pt x="303" y="142"/>
                  </a:lnTo>
                  <a:lnTo>
                    <a:pt x="306" y="142"/>
                  </a:lnTo>
                  <a:lnTo>
                    <a:pt x="312" y="141"/>
                  </a:lnTo>
                  <a:lnTo>
                    <a:pt x="311" y="141"/>
                  </a:lnTo>
                  <a:lnTo>
                    <a:pt x="309" y="141"/>
                  </a:lnTo>
                  <a:lnTo>
                    <a:pt x="314" y="138"/>
                  </a:lnTo>
                  <a:lnTo>
                    <a:pt x="317" y="138"/>
                  </a:lnTo>
                  <a:lnTo>
                    <a:pt x="319" y="135"/>
                  </a:lnTo>
                  <a:lnTo>
                    <a:pt x="311" y="138"/>
                  </a:lnTo>
                  <a:lnTo>
                    <a:pt x="316" y="135"/>
                  </a:lnTo>
                  <a:lnTo>
                    <a:pt x="317" y="135"/>
                  </a:lnTo>
                  <a:lnTo>
                    <a:pt x="319" y="131"/>
                  </a:lnTo>
                  <a:lnTo>
                    <a:pt x="317" y="135"/>
                  </a:lnTo>
                  <a:lnTo>
                    <a:pt x="317" y="131"/>
                  </a:lnTo>
                  <a:lnTo>
                    <a:pt x="316" y="131"/>
                  </a:lnTo>
                  <a:lnTo>
                    <a:pt x="320" y="131"/>
                  </a:lnTo>
                  <a:lnTo>
                    <a:pt x="325" y="130"/>
                  </a:lnTo>
                  <a:lnTo>
                    <a:pt x="325" y="130"/>
                  </a:lnTo>
                  <a:lnTo>
                    <a:pt x="331" y="127"/>
                  </a:lnTo>
                  <a:lnTo>
                    <a:pt x="328" y="130"/>
                  </a:lnTo>
                  <a:lnTo>
                    <a:pt x="325" y="131"/>
                  </a:lnTo>
                  <a:lnTo>
                    <a:pt x="325" y="131"/>
                  </a:lnTo>
                  <a:lnTo>
                    <a:pt x="328" y="131"/>
                  </a:lnTo>
                  <a:lnTo>
                    <a:pt x="328" y="130"/>
                  </a:lnTo>
                  <a:lnTo>
                    <a:pt x="331" y="128"/>
                  </a:lnTo>
                  <a:lnTo>
                    <a:pt x="328" y="131"/>
                  </a:lnTo>
                  <a:lnTo>
                    <a:pt x="331" y="130"/>
                  </a:lnTo>
                  <a:lnTo>
                    <a:pt x="331" y="131"/>
                  </a:lnTo>
                  <a:lnTo>
                    <a:pt x="338" y="130"/>
                  </a:lnTo>
                  <a:lnTo>
                    <a:pt x="341" y="128"/>
                  </a:lnTo>
                  <a:lnTo>
                    <a:pt x="343" y="128"/>
                  </a:lnTo>
                  <a:lnTo>
                    <a:pt x="344" y="130"/>
                  </a:lnTo>
                  <a:lnTo>
                    <a:pt x="339" y="130"/>
                  </a:lnTo>
                  <a:lnTo>
                    <a:pt x="338" y="131"/>
                  </a:lnTo>
                  <a:lnTo>
                    <a:pt x="336" y="131"/>
                  </a:lnTo>
                  <a:lnTo>
                    <a:pt x="338" y="131"/>
                  </a:lnTo>
                  <a:lnTo>
                    <a:pt x="335" y="135"/>
                  </a:lnTo>
                  <a:lnTo>
                    <a:pt x="338" y="135"/>
                  </a:lnTo>
                  <a:lnTo>
                    <a:pt x="341" y="135"/>
                  </a:lnTo>
                  <a:lnTo>
                    <a:pt x="344" y="135"/>
                  </a:lnTo>
                  <a:lnTo>
                    <a:pt x="339" y="138"/>
                  </a:lnTo>
                  <a:lnTo>
                    <a:pt x="341" y="138"/>
                  </a:lnTo>
                  <a:lnTo>
                    <a:pt x="343" y="138"/>
                  </a:lnTo>
                  <a:lnTo>
                    <a:pt x="346" y="138"/>
                  </a:lnTo>
                  <a:lnTo>
                    <a:pt x="350" y="135"/>
                  </a:lnTo>
                  <a:lnTo>
                    <a:pt x="346" y="138"/>
                  </a:lnTo>
                  <a:lnTo>
                    <a:pt x="350" y="141"/>
                  </a:lnTo>
                  <a:lnTo>
                    <a:pt x="352" y="141"/>
                  </a:lnTo>
                  <a:lnTo>
                    <a:pt x="350" y="142"/>
                  </a:lnTo>
                  <a:lnTo>
                    <a:pt x="354" y="142"/>
                  </a:lnTo>
                  <a:lnTo>
                    <a:pt x="357" y="142"/>
                  </a:lnTo>
                  <a:lnTo>
                    <a:pt x="360" y="141"/>
                  </a:lnTo>
                  <a:lnTo>
                    <a:pt x="366" y="141"/>
                  </a:lnTo>
                  <a:lnTo>
                    <a:pt x="374" y="142"/>
                  </a:lnTo>
                  <a:lnTo>
                    <a:pt x="376" y="142"/>
                  </a:lnTo>
                  <a:lnTo>
                    <a:pt x="379" y="141"/>
                  </a:lnTo>
                  <a:lnTo>
                    <a:pt x="377" y="142"/>
                  </a:lnTo>
                  <a:lnTo>
                    <a:pt x="376" y="144"/>
                  </a:lnTo>
                  <a:lnTo>
                    <a:pt x="379" y="146"/>
                  </a:lnTo>
                  <a:lnTo>
                    <a:pt x="381" y="146"/>
                  </a:lnTo>
                  <a:lnTo>
                    <a:pt x="390" y="146"/>
                  </a:lnTo>
                  <a:lnTo>
                    <a:pt x="392" y="144"/>
                  </a:lnTo>
                  <a:lnTo>
                    <a:pt x="390" y="147"/>
                  </a:lnTo>
                  <a:lnTo>
                    <a:pt x="387" y="149"/>
                  </a:lnTo>
                  <a:lnTo>
                    <a:pt x="387" y="150"/>
                  </a:lnTo>
                  <a:lnTo>
                    <a:pt x="390" y="152"/>
                  </a:lnTo>
                  <a:lnTo>
                    <a:pt x="390" y="150"/>
                  </a:lnTo>
                  <a:lnTo>
                    <a:pt x="390" y="152"/>
                  </a:lnTo>
                  <a:lnTo>
                    <a:pt x="392" y="154"/>
                  </a:lnTo>
                  <a:lnTo>
                    <a:pt x="395" y="154"/>
                  </a:lnTo>
                  <a:lnTo>
                    <a:pt x="393" y="155"/>
                  </a:lnTo>
                  <a:lnTo>
                    <a:pt x="395" y="157"/>
                  </a:lnTo>
                  <a:lnTo>
                    <a:pt x="395" y="158"/>
                  </a:lnTo>
                  <a:lnTo>
                    <a:pt x="395" y="160"/>
                  </a:lnTo>
                  <a:lnTo>
                    <a:pt x="397" y="162"/>
                  </a:lnTo>
                  <a:lnTo>
                    <a:pt x="397" y="163"/>
                  </a:lnTo>
                  <a:lnTo>
                    <a:pt x="398" y="165"/>
                  </a:lnTo>
                  <a:lnTo>
                    <a:pt x="400" y="166"/>
                  </a:lnTo>
                  <a:lnTo>
                    <a:pt x="400" y="166"/>
                  </a:lnTo>
                  <a:lnTo>
                    <a:pt x="401" y="166"/>
                  </a:lnTo>
                  <a:lnTo>
                    <a:pt x="403" y="166"/>
                  </a:lnTo>
                  <a:lnTo>
                    <a:pt x="404" y="165"/>
                  </a:lnTo>
                  <a:lnTo>
                    <a:pt x="406" y="165"/>
                  </a:lnTo>
                  <a:lnTo>
                    <a:pt x="406" y="166"/>
                  </a:lnTo>
                  <a:lnTo>
                    <a:pt x="408" y="165"/>
                  </a:lnTo>
                  <a:lnTo>
                    <a:pt x="409" y="165"/>
                  </a:lnTo>
                  <a:lnTo>
                    <a:pt x="409" y="163"/>
                  </a:lnTo>
                  <a:lnTo>
                    <a:pt x="411" y="163"/>
                  </a:lnTo>
                  <a:lnTo>
                    <a:pt x="409" y="162"/>
                  </a:lnTo>
                  <a:lnTo>
                    <a:pt x="411" y="160"/>
                  </a:lnTo>
                  <a:lnTo>
                    <a:pt x="409" y="160"/>
                  </a:lnTo>
                  <a:lnTo>
                    <a:pt x="409" y="160"/>
                  </a:lnTo>
                  <a:lnTo>
                    <a:pt x="409" y="158"/>
                  </a:lnTo>
                  <a:lnTo>
                    <a:pt x="406" y="158"/>
                  </a:lnTo>
                  <a:lnTo>
                    <a:pt x="409" y="155"/>
                  </a:lnTo>
                  <a:lnTo>
                    <a:pt x="409" y="157"/>
                  </a:lnTo>
                  <a:lnTo>
                    <a:pt x="411" y="157"/>
                  </a:lnTo>
                  <a:lnTo>
                    <a:pt x="411" y="158"/>
                  </a:lnTo>
                  <a:lnTo>
                    <a:pt x="412" y="160"/>
                  </a:lnTo>
                  <a:lnTo>
                    <a:pt x="416" y="158"/>
                  </a:lnTo>
                  <a:lnTo>
                    <a:pt x="416" y="158"/>
                  </a:lnTo>
                  <a:lnTo>
                    <a:pt x="414" y="160"/>
                  </a:lnTo>
                  <a:lnTo>
                    <a:pt x="411" y="165"/>
                  </a:lnTo>
                  <a:lnTo>
                    <a:pt x="414" y="165"/>
                  </a:lnTo>
                  <a:lnTo>
                    <a:pt x="416" y="165"/>
                  </a:lnTo>
                  <a:lnTo>
                    <a:pt x="416" y="166"/>
                  </a:lnTo>
                  <a:lnTo>
                    <a:pt x="416" y="166"/>
                  </a:lnTo>
                  <a:lnTo>
                    <a:pt x="419" y="165"/>
                  </a:lnTo>
                  <a:lnTo>
                    <a:pt x="419" y="162"/>
                  </a:lnTo>
                  <a:lnTo>
                    <a:pt x="425" y="157"/>
                  </a:lnTo>
                  <a:lnTo>
                    <a:pt x="425" y="154"/>
                  </a:lnTo>
                  <a:lnTo>
                    <a:pt x="427" y="155"/>
                  </a:lnTo>
                  <a:lnTo>
                    <a:pt x="425" y="158"/>
                  </a:lnTo>
                  <a:lnTo>
                    <a:pt x="425" y="162"/>
                  </a:lnTo>
                  <a:lnTo>
                    <a:pt x="422" y="163"/>
                  </a:lnTo>
                  <a:lnTo>
                    <a:pt x="422" y="165"/>
                  </a:lnTo>
                  <a:lnTo>
                    <a:pt x="425" y="166"/>
                  </a:lnTo>
                  <a:lnTo>
                    <a:pt x="425" y="166"/>
                  </a:lnTo>
                  <a:lnTo>
                    <a:pt x="427" y="166"/>
                  </a:lnTo>
                  <a:lnTo>
                    <a:pt x="430" y="165"/>
                  </a:lnTo>
                  <a:lnTo>
                    <a:pt x="427" y="166"/>
                  </a:lnTo>
                  <a:lnTo>
                    <a:pt x="425" y="166"/>
                  </a:lnTo>
                  <a:lnTo>
                    <a:pt x="425" y="169"/>
                  </a:lnTo>
                  <a:lnTo>
                    <a:pt x="427" y="169"/>
                  </a:lnTo>
                  <a:lnTo>
                    <a:pt x="430" y="166"/>
                  </a:lnTo>
                  <a:lnTo>
                    <a:pt x="427" y="169"/>
                  </a:lnTo>
                  <a:lnTo>
                    <a:pt x="425" y="173"/>
                  </a:lnTo>
                  <a:lnTo>
                    <a:pt x="428" y="169"/>
                  </a:lnTo>
                  <a:lnTo>
                    <a:pt x="427" y="173"/>
                  </a:lnTo>
                  <a:lnTo>
                    <a:pt x="427" y="173"/>
                  </a:lnTo>
                  <a:lnTo>
                    <a:pt x="427" y="176"/>
                  </a:lnTo>
                  <a:lnTo>
                    <a:pt x="425" y="173"/>
                  </a:lnTo>
                  <a:lnTo>
                    <a:pt x="425" y="176"/>
                  </a:lnTo>
                  <a:lnTo>
                    <a:pt x="425" y="176"/>
                  </a:lnTo>
                  <a:lnTo>
                    <a:pt x="425" y="176"/>
                  </a:lnTo>
                  <a:lnTo>
                    <a:pt x="422" y="177"/>
                  </a:lnTo>
                  <a:lnTo>
                    <a:pt x="425" y="177"/>
                  </a:lnTo>
                  <a:lnTo>
                    <a:pt x="422" y="179"/>
                  </a:lnTo>
                  <a:lnTo>
                    <a:pt x="419" y="181"/>
                  </a:lnTo>
                  <a:lnTo>
                    <a:pt x="422" y="181"/>
                  </a:lnTo>
                  <a:lnTo>
                    <a:pt x="422" y="181"/>
                  </a:lnTo>
                  <a:lnTo>
                    <a:pt x="422" y="182"/>
                  </a:lnTo>
                  <a:lnTo>
                    <a:pt x="425" y="182"/>
                  </a:lnTo>
                  <a:lnTo>
                    <a:pt x="422" y="184"/>
                  </a:lnTo>
                  <a:lnTo>
                    <a:pt x="422" y="185"/>
                  </a:lnTo>
                  <a:lnTo>
                    <a:pt x="425" y="185"/>
                  </a:lnTo>
                  <a:lnTo>
                    <a:pt x="425" y="185"/>
                  </a:lnTo>
                  <a:lnTo>
                    <a:pt x="422" y="189"/>
                  </a:lnTo>
                  <a:lnTo>
                    <a:pt x="422" y="190"/>
                  </a:lnTo>
                  <a:lnTo>
                    <a:pt x="419" y="192"/>
                  </a:lnTo>
                  <a:lnTo>
                    <a:pt x="419" y="193"/>
                  </a:lnTo>
                  <a:lnTo>
                    <a:pt x="419" y="195"/>
                  </a:lnTo>
                  <a:lnTo>
                    <a:pt x="422" y="195"/>
                  </a:lnTo>
                  <a:lnTo>
                    <a:pt x="416" y="200"/>
                  </a:lnTo>
                  <a:lnTo>
                    <a:pt x="416" y="200"/>
                  </a:lnTo>
                  <a:lnTo>
                    <a:pt x="412" y="201"/>
                  </a:lnTo>
                  <a:lnTo>
                    <a:pt x="414" y="201"/>
                  </a:lnTo>
                  <a:lnTo>
                    <a:pt x="416" y="201"/>
                  </a:lnTo>
                  <a:lnTo>
                    <a:pt x="416" y="200"/>
                  </a:lnTo>
                  <a:lnTo>
                    <a:pt x="419" y="200"/>
                  </a:lnTo>
                  <a:lnTo>
                    <a:pt x="419" y="200"/>
                  </a:lnTo>
                  <a:lnTo>
                    <a:pt x="422" y="198"/>
                  </a:lnTo>
                  <a:lnTo>
                    <a:pt x="425" y="196"/>
                  </a:lnTo>
                  <a:lnTo>
                    <a:pt x="422" y="198"/>
                  </a:lnTo>
                  <a:lnTo>
                    <a:pt x="427" y="196"/>
                  </a:lnTo>
                  <a:lnTo>
                    <a:pt x="431" y="195"/>
                  </a:lnTo>
                  <a:lnTo>
                    <a:pt x="428" y="196"/>
                  </a:lnTo>
                  <a:lnTo>
                    <a:pt x="427" y="200"/>
                  </a:lnTo>
                  <a:lnTo>
                    <a:pt x="427" y="198"/>
                  </a:lnTo>
                  <a:lnTo>
                    <a:pt x="425" y="198"/>
                  </a:lnTo>
                  <a:lnTo>
                    <a:pt x="425" y="198"/>
                  </a:lnTo>
                  <a:lnTo>
                    <a:pt x="422" y="200"/>
                  </a:lnTo>
                  <a:lnTo>
                    <a:pt x="419" y="200"/>
                  </a:lnTo>
                  <a:lnTo>
                    <a:pt x="419" y="200"/>
                  </a:lnTo>
                  <a:lnTo>
                    <a:pt x="419" y="201"/>
                  </a:lnTo>
                  <a:lnTo>
                    <a:pt x="416" y="203"/>
                  </a:lnTo>
                  <a:lnTo>
                    <a:pt x="416" y="204"/>
                  </a:lnTo>
                  <a:lnTo>
                    <a:pt x="416" y="204"/>
                  </a:lnTo>
                  <a:lnTo>
                    <a:pt x="419" y="203"/>
                  </a:lnTo>
                  <a:lnTo>
                    <a:pt x="422" y="201"/>
                  </a:lnTo>
                  <a:lnTo>
                    <a:pt x="419" y="204"/>
                  </a:lnTo>
                  <a:lnTo>
                    <a:pt x="416" y="206"/>
                  </a:lnTo>
                  <a:lnTo>
                    <a:pt x="419" y="206"/>
                  </a:lnTo>
                  <a:lnTo>
                    <a:pt x="419" y="206"/>
                  </a:lnTo>
                  <a:lnTo>
                    <a:pt x="422" y="204"/>
                  </a:lnTo>
                  <a:lnTo>
                    <a:pt x="425" y="201"/>
                  </a:lnTo>
                  <a:lnTo>
                    <a:pt x="422" y="206"/>
                  </a:lnTo>
                  <a:lnTo>
                    <a:pt x="422" y="206"/>
                  </a:lnTo>
                  <a:lnTo>
                    <a:pt x="419" y="206"/>
                  </a:lnTo>
                  <a:lnTo>
                    <a:pt x="419" y="208"/>
                  </a:lnTo>
                  <a:lnTo>
                    <a:pt x="422" y="208"/>
                  </a:lnTo>
                  <a:lnTo>
                    <a:pt x="419" y="211"/>
                  </a:lnTo>
                  <a:lnTo>
                    <a:pt x="416" y="212"/>
                  </a:lnTo>
                  <a:lnTo>
                    <a:pt x="419" y="211"/>
                  </a:lnTo>
                  <a:lnTo>
                    <a:pt x="419" y="212"/>
                  </a:lnTo>
                  <a:lnTo>
                    <a:pt x="425" y="209"/>
                  </a:lnTo>
                  <a:lnTo>
                    <a:pt x="431" y="204"/>
                  </a:lnTo>
                  <a:lnTo>
                    <a:pt x="435" y="201"/>
                  </a:lnTo>
                  <a:lnTo>
                    <a:pt x="436" y="200"/>
                  </a:lnTo>
                  <a:lnTo>
                    <a:pt x="439" y="198"/>
                  </a:lnTo>
                  <a:lnTo>
                    <a:pt x="441" y="195"/>
                  </a:lnTo>
                  <a:lnTo>
                    <a:pt x="439" y="195"/>
                  </a:lnTo>
                  <a:lnTo>
                    <a:pt x="436" y="192"/>
                  </a:lnTo>
                  <a:lnTo>
                    <a:pt x="436" y="192"/>
                  </a:lnTo>
                  <a:lnTo>
                    <a:pt x="436" y="192"/>
                  </a:lnTo>
                  <a:lnTo>
                    <a:pt x="436" y="192"/>
                  </a:lnTo>
                  <a:lnTo>
                    <a:pt x="436" y="192"/>
                  </a:lnTo>
                  <a:lnTo>
                    <a:pt x="436" y="192"/>
                  </a:lnTo>
                  <a:lnTo>
                    <a:pt x="436" y="192"/>
                  </a:lnTo>
                  <a:lnTo>
                    <a:pt x="436" y="192"/>
                  </a:lnTo>
                  <a:lnTo>
                    <a:pt x="436" y="192"/>
                  </a:lnTo>
                  <a:close/>
                  <a:moveTo>
                    <a:pt x="416" y="173"/>
                  </a:moveTo>
                  <a:lnTo>
                    <a:pt x="412" y="176"/>
                  </a:lnTo>
                  <a:lnTo>
                    <a:pt x="412" y="177"/>
                  </a:lnTo>
                  <a:lnTo>
                    <a:pt x="414" y="177"/>
                  </a:lnTo>
                  <a:lnTo>
                    <a:pt x="409" y="179"/>
                  </a:lnTo>
                  <a:lnTo>
                    <a:pt x="406" y="182"/>
                  </a:lnTo>
                  <a:lnTo>
                    <a:pt x="409" y="182"/>
                  </a:lnTo>
                  <a:lnTo>
                    <a:pt x="412" y="181"/>
                  </a:lnTo>
                  <a:lnTo>
                    <a:pt x="416" y="177"/>
                  </a:lnTo>
                  <a:lnTo>
                    <a:pt x="416" y="177"/>
                  </a:lnTo>
                  <a:lnTo>
                    <a:pt x="419" y="177"/>
                  </a:lnTo>
                  <a:lnTo>
                    <a:pt x="416" y="176"/>
                  </a:lnTo>
                  <a:lnTo>
                    <a:pt x="419" y="176"/>
                  </a:lnTo>
                  <a:lnTo>
                    <a:pt x="419" y="176"/>
                  </a:lnTo>
                  <a:lnTo>
                    <a:pt x="422" y="169"/>
                  </a:lnTo>
                  <a:lnTo>
                    <a:pt x="422" y="169"/>
                  </a:lnTo>
                  <a:lnTo>
                    <a:pt x="422" y="173"/>
                  </a:lnTo>
                  <a:lnTo>
                    <a:pt x="425" y="166"/>
                  </a:lnTo>
                  <a:lnTo>
                    <a:pt x="419" y="166"/>
                  </a:lnTo>
                  <a:lnTo>
                    <a:pt x="416" y="173"/>
                  </a:lnTo>
                  <a:lnTo>
                    <a:pt x="416" y="173"/>
                  </a:lnTo>
                  <a:lnTo>
                    <a:pt x="416" y="173"/>
                  </a:lnTo>
                  <a:lnTo>
                    <a:pt x="416" y="173"/>
                  </a:lnTo>
                  <a:lnTo>
                    <a:pt x="416" y="173"/>
                  </a:lnTo>
                  <a:lnTo>
                    <a:pt x="416" y="173"/>
                  </a:lnTo>
                  <a:lnTo>
                    <a:pt x="416" y="173"/>
                  </a:lnTo>
                  <a:lnTo>
                    <a:pt x="416" y="173"/>
                  </a:lnTo>
                  <a:lnTo>
                    <a:pt x="416" y="173"/>
                  </a:lnTo>
                  <a:close/>
                  <a:moveTo>
                    <a:pt x="419" y="166"/>
                  </a:moveTo>
                  <a:lnTo>
                    <a:pt x="419" y="166"/>
                  </a:lnTo>
                  <a:lnTo>
                    <a:pt x="422" y="166"/>
                  </a:lnTo>
                  <a:lnTo>
                    <a:pt x="419" y="166"/>
                  </a:lnTo>
                  <a:lnTo>
                    <a:pt x="419" y="166"/>
                  </a:lnTo>
                  <a:lnTo>
                    <a:pt x="419" y="166"/>
                  </a:lnTo>
                  <a:lnTo>
                    <a:pt x="419" y="166"/>
                  </a:lnTo>
                  <a:lnTo>
                    <a:pt x="419" y="166"/>
                  </a:lnTo>
                  <a:lnTo>
                    <a:pt x="419" y="166"/>
                  </a:lnTo>
                  <a:lnTo>
                    <a:pt x="419" y="166"/>
                  </a:lnTo>
                  <a:lnTo>
                    <a:pt x="419" y="166"/>
                  </a:lnTo>
                  <a:lnTo>
                    <a:pt x="419" y="166"/>
                  </a:lnTo>
                  <a:close/>
                  <a:moveTo>
                    <a:pt x="1" y="233"/>
                  </a:moveTo>
                  <a:lnTo>
                    <a:pt x="8" y="231"/>
                  </a:lnTo>
                  <a:lnTo>
                    <a:pt x="0" y="233"/>
                  </a:lnTo>
                  <a:lnTo>
                    <a:pt x="1" y="233"/>
                  </a:lnTo>
                  <a:lnTo>
                    <a:pt x="1" y="233"/>
                  </a:lnTo>
                  <a:lnTo>
                    <a:pt x="1" y="233"/>
                  </a:lnTo>
                  <a:lnTo>
                    <a:pt x="1" y="233"/>
                  </a:lnTo>
                  <a:lnTo>
                    <a:pt x="1" y="233"/>
                  </a:lnTo>
                  <a:lnTo>
                    <a:pt x="1" y="233"/>
                  </a:lnTo>
                  <a:lnTo>
                    <a:pt x="1" y="233"/>
                  </a:lnTo>
                  <a:lnTo>
                    <a:pt x="1" y="233"/>
                  </a:lnTo>
                  <a:lnTo>
                    <a:pt x="1" y="233"/>
                  </a:lnTo>
                  <a:close/>
                  <a:moveTo>
                    <a:pt x="23" y="222"/>
                  </a:moveTo>
                  <a:lnTo>
                    <a:pt x="17" y="225"/>
                  </a:lnTo>
                  <a:lnTo>
                    <a:pt x="15" y="225"/>
                  </a:lnTo>
                  <a:lnTo>
                    <a:pt x="17" y="228"/>
                  </a:lnTo>
                  <a:lnTo>
                    <a:pt x="14" y="228"/>
                  </a:lnTo>
                  <a:lnTo>
                    <a:pt x="11" y="228"/>
                  </a:lnTo>
                  <a:lnTo>
                    <a:pt x="11" y="231"/>
                  </a:lnTo>
                  <a:lnTo>
                    <a:pt x="8" y="231"/>
                  </a:lnTo>
                  <a:lnTo>
                    <a:pt x="14" y="231"/>
                  </a:lnTo>
                  <a:lnTo>
                    <a:pt x="17" y="228"/>
                  </a:lnTo>
                  <a:lnTo>
                    <a:pt x="20" y="228"/>
                  </a:lnTo>
                  <a:lnTo>
                    <a:pt x="22" y="228"/>
                  </a:lnTo>
                  <a:lnTo>
                    <a:pt x="19" y="228"/>
                  </a:lnTo>
                  <a:lnTo>
                    <a:pt x="23" y="225"/>
                  </a:lnTo>
                  <a:lnTo>
                    <a:pt x="25" y="225"/>
                  </a:lnTo>
                  <a:lnTo>
                    <a:pt x="27" y="222"/>
                  </a:lnTo>
                  <a:lnTo>
                    <a:pt x="20" y="225"/>
                  </a:lnTo>
                  <a:lnTo>
                    <a:pt x="23" y="222"/>
                  </a:lnTo>
                  <a:lnTo>
                    <a:pt x="23" y="222"/>
                  </a:lnTo>
                  <a:lnTo>
                    <a:pt x="23" y="222"/>
                  </a:lnTo>
                  <a:lnTo>
                    <a:pt x="23" y="222"/>
                  </a:lnTo>
                  <a:lnTo>
                    <a:pt x="23" y="222"/>
                  </a:lnTo>
                  <a:lnTo>
                    <a:pt x="23" y="222"/>
                  </a:lnTo>
                  <a:lnTo>
                    <a:pt x="23" y="222"/>
                  </a:lnTo>
                  <a:lnTo>
                    <a:pt x="23" y="222"/>
                  </a:lnTo>
                  <a:lnTo>
                    <a:pt x="23" y="222"/>
                  </a:lnTo>
                  <a:close/>
                  <a:moveTo>
                    <a:pt x="35" y="220"/>
                  </a:moveTo>
                  <a:lnTo>
                    <a:pt x="31" y="222"/>
                  </a:lnTo>
                  <a:lnTo>
                    <a:pt x="30" y="222"/>
                  </a:lnTo>
                  <a:lnTo>
                    <a:pt x="31" y="222"/>
                  </a:lnTo>
                  <a:lnTo>
                    <a:pt x="36" y="222"/>
                  </a:lnTo>
                  <a:lnTo>
                    <a:pt x="35" y="222"/>
                  </a:lnTo>
                  <a:lnTo>
                    <a:pt x="35" y="220"/>
                  </a:lnTo>
                  <a:lnTo>
                    <a:pt x="35" y="220"/>
                  </a:lnTo>
                  <a:lnTo>
                    <a:pt x="35" y="220"/>
                  </a:lnTo>
                  <a:lnTo>
                    <a:pt x="35" y="220"/>
                  </a:lnTo>
                  <a:lnTo>
                    <a:pt x="35" y="220"/>
                  </a:lnTo>
                  <a:lnTo>
                    <a:pt x="35" y="220"/>
                  </a:lnTo>
                  <a:lnTo>
                    <a:pt x="35" y="220"/>
                  </a:lnTo>
                  <a:lnTo>
                    <a:pt x="35" y="220"/>
                  </a:lnTo>
                  <a:lnTo>
                    <a:pt x="35" y="220"/>
                  </a:lnTo>
                  <a:close/>
                  <a:moveTo>
                    <a:pt x="73" y="209"/>
                  </a:moveTo>
                  <a:lnTo>
                    <a:pt x="68" y="209"/>
                  </a:lnTo>
                  <a:lnTo>
                    <a:pt x="62" y="211"/>
                  </a:lnTo>
                  <a:lnTo>
                    <a:pt x="60" y="211"/>
                  </a:lnTo>
                  <a:lnTo>
                    <a:pt x="57" y="212"/>
                  </a:lnTo>
                  <a:lnTo>
                    <a:pt x="50" y="216"/>
                  </a:lnTo>
                  <a:lnTo>
                    <a:pt x="49" y="217"/>
                  </a:lnTo>
                  <a:lnTo>
                    <a:pt x="52" y="219"/>
                  </a:lnTo>
                  <a:lnTo>
                    <a:pt x="55" y="217"/>
                  </a:lnTo>
                  <a:lnTo>
                    <a:pt x="60" y="216"/>
                  </a:lnTo>
                  <a:lnTo>
                    <a:pt x="63" y="216"/>
                  </a:lnTo>
                  <a:lnTo>
                    <a:pt x="68" y="214"/>
                  </a:lnTo>
                  <a:lnTo>
                    <a:pt x="69" y="214"/>
                  </a:lnTo>
                  <a:lnTo>
                    <a:pt x="71" y="214"/>
                  </a:lnTo>
                  <a:lnTo>
                    <a:pt x="73" y="214"/>
                  </a:lnTo>
                  <a:lnTo>
                    <a:pt x="71" y="212"/>
                  </a:lnTo>
                  <a:lnTo>
                    <a:pt x="73" y="209"/>
                  </a:lnTo>
                  <a:lnTo>
                    <a:pt x="73" y="209"/>
                  </a:lnTo>
                  <a:lnTo>
                    <a:pt x="73" y="209"/>
                  </a:lnTo>
                  <a:lnTo>
                    <a:pt x="73" y="209"/>
                  </a:lnTo>
                  <a:lnTo>
                    <a:pt x="73" y="209"/>
                  </a:lnTo>
                  <a:lnTo>
                    <a:pt x="73" y="209"/>
                  </a:lnTo>
                  <a:lnTo>
                    <a:pt x="73" y="209"/>
                  </a:lnTo>
                  <a:lnTo>
                    <a:pt x="73" y="209"/>
                  </a:lnTo>
                  <a:lnTo>
                    <a:pt x="73" y="209"/>
                  </a:lnTo>
                  <a:close/>
                  <a:moveTo>
                    <a:pt x="122" y="146"/>
                  </a:moveTo>
                  <a:lnTo>
                    <a:pt x="122" y="144"/>
                  </a:lnTo>
                  <a:lnTo>
                    <a:pt x="125" y="144"/>
                  </a:lnTo>
                  <a:lnTo>
                    <a:pt x="130" y="144"/>
                  </a:lnTo>
                  <a:lnTo>
                    <a:pt x="133" y="141"/>
                  </a:lnTo>
                  <a:lnTo>
                    <a:pt x="136" y="138"/>
                  </a:lnTo>
                  <a:lnTo>
                    <a:pt x="133" y="138"/>
                  </a:lnTo>
                  <a:lnTo>
                    <a:pt x="130" y="138"/>
                  </a:lnTo>
                  <a:lnTo>
                    <a:pt x="130" y="138"/>
                  </a:lnTo>
                  <a:lnTo>
                    <a:pt x="127" y="138"/>
                  </a:lnTo>
                  <a:lnTo>
                    <a:pt x="123" y="141"/>
                  </a:lnTo>
                  <a:lnTo>
                    <a:pt x="119" y="141"/>
                  </a:lnTo>
                  <a:lnTo>
                    <a:pt x="115" y="141"/>
                  </a:lnTo>
                  <a:lnTo>
                    <a:pt x="115" y="142"/>
                  </a:lnTo>
                  <a:lnTo>
                    <a:pt x="119" y="144"/>
                  </a:lnTo>
                  <a:lnTo>
                    <a:pt x="122" y="146"/>
                  </a:lnTo>
                  <a:lnTo>
                    <a:pt x="122" y="146"/>
                  </a:lnTo>
                  <a:lnTo>
                    <a:pt x="122" y="146"/>
                  </a:lnTo>
                  <a:lnTo>
                    <a:pt x="122" y="146"/>
                  </a:lnTo>
                  <a:lnTo>
                    <a:pt x="122" y="146"/>
                  </a:lnTo>
                  <a:lnTo>
                    <a:pt x="122" y="146"/>
                  </a:lnTo>
                  <a:lnTo>
                    <a:pt x="122" y="146"/>
                  </a:lnTo>
                  <a:lnTo>
                    <a:pt x="122" y="146"/>
                  </a:lnTo>
                  <a:lnTo>
                    <a:pt x="122" y="146"/>
                  </a:lnTo>
                  <a:close/>
                  <a:moveTo>
                    <a:pt x="203" y="184"/>
                  </a:moveTo>
                  <a:lnTo>
                    <a:pt x="200" y="185"/>
                  </a:lnTo>
                  <a:lnTo>
                    <a:pt x="200" y="185"/>
                  </a:lnTo>
                  <a:lnTo>
                    <a:pt x="203" y="185"/>
                  </a:lnTo>
                  <a:lnTo>
                    <a:pt x="206" y="184"/>
                  </a:lnTo>
                  <a:lnTo>
                    <a:pt x="206" y="182"/>
                  </a:lnTo>
                  <a:lnTo>
                    <a:pt x="203" y="184"/>
                  </a:lnTo>
                  <a:lnTo>
                    <a:pt x="203" y="184"/>
                  </a:lnTo>
                  <a:lnTo>
                    <a:pt x="203" y="184"/>
                  </a:lnTo>
                  <a:lnTo>
                    <a:pt x="203" y="184"/>
                  </a:lnTo>
                  <a:lnTo>
                    <a:pt x="203" y="184"/>
                  </a:lnTo>
                  <a:lnTo>
                    <a:pt x="203" y="184"/>
                  </a:lnTo>
                  <a:lnTo>
                    <a:pt x="203" y="184"/>
                  </a:lnTo>
                  <a:lnTo>
                    <a:pt x="203" y="184"/>
                  </a:lnTo>
                  <a:lnTo>
                    <a:pt x="203" y="184"/>
                  </a:lnTo>
                  <a:lnTo>
                    <a:pt x="203" y="184"/>
                  </a:lnTo>
                  <a:close/>
                  <a:moveTo>
                    <a:pt x="228" y="173"/>
                  </a:moveTo>
                  <a:lnTo>
                    <a:pt x="225" y="169"/>
                  </a:lnTo>
                  <a:lnTo>
                    <a:pt x="225" y="173"/>
                  </a:lnTo>
                  <a:lnTo>
                    <a:pt x="223" y="173"/>
                  </a:lnTo>
                  <a:lnTo>
                    <a:pt x="222" y="173"/>
                  </a:lnTo>
                  <a:lnTo>
                    <a:pt x="220" y="173"/>
                  </a:lnTo>
                  <a:lnTo>
                    <a:pt x="219" y="173"/>
                  </a:lnTo>
                  <a:lnTo>
                    <a:pt x="220" y="173"/>
                  </a:lnTo>
                  <a:lnTo>
                    <a:pt x="217" y="173"/>
                  </a:lnTo>
                  <a:lnTo>
                    <a:pt x="216" y="173"/>
                  </a:lnTo>
                  <a:lnTo>
                    <a:pt x="214" y="176"/>
                  </a:lnTo>
                  <a:lnTo>
                    <a:pt x="214" y="176"/>
                  </a:lnTo>
                  <a:lnTo>
                    <a:pt x="212" y="176"/>
                  </a:lnTo>
                  <a:lnTo>
                    <a:pt x="211" y="176"/>
                  </a:lnTo>
                  <a:lnTo>
                    <a:pt x="211" y="176"/>
                  </a:lnTo>
                  <a:lnTo>
                    <a:pt x="209" y="176"/>
                  </a:lnTo>
                  <a:lnTo>
                    <a:pt x="206" y="176"/>
                  </a:lnTo>
                  <a:lnTo>
                    <a:pt x="203" y="176"/>
                  </a:lnTo>
                  <a:lnTo>
                    <a:pt x="200" y="177"/>
                  </a:lnTo>
                  <a:lnTo>
                    <a:pt x="200" y="181"/>
                  </a:lnTo>
                  <a:lnTo>
                    <a:pt x="198" y="184"/>
                  </a:lnTo>
                  <a:lnTo>
                    <a:pt x="200" y="184"/>
                  </a:lnTo>
                  <a:lnTo>
                    <a:pt x="203" y="181"/>
                  </a:lnTo>
                  <a:lnTo>
                    <a:pt x="200" y="182"/>
                  </a:lnTo>
                  <a:lnTo>
                    <a:pt x="203" y="181"/>
                  </a:lnTo>
                  <a:lnTo>
                    <a:pt x="203" y="181"/>
                  </a:lnTo>
                  <a:lnTo>
                    <a:pt x="206" y="181"/>
                  </a:lnTo>
                  <a:lnTo>
                    <a:pt x="203" y="182"/>
                  </a:lnTo>
                  <a:lnTo>
                    <a:pt x="206" y="181"/>
                  </a:lnTo>
                  <a:lnTo>
                    <a:pt x="203" y="182"/>
                  </a:lnTo>
                  <a:lnTo>
                    <a:pt x="206" y="182"/>
                  </a:lnTo>
                  <a:lnTo>
                    <a:pt x="217" y="179"/>
                  </a:lnTo>
                  <a:lnTo>
                    <a:pt x="216" y="177"/>
                  </a:lnTo>
                  <a:lnTo>
                    <a:pt x="220" y="179"/>
                  </a:lnTo>
                  <a:lnTo>
                    <a:pt x="222" y="177"/>
                  </a:lnTo>
                  <a:lnTo>
                    <a:pt x="222" y="176"/>
                  </a:lnTo>
                  <a:lnTo>
                    <a:pt x="223" y="176"/>
                  </a:lnTo>
                  <a:lnTo>
                    <a:pt x="227" y="177"/>
                  </a:lnTo>
                  <a:lnTo>
                    <a:pt x="231" y="176"/>
                  </a:lnTo>
                  <a:lnTo>
                    <a:pt x="230" y="176"/>
                  </a:lnTo>
                  <a:lnTo>
                    <a:pt x="231" y="173"/>
                  </a:lnTo>
                  <a:lnTo>
                    <a:pt x="231" y="173"/>
                  </a:lnTo>
                  <a:lnTo>
                    <a:pt x="231" y="169"/>
                  </a:lnTo>
                  <a:lnTo>
                    <a:pt x="228" y="173"/>
                  </a:lnTo>
                  <a:lnTo>
                    <a:pt x="228" y="173"/>
                  </a:lnTo>
                  <a:lnTo>
                    <a:pt x="228" y="173"/>
                  </a:lnTo>
                  <a:lnTo>
                    <a:pt x="228" y="173"/>
                  </a:lnTo>
                  <a:lnTo>
                    <a:pt x="228" y="173"/>
                  </a:lnTo>
                  <a:lnTo>
                    <a:pt x="228" y="173"/>
                  </a:lnTo>
                  <a:lnTo>
                    <a:pt x="228" y="173"/>
                  </a:lnTo>
                  <a:lnTo>
                    <a:pt x="228" y="173"/>
                  </a:lnTo>
                  <a:lnTo>
                    <a:pt x="228" y="173"/>
                  </a:lnTo>
                  <a:close/>
                  <a:moveTo>
                    <a:pt x="147" y="103"/>
                  </a:moveTo>
                  <a:lnTo>
                    <a:pt x="149" y="103"/>
                  </a:lnTo>
                  <a:lnTo>
                    <a:pt x="154" y="103"/>
                  </a:lnTo>
                  <a:lnTo>
                    <a:pt x="155" y="100"/>
                  </a:lnTo>
                  <a:lnTo>
                    <a:pt x="157" y="100"/>
                  </a:lnTo>
                  <a:lnTo>
                    <a:pt x="154" y="100"/>
                  </a:lnTo>
                  <a:lnTo>
                    <a:pt x="150" y="96"/>
                  </a:lnTo>
                  <a:lnTo>
                    <a:pt x="147" y="96"/>
                  </a:lnTo>
                  <a:lnTo>
                    <a:pt x="146" y="100"/>
                  </a:lnTo>
                  <a:lnTo>
                    <a:pt x="141" y="103"/>
                  </a:lnTo>
                  <a:lnTo>
                    <a:pt x="141" y="103"/>
                  </a:lnTo>
                  <a:lnTo>
                    <a:pt x="142" y="103"/>
                  </a:lnTo>
                  <a:lnTo>
                    <a:pt x="141" y="106"/>
                  </a:lnTo>
                  <a:lnTo>
                    <a:pt x="147" y="103"/>
                  </a:lnTo>
                  <a:lnTo>
                    <a:pt x="147" y="103"/>
                  </a:lnTo>
                  <a:lnTo>
                    <a:pt x="147" y="103"/>
                  </a:lnTo>
                  <a:lnTo>
                    <a:pt x="147" y="103"/>
                  </a:lnTo>
                  <a:lnTo>
                    <a:pt x="147" y="103"/>
                  </a:lnTo>
                  <a:lnTo>
                    <a:pt x="147" y="103"/>
                  </a:lnTo>
                  <a:lnTo>
                    <a:pt x="147" y="103"/>
                  </a:lnTo>
                  <a:lnTo>
                    <a:pt x="147" y="103"/>
                  </a:lnTo>
                  <a:lnTo>
                    <a:pt x="147" y="103"/>
                  </a:lnTo>
                  <a:close/>
                  <a:moveTo>
                    <a:pt x="198" y="65"/>
                  </a:moveTo>
                  <a:lnTo>
                    <a:pt x="195" y="66"/>
                  </a:lnTo>
                  <a:lnTo>
                    <a:pt x="196" y="66"/>
                  </a:lnTo>
                  <a:lnTo>
                    <a:pt x="198" y="65"/>
                  </a:lnTo>
                  <a:lnTo>
                    <a:pt x="198" y="65"/>
                  </a:lnTo>
                  <a:lnTo>
                    <a:pt x="198" y="65"/>
                  </a:lnTo>
                  <a:lnTo>
                    <a:pt x="198" y="65"/>
                  </a:lnTo>
                  <a:lnTo>
                    <a:pt x="198" y="65"/>
                  </a:lnTo>
                  <a:lnTo>
                    <a:pt x="198" y="65"/>
                  </a:lnTo>
                  <a:lnTo>
                    <a:pt x="198" y="65"/>
                  </a:lnTo>
                  <a:lnTo>
                    <a:pt x="198" y="65"/>
                  </a:lnTo>
                  <a:lnTo>
                    <a:pt x="198" y="65"/>
                  </a:lnTo>
                  <a:close/>
                  <a:moveTo>
                    <a:pt x="393" y="195"/>
                  </a:moveTo>
                  <a:lnTo>
                    <a:pt x="397" y="192"/>
                  </a:lnTo>
                  <a:lnTo>
                    <a:pt x="400" y="187"/>
                  </a:lnTo>
                  <a:lnTo>
                    <a:pt x="403" y="184"/>
                  </a:lnTo>
                  <a:lnTo>
                    <a:pt x="406" y="177"/>
                  </a:lnTo>
                  <a:lnTo>
                    <a:pt x="404" y="176"/>
                  </a:lnTo>
                  <a:lnTo>
                    <a:pt x="403" y="176"/>
                  </a:lnTo>
                  <a:lnTo>
                    <a:pt x="401" y="177"/>
                  </a:lnTo>
                  <a:lnTo>
                    <a:pt x="400" y="177"/>
                  </a:lnTo>
                  <a:lnTo>
                    <a:pt x="398" y="179"/>
                  </a:lnTo>
                  <a:lnTo>
                    <a:pt x="400" y="179"/>
                  </a:lnTo>
                  <a:lnTo>
                    <a:pt x="398" y="181"/>
                  </a:lnTo>
                  <a:lnTo>
                    <a:pt x="398" y="182"/>
                  </a:lnTo>
                  <a:lnTo>
                    <a:pt x="397" y="184"/>
                  </a:lnTo>
                  <a:lnTo>
                    <a:pt x="395" y="185"/>
                  </a:lnTo>
                  <a:lnTo>
                    <a:pt x="397" y="185"/>
                  </a:lnTo>
                  <a:lnTo>
                    <a:pt x="395" y="187"/>
                  </a:lnTo>
                  <a:lnTo>
                    <a:pt x="397" y="187"/>
                  </a:lnTo>
                  <a:lnTo>
                    <a:pt x="398" y="187"/>
                  </a:lnTo>
                  <a:lnTo>
                    <a:pt x="395" y="190"/>
                  </a:lnTo>
                  <a:lnTo>
                    <a:pt x="393" y="195"/>
                  </a:lnTo>
                  <a:lnTo>
                    <a:pt x="393" y="195"/>
                  </a:lnTo>
                  <a:lnTo>
                    <a:pt x="393" y="195"/>
                  </a:lnTo>
                  <a:lnTo>
                    <a:pt x="393" y="195"/>
                  </a:lnTo>
                  <a:lnTo>
                    <a:pt x="393" y="195"/>
                  </a:lnTo>
                  <a:lnTo>
                    <a:pt x="393" y="195"/>
                  </a:lnTo>
                  <a:lnTo>
                    <a:pt x="393" y="195"/>
                  </a:lnTo>
                  <a:lnTo>
                    <a:pt x="393" y="195"/>
                  </a:lnTo>
                  <a:lnTo>
                    <a:pt x="393" y="195"/>
                  </a:lnTo>
                  <a:close/>
                  <a:moveTo>
                    <a:pt x="403" y="176"/>
                  </a:moveTo>
                  <a:lnTo>
                    <a:pt x="401" y="176"/>
                  </a:lnTo>
                  <a:lnTo>
                    <a:pt x="403" y="173"/>
                  </a:lnTo>
                  <a:lnTo>
                    <a:pt x="404" y="176"/>
                  </a:lnTo>
                  <a:lnTo>
                    <a:pt x="408" y="176"/>
                  </a:lnTo>
                  <a:lnTo>
                    <a:pt x="411" y="176"/>
                  </a:lnTo>
                  <a:lnTo>
                    <a:pt x="412" y="173"/>
                  </a:lnTo>
                  <a:lnTo>
                    <a:pt x="411" y="173"/>
                  </a:lnTo>
                  <a:lnTo>
                    <a:pt x="409" y="173"/>
                  </a:lnTo>
                  <a:lnTo>
                    <a:pt x="408" y="173"/>
                  </a:lnTo>
                  <a:lnTo>
                    <a:pt x="406" y="169"/>
                  </a:lnTo>
                  <a:lnTo>
                    <a:pt x="409" y="173"/>
                  </a:lnTo>
                  <a:lnTo>
                    <a:pt x="411" y="173"/>
                  </a:lnTo>
                  <a:lnTo>
                    <a:pt x="412" y="173"/>
                  </a:lnTo>
                  <a:lnTo>
                    <a:pt x="412" y="169"/>
                  </a:lnTo>
                  <a:lnTo>
                    <a:pt x="414" y="169"/>
                  </a:lnTo>
                  <a:lnTo>
                    <a:pt x="416" y="169"/>
                  </a:lnTo>
                  <a:lnTo>
                    <a:pt x="416" y="169"/>
                  </a:lnTo>
                  <a:lnTo>
                    <a:pt x="412" y="169"/>
                  </a:lnTo>
                  <a:lnTo>
                    <a:pt x="411" y="169"/>
                  </a:lnTo>
                  <a:lnTo>
                    <a:pt x="408" y="169"/>
                  </a:lnTo>
                  <a:lnTo>
                    <a:pt x="409" y="169"/>
                  </a:lnTo>
                  <a:lnTo>
                    <a:pt x="412" y="166"/>
                  </a:lnTo>
                  <a:lnTo>
                    <a:pt x="408" y="166"/>
                  </a:lnTo>
                  <a:lnTo>
                    <a:pt x="406" y="166"/>
                  </a:lnTo>
                  <a:lnTo>
                    <a:pt x="404" y="169"/>
                  </a:lnTo>
                  <a:lnTo>
                    <a:pt x="404" y="166"/>
                  </a:lnTo>
                  <a:lnTo>
                    <a:pt x="403" y="166"/>
                  </a:lnTo>
                  <a:lnTo>
                    <a:pt x="401" y="169"/>
                  </a:lnTo>
                  <a:lnTo>
                    <a:pt x="401" y="169"/>
                  </a:lnTo>
                  <a:lnTo>
                    <a:pt x="400" y="169"/>
                  </a:lnTo>
                  <a:lnTo>
                    <a:pt x="400" y="169"/>
                  </a:lnTo>
                  <a:lnTo>
                    <a:pt x="398" y="169"/>
                  </a:lnTo>
                  <a:lnTo>
                    <a:pt x="397" y="173"/>
                  </a:lnTo>
                  <a:lnTo>
                    <a:pt x="398" y="173"/>
                  </a:lnTo>
                  <a:lnTo>
                    <a:pt x="398" y="173"/>
                  </a:lnTo>
                  <a:lnTo>
                    <a:pt x="400" y="176"/>
                  </a:lnTo>
                  <a:lnTo>
                    <a:pt x="398" y="176"/>
                  </a:lnTo>
                  <a:lnTo>
                    <a:pt x="398" y="176"/>
                  </a:lnTo>
                  <a:lnTo>
                    <a:pt x="398" y="177"/>
                  </a:lnTo>
                  <a:lnTo>
                    <a:pt x="400" y="177"/>
                  </a:lnTo>
                  <a:lnTo>
                    <a:pt x="401" y="176"/>
                  </a:lnTo>
                  <a:lnTo>
                    <a:pt x="403" y="176"/>
                  </a:lnTo>
                  <a:lnTo>
                    <a:pt x="403" y="176"/>
                  </a:lnTo>
                  <a:lnTo>
                    <a:pt x="403" y="176"/>
                  </a:lnTo>
                  <a:lnTo>
                    <a:pt x="403" y="176"/>
                  </a:lnTo>
                  <a:lnTo>
                    <a:pt x="403" y="176"/>
                  </a:lnTo>
                  <a:lnTo>
                    <a:pt x="403" y="176"/>
                  </a:lnTo>
                  <a:lnTo>
                    <a:pt x="403" y="176"/>
                  </a:lnTo>
                  <a:lnTo>
                    <a:pt x="403" y="176"/>
                  </a:lnTo>
                  <a:lnTo>
                    <a:pt x="403" y="176"/>
                  </a:lnTo>
                  <a:close/>
                  <a:moveTo>
                    <a:pt x="409" y="189"/>
                  </a:moveTo>
                  <a:lnTo>
                    <a:pt x="409" y="190"/>
                  </a:lnTo>
                  <a:lnTo>
                    <a:pt x="412" y="190"/>
                  </a:lnTo>
                  <a:lnTo>
                    <a:pt x="416" y="189"/>
                  </a:lnTo>
                  <a:lnTo>
                    <a:pt x="416" y="187"/>
                  </a:lnTo>
                  <a:lnTo>
                    <a:pt x="416" y="185"/>
                  </a:lnTo>
                  <a:lnTo>
                    <a:pt x="419" y="187"/>
                  </a:lnTo>
                  <a:lnTo>
                    <a:pt x="419" y="187"/>
                  </a:lnTo>
                  <a:lnTo>
                    <a:pt x="419" y="184"/>
                  </a:lnTo>
                  <a:lnTo>
                    <a:pt x="419" y="182"/>
                  </a:lnTo>
                  <a:lnTo>
                    <a:pt x="416" y="182"/>
                  </a:lnTo>
                  <a:lnTo>
                    <a:pt x="412" y="182"/>
                  </a:lnTo>
                  <a:lnTo>
                    <a:pt x="412" y="184"/>
                  </a:lnTo>
                  <a:lnTo>
                    <a:pt x="411" y="185"/>
                  </a:lnTo>
                  <a:lnTo>
                    <a:pt x="412" y="185"/>
                  </a:lnTo>
                  <a:lnTo>
                    <a:pt x="411" y="187"/>
                  </a:lnTo>
                  <a:lnTo>
                    <a:pt x="409" y="189"/>
                  </a:lnTo>
                  <a:lnTo>
                    <a:pt x="409" y="189"/>
                  </a:lnTo>
                  <a:lnTo>
                    <a:pt x="409" y="189"/>
                  </a:lnTo>
                  <a:lnTo>
                    <a:pt x="409" y="189"/>
                  </a:lnTo>
                  <a:lnTo>
                    <a:pt x="409" y="189"/>
                  </a:lnTo>
                  <a:lnTo>
                    <a:pt x="409" y="189"/>
                  </a:lnTo>
                  <a:lnTo>
                    <a:pt x="409" y="189"/>
                  </a:lnTo>
                  <a:lnTo>
                    <a:pt x="409" y="189"/>
                  </a:lnTo>
                  <a:lnTo>
                    <a:pt x="409" y="189"/>
                  </a:lnTo>
                  <a:close/>
                  <a:moveTo>
                    <a:pt x="411" y="196"/>
                  </a:moveTo>
                  <a:lnTo>
                    <a:pt x="409" y="196"/>
                  </a:lnTo>
                  <a:lnTo>
                    <a:pt x="411" y="195"/>
                  </a:lnTo>
                  <a:lnTo>
                    <a:pt x="411" y="192"/>
                  </a:lnTo>
                  <a:lnTo>
                    <a:pt x="408" y="193"/>
                  </a:lnTo>
                  <a:lnTo>
                    <a:pt x="404" y="193"/>
                  </a:lnTo>
                  <a:lnTo>
                    <a:pt x="408" y="195"/>
                  </a:lnTo>
                  <a:lnTo>
                    <a:pt x="406" y="195"/>
                  </a:lnTo>
                  <a:lnTo>
                    <a:pt x="404" y="196"/>
                  </a:lnTo>
                  <a:lnTo>
                    <a:pt x="401" y="196"/>
                  </a:lnTo>
                  <a:lnTo>
                    <a:pt x="400" y="198"/>
                  </a:lnTo>
                  <a:lnTo>
                    <a:pt x="403" y="198"/>
                  </a:lnTo>
                  <a:lnTo>
                    <a:pt x="404" y="198"/>
                  </a:lnTo>
                  <a:lnTo>
                    <a:pt x="403" y="200"/>
                  </a:lnTo>
                  <a:lnTo>
                    <a:pt x="404" y="200"/>
                  </a:lnTo>
                  <a:lnTo>
                    <a:pt x="403" y="200"/>
                  </a:lnTo>
                  <a:lnTo>
                    <a:pt x="401" y="200"/>
                  </a:lnTo>
                  <a:lnTo>
                    <a:pt x="400" y="201"/>
                  </a:lnTo>
                  <a:lnTo>
                    <a:pt x="404" y="201"/>
                  </a:lnTo>
                  <a:lnTo>
                    <a:pt x="403" y="203"/>
                  </a:lnTo>
                  <a:lnTo>
                    <a:pt x="401" y="203"/>
                  </a:lnTo>
                  <a:lnTo>
                    <a:pt x="403" y="204"/>
                  </a:lnTo>
                  <a:lnTo>
                    <a:pt x="400" y="204"/>
                  </a:lnTo>
                  <a:lnTo>
                    <a:pt x="398" y="204"/>
                  </a:lnTo>
                  <a:lnTo>
                    <a:pt x="397" y="206"/>
                  </a:lnTo>
                  <a:lnTo>
                    <a:pt x="398" y="206"/>
                  </a:lnTo>
                  <a:lnTo>
                    <a:pt x="400" y="206"/>
                  </a:lnTo>
                  <a:lnTo>
                    <a:pt x="401" y="206"/>
                  </a:lnTo>
                  <a:lnTo>
                    <a:pt x="401" y="208"/>
                  </a:lnTo>
                  <a:lnTo>
                    <a:pt x="403" y="206"/>
                  </a:lnTo>
                  <a:lnTo>
                    <a:pt x="401" y="209"/>
                  </a:lnTo>
                  <a:lnTo>
                    <a:pt x="401" y="211"/>
                  </a:lnTo>
                  <a:lnTo>
                    <a:pt x="400" y="212"/>
                  </a:lnTo>
                  <a:lnTo>
                    <a:pt x="401" y="212"/>
                  </a:lnTo>
                  <a:lnTo>
                    <a:pt x="400" y="214"/>
                  </a:lnTo>
                  <a:lnTo>
                    <a:pt x="403" y="214"/>
                  </a:lnTo>
                  <a:lnTo>
                    <a:pt x="404" y="212"/>
                  </a:lnTo>
                  <a:lnTo>
                    <a:pt x="408" y="209"/>
                  </a:lnTo>
                  <a:lnTo>
                    <a:pt x="404" y="209"/>
                  </a:lnTo>
                  <a:lnTo>
                    <a:pt x="409" y="206"/>
                  </a:lnTo>
                  <a:lnTo>
                    <a:pt x="408" y="206"/>
                  </a:lnTo>
                  <a:lnTo>
                    <a:pt x="409" y="204"/>
                  </a:lnTo>
                  <a:lnTo>
                    <a:pt x="408" y="204"/>
                  </a:lnTo>
                  <a:lnTo>
                    <a:pt x="409" y="203"/>
                  </a:lnTo>
                  <a:lnTo>
                    <a:pt x="411" y="203"/>
                  </a:lnTo>
                  <a:lnTo>
                    <a:pt x="412" y="198"/>
                  </a:lnTo>
                  <a:lnTo>
                    <a:pt x="411" y="196"/>
                  </a:lnTo>
                  <a:lnTo>
                    <a:pt x="411" y="196"/>
                  </a:lnTo>
                  <a:lnTo>
                    <a:pt x="411" y="196"/>
                  </a:lnTo>
                  <a:lnTo>
                    <a:pt x="411" y="196"/>
                  </a:lnTo>
                  <a:lnTo>
                    <a:pt x="411" y="196"/>
                  </a:lnTo>
                  <a:lnTo>
                    <a:pt x="411" y="196"/>
                  </a:lnTo>
                  <a:lnTo>
                    <a:pt x="411" y="196"/>
                  </a:lnTo>
                  <a:lnTo>
                    <a:pt x="411" y="196"/>
                  </a:lnTo>
                  <a:lnTo>
                    <a:pt x="411" y="19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62" name="Freeform 369">
              <a:extLst>
                <a:ext uri="{FF2B5EF4-FFF2-40B4-BE49-F238E27FC236}">
                  <a16:creationId xmlns:a16="http://schemas.microsoft.com/office/drawing/2014/main" id="{5EFCF818-6863-2AF6-C238-A2009F1D02FD}"/>
                </a:ext>
              </a:extLst>
            </p:cNvPr>
            <p:cNvSpPr>
              <a:spLocks noEditPoints="1"/>
            </p:cNvSpPr>
            <p:nvPr/>
          </p:nvSpPr>
          <p:spPr bwMode="auto">
            <a:xfrm>
              <a:off x="4530997" y="1512870"/>
              <a:ext cx="1146210" cy="601143"/>
            </a:xfrm>
            <a:custGeom>
              <a:avLst/>
              <a:gdLst>
                <a:gd name="T0" fmla="*/ 114 w 511"/>
                <a:gd name="T1" fmla="*/ 261 h 268"/>
                <a:gd name="T2" fmla="*/ 394 w 511"/>
                <a:gd name="T3" fmla="*/ 107 h 268"/>
                <a:gd name="T4" fmla="*/ 376 w 511"/>
                <a:gd name="T5" fmla="*/ 111 h 268"/>
                <a:gd name="T6" fmla="*/ 74 w 511"/>
                <a:gd name="T7" fmla="*/ 195 h 268"/>
                <a:gd name="T8" fmla="*/ 82 w 511"/>
                <a:gd name="T9" fmla="*/ 170 h 268"/>
                <a:gd name="T10" fmla="*/ 87 w 511"/>
                <a:gd name="T11" fmla="*/ 143 h 268"/>
                <a:gd name="T12" fmla="*/ 462 w 511"/>
                <a:gd name="T13" fmla="*/ 18 h 268"/>
                <a:gd name="T14" fmla="*/ 408 w 511"/>
                <a:gd name="T15" fmla="*/ 16 h 268"/>
                <a:gd name="T16" fmla="*/ 352 w 511"/>
                <a:gd name="T17" fmla="*/ 0 h 268"/>
                <a:gd name="T18" fmla="*/ 265 w 511"/>
                <a:gd name="T19" fmla="*/ 5 h 268"/>
                <a:gd name="T20" fmla="*/ 251 w 511"/>
                <a:gd name="T21" fmla="*/ 13 h 268"/>
                <a:gd name="T22" fmla="*/ 157 w 511"/>
                <a:gd name="T23" fmla="*/ 16 h 268"/>
                <a:gd name="T24" fmla="*/ 87 w 511"/>
                <a:gd name="T25" fmla="*/ 30 h 268"/>
                <a:gd name="T26" fmla="*/ 25 w 511"/>
                <a:gd name="T27" fmla="*/ 57 h 268"/>
                <a:gd name="T28" fmla="*/ 28 w 511"/>
                <a:gd name="T29" fmla="*/ 65 h 268"/>
                <a:gd name="T30" fmla="*/ 63 w 511"/>
                <a:gd name="T31" fmla="*/ 70 h 268"/>
                <a:gd name="T32" fmla="*/ 106 w 511"/>
                <a:gd name="T33" fmla="*/ 87 h 268"/>
                <a:gd name="T34" fmla="*/ 100 w 511"/>
                <a:gd name="T35" fmla="*/ 118 h 268"/>
                <a:gd name="T36" fmla="*/ 125 w 511"/>
                <a:gd name="T37" fmla="*/ 124 h 268"/>
                <a:gd name="T38" fmla="*/ 125 w 511"/>
                <a:gd name="T39" fmla="*/ 138 h 268"/>
                <a:gd name="T40" fmla="*/ 122 w 511"/>
                <a:gd name="T41" fmla="*/ 146 h 268"/>
                <a:gd name="T42" fmla="*/ 100 w 511"/>
                <a:gd name="T43" fmla="*/ 162 h 268"/>
                <a:gd name="T44" fmla="*/ 109 w 511"/>
                <a:gd name="T45" fmla="*/ 167 h 268"/>
                <a:gd name="T46" fmla="*/ 87 w 511"/>
                <a:gd name="T47" fmla="*/ 170 h 268"/>
                <a:gd name="T48" fmla="*/ 73 w 511"/>
                <a:gd name="T49" fmla="*/ 188 h 268"/>
                <a:gd name="T50" fmla="*/ 79 w 511"/>
                <a:gd name="T51" fmla="*/ 200 h 268"/>
                <a:gd name="T52" fmla="*/ 97 w 511"/>
                <a:gd name="T53" fmla="*/ 210 h 268"/>
                <a:gd name="T54" fmla="*/ 81 w 511"/>
                <a:gd name="T55" fmla="*/ 226 h 268"/>
                <a:gd name="T56" fmla="*/ 93 w 511"/>
                <a:gd name="T57" fmla="*/ 243 h 268"/>
                <a:gd name="T58" fmla="*/ 105 w 511"/>
                <a:gd name="T59" fmla="*/ 257 h 268"/>
                <a:gd name="T60" fmla="*/ 122 w 511"/>
                <a:gd name="T61" fmla="*/ 261 h 268"/>
                <a:gd name="T62" fmla="*/ 143 w 511"/>
                <a:gd name="T63" fmla="*/ 267 h 268"/>
                <a:gd name="T64" fmla="*/ 147 w 511"/>
                <a:gd name="T65" fmla="*/ 251 h 268"/>
                <a:gd name="T66" fmla="*/ 166 w 511"/>
                <a:gd name="T67" fmla="*/ 232 h 268"/>
                <a:gd name="T68" fmla="*/ 186 w 511"/>
                <a:gd name="T69" fmla="*/ 221 h 268"/>
                <a:gd name="T70" fmla="*/ 201 w 511"/>
                <a:gd name="T71" fmla="*/ 197 h 268"/>
                <a:gd name="T72" fmla="*/ 230 w 511"/>
                <a:gd name="T73" fmla="*/ 192 h 268"/>
                <a:gd name="T74" fmla="*/ 265 w 511"/>
                <a:gd name="T75" fmla="*/ 178 h 268"/>
                <a:gd name="T76" fmla="*/ 301 w 511"/>
                <a:gd name="T77" fmla="*/ 165 h 268"/>
                <a:gd name="T78" fmla="*/ 359 w 511"/>
                <a:gd name="T79" fmla="*/ 151 h 268"/>
                <a:gd name="T80" fmla="*/ 349 w 511"/>
                <a:gd name="T81" fmla="*/ 138 h 268"/>
                <a:gd name="T82" fmla="*/ 357 w 511"/>
                <a:gd name="T83" fmla="*/ 124 h 268"/>
                <a:gd name="T84" fmla="*/ 394 w 511"/>
                <a:gd name="T85" fmla="*/ 127 h 268"/>
                <a:gd name="T86" fmla="*/ 365 w 511"/>
                <a:gd name="T87" fmla="*/ 110 h 268"/>
                <a:gd name="T88" fmla="*/ 371 w 511"/>
                <a:gd name="T89" fmla="*/ 97 h 268"/>
                <a:gd name="T90" fmla="*/ 400 w 511"/>
                <a:gd name="T91" fmla="*/ 97 h 268"/>
                <a:gd name="T92" fmla="*/ 416 w 511"/>
                <a:gd name="T93" fmla="*/ 86 h 268"/>
                <a:gd name="T94" fmla="*/ 427 w 511"/>
                <a:gd name="T95" fmla="*/ 72 h 268"/>
                <a:gd name="T96" fmla="*/ 441 w 511"/>
                <a:gd name="T97" fmla="*/ 59 h 268"/>
                <a:gd name="T98" fmla="*/ 433 w 511"/>
                <a:gd name="T99" fmla="*/ 41 h 268"/>
                <a:gd name="T100" fmla="*/ 467 w 511"/>
                <a:gd name="T101" fmla="*/ 29 h 268"/>
                <a:gd name="T102" fmla="*/ 103 w 511"/>
                <a:gd name="T103" fmla="*/ 119 h 268"/>
                <a:gd name="T104" fmla="*/ 90 w 511"/>
                <a:gd name="T105" fmla="*/ 215 h 268"/>
                <a:gd name="T106" fmla="*/ 90 w 511"/>
                <a:gd name="T107" fmla="*/ 184 h 268"/>
                <a:gd name="T108" fmla="*/ 105 w 511"/>
                <a:gd name="T109" fmla="*/ 181 h 268"/>
                <a:gd name="T110" fmla="*/ 111 w 511"/>
                <a:gd name="T111" fmla="*/ 173 h 268"/>
                <a:gd name="T112" fmla="*/ 295 w 511"/>
                <a:gd name="T113" fmla="*/ 7 h 268"/>
                <a:gd name="T114" fmla="*/ 362 w 511"/>
                <a:gd name="T115" fmla="*/ 3 h 268"/>
                <a:gd name="T116" fmla="*/ 343 w 511"/>
                <a:gd name="T117" fmla="*/ 141 h 268"/>
                <a:gd name="T118" fmla="*/ 338 w 511"/>
                <a:gd name="T119" fmla="*/ 7 h 268"/>
                <a:gd name="T120" fmla="*/ 367 w 511"/>
                <a:gd name="T121" fmla="*/ 13 h 268"/>
                <a:gd name="T122" fmla="*/ 101 w 511"/>
                <a:gd name="T123" fmla="*/ 113 h 268"/>
                <a:gd name="T124" fmla="*/ 9 w 511"/>
                <a:gd name="T125" fmla="*/ 5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268">
                  <a:moveTo>
                    <a:pt x="116" y="257"/>
                  </a:moveTo>
                  <a:lnTo>
                    <a:pt x="116" y="257"/>
                  </a:lnTo>
                  <a:lnTo>
                    <a:pt x="116" y="257"/>
                  </a:lnTo>
                  <a:lnTo>
                    <a:pt x="116" y="257"/>
                  </a:lnTo>
                  <a:lnTo>
                    <a:pt x="116" y="257"/>
                  </a:lnTo>
                  <a:lnTo>
                    <a:pt x="116" y="257"/>
                  </a:lnTo>
                  <a:lnTo>
                    <a:pt x="116" y="257"/>
                  </a:lnTo>
                  <a:lnTo>
                    <a:pt x="116" y="257"/>
                  </a:lnTo>
                  <a:lnTo>
                    <a:pt x="116" y="257"/>
                  </a:lnTo>
                  <a:lnTo>
                    <a:pt x="116" y="257"/>
                  </a:lnTo>
                  <a:close/>
                  <a:moveTo>
                    <a:pt x="163" y="232"/>
                  </a:moveTo>
                  <a:lnTo>
                    <a:pt x="163" y="232"/>
                  </a:lnTo>
                  <a:lnTo>
                    <a:pt x="160" y="234"/>
                  </a:lnTo>
                  <a:lnTo>
                    <a:pt x="163" y="232"/>
                  </a:lnTo>
                  <a:lnTo>
                    <a:pt x="163" y="232"/>
                  </a:lnTo>
                  <a:lnTo>
                    <a:pt x="163" y="232"/>
                  </a:lnTo>
                  <a:lnTo>
                    <a:pt x="163" y="232"/>
                  </a:lnTo>
                  <a:lnTo>
                    <a:pt x="163" y="232"/>
                  </a:lnTo>
                  <a:lnTo>
                    <a:pt x="163" y="232"/>
                  </a:lnTo>
                  <a:lnTo>
                    <a:pt x="163" y="232"/>
                  </a:lnTo>
                  <a:close/>
                  <a:moveTo>
                    <a:pt x="114" y="261"/>
                  </a:moveTo>
                  <a:lnTo>
                    <a:pt x="116" y="257"/>
                  </a:lnTo>
                  <a:lnTo>
                    <a:pt x="113" y="261"/>
                  </a:lnTo>
                  <a:lnTo>
                    <a:pt x="114" y="261"/>
                  </a:lnTo>
                  <a:lnTo>
                    <a:pt x="114" y="261"/>
                  </a:lnTo>
                  <a:lnTo>
                    <a:pt x="114" y="261"/>
                  </a:lnTo>
                  <a:lnTo>
                    <a:pt x="114" y="261"/>
                  </a:lnTo>
                  <a:lnTo>
                    <a:pt x="114" y="261"/>
                  </a:lnTo>
                  <a:lnTo>
                    <a:pt x="114" y="261"/>
                  </a:lnTo>
                  <a:lnTo>
                    <a:pt x="114" y="261"/>
                  </a:lnTo>
                  <a:close/>
                  <a:moveTo>
                    <a:pt x="443" y="83"/>
                  </a:moveTo>
                  <a:lnTo>
                    <a:pt x="441" y="83"/>
                  </a:lnTo>
                  <a:lnTo>
                    <a:pt x="440" y="83"/>
                  </a:lnTo>
                  <a:lnTo>
                    <a:pt x="436" y="80"/>
                  </a:lnTo>
                  <a:lnTo>
                    <a:pt x="433" y="83"/>
                  </a:lnTo>
                  <a:lnTo>
                    <a:pt x="432" y="86"/>
                  </a:lnTo>
                  <a:lnTo>
                    <a:pt x="441" y="86"/>
                  </a:lnTo>
                  <a:lnTo>
                    <a:pt x="444" y="86"/>
                  </a:lnTo>
                  <a:lnTo>
                    <a:pt x="446" y="83"/>
                  </a:lnTo>
                  <a:lnTo>
                    <a:pt x="444" y="83"/>
                  </a:lnTo>
                  <a:lnTo>
                    <a:pt x="443" y="83"/>
                  </a:lnTo>
                  <a:lnTo>
                    <a:pt x="443" y="83"/>
                  </a:lnTo>
                  <a:lnTo>
                    <a:pt x="443" y="83"/>
                  </a:lnTo>
                  <a:lnTo>
                    <a:pt x="443" y="83"/>
                  </a:lnTo>
                  <a:lnTo>
                    <a:pt x="443" y="83"/>
                  </a:lnTo>
                  <a:lnTo>
                    <a:pt x="443" y="83"/>
                  </a:lnTo>
                  <a:lnTo>
                    <a:pt x="443" y="83"/>
                  </a:lnTo>
                  <a:close/>
                  <a:moveTo>
                    <a:pt x="394" y="107"/>
                  </a:moveTo>
                  <a:lnTo>
                    <a:pt x="387" y="107"/>
                  </a:lnTo>
                  <a:lnTo>
                    <a:pt x="381" y="107"/>
                  </a:lnTo>
                  <a:lnTo>
                    <a:pt x="376" y="110"/>
                  </a:lnTo>
                  <a:lnTo>
                    <a:pt x="382" y="107"/>
                  </a:lnTo>
                  <a:lnTo>
                    <a:pt x="389" y="110"/>
                  </a:lnTo>
                  <a:lnTo>
                    <a:pt x="392" y="110"/>
                  </a:lnTo>
                  <a:lnTo>
                    <a:pt x="397" y="110"/>
                  </a:lnTo>
                  <a:lnTo>
                    <a:pt x="397" y="110"/>
                  </a:lnTo>
                  <a:lnTo>
                    <a:pt x="398" y="110"/>
                  </a:lnTo>
                  <a:lnTo>
                    <a:pt x="394" y="107"/>
                  </a:lnTo>
                  <a:lnTo>
                    <a:pt x="394" y="107"/>
                  </a:lnTo>
                  <a:lnTo>
                    <a:pt x="394" y="107"/>
                  </a:lnTo>
                  <a:lnTo>
                    <a:pt x="394" y="107"/>
                  </a:lnTo>
                  <a:lnTo>
                    <a:pt x="394" y="107"/>
                  </a:lnTo>
                  <a:lnTo>
                    <a:pt x="394" y="107"/>
                  </a:lnTo>
                  <a:lnTo>
                    <a:pt x="394" y="107"/>
                  </a:lnTo>
                  <a:close/>
                  <a:moveTo>
                    <a:pt x="376" y="111"/>
                  </a:moveTo>
                  <a:lnTo>
                    <a:pt x="379" y="113"/>
                  </a:lnTo>
                  <a:lnTo>
                    <a:pt x="386" y="114"/>
                  </a:lnTo>
                  <a:lnTo>
                    <a:pt x="390" y="118"/>
                  </a:lnTo>
                  <a:lnTo>
                    <a:pt x="394" y="118"/>
                  </a:lnTo>
                  <a:lnTo>
                    <a:pt x="394" y="116"/>
                  </a:lnTo>
                  <a:lnTo>
                    <a:pt x="392" y="114"/>
                  </a:lnTo>
                  <a:lnTo>
                    <a:pt x="390" y="114"/>
                  </a:lnTo>
                  <a:lnTo>
                    <a:pt x="390" y="113"/>
                  </a:lnTo>
                  <a:lnTo>
                    <a:pt x="397" y="114"/>
                  </a:lnTo>
                  <a:lnTo>
                    <a:pt x="394" y="111"/>
                  </a:lnTo>
                  <a:lnTo>
                    <a:pt x="392" y="111"/>
                  </a:lnTo>
                  <a:lnTo>
                    <a:pt x="390" y="111"/>
                  </a:lnTo>
                  <a:lnTo>
                    <a:pt x="387" y="110"/>
                  </a:lnTo>
                  <a:lnTo>
                    <a:pt x="384" y="110"/>
                  </a:lnTo>
                  <a:lnTo>
                    <a:pt x="381" y="110"/>
                  </a:lnTo>
                  <a:lnTo>
                    <a:pt x="376" y="110"/>
                  </a:lnTo>
                  <a:lnTo>
                    <a:pt x="374" y="110"/>
                  </a:lnTo>
                  <a:lnTo>
                    <a:pt x="376" y="111"/>
                  </a:lnTo>
                  <a:lnTo>
                    <a:pt x="376" y="111"/>
                  </a:lnTo>
                  <a:lnTo>
                    <a:pt x="376" y="111"/>
                  </a:lnTo>
                  <a:lnTo>
                    <a:pt x="376" y="111"/>
                  </a:lnTo>
                  <a:lnTo>
                    <a:pt x="376" y="111"/>
                  </a:lnTo>
                  <a:lnTo>
                    <a:pt x="376" y="111"/>
                  </a:lnTo>
                  <a:lnTo>
                    <a:pt x="376" y="111"/>
                  </a:lnTo>
                  <a:close/>
                  <a:moveTo>
                    <a:pt x="441" y="80"/>
                  </a:moveTo>
                  <a:lnTo>
                    <a:pt x="440" y="80"/>
                  </a:lnTo>
                  <a:lnTo>
                    <a:pt x="440" y="83"/>
                  </a:lnTo>
                  <a:lnTo>
                    <a:pt x="443" y="83"/>
                  </a:lnTo>
                  <a:lnTo>
                    <a:pt x="441" y="80"/>
                  </a:lnTo>
                  <a:lnTo>
                    <a:pt x="441" y="80"/>
                  </a:lnTo>
                  <a:lnTo>
                    <a:pt x="441" y="80"/>
                  </a:lnTo>
                  <a:lnTo>
                    <a:pt x="441" y="80"/>
                  </a:lnTo>
                  <a:lnTo>
                    <a:pt x="441" y="80"/>
                  </a:lnTo>
                  <a:lnTo>
                    <a:pt x="441" y="80"/>
                  </a:lnTo>
                  <a:lnTo>
                    <a:pt x="441" y="80"/>
                  </a:lnTo>
                  <a:close/>
                  <a:moveTo>
                    <a:pt x="440" y="67"/>
                  </a:moveTo>
                  <a:lnTo>
                    <a:pt x="438" y="65"/>
                  </a:lnTo>
                  <a:lnTo>
                    <a:pt x="436" y="67"/>
                  </a:lnTo>
                  <a:lnTo>
                    <a:pt x="436" y="68"/>
                  </a:lnTo>
                  <a:lnTo>
                    <a:pt x="438" y="75"/>
                  </a:lnTo>
                  <a:lnTo>
                    <a:pt x="438" y="72"/>
                  </a:lnTo>
                  <a:lnTo>
                    <a:pt x="440" y="67"/>
                  </a:lnTo>
                  <a:lnTo>
                    <a:pt x="440" y="67"/>
                  </a:lnTo>
                  <a:lnTo>
                    <a:pt x="440" y="67"/>
                  </a:lnTo>
                  <a:lnTo>
                    <a:pt x="440" y="67"/>
                  </a:lnTo>
                  <a:lnTo>
                    <a:pt x="440" y="67"/>
                  </a:lnTo>
                  <a:lnTo>
                    <a:pt x="440" y="67"/>
                  </a:lnTo>
                  <a:lnTo>
                    <a:pt x="440" y="67"/>
                  </a:lnTo>
                  <a:close/>
                  <a:moveTo>
                    <a:pt x="78" y="195"/>
                  </a:moveTo>
                  <a:lnTo>
                    <a:pt x="78" y="194"/>
                  </a:lnTo>
                  <a:lnTo>
                    <a:pt x="74" y="195"/>
                  </a:lnTo>
                  <a:lnTo>
                    <a:pt x="78" y="195"/>
                  </a:lnTo>
                  <a:lnTo>
                    <a:pt x="78" y="195"/>
                  </a:lnTo>
                  <a:lnTo>
                    <a:pt x="78" y="195"/>
                  </a:lnTo>
                  <a:lnTo>
                    <a:pt x="78" y="195"/>
                  </a:lnTo>
                  <a:lnTo>
                    <a:pt x="78" y="195"/>
                  </a:lnTo>
                  <a:lnTo>
                    <a:pt x="78" y="195"/>
                  </a:lnTo>
                  <a:lnTo>
                    <a:pt x="78" y="195"/>
                  </a:lnTo>
                  <a:close/>
                  <a:moveTo>
                    <a:pt x="108" y="129"/>
                  </a:moveTo>
                  <a:lnTo>
                    <a:pt x="108" y="127"/>
                  </a:lnTo>
                  <a:lnTo>
                    <a:pt x="105" y="127"/>
                  </a:lnTo>
                  <a:lnTo>
                    <a:pt x="103" y="130"/>
                  </a:lnTo>
                  <a:lnTo>
                    <a:pt x="106" y="130"/>
                  </a:lnTo>
                  <a:lnTo>
                    <a:pt x="108" y="129"/>
                  </a:lnTo>
                  <a:lnTo>
                    <a:pt x="108" y="129"/>
                  </a:lnTo>
                  <a:lnTo>
                    <a:pt x="108" y="129"/>
                  </a:lnTo>
                  <a:lnTo>
                    <a:pt x="108" y="129"/>
                  </a:lnTo>
                  <a:lnTo>
                    <a:pt x="108" y="129"/>
                  </a:lnTo>
                  <a:lnTo>
                    <a:pt x="108" y="129"/>
                  </a:lnTo>
                  <a:lnTo>
                    <a:pt x="108" y="129"/>
                  </a:lnTo>
                  <a:close/>
                  <a:moveTo>
                    <a:pt x="82" y="170"/>
                  </a:moveTo>
                  <a:lnTo>
                    <a:pt x="82" y="170"/>
                  </a:lnTo>
                  <a:lnTo>
                    <a:pt x="84" y="170"/>
                  </a:lnTo>
                  <a:lnTo>
                    <a:pt x="82" y="170"/>
                  </a:lnTo>
                  <a:lnTo>
                    <a:pt x="82" y="170"/>
                  </a:lnTo>
                  <a:lnTo>
                    <a:pt x="82" y="170"/>
                  </a:lnTo>
                  <a:lnTo>
                    <a:pt x="82" y="170"/>
                  </a:lnTo>
                  <a:lnTo>
                    <a:pt x="82" y="170"/>
                  </a:lnTo>
                  <a:lnTo>
                    <a:pt x="82" y="170"/>
                  </a:lnTo>
                  <a:lnTo>
                    <a:pt x="82" y="170"/>
                  </a:lnTo>
                  <a:close/>
                  <a:moveTo>
                    <a:pt x="87" y="143"/>
                  </a:moveTo>
                  <a:lnTo>
                    <a:pt x="87" y="145"/>
                  </a:lnTo>
                  <a:lnTo>
                    <a:pt x="84" y="146"/>
                  </a:lnTo>
                  <a:lnTo>
                    <a:pt x="87" y="148"/>
                  </a:lnTo>
                  <a:lnTo>
                    <a:pt x="90" y="148"/>
                  </a:lnTo>
                  <a:lnTo>
                    <a:pt x="93" y="148"/>
                  </a:lnTo>
                  <a:lnTo>
                    <a:pt x="93" y="148"/>
                  </a:lnTo>
                  <a:lnTo>
                    <a:pt x="97" y="148"/>
                  </a:lnTo>
                  <a:lnTo>
                    <a:pt x="97" y="149"/>
                  </a:lnTo>
                  <a:lnTo>
                    <a:pt x="87" y="149"/>
                  </a:lnTo>
                  <a:lnTo>
                    <a:pt x="90" y="151"/>
                  </a:lnTo>
                  <a:lnTo>
                    <a:pt x="90" y="151"/>
                  </a:lnTo>
                  <a:lnTo>
                    <a:pt x="93" y="151"/>
                  </a:lnTo>
                  <a:lnTo>
                    <a:pt x="101" y="149"/>
                  </a:lnTo>
                  <a:lnTo>
                    <a:pt x="108" y="149"/>
                  </a:lnTo>
                  <a:lnTo>
                    <a:pt x="111" y="148"/>
                  </a:lnTo>
                  <a:lnTo>
                    <a:pt x="113" y="146"/>
                  </a:lnTo>
                  <a:lnTo>
                    <a:pt x="111" y="145"/>
                  </a:lnTo>
                  <a:lnTo>
                    <a:pt x="109" y="143"/>
                  </a:lnTo>
                  <a:lnTo>
                    <a:pt x="108" y="143"/>
                  </a:lnTo>
                  <a:lnTo>
                    <a:pt x="103" y="141"/>
                  </a:lnTo>
                  <a:lnTo>
                    <a:pt x="100" y="138"/>
                  </a:lnTo>
                  <a:lnTo>
                    <a:pt x="97" y="138"/>
                  </a:lnTo>
                  <a:lnTo>
                    <a:pt x="90" y="138"/>
                  </a:lnTo>
                  <a:lnTo>
                    <a:pt x="87" y="141"/>
                  </a:lnTo>
                  <a:lnTo>
                    <a:pt x="87" y="141"/>
                  </a:lnTo>
                  <a:lnTo>
                    <a:pt x="90" y="141"/>
                  </a:lnTo>
                  <a:lnTo>
                    <a:pt x="90" y="143"/>
                  </a:lnTo>
                  <a:lnTo>
                    <a:pt x="87" y="143"/>
                  </a:lnTo>
                  <a:lnTo>
                    <a:pt x="87" y="143"/>
                  </a:lnTo>
                  <a:lnTo>
                    <a:pt x="87" y="143"/>
                  </a:lnTo>
                  <a:lnTo>
                    <a:pt x="87" y="143"/>
                  </a:lnTo>
                  <a:lnTo>
                    <a:pt x="87" y="143"/>
                  </a:lnTo>
                  <a:lnTo>
                    <a:pt x="87" y="143"/>
                  </a:lnTo>
                  <a:lnTo>
                    <a:pt x="87" y="143"/>
                  </a:lnTo>
                  <a:lnTo>
                    <a:pt x="87" y="143"/>
                  </a:lnTo>
                  <a:close/>
                  <a:moveTo>
                    <a:pt x="120" y="143"/>
                  </a:moveTo>
                  <a:lnTo>
                    <a:pt x="119" y="145"/>
                  </a:lnTo>
                  <a:lnTo>
                    <a:pt x="117" y="146"/>
                  </a:lnTo>
                  <a:lnTo>
                    <a:pt x="117" y="148"/>
                  </a:lnTo>
                  <a:lnTo>
                    <a:pt x="119" y="148"/>
                  </a:lnTo>
                  <a:lnTo>
                    <a:pt x="120" y="146"/>
                  </a:lnTo>
                  <a:lnTo>
                    <a:pt x="122" y="145"/>
                  </a:lnTo>
                  <a:lnTo>
                    <a:pt x="125" y="145"/>
                  </a:lnTo>
                  <a:lnTo>
                    <a:pt x="122" y="143"/>
                  </a:lnTo>
                  <a:lnTo>
                    <a:pt x="120" y="143"/>
                  </a:lnTo>
                  <a:lnTo>
                    <a:pt x="120" y="143"/>
                  </a:lnTo>
                  <a:lnTo>
                    <a:pt x="120" y="143"/>
                  </a:lnTo>
                  <a:lnTo>
                    <a:pt x="120" y="143"/>
                  </a:lnTo>
                  <a:lnTo>
                    <a:pt x="120" y="143"/>
                  </a:lnTo>
                  <a:lnTo>
                    <a:pt x="120" y="143"/>
                  </a:lnTo>
                  <a:lnTo>
                    <a:pt x="120" y="143"/>
                  </a:lnTo>
                  <a:close/>
                  <a:moveTo>
                    <a:pt x="490" y="13"/>
                  </a:moveTo>
                  <a:lnTo>
                    <a:pt x="481" y="13"/>
                  </a:lnTo>
                  <a:lnTo>
                    <a:pt x="468" y="13"/>
                  </a:lnTo>
                  <a:lnTo>
                    <a:pt x="470" y="16"/>
                  </a:lnTo>
                  <a:lnTo>
                    <a:pt x="467" y="16"/>
                  </a:lnTo>
                  <a:lnTo>
                    <a:pt x="462" y="18"/>
                  </a:lnTo>
                  <a:lnTo>
                    <a:pt x="459" y="18"/>
                  </a:lnTo>
                  <a:lnTo>
                    <a:pt x="452" y="16"/>
                  </a:lnTo>
                  <a:lnTo>
                    <a:pt x="446" y="18"/>
                  </a:lnTo>
                  <a:lnTo>
                    <a:pt x="448" y="16"/>
                  </a:lnTo>
                  <a:lnTo>
                    <a:pt x="449" y="16"/>
                  </a:lnTo>
                  <a:lnTo>
                    <a:pt x="438" y="18"/>
                  </a:lnTo>
                  <a:lnTo>
                    <a:pt x="428" y="21"/>
                  </a:lnTo>
                  <a:lnTo>
                    <a:pt x="417" y="22"/>
                  </a:lnTo>
                  <a:lnTo>
                    <a:pt x="413" y="26"/>
                  </a:lnTo>
                  <a:lnTo>
                    <a:pt x="413" y="24"/>
                  </a:lnTo>
                  <a:lnTo>
                    <a:pt x="411" y="24"/>
                  </a:lnTo>
                  <a:lnTo>
                    <a:pt x="421" y="21"/>
                  </a:lnTo>
                  <a:lnTo>
                    <a:pt x="428" y="18"/>
                  </a:lnTo>
                  <a:lnTo>
                    <a:pt x="432" y="16"/>
                  </a:lnTo>
                  <a:lnTo>
                    <a:pt x="433" y="16"/>
                  </a:lnTo>
                  <a:lnTo>
                    <a:pt x="433" y="13"/>
                  </a:lnTo>
                  <a:lnTo>
                    <a:pt x="432" y="13"/>
                  </a:lnTo>
                  <a:lnTo>
                    <a:pt x="428" y="13"/>
                  </a:lnTo>
                  <a:lnTo>
                    <a:pt x="421" y="13"/>
                  </a:lnTo>
                  <a:lnTo>
                    <a:pt x="417" y="13"/>
                  </a:lnTo>
                  <a:lnTo>
                    <a:pt x="414" y="16"/>
                  </a:lnTo>
                  <a:lnTo>
                    <a:pt x="401" y="16"/>
                  </a:lnTo>
                  <a:lnTo>
                    <a:pt x="397" y="18"/>
                  </a:lnTo>
                  <a:lnTo>
                    <a:pt x="392" y="18"/>
                  </a:lnTo>
                  <a:lnTo>
                    <a:pt x="390" y="18"/>
                  </a:lnTo>
                  <a:lnTo>
                    <a:pt x="394" y="16"/>
                  </a:lnTo>
                  <a:lnTo>
                    <a:pt x="400" y="16"/>
                  </a:lnTo>
                  <a:lnTo>
                    <a:pt x="405" y="16"/>
                  </a:lnTo>
                  <a:lnTo>
                    <a:pt x="408" y="16"/>
                  </a:lnTo>
                  <a:lnTo>
                    <a:pt x="409" y="13"/>
                  </a:lnTo>
                  <a:lnTo>
                    <a:pt x="406" y="13"/>
                  </a:lnTo>
                  <a:lnTo>
                    <a:pt x="403" y="13"/>
                  </a:lnTo>
                  <a:lnTo>
                    <a:pt x="424" y="10"/>
                  </a:lnTo>
                  <a:lnTo>
                    <a:pt x="428" y="10"/>
                  </a:lnTo>
                  <a:lnTo>
                    <a:pt x="435" y="10"/>
                  </a:lnTo>
                  <a:lnTo>
                    <a:pt x="438" y="10"/>
                  </a:lnTo>
                  <a:lnTo>
                    <a:pt x="443" y="7"/>
                  </a:lnTo>
                  <a:lnTo>
                    <a:pt x="438" y="7"/>
                  </a:lnTo>
                  <a:lnTo>
                    <a:pt x="432" y="7"/>
                  </a:lnTo>
                  <a:lnTo>
                    <a:pt x="424" y="7"/>
                  </a:lnTo>
                  <a:lnTo>
                    <a:pt x="424" y="5"/>
                  </a:lnTo>
                  <a:lnTo>
                    <a:pt x="421" y="5"/>
                  </a:lnTo>
                  <a:lnTo>
                    <a:pt x="417" y="5"/>
                  </a:lnTo>
                  <a:lnTo>
                    <a:pt x="413" y="3"/>
                  </a:lnTo>
                  <a:lnTo>
                    <a:pt x="408" y="3"/>
                  </a:lnTo>
                  <a:lnTo>
                    <a:pt x="397" y="3"/>
                  </a:lnTo>
                  <a:lnTo>
                    <a:pt x="413" y="2"/>
                  </a:lnTo>
                  <a:lnTo>
                    <a:pt x="408" y="0"/>
                  </a:lnTo>
                  <a:lnTo>
                    <a:pt x="401" y="0"/>
                  </a:lnTo>
                  <a:lnTo>
                    <a:pt x="394" y="0"/>
                  </a:lnTo>
                  <a:lnTo>
                    <a:pt x="392" y="0"/>
                  </a:lnTo>
                  <a:lnTo>
                    <a:pt x="390" y="0"/>
                  </a:lnTo>
                  <a:lnTo>
                    <a:pt x="389" y="0"/>
                  </a:lnTo>
                  <a:lnTo>
                    <a:pt x="387" y="0"/>
                  </a:lnTo>
                  <a:lnTo>
                    <a:pt x="382" y="0"/>
                  </a:lnTo>
                  <a:lnTo>
                    <a:pt x="371" y="0"/>
                  </a:lnTo>
                  <a:lnTo>
                    <a:pt x="362" y="0"/>
                  </a:lnTo>
                  <a:lnTo>
                    <a:pt x="352" y="0"/>
                  </a:lnTo>
                  <a:lnTo>
                    <a:pt x="351" y="0"/>
                  </a:lnTo>
                  <a:lnTo>
                    <a:pt x="349" y="0"/>
                  </a:lnTo>
                  <a:lnTo>
                    <a:pt x="343" y="0"/>
                  </a:lnTo>
                  <a:lnTo>
                    <a:pt x="336" y="0"/>
                  </a:lnTo>
                  <a:lnTo>
                    <a:pt x="330" y="0"/>
                  </a:lnTo>
                  <a:lnTo>
                    <a:pt x="333" y="2"/>
                  </a:lnTo>
                  <a:lnTo>
                    <a:pt x="327" y="0"/>
                  </a:lnTo>
                  <a:lnTo>
                    <a:pt x="324" y="0"/>
                  </a:lnTo>
                  <a:lnTo>
                    <a:pt x="314" y="0"/>
                  </a:lnTo>
                  <a:lnTo>
                    <a:pt x="314" y="2"/>
                  </a:lnTo>
                  <a:lnTo>
                    <a:pt x="316" y="3"/>
                  </a:lnTo>
                  <a:lnTo>
                    <a:pt x="313" y="3"/>
                  </a:lnTo>
                  <a:lnTo>
                    <a:pt x="317" y="5"/>
                  </a:lnTo>
                  <a:lnTo>
                    <a:pt x="316" y="5"/>
                  </a:lnTo>
                  <a:lnTo>
                    <a:pt x="311" y="5"/>
                  </a:lnTo>
                  <a:lnTo>
                    <a:pt x="313" y="7"/>
                  </a:lnTo>
                  <a:lnTo>
                    <a:pt x="311" y="7"/>
                  </a:lnTo>
                  <a:lnTo>
                    <a:pt x="308" y="5"/>
                  </a:lnTo>
                  <a:lnTo>
                    <a:pt x="303" y="5"/>
                  </a:lnTo>
                  <a:lnTo>
                    <a:pt x="295" y="3"/>
                  </a:lnTo>
                  <a:lnTo>
                    <a:pt x="290" y="3"/>
                  </a:lnTo>
                  <a:lnTo>
                    <a:pt x="287" y="2"/>
                  </a:lnTo>
                  <a:lnTo>
                    <a:pt x="282" y="2"/>
                  </a:lnTo>
                  <a:lnTo>
                    <a:pt x="279" y="3"/>
                  </a:lnTo>
                  <a:lnTo>
                    <a:pt x="274" y="3"/>
                  </a:lnTo>
                  <a:lnTo>
                    <a:pt x="271" y="3"/>
                  </a:lnTo>
                  <a:lnTo>
                    <a:pt x="263" y="3"/>
                  </a:lnTo>
                  <a:lnTo>
                    <a:pt x="271" y="5"/>
                  </a:lnTo>
                  <a:lnTo>
                    <a:pt x="265" y="5"/>
                  </a:lnTo>
                  <a:lnTo>
                    <a:pt x="287" y="7"/>
                  </a:lnTo>
                  <a:lnTo>
                    <a:pt x="289" y="7"/>
                  </a:lnTo>
                  <a:lnTo>
                    <a:pt x="287" y="10"/>
                  </a:lnTo>
                  <a:lnTo>
                    <a:pt x="287" y="7"/>
                  </a:lnTo>
                  <a:lnTo>
                    <a:pt x="286" y="7"/>
                  </a:lnTo>
                  <a:lnTo>
                    <a:pt x="278" y="7"/>
                  </a:lnTo>
                  <a:lnTo>
                    <a:pt x="267" y="7"/>
                  </a:lnTo>
                  <a:lnTo>
                    <a:pt x="267" y="7"/>
                  </a:lnTo>
                  <a:lnTo>
                    <a:pt x="265" y="5"/>
                  </a:lnTo>
                  <a:lnTo>
                    <a:pt x="263" y="5"/>
                  </a:lnTo>
                  <a:lnTo>
                    <a:pt x="259" y="3"/>
                  </a:lnTo>
                  <a:lnTo>
                    <a:pt x="254" y="5"/>
                  </a:lnTo>
                  <a:lnTo>
                    <a:pt x="252" y="5"/>
                  </a:lnTo>
                  <a:lnTo>
                    <a:pt x="255" y="7"/>
                  </a:lnTo>
                  <a:lnTo>
                    <a:pt x="259" y="7"/>
                  </a:lnTo>
                  <a:lnTo>
                    <a:pt x="265" y="7"/>
                  </a:lnTo>
                  <a:lnTo>
                    <a:pt x="267" y="10"/>
                  </a:lnTo>
                  <a:lnTo>
                    <a:pt x="270" y="10"/>
                  </a:lnTo>
                  <a:lnTo>
                    <a:pt x="281" y="10"/>
                  </a:lnTo>
                  <a:lnTo>
                    <a:pt x="268" y="10"/>
                  </a:lnTo>
                  <a:lnTo>
                    <a:pt x="265" y="10"/>
                  </a:lnTo>
                  <a:lnTo>
                    <a:pt x="263" y="10"/>
                  </a:lnTo>
                  <a:lnTo>
                    <a:pt x="263" y="13"/>
                  </a:lnTo>
                  <a:lnTo>
                    <a:pt x="265" y="13"/>
                  </a:lnTo>
                  <a:lnTo>
                    <a:pt x="260" y="13"/>
                  </a:lnTo>
                  <a:lnTo>
                    <a:pt x="262" y="13"/>
                  </a:lnTo>
                  <a:lnTo>
                    <a:pt x="263" y="13"/>
                  </a:lnTo>
                  <a:lnTo>
                    <a:pt x="257" y="16"/>
                  </a:lnTo>
                  <a:lnTo>
                    <a:pt x="251" y="13"/>
                  </a:lnTo>
                  <a:lnTo>
                    <a:pt x="240" y="10"/>
                  </a:lnTo>
                  <a:lnTo>
                    <a:pt x="230" y="10"/>
                  </a:lnTo>
                  <a:lnTo>
                    <a:pt x="222" y="7"/>
                  </a:lnTo>
                  <a:lnTo>
                    <a:pt x="216" y="10"/>
                  </a:lnTo>
                  <a:lnTo>
                    <a:pt x="216" y="10"/>
                  </a:lnTo>
                  <a:lnTo>
                    <a:pt x="217" y="13"/>
                  </a:lnTo>
                  <a:lnTo>
                    <a:pt x="224" y="13"/>
                  </a:lnTo>
                  <a:lnTo>
                    <a:pt x="217" y="13"/>
                  </a:lnTo>
                  <a:lnTo>
                    <a:pt x="213" y="13"/>
                  </a:lnTo>
                  <a:lnTo>
                    <a:pt x="220" y="16"/>
                  </a:lnTo>
                  <a:lnTo>
                    <a:pt x="216" y="16"/>
                  </a:lnTo>
                  <a:lnTo>
                    <a:pt x="213" y="16"/>
                  </a:lnTo>
                  <a:lnTo>
                    <a:pt x="201" y="13"/>
                  </a:lnTo>
                  <a:lnTo>
                    <a:pt x="198" y="13"/>
                  </a:lnTo>
                  <a:lnTo>
                    <a:pt x="195" y="16"/>
                  </a:lnTo>
                  <a:lnTo>
                    <a:pt x="192" y="16"/>
                  </a:lnTo>
                  <a:lnTo>
                    <a:pt x="189" y="16"/>
                  </a:lnTo>
                  <a:lnTo>
                    <a:pt x="192" y="16"/>
                  </a:lnTo>
                  <a:lnTo>
                    <a:pt x="193" y="13"/>
                  </a:lnTo>
                  <a:lnTo>
                    <a:pt x="193" y="10"/>
                  </a:lnTo>
                  <a:lnTo>
                    <a:pt x="192" y="10"/>
                  </a:lnTo>
                  <a:lnTo>
                    <a:pt x="189" y="10"/>
                  </a:lnTo>
                  <a:lnTo>
                    <a:pt x="182" y="10"/>
                  </a:lnTo>
                  <a:lnTo>
                    <a:pt x="176" y="10"/>
                  </a:lnTo>
                  <a:lnTo>
                    <a:pt x="168" y="10"/>
                  </a:lnTo>
                  <a:lnTo>
                    <a:pt x="160" y="13"/>
                  </a:lnTo>
                  <a:lnTo>
                    <a:pt x="149" y="13"/>
                  </a:lnTo>
                  <a:lnTo>
                    <a:pt x="154" y="13"/>
                  </a:lnTo>
                  <a:lnTo>
                    <a:pt x="157" y="16"/>
                  </a:lnTo>
                  <a:lnTo>
                    <a:pt x="160" y="16"/>
                  </a:lnTo>
                  <a:lnTo>
                    <a:pt x="155" y="16"/>
                  </a:lnTo>
                  <a:lnTo>
                    <a:pt x="154" y="16"/>
                  </a:lnTo>
                  <a:lnTo>
                    <a:pt x="152" y="16"/>
                  </a:lnTo>
                  <a:lnTo>
                    <a:pt x="151" y="13"/>
                  </a:lnTo>
                  <a:lnTo>
                    <a:pt x="147" y="13"/>
                  </a:lnTo>
                  <a:lnTo>
                    <a:pt x="136" y="13"/>
                  </a:lnTo>
                  <a:lnTo>
                    <a:pt x="132" y="16"/>
                  </a:lnTo>
                  <a:lnTo>
                    <a:pt x="132" y="16"/>
                  </a:lnTo>
                  <a:lnTo>
                    <a:pt x="133" y="16"/>
                  </a:lnTo>
                  <a:lnTo>
                    <a:pt x="132" y="18"/>
                  </a:lnTo>
                  <a:lnTo>
                    <a:pt x="128" y="19"/>
                  </a:lnTo>
                  <a:lnTo>
                    <a:pt x="132" y="19"/>
                  </a:lnTo>
                  <a:lnTo>
                    <a:pt x="125" y="21"/>
                  </a:lnTo>
                  <a:lnTo>
                    <a:pt x="117" y="19"/>
                  </a:lnTo>
                  <a:lnTo>
                    <a:pt x="114" y="19"/>
                  </a:lnTo>
                  <a:lnTo>
                    <a:pt x="111" y="21"/>
                  </a:lnTo>
                  <a:lnTo>
                    <a:pt x="111" y="22"/>
                  </a:lnTo>
                  <a:lnTo>
                    <a:pt x="109" y="21"/>
                  </a:lnTo>
                  <a:lnTo>
                    <a:pt x="106" y="21"/>
                  </a:lnTo>
                  <a:lnTo>
                    <a:pt x="103" y="21"/>
                  </a:lnTo>
                  <a:lnTo>
                    <a:pt x="90" y="24"/>
                  </a:lnTo>
                  <a:lnTo>
                    <a:pt x="78" y="26"/>
                  </a:lnTo>
                  <a:lnTo>
                    <a:pt x="73" y="27"/>
                  </a:lnTo>
                  <a:lnTo>
                    <a:pt x="71" y="29"/>
                  </a:lnTo>
                  <a:lnTo>
                    <a:pt x="70" y="29"/>
                  </a:lnTo>
                  <a:lnTo>
                    <a:pt x="74" y="30"/>
                  </a:lnTo>
                  <a:lnTo>
                    <a:pt x="82" y="30"/>
                  </a:lnTo>
                  <a:lnTo>
                    <a:pt x="87" y="30"/>
                  </a:lnTo>
                  <a:lnTo>
                    <a:pt x="86" y="32"/>
                  </a:lnTo>
                  <a:lnTo>
                    <a:pt x="84" y="37"/>
                  </a:lnTo>
                  <a:lnTo>
                    <a:pt x="81" y="38"/>
                  </a:lnTo>
                  <a:lnTo>
                    <a:pt x="76" y="38"/>
                  </a:lnTo>
                  <a:lnTo>
                    <a:pt x="70" y="40"/>
                  </a:lnTo>
                  <a:lnTo>
                    <a:pt x="63" y="40"/>
                  </a:lnTo>
                  <a:lnTo>
                    <a:pt x="54" y="41"/>
                  </a:lnTo>
                  <a:lnTo>
                    <a:pt x="49" y="41"/>
                  </a:lnTo>
                  <a:lnTo>
                    <a:pt x="43" y="41"/>
                  </a:lnTo>
                  <a:lnTo>
                    <a:pt x="41" y="41"/>
                  </a:lnTo>
                  <a:lnTo>
                    <a:pt x="35" y="45"/>
                  </a:lnTo>
                  <a:lnTo>
                    <a:pt x="30" y="45"/>
                  </a:lnTo>
                  <a:lnTo>
                    <a:pt x="25" y="45"/>
                  </a:lnTo>
                  <a:lnTo>
                    <a:pt x="17" y="45"/>
                  </a:lnTo>
                  <a:lnTo>
                    <a:pt x="11" y="48"/>
                  </a:lnTo>
                  <a:lnTo>
                    <a:pt x="6" y="48"/>
                  </a:lnTo>
                  <a:lnTo>
                    <a:pt x="9" y="48"/>
                  </a:lnTo>
                  <a:lnTo>
                    <a:pt x="6" y="51"/>
                  </a:lnTo>
                  <a:lnTo>
                    <a:pt x="3" y="51"/>
                  </a:lnTo>
                  <a:lnTo>
                    <a:pt x="9" y="53"/>
                  </a:lnTo>
                  <a:lnTo>
                    <a:pt x="14" y="53"/>
                  </a:lnTo>
                  <a:lnTo>
                    <a:pt x="11" y="54"/>
                  </a:lnTo>
                  <a:lnTo>
                    <a:pt x="17" y="54"/>
                  </a:lnTo>
                  <a:lnTo>
                    <a:pt x="22" y="56"/>
                  </a:lnTo>
                  <a:lnTo>
                    <a:pt x="27" y="54"/>
                  </a:lnTo>
                  <a:lnTo>
                    <a:pt x="24" y="56"/>
                  </a:lnTo>
                  <a:lnTo>
                    <a:pt x="22" y="56"/>
                  </a:lnTo>
                  <a:lnTo>
                    <a:pt x="19" y="56"/>
                  </a:lnTo>
                  <a:lnTo>
                    <a:pt x="25" y="57"/>
                  </a:lnTo>
                  <a:lnTo>
                    <a:pt x="30" y="57"/>
                  </a:lnTo>
                  <a:lnTo>
                    <a:pt x="32" y="57"/>
                  </a:lnTo>
                  <a:lnTo>
                    <a:pt x="32" y="56"/>
                  </a:lnTo>
                  <a:lnTo>
                    <a:pt x="35" y="56"/>
                  </a:lnTo>
                  <a:lnTo>
                    <a:pt x="35" y="57"/>
                  </a:lnTo>
                  <a:lnTo>
                    <a:pt x="41" y="57"/>
                  </a:lnTo>
                  <a:lnTo>
                    <a:pt x="46" y="56"/>
                  </a:lnTo>
                  <a:lnTo>
                    <a:pt x="51" y="54"/>
                  </a:lnTo>
                  <a:lnTo>
                    <a:pt x="52" y="56"/>
                  </a:lnTo>
                  <a:lnTo>
                    <a:pt x="54" y="57"/>
                  </a:lnTo>
                  <a:lnTo>
                    <a:pt x="49" y="57"/>
                  </a:lnTo>
                  <a:lnTo>
                    <a:pt x="47" y="59"/>
                  </a:lnTo>
                  <a:lnTo>
                    <a:pt x="44" y="59"/>
                  </a:lnTo>
                  <a:lnTo>
                    <a:pt x="41" y="59"/>
                  </a:lnTo>
                  <a:lnTo>
                    <a:pt x="27" y="59"/>
                  </a:lnTo>
                  <a:lnTo>
                    <a:pt x="32" y="61"/>
                  </a:lnTo>
                  <a:lnTo>
                    <a:pt x="25" y="61"/>
                  </a:lnTo>
                  <a:lnTo>
                    <a:pt x="11" y="61"/>
                  </a:lnTo>
                  <a:lnTo>
                    <a:pt x="6" y="62"/>
                  </a:lnTo>
                  <a:lnTo>
                    <a:pt x="6" y="64"/>
                  </a:lnTo>
                  <a:lnTo>
                    <a:pt x="6" y="64"/>
                  </a:lnTo>
                  <a:lnTo>
                    <a:pt x="9" y="65"/>
                  </a:lnTo>
                  <a:lnTo>
                    <a:pt x="12" y="64"/>
                  </a:lnTo>
                  <a:lnTo>
                    <a:pt x="16" y="62"/>
                  </a:lnTo>
                  <a:lnTo>
                    <a:pt x="19" y="62"/>
                  </a:lnTo>
                  <a:lnTo>
                    <a:pt x="16" y="64"/>
                  </a:lnTo>
                  <a:lnTo>
                    <a:pt x="12" y="65"/>
                  </a:lnTo>
                  <a:lnTo>
                    <a:pt x="20" y="67"/>
                  </a:lnTo>
                  <a:lnTo>
                    <a:pt x="28" y="65"/>
                  </a:lnTo>
                  <a:lnTo>
                    <a:pt x="28" y="67"/>
                  </a:lnTo>
                  <a:lnTo>
                    <a:pt x="27" y="67"/>
                  </a:lnTo>
                  <a:lnTo>
                    <a:pt x="22" y="67"/>
                  </a:lnTo>
                  <a:lnTo>
                    <a:pt x="17" y="68"/>
                  </a:lnTo>
                  <a:lnTo>
                    <a:pt x="12" y="70"/>
                  </a:lnTo>
                  <a:lnTo>
                    <a:pt x="16" y="72"/>
                  </a:lnTo>
                  <a:lnTo>
                    <a:pt x="20" y="72"/>
                  </a:lnTo>
                  <a:lnTo>
                    <a:pt x="19" y="73"/>
                  </a:lnTo>
                  <a:lnTo>
                    <a:pt x="20" y="73"/>
                  </a:lnTo>
                  <a:lnTo>
                    <a:pt x="25" y="73"/>
                  </a:lnTo>
                  <a:lnTo>
                    <a:pt x="30" y="75"/>
                  </a:lnTo>
                  <a:lnTo>
                    <a:pt x="35" y="75"/>
                  </a:lnTo>
                  <a:lnTo>
                    <a:pt x="32" y="73"/>
                  </a:lnTo>
                  <a:lnTo>
                    <a:pt x="30" y="72"/>
                  </a:lnTo>
                  <a:lnTo>
                    <a:pt x="32" y="72"/>
                  </a:lnTo>
                  <a:lnTo>
                    <a:pt x="35" y="73"/>
                  </a:lnTo>
                  <a:lnTo>
                    <a:pt x="38" y="73"/>
                  </a:lnTo>
                  <a:lnTo>
                    <a:pt x="38" y="72"/>
                  </a:lnTo>
                  <a:lnTo>
                    <a:pt x="41" y="72"/>
                  </a:lnTo>
                  <a:lnTo>
                    <a:pt x="43" y="72"/>
                  </a:lnTo>
                  <a:lnTo>
                    <a:pt x="41" y="73"/>
                  </a:lnTo>
                  <a:lnTo>
                    <a:pt x="43" y="73"/>
                  </a:lnTo>
                  <a:lnTo>
                    <a:pt x="46" y="72"/>
                  </a:lnTo>
                  <a:lnTo>
                    <a:pt x="49" y="72"/>
                  </a:lnTo>
                  <a:lnTo>
                    <a:pt x="51" y="72"/>
                  </a:lnTo>
                  <a:lnTo>
                    <a:pt x="52" y="72"/>
                  </a:lnTo>
                  <a:lnTo>
                    <a:pt x="55" y="70"/>
                  </a:lnTo>
                  <a:lnTo>
                    <a:pt x="57" y="72"/>
                  </a:lnTo>
                  <a:lnTo>
                    <a:pt x="63" y="70"/>
                  </a:lnTo>
                  <a:lnTo>
                    <a:pt x="66" y="70"/>
                  </a:lnTo>
                  <a:lnTo>
                    <a:pt x="66" y="72"/>
                  </a:lnTo>
                  <a:lnTo>
                    <a:pt x="71" y="72"/>
                  </a:lnTo>
                  <a:lnTo>
                    <a:pt x="74" y="72"/>
                  </a:lnTo>
                  <a:lnTo>
                    <a:pt x="84" y="72"/>
                  </a:lnTo>
                  <a:lnTo>
                    <a:pt x="82" y="73"/>
                  </a:lnTo>
                  <a:lnTo>
                    <a:pt x="87" y="73"/>
                  </a:lnTo>
                  <a:lnTo>
                    <a:pt x="87" y="73"/>
                  </a:lnTo>
                  <a:lnTo>
                    <a:pt x="87" y="75"/>
                  </a:lnTo>
                  <a:lnTo>
                    <a:pt x="90" y="75"/>
                  </a:lnTo>
                  <a:lnTo>
                    <a:pt x="97" y="76"/>
                  </a:lnTo>
                  <a:lnTo>
                    <a:pt x="93" y="76"/>
                  </a:lnTo>
                  <a:lnTo>
                    <a:pt x="97" y="76"/>
                  </a:lnTo>
                  <a:lnTo>
                    <a:pt x="100" y="76"/>
                  </a:lnTo>
                  <a:lnTo>
                    <a:pt x="100" y="76"/>
                  </a:lnTo>
                  <a:lnTo>
                    <a:pt x="100" y="76"/>
                  </a:lnTo>
                  <a:lnTo>
                    <a:pt x="100" y="80"/>
                  </a:lnTo>
                  <a:lnTo>
                    <a:pt x="97" y="80"/>
                  </a:lnTo>
                  <a:lnTo>
                    <a:pt x="100" y="80"/>
                  </a:lnTo>
                  <a:lnTo>
                    <a:pt x="97" y="83"/>
                  </a:lnTo>
                  <a:lnTo>
                    <a:pt x="100" y="83"/>
                  </a:lnTo>
                  <a:lnTo>
                    <a:pt x="97" y="83"/>
                  </a:lnTo>
                  <a:lnTo>
                    <a:pt x="101" y="86"/>
                  </a:lnTo>
                  <a:lnTo>
                    <a:pt x="105" y="86"/>
                  </a:lnTo>
                  <a:lnTo>
                    <a:pt x="106" y="86"/>
                  </a:lnTo>
                  <a:lnTo>
                    <a:pt x="105" y="86"/>
                  </a:lnTo>
                  <a:lnTo>
                    <a:pt x="103" y="87"/>
                  </a:lnTo>
                  <a:lnTo>
                    <a:pt x="105" y="87"/>
                  </a:lnTo>
                  <a:lnTo>
                    <a:pt x="106" y="87"/>
                  </a:lnTo>
                  <a:lnTo>
                    <a:pt x="109" y="89"/>
                  </a:lnTo>
                  <a:lnTo>
                    <a:pt x="106" y="91"/>
                  </a:lnTo>
                  <a:lnTo>
                    <a:pt x="108" y="91"/>
                  </a:lnTo>
                  <a:lnTo>
                    <a:pt x="103" y="92"/>
                  </a:lnTo>
                  <a:lnTo>
                    <a:pt x="106" y="92"/>
                  </a:lnTo>
                  <a:lnTo>
                    <a:pt x="105" y="95"/>
                  </a:lnTo>
                  <a:lnTo>
                    <a:pt x="106" y="95"/>
                  </a:lnTo>
                  <a:lnTo>
                    <a:pt x="106" y="97"/>
                  </a:lnTo>
                  <a:lnTo>
                    <a:pt x="108" y="97"/>
                  </a:lnTo>
                  <a:lnTo>
                    <a:pt x="106" y="97"/>
                  </a:lnTo>
                  <a:lnTo>
                    <a:pt x="105" y="97"/>
                  </a:lnTo>
                  <a:lnTo>
                    <a:pt x="105" y="100"/>
                  </a:lnTo>
                  <a:lnTo>
                    <a:pt x="106" y="100"/>
                  </a:lnTo>
                  <a:lnTo>
                    <a:pt x="109" y="103"/>
                  </a:lnTo>
                  <a:lnTo>
                    <a:pt x="106" y="103"/>
                  </a:lnTo>
                  <a:lnTo>
                    <a:pt x="106" y="103"/>
                  </a:lnTo>
                  <a:lnTo>
                    <a:pt x="108" y="103"/>
                  </a:lnTo>
                  <a:lnTo>
                    <a:pt x="105" y="107"/>
                  </a:lnTo>
                  <a:lnTo>
                    <a:pt x="106" y="107"/>
                  </a:lnTo>
                  <a:lnTo>
                    <a:pt x="108" y="107"/>
                  </a:lnTo>
                  <a:lnTo>
                    <a:pt x="109" y="107"/>
                  </a:lnTo>
                  <a:lnTo>
                    <a:pt x="109" y="110"/>
                  </a:lnTo>
                  <a:lnTo>
                    <a:pt x="105" y="111"/>
                  </a:lnTo>
                  <a:lnTo>
                    <a:pt x="109" y="113"/>
                  </a:lnTo>
                  <a:lnTo>
                    <a:pt x="103" y="113"/>
                  </a:lnTo>
                  <a:lnTo>
                    <a:pt x="106" y="114"/>
                  </a:lnTo>
                  <a:lnTo>
                    <a:pt x="103" y="114"/>
                  </a:lnTo>
                  <a:lnTo>
                    <a:pt x="100" y="116"/>
                  </a:lnTo>
                  <a:lnTo>
                    <a:pt x="100" y="118"/>
                  </a:lnTo>
                  <a:lnTo>
                    <a:pt x="97" y="119"/>
                  </a:lnTo>
                  <a:lnTo>
                    <a:pt x="97" y="119"/>
                  </a:lnTo>
                  <a:lnTo>
                    <a:pt x="93" y="121"/>
                  </a:lnTo>
                  <a:lnTo>
                    <a:pt x="90" y="122"/>
                  </a:lnTo>
                  <a:lnTo>
                    <a:pt x="90" y="124"/>
                  </a:lnTo>
                  <a:lnTo>
                    <a:pt x="93" y="126"/>
                  </a:lnTo>
                  <a:lnTo>
                    <a:pt x="93" y="126"/>
                  </a:lnTo>
                  <a:lnTo>
                    <a:pt x="97" y="127"/>
                  </a:lnTo>
                  <a:lnTo>
                    <a:pt x="101" y="127"/>
                  </a:lnTo>
                  <a:lnTo>
                    <a:pt x="105" y="126"/>
                  </a:lnTo>
                  <a:lnTo>
                    <a:pt x="106" y="126"/>
                  </a:lnTo>
                  <a:lnTo>
                    <a:pt x="106" y="124"/>
                  </a:lnTo>
                  <a:lnTo>
                    <a:pt x="106" y="122"/>
                  </a:lnTo>
                  <a:lnTo>
                    <a:pt x="109" y="122"/>
                  </a:lnTo>
                  <a:lnTo>
                    <a:pt x="111" y="121"/>
                  </a:lnTo>
                  <a:lnTo>
                    <a:pt x="113" y="121"/>
                  </a:lnTo>
                  <a:lnTo>
                    <a:pt x="114" y="119"/>
                  </a:lnTo>
                  <a:lnTo>
                    <a:pt x="113" y="118"/>
                  </a:lnTo>
                  <a:lnTo>
                    <a:pt x="113" y="116"/>
                  </a:lnTo>
                  <a:lnTo>
                    <a:pt x="114" y="114"/>
                  </a:lnTo>
                  <a:lnTo>
                    <a:pt x="114" y="116"/>
                  </a:lnTo>
                  <a:lnTo>
                    <a:pt x="114" y="119"/>
                  </a:lnTo>
                  <a:lnTo>
                    <a:pt x="114" y="121"/>
                  </a:lnTo>
                  <a:lnTo>
                    <a:pt x="120" y="119"/>
                  </a:lnTo>
                  <a:lnTo>
                    <a:pt x="114" y="122"/>
                  </a:lnTo>
                  <a:lnTo>
                    <a:pt x="122" y="124"/>
                  </a:lnTo>
                  <a:lnTo>
                    <a:pt x="125" y="122"/>
                  </a:lnTo>
                  <a:lnTo>
                    <a:pt x="128" y="122"/>
                  </a:lnTo>
                  <a:lnTo>
                    <a:pt x="125" y="124"/>
                  </a:lnTo>
                  <a:lnTo>
                    <a:pt x="122" y="124"/>
                  </a:lnTo>
                  <a:lnTo>
                    <a:pt x="119" y="124"/>
                  </a:lnTo>
                  <a:lnTo>
                    <a:pt x="114" y="126"/>
                  </a:lnTo>
                  <a:lnTo>
                    <a:pt x="122" y="126"/>
                  </a:lnTo>
                  <a:lnTo>
                    <a:pt x="125" y="124"/>
                  </a:lnTo>
                  <a:lnTo>
                    <a:pt x="128" y="126"/>
                  </a:lnTo>
                  <a:lnTo>
                    <a:pt x="125" y="126"/>
                  </a:lnTo>
                  <a:lnTo>
                    <a:pt x="122" y="126"/>
                  </a:lnTo>
                  <a:lnTo>
                    <a:pt x="117" y="129"/>
                  </a:lnTo>
                  <a:lnTo>
                    <a:pt x="119" y="129"/>
                  </a:lnTo>
                  <a:lnTo>
                    <a:pt x="120" y="129"/>
                  </a:lnTo>
                  <a:lnTo>
                    <a:pt x="122" y="130"/>
                  </a:lnTo>
                  <a:lnTo>
                    <a:pt x="128" y="129"/>
                  </a:lnTo>
                  <a:lnTo>
                    <a:pt x="125" y="130"/>
                  </a:lnTo>
                  <a:lnTo>
                    <a:pt x="128" y="130"/>
                  </a:lnTo>
                  <a:lnTo>
                    <a:pt x="132" y="130"/>
                  </a:lnTo>
                  <a:lnTo>
                    <a:pt x="128" y="132"/>
                  </a:lnTo>
                  <a:lnTo>
                    <a:pt x="125" y="130"/>
                  </a:lnTo>
                  <a:lnTo>
                    <a:pt x="122" y="130"/>
                  </a:lnTo>
                  <a:lnTo>
                    <a:pt x="122" y="130"/>
                  </a:lnTo>
                  <a:lnTo>
                    <a:pt x="125" y="132"/>
                  </a:lnTo>
                  <a:lnTo>
                    <a:pt x="128" y="132"/>
                  </a:lnTo>
                  <a:lnTo>
                    <a:pt x="125" y="132"/>
                  </a:lnTo>
                  <a:lnTo>
                    <a:pt x="125" y="132"/>
                  </a:lnTo>
                  <a:lnTo>
                    <a:pt x="125" y="135"/>
                  </a:lnTo>
                  <a:lnTo>
                    <a:pt x="128" y="135"/>
                  </a:lnTo>
                  <a:lnTo>
                    <a:pt x="128" y="135"/>
                  </a:lnTo>
                  <a:lnTo>
                    <a:pt x="125" y="135"/>
                  </a:lnTo>
                  <a:lnTo>
                    <a:pt x="125" y="138"/>
                  </a:lnTo>
                  <a:lnTo>
                    <a:pt x="128" y="138"/>
                  </a:lnTo>
                  <a:lnTo>
                    <a:pt x="132" y="135"/>
                  </a:lnTo>
                  <a:lnTo>
                    <a:pt x="128" y="138"/>
                  </a:lnTo>
                  <a:lnTo>
                    <a:pt x="125" y="138"/>
                  </a:lnTo>
                  <a:lnTo>
                    <a:pt x="125" y="138"/>
                  </a:lnTo>
                  <a:lnTo>
                    <a:pt x="114" y="135"/>
                  </a:lnTo>
                  <a:lnTo>
                    <a:pt x="109" y="132"/>
                  </a:lnTo>
                  <a:lnTo>
                    <a:pt x="105" y="132"/>
                  </a:lnTo>
                  <a:lnTo>
                    <a:pt x="100" y="132"/>
                  </a:lnTo>
                  <a:lnTo>
                    <a:pt x="93" y="135"/>
                  </a:lnTo>
                  <a:lnTo>
                    <a:pt x="97" y="135"/>
                  </a:lnTo>
                  <a:lnTo>
                    <a:pt x="100" y="138"/>
                  </a:lnTo>
                  <a:lnTo>
                    <a:pt x="105" y="138"/>
                  </a:lnTo>
                  <a:lnTo>
                    <a:pt x="106" y="138"/>
                  </a:lnTo>
                  <a:lnTo>
                    <a:pt x="109" y="141"/>
                  </a:lnTo>
                  <a:lnTo>
                    <a:pt x="113" y="141"/>
                  </a:lnTo>
                  <a:lnTo>
                    <a:pt x="116" y="141"/>
                  </a:lnTo>
                  <a:lnTo>
                    <a:pt x="119" y="143"/>
                  </a:lnTo>
                  <a:lnTo>
                    <a:pt x="120" y="141"/>
                  </a:lnTo>
                  <a:lnTo>
                    <a:pt x="122" y="141"/>
                  </a:lnTo>
                  <a:lnTo>
                    <a:pt x="120" y="143"/>
                  </a:lnTo>
                  <a:lnTo>
                    <a:pt x="125" y="141"/>
                  </a:lnTo>
                  <a:lnTo>
                    <a:pt x="128" y="141"/>
                  </a:lnTo>
                  <a:lnTo>
                    <a:pt x="125" y="143"/>
                  </a:lnTo>
                  <a:lnTo>
                    <a:pt x="128" y="143"/>
                  </a:lnTo>
                  <a:lnTo>
                    <a:pt x="128" y="145"/>
                  </a:lnTo>
                  <a:lnTo>
                    <a:pt x="125" y="145"/>
                  </a:lnTo>
                  <a:lnTo>
                    <a:pt x="122" y="146"/>
                  </a:lnTo>
                  <a:lnTo>
                    <a:pt x="122" y="146"/>
                  </a:lnTo>
                  <a:lnTo>
                    <a:pt x="122" y="148"/>
                  </a:lnTo>
                  <a:lnTo>
                    <a:pt x="122" y="148"/>
                  </a:lnTo>
                  <a:lnTo>
                    <a:pt x="125" y="148"/>
                  </a:lnTo>
                  <a:lnTo>
                    <a:pt x="122" y="149"/>
                  </a:lnTo>
                  <a:lnTo>
                    <a:pt x="117" y="153"/>
                  </a:lnTo>
                  <a:lnTo>
                    <a:pt x="120" y="151"/>
                  </a:lnTo>
                  <a:lnTo>
                    <a:pt x="122" y="151"/>
                  </a:lnTo>
                  <a:lnTo>
                    <a:pt x="125" y="153"/>
                  </a:lnTo>
                  <a:lnTo>
                    <a:pt x="122" y="153"/>
                  </a:lnTo>
                  <a:lnTo>
                    <a:pt x="120" y="154"/>
                  </a:lnTo>
                  <a:lnTo>
                    <a:pt x="122" y="154"/>
                  </a:lnTo>
                  <a:lnTo>
                    <a:pt x="120" y="156"/>
                  </a:lnTo>
                  <a:lnTo>
                    <a:pt x="120" y="154"/>
                  </a:lnTo>
                  <a:lnTo>
                    <a:pt x="119" y="154"/>
                  </a:lnTo>
                  <a:lnTo>
                    <a:pt x="117" y="154"/>
                  </a:lnTo>
                  <a:lnTo>
                    <a:pt x="119" y="153"/>
                  </a:lnTo>
                  <a:lnTo>
                    <a:pt x="116" y="154"/>
                  </a:lnTo>
                  <a:lnTo>
                    <a:pt x="116" y="156"/>
                  </a:lnTo>
                  <a:lnTo>
                    <a:pt x="114" y="157"/>
                  </a:lnTo>
                  <a:lnTo>
                    <a:pt x="116" y="157"/>
                  </a:lnTo>
                  <a:lnTo>
                    <a:pt x="114" y="159"/>
                  </a:lnTo>
                  <a:lnTo>
                    <a:pt x="113" y="161"/>
                  </a:lnTo>
                  <a:lnTo>
                    <a:pt x="109" y="161"/>
                  </a:lnTo>
                  <a:lnTo>
                    <a:pt x="103" y="161"/>
                  </a:lnTo>
                  <a:lnTo>
                    <a:pt x="105" y="159"/>
                  </a:lnTo>
                  <a:lnTo>
                    <a:pt x="103" y="159"/>
                  </a:lnTo>
                  <a:lnTo>
                    <a:pt x="100" y="161"/>
                  </a:lnTo>
                  <a:lnTo>
                    <a:pt x="100" y="161"/>
                  </a:lnTo>
                  <a:lnTo>
                    <a:pt x="100" y="162"/>
                  </a:lnTo>
                  <a:lnTo>
                    <a:pt x="97" y="162"/>
                  </a:lnTo>
                  <a:lnTo>
                    <a:pt x="90" y="164"/>
                  </a:lnTo>
                  <a:lnTo>
                    <a:pt x="93" y="164"/>
                  </a:lnTo>
                  <a:lnTo>
                    <a:pt x="97" y="164"/>
                  </a:lnTo>
                  <a:lnTo>
                    <a:pt x="93" y="165"/>
                  </a:lnTo>
                  <a:lnTo>
                    <a:pt x="97" y="164"/>
                  </a:lnTo>
                  <a:lnTo>
                    <a:pt x="101" y="165"/>
                  </a:lnTo>
                  <a:lnTo>
                    <a:pt x="105" y="164"/>
                  </a:lnTo>
                  <a:lnTo>
                    <a:pt x="108" y="164"/>
                  </a:lnTo>
                  <a:lnTo>
                    <a:pt x="111" y="165"/>
                  </a:lnTo>
                  <a:lnTo>
                    <a:pt x="106" y="165"/>
                  </a:lnTo>
                  <a:lnTo>
                    <a:pt x="113" y="167"/>
                  </a:lnTo>
                  <a:lnTo>
                    <a:pt x="117" y="167"/>
                  </a:lnTo>
                  <a:lnTo>
                    <a:pt x="111" y="167"/>
                  </a:lnTo>
                  <a:lnTo>
                    <a:pt x="116" y="170"/>
                  </a:lnTo>
                  <a:lnTo>
                    <a:pt x="105" y="170"/>
                  </a:lnTo>
                  <a:lnTo>
                    <a:pt x="106" y="170"/>
                  </a:lnTo>
                  <a:lnTo>
                    <a:pt x="109" y="170"/>
                  </a:lnTo>
                  <a:lnTo>
                    <a:pt x="114" y="170"/>
                  </a:lnTo>
                  <a:lnTo>
                    <a:pt x="109" y="173"/>
                  </a:lnTo>
                  <a:lnTo>
                    <a:pt x="103" y="170"/>
                  </a:lnTo>
                  <a:lnTo>
                    <a:pt x="103" y="170"/>
                  </a:lnTo>
                  <a:lnTo>
                    <a:pt x="105" y="170"/>
                  </a:lnTo>
                  <a:lnTo>
                    <a:pt x="103" y="167"/>
                  </a:lnTo>
                  <a:lnTo>
                    <a:pt x="105" y="167"/>
                  </a:lnTo>
                  <a:lnTo>
                    <a:pt x="106" y="170"/>
                  </a:lnTo>
                  <a:lnTo>
                    <a:pt x="108" y="170"/>
                  </a:lnTo>
                  <a:lnTo>
                    <a:pt x="109" y="170"/>
                  </a:lnTo>
                  <a:lnTo>
                    <a:pt x="109" y="167"/>
                  </a:lnTo>
                  <a:lnTo>
                    <a:pt x="111" y="167"/>
                  </a:lnTo>
                  <a:lnTo>
                    <a:pt x="106" y="167"/>
                  </a:lnTo>
                  <a:lnTo>
                    <a:pt x="100" y="167"/>
                  </a:lnTo>
                  <a:lnTo>
                    <a:pt x="97" y="165"/>
                  </a:lnTo>
                  <a:lnTo>
                    <a:pt x="93" y="165"/>
                  </a:lnTo>
                  <a:lnTo>
                    <a:pt x="97" y="167"/>
                  </a:lnTo>
                  <a:lnTo>
                    <a:pt x="93" y="165"/>
                  </a:lnTo>
                  <a:lnTo>
                    <a:pt x="90" y="165"/>
                  </a:lnTo>
                  <a:lnTo>
                    <a:pt x="90" y="167"/>
                  </a:lnTo>
                  <a:lnTo>
                    <a:pt x="93" y="167"/>
                  </a:lnTo>
                  <a:lnTo>
                    <a:pt x="93" y="167"/>
                  </a:lnTo>
                  <a:lnTo>
                    <a:pt x="90" y="167"/>
                  </a:lnTo>
                  <a:lnTo>
                    <a:pt x="87" y="167"/>
                  </a:lnTo>
                  <a:lnTo>
                    <a:pt x="87" y="170"/>
                  </a:lnTo>
                  <a:lnTo>
                    <a:pt x="86" y="170"/>
                  </a:lnTo>
                  <a:lnTo>
                    <a:pt x="84" y="170"/>
                  </a:lnTo>
                  <a:lnTo>
                    <a:pt x="84" y="170"/>
                  </a:lnTo>
                  <a:lnTo>
                    <a:pt x="82" y="170"/>
                  </a:lnTo>
                  <a:lnTo>
                    <a:pt x="81" y="173"/>
                  </a:lnTo>
                  <a:lnTo>
                    <a:pt x="86" y="170"/>
                  </a:lnTo>
                  <a:lnTo>
                    <a:pt x="90" y="170"/>
                  </a:lnTo>
                  <a:lnTo>
                    <a:pt x="98" y="168"/>
                  </a:lnTo>
                  <a:lnTo>
                    <a:pt x="97" y="170"/>
                  </a:lnTo>
                  <a:lnTo>
                    <a:pt x="100" y="170"/>
                  </a:lnTo>
                  <a:lnTo>
                    <a:pt x="100" y="170"/>
                  </a:lnTo>
                  <a:lnTo>
                    <a:pt x="101" y="170"/>
                  </a:lnTo>
                  <a:lnTo>
                    <a:pt x="93" y="170"/>
                  </a:lnTo>
                  <a:lnTo>
                    <a:pt x="90" y="170"/>
                  </a:lnTo>
                  <a:lnTo>
                    <a:pt x="87" y="170"/>
                  </a:lnTo>
                  <a:lnTo>
                    <a:pt x="87" y="170"/>
                  </a:lnTo>
                  <a:lnTo>
                    <a:pt x="82" y="173"/>
                  </a:lnTo>
                  <a:lnTo>
                    <a:pt x="79" y="173"/>
                  </a:lnTo>
                  <a:lnTo>
                    <a:pt x="78" y="176"/>
                  </a:lnTo>
                  <a:lnTo>
                    <a:pt x="78" y="176"/>
                  </a:lnTo>
                  <a:lnTo>
                    <a:pt x="84" y="176"/>
                  </a:lnTo>
                  <a:lnTo>
                    <a:pt x="81" y="176"/>
                  </a:lnTo>
                  <a:lnTo>
                    <a:pt x="79" y="176"/>
                  </a:lnTo>
                  <a:lnTo>
                    <a:pt x="76" y="178"/>
                  </a:lnTo>
                  <a:lnTo>
                    <a:pt x="78" y="178"/>
                  </a:lnTo>
                  <a:lnTo>
                    <a:pt x="79" y="178"/>
                  </a:lnTo>
                  <a:lnTo>
                    <a:pt x="81" y="180"/>
                  </a:lnTo>
                  <a:lnTo>
                    <a:pt x="78" y="181"/>
                  </a:lnTo>
                  <a:lnTo>
                    <a:pt x="84" y="180"/>
                  </a:lnTo>
                  <a:lnTo>
                    <a:pt x="86" y="180"/>
                  </a:lnTo>
                  <a:lnTo>
                    <a:pt x="87" y="180"/>
                  </a:lnTo>
                  <a:lnTo>
                    <a:pt x="90" y="180"/>
                  </a:lnTo>
                  <a:lnTo>
                    <a:pt x="87" y="181"/>
                  </a:lnTo>
                  <a:lnTo>
                    <a:pt x="87" y="181"/>
                  </a:lnTo>
                  <a:lnTo>
                    <a:pt x="86" y="181"/>
                  </a:lnTo>
                  <a:lnTo>
                    <a:pt x="84" y="183"/>
                  </a:lnTo>
                  <a:lnTo>
                    <a:pt x="82" y="183"/>
                  </a:lnTo>
                  <a:lnTo>
                    <a:pt x="78" y="183"/>
                  </a:lnTo>
                  <a:lnTo>
                    <a:pt x="79" y="184"/>
                  </a:lnTo>
                  <a:lnTo>
                    <a:pt x="82" y="184"/>
                  </a:lnTo>
                  <a:lnTo>
                    <a:pt x="87" y="184"/>
                  </a:lnTo>
                  <a:lnTo>
                    <a:pt x="78" y="186"/>
                  </a:lnTo>
                  <a:lnTo>
                    <a:pt x="76" y="184"/>
                  </a:lnTo>
                  <a:lnTo>
                    <a:pt x="73" y="188"/>
                  </a:lnTo>
                  <a:lnTo>
                    <a:pt x="74" y="189"/>
                  </a:lnTo>
                  <a:lnTo>
                    <a:pt x="73" y="191"/>
                  </a:lnTo>
                  <a:lnTo>
                    <a:pt x="76" y="192"/>
                  </a:lnTo>
                  <a:lnTo>
                    <a:pt x="74" y="192"/>
                  </a:lnTo>
                  <a:lnTo>
                    <a:pt x="76" y="194"/>
                  </a:lnTo>
                  <a:lnTo>
                    <a:pt x="78" y="194"/>
                  </a:lnTo>
                  <a:lnTo>
                    <a:pt x="79" y="194"/>
                  </a:lnTo>
                  <a:lnTo>
                    <a:pt x="82" y="192"/>
                  </a:lnTo>
                  <a:lnTo>
                    <a:pt x="84" y="192"/>
                  </a:lnTo>
                  <a:lnTo>
                    <a:pt x="86" y="192"/>
                  </a:lnTo>
                  <a:lnTo>
                    <a:pt x="90" y="191"/>
                  </a:lnTo>
                  <a:lnTo>
                    <a:pt x="87" y="192"/>
                  </a:lnTo>
                  <a:lnTo>
                    <a:pt x="87" y="192"/>
                  </a:lnTo>
                  <a:lnTo>
                    <a:pt x="84" y="194"/>
                  </a:lnTo>
                  <a:lnTo>
                    <a:pt x="81" y="194"/>
                  </a:lnTo>
                  <a:lnTo>
                    <a:pt x="79" y="194"/>
                  </a:lnTo>
                  <a:lnTo>
                    <a:pt x="79" y="195"/>
                  </a:lnTo>
                  <a:lnTo>
                    <a:pt x="78" y="197"/>
                  </a:lnTo>
                  <a:lnTo>
                    <a:pt x="79" y="197"/>
                  </a:lnTo>
                  <a:lnTo>
                    <a:pt x="81" y="197"/>
                  </a:lnTo>
                  <a:lnTo>
                    <a:pt x="78" y="199"/>
                  </a:lnTo>
                  <a:lnTo>
                    <a:pt x="79" y="199"/>
                  </a:lnTo>
                  <a:lnTo>
                    <a:pt x="79" y="200"/>
                  </a:lnTo>
                  <a:lnTo>
                    <a:pt x="81" y="199"/>
                  </a:lnTo>
                  <a:lnTo>
                    <a:pt x="86" y="197"/>
                  </a:lnTo>
                  <a:lnTo>
                    <a:pt x="87" y="195"/>
                  </a:lnTo>
                  <a:lnTo>
                    <a:pt x="87" y="197"/>
                  </a:lnTo>
                  <a:lnTo>
                    <a:pt x="82" y="199"/>
                  </a:lnTo>
                  <a:lnTo>
                    <a:pt x="79" y="200"/>
                  </a:lnTo>
                  <a:lnTo>
                    <a:pt x="78" y="202"/>
                  </a:lnTo>
                  <a:lnTo>
                    <a:pt x="79" y="202"/>
                  </a:lnTo>
                  <a:lnTo>
                    <a:pt x="81" y="202"/>
                  </a:lnTo>
                  <a:lnTo>
                    <a:pt x="82" y="202"/>
                  </a:lnTo>
                  <a:lnTo>
                    <a:pt x="81" y="202"/>
                  </a:lnTo>
                  <a:lnTo>
                    <a:pt x="81" y="205"/>
                  </a:lnTo>
                  <a:lnTo>
                    <a:pt x="79" y="205"/>
                  </a:lnTo>
                  <a:lnTo>
                    <a:pt x="79" y="208"/>
                  </a:lnTo>
                  <a:lnTo>
                    <a:pt x="78" y="208"/>
                  </a:lnTo>
                  <a:lnTo>
                    <a:pt x="76" y="215"/>
                  </a:lnTo>
                  <a:lnTo>
                    <a:pt x="79" y="213"/>
                  </a:lnTo>
                  <a:lnTo>
                    <a:pt x="82" y="210"/>
                  </a:lnTo>
                  <a:lnTo>
                    <a:pt x="86" y="208"/>
                  </a:lnTo>
                  <a:lnTo>
                    <a:pt x="87" y="208"/>
                  </a:lnTo>
                  <a:lnTo>
                    <a:pt x="87" y="208"/>
                  </a:lnTo>
                  <a:lnTo>
                    <a:pt x="90" y="208"/>
                  </a:lnTo>
                  <a:lnTo>
                    <a:pt x="90" y="208"/>
                  </a:lnTo>
                  <a:lnTo>
                    <a:pt x="93" y="205"/>
                  </a:lnTo>
                  <a:lnTo>
                    <a:pt x="93" y="208"/>
                  </a:lnTo>
                  <a:lnTo>
                    <a:pt x="97" y="208"/>
                  </a:lnTo>
                  <a:lnTo>
                    <a:pt x="100" y="205"/>
                  </a:lnTo>
                  <a:lnTo>
                    <a:pt x="97" y="208"/>
                  </a:lnTo>
                  <a:lnTo>
                    <a:pt x="97" y="208"/>
                  </a:lnTo>
                  <a:lnTo>
                    <a:pt x="100" y="208"/>
                  </a:lnTo>
                  <a:lnTo>
                    <a:pt x="97" y="210"/>
                  </a:lnTo>
                  <a:lnTo>
                    <a:pt x="100" y="211"/>
                  </a:lnTo>
                  <a:lnTo>
                    <a:pt x="100" y="213"/>
                  </a:lnTo>
                  <a:lnTo>
                    <a:pt x="97" y="211"/>
                  </a:lnTo>
                  <a:lnTo>
                    <a:pt x="97" y="210"/>
                  </a:lnTo>
                  <a:lnTo>
                    <a:pt x="93" y="208"/>
                  </a:lnTo>
                  <a:lnTo>
                    <a:pt x="93" y="208"/>
                  </a:lnTo>
                  <a:lnTo>
                    <a:pt x="90" y="208"/>
                  </a:lnTo>
                  <a:lnTo>
                    <a:pt x="93" y="210"/>
                  </a:lnTo>
                  <a:lnTo>
                    <a:pt x="90" y="210"/>
                  </a:lnTo>
                  <a:lnTo>
                    <a:pt x="93" y="211"/>
                  </a:lnTo>
                  <a:lnTo>
                    <a:pt x="90" y="211"/>
                  </a:lnTo>
                  <a:lnTo>
                    <a:pt x="87" y="213"/>
                  </a:lnTo>
                  <a:lnTo>
                    <a:pt x="86" y="215"/>
                  </a:lnTo>
                  <a:lnTo>
                    <a:pt x="84" y="215"/>
                  </a:lnTo>
                  <a:lnTo>
                    <a:pt x="81" y="215"/>
                  </a:lnTo>
                  <a:lnTo>
                    <a:pt x="79" y="216"/>
                  </a:lnTo>
                  <a:lnTo>
                    <a:pt x="81" y="218"/>
                  </a:lnTo>
                  <a:lnTo>
                    <a:pt x="79" y="219"/>
                  </a:lnTo>
                  <a:lnTo>
                    <a:pt x="81" y="219"/>
                  </a:lnTo>
                  <a:lnTo>
                    <a:pt x="78" y="221"/>
                  </a:lnTo>
                  <a:lnTo>
                    <a:pt x="78" y="222"/>
                  </a:lnTo>
                  <a:lnTo>
                    <a:pt x="79" y="222"/>
                  </a:lnTo>
                  <a:lnTo>
                    <a:pt x="81" y="222"/>
                  </a:lnTo>
                  <a:lnTo>
                    <a:pt x="82" y="221"/>
                  </a:lnTo>
                  <a:lnTo>
                    <a:pt x="87" y="221"/>
                  </a:lnTo>
                  <a:lnTo>
                    <a:pt x="84" y="222"/>
                  </a:lnTo>
                  <a:lnTo>
                    <a:pt x="81" y="222"/>
                  </a:lnTo>
                  <a:lnTo>
                    <a:pt x="81" y="222"/>
                  </a:lnTo>
                  <a:lnTo>
                    <a:pt x="79" y="222"/>
                  </a:lnTo>
                  <a:lnTo>
                    <a:pt x="82" y="226"/>
                  </a:lnTo>
                  <a:lnTo>
                    <a:pt x="79" y="226"/>
                  </a:lnTo>
                  <a:lnTo>
                    <a:pt x="79" y="226"/>
                  </a:lnTo>
                  <a:lnTo>
                    <a:pt x="81" y="226"/>
                  </a:lnTo>
                  <a:lnTo>
                    <a:pt x="81" y="229"/>
                  </a:lnTo>
                  <a:lnTo>
                    <a:pt x="84" y="226"/>
                  </a:lnTo>
                  <a:lnTo>
                    <a:pt x="87" y="226"/>
                  </a:lnTo>
                  <a:lnTo>
                    <a:pt x="86" y="229"/>
                  </a:lnTo>
                  <a:lnTo>
                    <a:pt x="84" y="229"/>
                  </a:lnTo>
                  <a:lnTo>
                    <a:pt x="82" y="229"/>
                  </a:lnTo>
                  <a:lnTo>
                    <a:pt x="84" y="229"/>
                  </a:lnTo>
                  <a:lnTo>
                    <a:pt x="86" y="229"/>
                  </a:lnTo>
                  <a:lnTo>
                    <a:pt x="84" y="232"/>
                  </a:lnTo>
                  <a:lnTo>
                    <a:pt x="86" y="232"/>
                  </a:lnTo>
                  <a:lnTo>
                    <a:pt x="82" y="235"/>
                  </a:lnTo>
                  <a:lnTo>
                    <a:pt x="82" y="237"/>
                  </a:lnTo>
                  <a:lnTo>
                    <a:pt x="86" y="238"/>
                  </a:lnTo>
                  <a:lnTo>
                    <a:pt x="90" y="240"/>
                  </a:lnTo>
                  <a:lnTo>
                    <a:pt x="87" y="240"/>
                  </a:lnTo>
                  <a:lnTo>
                    <a:pt x="90" y="241"/>
                  </a:lnTo>
                  <a:lnTo>
                    <a:pt x="87" y="241"/>
                  </a:lnTo>
                  <a:lnTo>
                    <a:pt x="87" y="241"/>
                  </a:lnTo>
                  <a:lnTo>
                    <a:pt x="86" y="243"/>
                  </a:lnTo>
                  <a:lnTo>
                    <a:pt x="90" y="243"/>
                  </a:lnTo>
                  <a:lnTo>
                    <a:pt x="93" y="240"/>
                  </a:lnTo>
                  <a:lnTo>
                    <a:pt x="93" y="241"/>
                  </a:lnTo>
                  <a:lnTo>
                    <a:pt x="93" y="241"/>
                  </a:lnTo>
                  <a:lnTo>
                    <a:pt x="90" y="243"/>
                  </a:lnTo>
                  <a:lnTo>
                    <a:pt x="87" y="245"/>
                  </a:lnTo>
                  <a:lnTo>
                    <a:pt x="87" y="246"/>
                  </a:lnTo>
                  <a:lnTo>
                    <a:pt x="90" y="245"/>
                  </a:lnTo>
                  <a:lnTo>
                    <a:pt x="90" y="243"/>
                  </a:lnTo>
                  <a:lnTo>
                    <a:pt x="93" y="243"/>
                  </a:lnTo>
                  <a:lnTo>
                    <a:pt x="90" y="245"/>
                  </a:lnTo>
                  <a:lnTo>
                    <a:pt x="90" y="246"/>
                  </a:lnTo>
                  <a:lnTo>
                    <a:pt x="90" y="246"/>
                  </a:lnTo>
                  <a:lnTo>
                    <a:pt x="90" y="248"/>
                  </a:lnTo>
                  <a:lnTo>
                    <a:pt x="87" y="249"/>
                  </a:lnTo>
                  <a:lnTo>
                    <a:pt x="90" y="249"/>
                  </a:lnTo>
                  <a:lnTo>
                    <a:pt x="90" y="249"/>
                  </a:lnTo>
                  <a:lnTo>
                    <a:pt x="97" y="248"/>
                  </a:lnTo>
                  <a:lnTo>
                    <a:pt x="93" y="249"/>
                  </a:lnTo>
                  <a:lnTo>
                    <a:pt x="93" y="249"/>
                  </a:lnTo>
                  <a:lnTo>
                    <a:pt x="87" y="251"/>
                  </a:lnTo>
                  <a:lnTo>
                    <a:pt x="90" y="251"/>
                  </a:lnTo>
                  <a:lnTo>
                    <a:pt x="93" y="251"/>
                  </a:lnTo>
                  <a:lnTo>
                    <a:pt x="93" y="253"/>
                  </a:lnTo>
                  <a:lnTo>
                    <a:pt x="93" y="254"/>
                  </a:lnTo>
                  <a:lnTo>
                    <a:pt x="93" y="253"/>
                  </a:lnTo>
                  <a:lnTo>
                    <a:pt x="93" y="254"/>
                  </a:lnTo>
                  <a:lnTo>
                    <a:pt x="97" y="253"/>
                  </a:lnTo>
                  <a:lnTo>
                    <a:pt x="97" y="253"/>
                  </a:lnTo>
                  <a:lnTo>
                    <a:pt x="97" y="254"/>
                  </a:lnTo>
                  <a:lnTo>
                    <a:pt x="97" y="254"/>
                  </a:lnTo>
                  <a:lnTo>
                    <a:pt x="100" y="254"/>
                  </a:lnTo>
                  <a:lnTo>
                    <a:pt x="97" y="256"/>
                  </a:lnTo>
                  <a:lnTo>
                    <a:pt x="100" y="256"/>
                  </a:lnTo>
                  <a:lnTo>
                    <a:pt x="93" y="257"/>
                  </a:lnTo>
                  <a:lnTo>
                    <a:pt x="97" y="257"/>
                  </a:lnTo>
                  <a:lnTo>
                    <a:pt x="101" y="257"/>
                  </a:lnTo>
                  <a:lnTo>
                    <a:pt x="106" y="257"/>
                  </a:lnTo>
                  <a:lnTo>
                    <a:pt x="105" y="257"/>
                  </a:lnTo>
                  <a:lnTo>
                    <a:pt x="108" y="257"/>
                  </a:lnTo>
                  <a:lnTo>
                    <a:pt x="108" y="257"/>
                  </a:lnTo>
                  <a:lnTo>
                    <a:pt x="111" y="256"/>
                  </a:lnTo>
                  <a:lnTo>
                    <a:pt x="113" y="256"/>
                  </a:lnTo>
                  <a:lnTo>
                    <a:pt x="114" y="257"/>
                  </a:lnTo>
                  <a:lnTo>
                    <a:pt x="116" y="256"/>
                  </a:lnTo>
                  <a:lnTo>
                    <a:pt x="114" y="256"/>
                  </a:lnTo>
                  <a:lnTo>
                    <a:pt x="117" y="254"/>
                  </a:lnTo>
                  <a:lnTo>
                    <a:pt x="119" y="254"/>
                  </a:lnTo>
                  <a:lnTo>
                    <a:pt x="117" y="253"/>
                  </a:lnTo>
                  <a:lnTo>
                    <a:pt x="119" y="253"/>
                  </a:lnTo>
                  <a:lnTo>
                    <a:pt x="120" y="253"/>
                  </a:lnTo>
                  <a:lnTo>
                    <a:pt x="120" y="254"/>
                  </a:lnTo>
                  <a:lnTo>
                    <a:pt x="119" y="256"/>
                  </a:lnTo>
                  <a:lnTo>
                    <a:pt x="117" y="256"/>
                  </a:lnTo>
                  <a:lnTo>
                    <a:pt x="116" y="257"/>
                  </a:lnTo>
                  <a:lnTo>
                    <a:pt x="120" y="256"/>
                  </a:lnTo>
                  <a:lnTo>
                    <a:pt x="117" y="257"/>
                  </a:lnTo>
                  <a:lnTo>
                    <a:pt x="116" y="257"/>
                  </a:lnTo>
                  <a:lnTo>
                    <a:pt x="117" y="257"/>
                  </a:lnTo>
                  <a:lnTo>
                    <a:pt x="119" y="257"/>
                  </a:lnTo>
                  <a:lnTo>
                    <a:pt x="117" y="261"/>
                  </a:lnTo>
                  <a:lnTo>
                    <a:pt x="119" y="261"/>
                  </a:lnTo>
                  <a:lnTo>
                    <a:pt x="114" y="261"/>
                  </a:lnTo>
                  <a:lnTo>
                    <a:pt x="117" y="261"/>
                  </a:lnTo>
                  <a:lnTo>
                    <a:pt x="119" y="261"/>
                  </a:lnTo>
                  <a:lnTo>
                    <a:pt x="119" y="264"/>
                  </a:lnTo>
                  <a:lnTo>
                    <a:pt x="120" y="261"/>
                  </a:lnTo>
                  <a:lnTo>
                    <a:pt x="122" y="261"/>
                  </a:lnTo>
                  <a:lnTo>
                    <a:pt x="120" y="264"/>
                  </a:lnTo>
                  <a:lnTo>
                    <a:pt x="122" y="261"/>
                  </a:lnTo>
                  <a:lnTo>
                    <a:pt x="122" y="264"/>
                  </a:lnTo>
                  <a:lnTo>
                    <a:pt x="125" y="261"/>
                  </a:lnTo>
                  <a:lnTo>
                    <a:pt x="128" y="261"/>
                  </a:lnTo>
                  <a:lnTo>
                    <a:pt x="125" y="264"/>
                  </a:lnTo>
                  <a:lnTo>
                    <a:pt x="122" y="264"/>
                  </a:lnTo>
                  <a:lnTo>
                    <a:pt x="122" y="267"/>
                  </a:lnTo>
                  <a:lnTo>
                    <a:pt x="120" y="267"/>
                  </a:lnTo>
                  <a:lnTo>
                    <a:pt x="122" y="268"/>
                  </a:lnTo>
                  <a:lnTo>
                    <a:pt x="122" y="267"/>
                  </a:lnTo>
                  <a:lnTo>
                    <a:pt x="125" y="268"/>
                  </a:lnTo>
                  <a:lnTo>
                    <a:pt x="125" y="268"/>
                  </a:lnTo>
                  <a:lnTo>
                    <a:pt x="128" y="267"/>
                  </a:lnTo>
                  <a:lnTo>
                    <a:pt x="128" y="267"/>
                  </a:lnTo>
                  <a:lnTo>
                    <a:pt x="132" y="264"/>
                  </a:lnTo>
                  <a:lnTo>
                    <a:pt x="132" y="264"/>
                  </a:lnTo>
                  <a:lnTo>
                    <a:pt x="132" y="267"/>
                  </a:lnTo>
                  <a:lnTo>
                    <a:pt x="133" y="267"/>
                  </a:lnTo>
                  <a:lnTo>
                    <a:pt x="132" y="267"/>
                  </a:lnTo>
                  <a:lnTo>
                    <a:pt x="133" y="268"/>
                  </a:lnTo>
                  <a:lnTo>
                    <a:pt x="135" y="268"/>
                  </a:lnTo>
                  <a:lnTo>
                    <a:pt x="136" y="268"/>
                  </a:lnTo>
                  <a:lnTo>
                    <a:pt x="136" y="267"/>
                  </a:lnTo>
                  <a:lnTo>
                    <a:pt x="139" y="268"/>
                  </a:lnTo>
                  <a:lnTo>
                    <a:pt x="139" y="267"/>
                  </a:lnTo>
                  <a:lnTo>
                    <a:pt x="141" y="267"/>
                  </a:lnTo>
                  <a:lnTo>
                    <a:pt x="141" y="267"/>
                  </a:lnTo>
                  <a:lnTo>
                    <a:pt x="143" y="267"/>
                  </a:lnTo>
                  <a:lnTo>
                    <a:pt x="141" y="264"/>
                  </a:lnTo>
                  <a:lnTo>
                    <a:pt x="139" y="264"/>
                  </a:lnTo>
                  <a:lnTo>
                    <a:pt x="141" y="264"/>
                  </a:lnTo>
                  <a:lnTo>
                    <a:pt x="138" y="264"/>
                  </a:lnTo>
                  <a:lnTo>
                    <a:pt x="139" y="264"/>
                  </a:lnTo>
                  <a:lnTo>
                    <a:pt x="136" y="261"/>
                  </a:lnTo>
                  <a:lnTo>
                    <a:pt x="138" y="261"/>
                  </a:lnTo>
                  <a:lnTo>
                    <a:pt x="139" y="261"/>
                  </a:lnTo>
                  <a:lnTo>
                    <a:pt x="141" y="264"/>
                  </a:lnTo>
                  <a:lnTo>
                    <a:pt x="143" y="264"/>
                  </a:lnTo>
                  <a:lnTo>
                    <a:pt x="141" y="261"/>
                  </a:lnTo>
                  <a:lnTo>
                    <a:pt x="144" y="261"/>
                  </a:lnTo>
                  <a:lnTo>
                    <a:pt x="146" y="261"/>
                  </a:lnTo>
                  <a:lnTo>
                    <a:pt x="147" y="261"/>
                  </a:lnTo>
                  <a:lnTo>
                    <a:pt x="146" y="261"/>
                  </a:lnTo>
                  <a:lnTo>
                    <a:pt x="147" y="257"/>
                  </a:lnTo>
                  <a:lnTo>
                    <a:pt x="149" y="257"/>
                  </a:lnTo>
                  <a:lnTo>
                    <a:pt x="141" y="257"/>
                  </a:lnTo>
                  <a:lnTo>
                    <a:pt x="147" y="257"/>
                  </a:lnTo>
                  <a:lnTo>
                    <a:pt x="149" y="257"/>
                  </a:lnTo>
                  <a:lnTo>
                    <a:pt x="151" y="256"/>
                  </a:lnTo>
                  <a:lnTo>
                    <a:pt x="146" y="256"/>
                  </a:lnTo>
                  <a:lnTo>
                    <a:pt x="141" y="254"/>
                  </a:lnTo>
                  <a:lnTo>
                    <a:pt x="146" y="254"/>
                  </a:lnTo>
                  <a:lnTo>
                    <a:pt x="149" y="254"/>
                  </a:lnTo>
                  <a:lnTo>
                    <a:pt x="152" y="253"/>
                  </a:lnTo>
                  <a:lnTo>
                    <a:pt x="151" y="253"/>
                  </a:lnTo>
                  <a:lnTo>
                    <a:pt x="149" y="253"/>
                  </a:lnTo>
                  <a:lnTo>
                    <a:pt x="147" y="251"/>
                  </a:lnTo>
                  <a:lnTo>
                    <a:pt x="152" y="251"/>
                  </a:lnTo>
                  <a:lnTo>
                    <a:pt x="154" y="251"/>
                  </a:lnTo>
                  <a:lnTo>
                    <a:pt x="154" y="249"/>
                  </a:lnTo>
                  <a:lnTo>
                    <a:pt x="152" y="249"/>
                  </a:lnTo>
                  <a:lnTo>
                    <a:pt x="149" y="248"/>
                  </a:lnTo>
                  <a:lnTo>
                    <a:pt x="155" y="248"/>
                  </a:lnTo>
                  <a:lnTo>
                    <a:pt x="157" y="246"/>
                  </a:lnTo>
                  <a:lnTo>
                    <a:pt x="157" y="246"/>
                  </a:lnTo>
                  <a:lnTo>
                    <a:pt x="155" y="246"/>
                  </a:lnTo>
                  <a:lnTo>
                    <a:pt x="154" y="245"/>
                  </a:lnTo>
                  <a:lnTo>
                    <a:pt x="157" y="246"/>
                  </a:lnTo>
                  <a:lnTo>
                    <a:pt x="160" y="245"/>
                  </a:lnTo>
                  <a:lnTo>
                    <a:pt x="157" y="243"/>
                  </a:lnTo>
                  <a:lnTo>
                    <a:pt x="160" y="243"/>
                  </a:lnTo>
                  <a:lnTo>
                    <a:pt x="160" y="241"/>
                  </a:lnTo>
                  <a:lnTo>
                    <a:pt x="160" y="240"/>
                  </a:lnTo>
                  <a:lnTo>
                    <a:pt x="160" y="238"/>
                  </a:lnTo>
                  <a:lnTo>
                    <a:pt x="157" y="237"/>
                  </a:lnTo>
                  <a:lnTo>
                    <a:pt x="163" y="237"/>
                  </a:lnTo>
                  <a:lnTo>
                    <a:pt x="160" y="235"/>
                  </a:lnTo>
                  <a:lnTo>
                    <a:pt x="157" y="234"/>
                  </a:lnTo>
                  <a:lnTo>
                    <a:pt x="155" y="232"/>
                  </a:lnTo>
                  <a:lnTo>
                    <a:pt x="160" y="234"/>
                  </a:lnTo>
                  <a:lnTo>
                    <a:pt x="160" y="232"/>
                  </a:lnTo>
                  <a:lnTo>
                    <a:pt x="163" y="232"/>
                  </a:lnTo>
                  <a:lnTo>
                    <a:pt x="160" y="232"/>
                  </a:lnTo>
                  <a:lnTo>
                    <a:pt x="163" y="232"/>
                  </a:lnTo>
                  <a:lnTo>
                    <a:pt x="166" y="232"/>
                  </a:lnTo>
                  <a:lnTo>
                    <a:pt x="166" y="232"/>
                  </a:lnTo>
                  <a:lnTo>
                    <a:pt x="170" y="232"/>
                  </a:lnTo>
                  <a:lnTo>
                    <a:pt x="170" y="229"/>
                  </a:lnTo>
                  <a:lnTo>
                    <a:pt x="171" y="229"/>
                  </a:lnTo>
                  <a:lnTo>
                    <a:pt x="170" y="226"/>
                  </a:lnTo>
                  <a:lnTo>
                    <a:pt x="171" y="229"/>
                  </a:lnTo>
                  <a:lnTo>
                    <a:pt x="173" y="229"/>
                  </a:lnTo>
                  <a:lnTo>
                    <a:pt x="173" y="226"/>
                  </a:lnTo>
                  <a:lnTo>
                    <a:pt x="171" y="226"/>
                  </a:lnTo>
                  <a:lnTo>
                    <a:pt x="171" y="226"/>
                  </a:lnTo>
                  <a:lnTo>
                    <a:pt x="171" y="222"/>
                  </a:lnTo>
                  <a:lnTo>
                    <a:pt x="174" y="226"/>
                  </a:lnTo>
                  <a:lnTo>
                    <a:pt x="176" y="226"/>
                  </a:lnTo>
                  <a:lnTo>
                    <a:pt x="178" y="226"/>
                  </a:lnTo>
                  <a:lnTo>
                    <a:pt x="173" y="222"/>
                  </a:lnTo>
                  <a:lnTo>
                    <a:pt x="176" y="224"/>
                  </a:lnTo>
                  <a:lnTo>
                    <a:pt x="176" y="226"/>
                  </a:lnTo>
                  <a:lnTo>
                    <a:pt x="176" y="224"/>
                  </a:lnTo>
                  <a:lnTo>
                    <a:pt x="176" y="222"/>
                  </a:lnTo>
                  <a:lnTo>
                    <a:pt x="178" y="226"/>
                  </a:lnTo>
                  <a:lnTo>
                    <a:pt x="179" y="226"/>
                  </a:lnTo>
                  <a:lnTo>
                    <a:pt x="178" y="222"/>
                  </a:lnTo>
                  <a:lnTo>
                    <a:pt x="179" y="222"/>
                  </a:lnTo>
                  <a:lnTo>
                    <a:pt x="182" y="222"/>
                  </a:lnTo>
                  <a:lnTo>
                    <a:pt x="181" y="222"/>
                  </a:lnTo>
                  <a:lnTo>
                    <a:pt x="179" y="221"/>
                  </a:lnTo>
                  <a:lnTo>
                    <a:pt x="174" y="221"/>
                  </a:lnTo>
                  <a:lnTo>
                    <a:pt x="178" y="219"/>
                  </a:lnTo>
                  <a:lnTo>
                    <a:pt x="179" y="221"/>
                  </a:lnTo>
                  <a:lnTo>
                    <a:pt x="186" y="221"/>
                  </a:lnTo>
                  <a:lnTo>
                    <a:pt x="186" y="219"/>
                  </a:lnTo>
                  <a:lnTo>
                    <a:pt x="184" y="218"/>
                  </a:lnTo>
                  <a:lnTo>
                    <a:pt x="187" y="216"/>
                  </a:lnTo>
                  <a:lnTo>
                    <a:pt x="186" y="215"/>
                  </a:lnTo>
                  <a:lnTo>
                    <a:pt x="182" y="215"/>
                  </a:lnTo>
                  <a:lnTo>
                    <a:pt x="179" y="213"/>
                  </a:lnTo>
                  <a:lnTo>
                    <a:pt x="182" y="213"/>
                  </a:lnTo>
                  <a:lnTo>
                    <a:pt x="186" y="213"/>
                  </a:lnTo>
                  <a:lnTo>
                    <a:pt x="187" y="213"/>
                  </a:lnTo>
                  <a:lnTo>
                    <a:pt x="190" y="213"/>
                  </a:lnTo>
                  <a:lnTo>
                    <a:pt x="190" y="211"/>
                  </a:lnTo>
                  <a:lnTo>
                    <a:pt x="189" y="211"/>
                  </a:lnTo>
                  <a:lnTo>
                    <a:pt x="190" y="210"/>
                  </a:lnTo>
                  <a:lnTo>
                    <a:pt x="189" y="208"/>
                  </a:lnTo>
                  <a:lnTo>
                    <a:pt x="187" y="205"/>
                  </a:lnTo>
                  <a:lnTo>
                    <a:pt x="187" y="205"/>
                  </a:lnTo>
                  <a:lnTo>
                    <a:pt x="190" y="202"/>
                  </a:lnTo>
                  <a:lnTo>
                    <a:pt x="192" y="202"/>
                  </a:lnTo>
                  <a:lnTo>
                    <a:pt x="193" y="205"/>
                  </a:lnTo>
                  <a:lnTo>
                    <a:pt x="195" y="205"/>
                  </a:lnTo>
                  <a:lnTo>
                    <a:pt x="197" y="205"/>
                  </a:lnTo>
                  <a:lnTo>
                    <a:pt x="197" y="202"/>
                  </a:lnTo>
                  <a:lnTo>
                    <a:pt x="198" y="202"/>
                  </a:lnTo>
                  <a:lnTo>
                    <a:pt x="200" y="202"/>
                  </a:lnTo>
                  <a:lnTo>
                    <a:pt x="200" y="200"/>
                  </a:lnTo>
                  <a:lnTo>
                    <a:pt x="198" y="199"/>
                  </a:lnTo>
                  <a:lnTo>
                    <a:pt x="201" y="199"/>
                  </a:lnTo>
                  <a:lnTo>
                    <a:pt x="201" y="197"/>
                  </a:lnTo>
                  <a:lnTo>
                    <a:pt x="201" y="197"/>
                  </a:lnTo>
                  <a:lnTo>
                    <a:pt x="205" y="197"/>
                  </a:lnTo>
                  <a:lnTo>
                    <a:pt x="205" y="199"/>
                  </a:lnTo>
                  <a:lnTo>
                    <a:pt x="205" y="197"/>
                  </a:lnTo>
                  <a:lnTo>
                    <a:pt x="208" y="195"/>
                  </a:lnTo>
                  <a:lnTo>
                    <a:pt x="211" y="197"/>
                  </a:lnTo>
                  <a:lnTo>
                    <a:pt x="213" y="197"/>
                  </a:lnTo>
                  <a:lnTo>
                    <a:pt x="211" y="195"/>
                  </a:lnTo>
                  <a:lnTo>
                    <a:pt x="213" y="195"/>
                  </a:lnTo>
                  <a:lnTo>
                    <a:pt x="213" y="197"/>
                  </a:lnTo>
                  <a:lnTo>
                    <a:pt x="216" y="197"/>
                  </a:lnTo>
                  <a:lnTo>
                    <a:pt x="217" y="195"/>
                  </a:lnTo>
                  <a:lnTo>
                    <a:pt x="217" y="194"/>
                  </a:lnTo>
                  <a:lnTo>
                    <a:pt x="216" y="194"/>
                  </a:lnTo>
                  <a:lnTo>
                    <a:pt x="216" y="192"/>
                  </a:lnTo>
                  <a:lnTo>
                    <a:pt x="217" y="192"/>
                  </a:lnTo>
                  <a:lnTo>
                    <a:pt x="217" y="194"/>
                  </a:lnTo>
                  <a:lnTo>
                    <a:pt x="220" y="192"/>
                  </a:lnTo>
                  <a:lnTo>
                    <a:pt x="220" y="191"/>
                  </a:lnTo>
                  <a:lnTo>
                    <a:pt x="222" y="189"/>
                  </a:lnTo>
                  <a:lnTo>
                    <a:pt x="224" y="188"/>
                  </a:lnTo>
                  <a:lnTo>
                    <a:pt x="230" y="188"/>
                  </a:lnTo>
                  <a:lnTo>
                    <a:pt x="225" y="189"/>
                  </a:lnTo>
                  <a:lnTo>
                    <a:pt x="224" y="191"/>
                  </a:lnTo>
                  <a:lnTo>
                    <a:pt x="222" y="194"/>
                  </a:lnTo>
                  <a:lnTo>
                    <a:pt x="225" y="194"/>
                  </a:lnTo>
                  <a:lnTo>
                    <a:pt x="227" y="194"/>
                  </a:lnTo>
                  <a:lnTo>
                    <a:pt x="228" y="194"/>
                  </a:lnTo>
                  <a:lnTo>
                    <a:pt x="228" y="192"/>
                  </a:lnTo>
                  <a:lnTo>
                    <a:pt x="230" y="192"/>
                  </a:lnTo>
                  <a:lnTo>
                    <a:pt x="230" y="194"/>
                  </a:lnTo>
                  <a:lnTo>
                    <a:pt x="232" y="194"/>
                  </a:lnTo>
                  <a:lnTo>
                    <a:pt x="233" y="192"/>
                  </a:lnTo>
                  <a:lnTo>
                    <a:pt x="235" y="192"/>
                  </a:lnTo>
                  <a:lnTo>
                    <a:pt x="235" y="191"/>
                  </a:lnTo>
                  <a:lnTo>
                    <a:pt x="236" y="192"/>
                  </a:lnTo>
                  <a:lnTo>
                    <a:pt x="236" y="194"/>
                  </a:lnTo>
                  <a:lnTo>
                    <a:pt x="236" y="192"/>
                  </a:lnTo>
                  <a:lnTo>
                    <a:pt x="240" y="192"/>
                  </a:lnTo>
                  <a:lnTo>
                    <a:pt x="243" y="191"/>
                  </a:lnTo>
                  <a:lnTo>
                    <a:pt x="246" y="191"/>
                  </a:lnTo>
                  <a:lnTo>
                    <a:pt x="243" y="188"/>
                  </a:lnTo>
                  <a:lnTo>
                    <a:pt x="246" y="188"/>
                  </a:lnTo>
                  <a:lnTo>
                    <a:pt x="246" y="188"/>
                  </a:lnTo>
                  <a:lnTo>
                    <a:pt x="249" y="189"/>
                  </a:lnTo>
                  <a:lnTo>
                    <a:pt x="249" y="188"/>
                  </a:lnTo>
                  <a:lnTo>
                    <a:pt x="249" y="186"/>
                  </a:lnTo>
                  <a:lnTo>
                    <a:pt x="251" y="188"/>
                  </a:lnTo>
                  <a:lnTo>
                    <a:pt x="252" y="188"/>
                  </a:lnTo>
                  <a:lnTo>
                    <a:pt x="257" y="184"/>
                  </a:lnTo>
                  <a:lnTo>
                    <a:pt x="257" y="183"/>
                  </a:lnTo>
                  <a:lnTo>
                    <a:pt x="259" y="183"/>
                  </a:lnTo>
                  <a:lnTo>
                    <a:pt x="259" y="184"/>
                  </a:lnTo>
                  <a:lnTo>
                    <a:pt x="260" y="183"/>
                  </a:lnTo>
                  <a:lnTo>
                    <a:pt x="262" y="181"/>
                  </a:lnTo>
                  <a:lnTo>
                    <a:pt x="263" y="183"/>
                  </a:lnTo>
                  <a:lnTo>
                    <a:pt x="263" y="180"/>
                  </a:lnTo>
                  <a:lnTo>
                    <a:pt x="265" y="180"/>
                  </a:lnTo>
                  <a:lnTo>
                    <a:pt x="265" y="178"/>
                  </a:lnTo>
                  <a:lnTo>
                    <a:pt x="267" y="178"/>
                  </a:lnTo>
                  <a:lnTo>
                    <a:pt x="267" y="178"/>
                  </a:lnTo>
                  <a:lnTo>
                    <a:pt x="268" y="176"/>
                  </a:lnTo>
                  <a:lnTo>
                    <a:pt x="268" y="176"/>
                  </a:lnTo>
                  <a:lnTo>
                    <a:pt x="271" y="173"/>
                  </a:lnTo>
                  <a:lnTo>
                    <a:pt x="271" y="173"/>
                  </a:lnTo>
                  <a:lnTo>
                    <a:pt x="273" y="173"/>
                  </a:lnTo>
                  <a:lnTo>
                    <a:pt x="274" y="170"/>
                  </a:lnTo>
                  <a:lnTo>
                    <a:pt x="281" y="170"/>
                  </a:lnTo>
                  <a:lnTo>
                    <a:pt x="282" y="170"/>
                  </a:lnTo>
                  <a:lnTo>
                    <a:pt x="286" y="167"/>
                  </a:lnTo>
                  <a:lnTo>
                    <a:pt x="286" y="167"/>
                  </a:lnTo>
                  <a:lnTo>
                    <a:pt x="287" y="167"/>
                  </a:lnTo>
                  <a:lnTo>
                    <a:pt x="286" y="165"/>
                  </a:lnTo>
                  <a:lnTo>
                    <a:pt x="284" y="165"/>
                  </a:lnTo>
                  <a:lnTo>
                    <a:pt x="286" y="164"/>
                  </a:lnTo>
                  <a:lnTo>
                    <a:pt x="284" y="162"/>
                  </a:lnTo>
                  <a:lnTo>
                    <a:pt x="284" y="161"/>
                  </a:lnTo>
                  <a:lnTo>
                    <a:pt x="286" y="159"/>
                  </a:lnTo>
                  <a:lnTo>
                    <a:pt x="286" y="162"/>
                  </a:lnTo>
                  <a:lnTo>
                    <a:pt x="287" y="162"/>
                  </a:lnTo>
                  <a:lnTo>
                    <a:pt x="287" y="164"/>
                  </a:lnTo>
                  <a:lnTo>
                    <a:pt x="289" y="164"/>
                  </a:lnTo>
                  <a:lnTo>
                    <a:pt x="292" y="165"/>
                  </a:lnTo>
                  <a:lnTo>
                    <a:pt x="290" y="165"/>
                  </a:lnTo>
                  <a:lnTo>
                    <a:pt x="292" y="167"/>
                  </a:lnTo>
                  <a:lnTo>
                    <a:pt x="301" y="167"/>
                  </a:lnTo>
                  <a:lnTo>
                    <a:pt x="298" y="164"/>
                  </a:lnTo>
                  <a:lnTo>
                    <a:pt x="301" y="165"/>
                  </a:lnTo>
                  <a:lnTo>
                    <a:pt x="305" y="165"/>
                  </a:lnTo>
                  <a:lnTo>
                    <a:pt x="303" y="164"/>
                  </a:lnTo>
                  <a:lnTo>
                    <a:pt x="305" y="164"/>
                  </a:lnTo>
                  <a:lnTo>
                    <a:pt x="306" y="164"/>
                  </a:lnTo>
                  <a:lnTo>
                    <a:pt x="306" y="162"/>
                  </a:lnTo>
                  <a:lnTo>
                    <a:pt x="308" y="164"/>
                  </a:lnTo>
                  <a:lnTo>
                    <a:pt x="309" y="164"/>
                  </a:lnTo>
                  <a:lnTo>
                    <a:pt x="313" y="164"/>
                  </a:lnTo>
                  <a:lnTo>
                    <a:pt x="314" y="164"/>
                  </a:lnTo>
                  <a:lnTo>
                    <a:pt x="314" y="162"/>
                  </a:lnTo>
                  <a:lnTo>
                    <a:pt x="317" y="164"/>
                  </a:lnTo>
                  <a:lnTo>
                    <a:pt x="322" y="162"/>
                  </a:lnTo>
                  <a:lnTo>
                    <a:pt x="324" y="162"/>
                  </a:lnTo>
                  <a:lnTo>
                    <a:pt x="325" y="162"/>
                  </a:lnTo>
                  <a:lnTo>
                    <a:pt x="327" y="161"/>
                  </a:lnTo>
                  <a:lnTo>
                    <a:pt x="330" y="161"/>
                  </a:lnTo>
                  <a:lnTo>
                    <a:pt x="330" y="161"/>
                  </a:lnTo>
                  <a:lnTo>
                    <a:pt x="336" y="159"/>
                  </a:lnTo>
                  <a:lnTo>
                    <a:pt x="341" y="159"/>
                  </a:lnTo>
                  <a:lnTo>
                    <a:pt x="344" y="157"/>
                  </a:lnTo>
                  <a:lnTo>
                    <a:pt x="347" y="156"/>
                  </a:lnTo>
                  <a:lnTo>
                    <a:pt x="351" y="154"/>
                  </a:lnTo>
                  <a:lnTo>
                    <a:pt x="354" y="154"/>
                  </a:lnTo>
                  <a:lnTo>
                    <a:pt x="354" y="153"/>
                  </a:lnTo>
                  <a:lnTo>
                    <a:pt x="355" y="153"/>
                  </a:lnTo>
                  <a:lnTo>
                    <a:pt x="357" y="153"/>
                  </a:lnTo>
                  <a:lnTo>
                    <a:pt x="355" y="151"/>
                  </a:lnTo>
                  <a:lnTo>
                    <a:pt x="357" y="151"/>
                  </a:lnTo>
                  <a:lnTo>
                    <a:pt x="359" y="151"/>
                  </a:lnTo>
                  <a:lnTo>
                    <a:pt x="360" y="151"/>
                  </a:lnTo>
                  <a:lnTo>
                    <a:pt x="360" y="149"/>
                  </a:lnTo>
                  <a:lnTo>
                    <a:pt x="362" y="149"/>
                  </a:lnTo>
                  <a:lnTo>
                    <a:pt x="365" y="149"/>
                  </a:lnTo>
                  <a:lnTo>
                    <a:pt x="365" y="148"/>
                  </a:lnTo>
                  <a:lnTo>
                    <a:pt x="368" y="148"/>
                  </a:lnTo>
                  <a:lnTo>
                    <a:pt x="371" y="148"/>
                  </a:lnTo>
                  <a:lnTo>
                    <a:pt x="371" y="146"/>
                  </a:lnTo>
                  <a:lnTo>
                    <a:pt x="368" y="145"/>
                  </a:lnTo>
                  <a:lnTo>
                    <a:pt x="371" y="145"/>
                  </a:lnTo>
                  <a:lnTo>
                    <a:pt x="373" y="145"/>
                  </a:lnTo>
                  <a:lnTo>
                    <a:pt x="373" y="143"/>
                  </a:lnTo>
                  <a:lnTo>
                    <a:pt x="376" y="145"/>
                  </a:lnTo>
                  <a:lnTo>
                    <a:pt x="378" y="145"/>
                  </a:lnTo>
                  <a:lnTo>
                    <a:pt x="374" y="143"/>
                  </a:lnTo>
                  <a:lnTo>
                    <a:pt x="381" y="143"/>
                  </a:lnTo>
                  <a:lnTo>
                    <a:pt x="386" y="141"/>
                  </a:lnTo>
                  <a:lnTo>
                    <a:pt x="382" y="141"/>
                  </a:lnTo>
                  <a:lnTo>
                    <a:pt x="379" y="141"/>
                  </a:lnTo>
                  <a:lnTo>
                    <a:pt x="371" y="141"/>
                  </a:lnTo>
                  <a:lnTo>
                    <a:pt x="368" y="141"/>
                  </a:lnTo>
                  <a:lnTo>
                    <a:pt x="365" y="138"/>
                  </a:lnTo>
                  <a:lnTo>
                    <a:pt x="362" y="138"/>
                  </a:lnTo>
                  <a:lnTo>
                    <a:pt x="359" y="138"/>
                  </a:lnTo>
                  <a:lnTo>
                    <a:pt x="359" y="138"/>
                  </a:lnTo>
                  <a:lnTo>
                    <a:pt x="355" y="138"/>
                  </a:lnTo>
                  <a:lnTo>
                    <a:pt x="351" y="138"/>
                  </a:lnTo>
                  <a:lnTo>
                    <a:pt x="346" y="138"/>
                  </a:lnTo>
                  <a:lnTo>
                    <a:pt x="349" y="138"/>
                  </a:lnTo>
                  <a:lnTo>
                    <a:pt x="346" y="135"/>
                  </a:lnTo>
                  <a:lnTo>
                    <a:pt x="352" y="135"/>
                  </a:lnTo>
                  <a:lnTo>
                    <a:pt x="360" y="135"/>
                  </a:lnTo>
                  <a:lnTo>
                    <a:pt x="359" y="132"/>
                  </a:lnTo>
                  <a:lnTo>
                    <a:pt x="360" y="132"/>
                  </a:lnTo>
                  <a:lnTo>
                    <a:pt x="360" y="132"/>
                  </a:lnTo>
                  <a:lnTo>
                    <a:pt x="357" y="132"/>
                  </a:lnTo>
                  <a:lnTo>
                    <a:pt x="359" y="130"/>
                  </a:lnTo>
                  <a:lnTo>
                    <a:pt x="352" y="132"/>
                  </a:lnTo>
                  <a:lnTo>
                    <a:pt x="346" y="132"/>
                  </a:lnTo>
                  <a:lnTo>
                    <a:pt x="352" y="130"/>
                  </a:lnTo>
                  <a:lnTo>
                    <a:pt x="357" y="130"/>
                  </a:lnTo>
                  <a:lnTo>
                    <a:pt x="359" y="129"/>
                  </a:lnTo>
                  <a:lnTo>
                    <a:pt x="360" y="129"/>
                  </a:lnTo>
                  <a:lnTo>
                    <a:pt x="360" y="127"/>
                  </a:lnTo>
                  <a:lnTo>
                    <a:pt x="362" y="127"/>
                  </a:lnTo>
                  <a:lnTo>
                    <a:pt x="360" y="126"/>
                  </a:lnTo>
                  <a:lnTo>
                    <a:pt x="359" y="126"/>
                  </a:lnTo>
                  <a:lnTo>
                    <a:pt x="354" y="126"/>
                  </a:lnTo>
                  <a:lnTo>
                    <a:pt x="344" y="124"/>
                  </a:lnTo>
                  <a:lnTo>
                    <a:pt x="343" y="124"/>
                  </a:lnTo>
                  <a:lnTo>
                    <a:pt x="344" y="122"/>
                  </a:lnTo>
                  <a:lnTo>
                    <a:pt x="341" y="121"/>
                  </a:lnTo>
                  <a:lnTo>
                    <a:pt x="340" y="119"/>
                  </a:lnTo>
                  <a:lnTo>
                    <a:pt x="343" y="121"/>
                  </a:lnTo>
                  <a:lnTo>
                    <a:pt x="346" y="122"/>
                  </a:lnTo>
                  <a:lnTo>
                    <a:pt x="351" y="124"/>
                  </a:lnTo>
                  <a:lnTo>
                    <a:pt x="352" y="124"/>
                  </a:lnTo>
                  <a:lnTo>
                    <a:pt x="357" y="124"/>
                  </a:lnTo>
                  <a:lnTo>
                    <a:pt x="362" y="126"/>
                  </a:lnTo>
                  <a:lnTo>
                    <a:pt x="365" y="127"/>
                  </a:lnTo>
                  <a:lnTo>
                    <a:pt x="368" y="129"/>
                  </a:lnTo>
                  <a:lnTo>
                    <a:pt x="371" y="132"/>
                  </a:lnTo>
                  <a:lnTo>
                    <a:pt x="371" y="132"/>
                  </a:lnTo>
                  <a:lnTo>
                    <a:pt x="371" y="135"/>
                  </a:lnTo>
                  <a:lnTo>
                    <a:pt x="376" y="135"/>
                  </a:lnTo>
                  <a:lnTo>
                    <a:pt x="379" y="138"/>
                  </a:lnTo>
                  <a:lnTo>
                    <a:pt x="382" y="138"/>
                  </a:lnTo>
                  <a:lnTo>
                    <a:pt x="384" y="135"/>
                  </a:lnTo>
                  <a:lnTo>
                    <a:pt x="384" y="132"/>
                  </a:lnTo>
                  <a:lnTo>
                    <a:pt x="386" y="132"/>
                  </a:lnTo>
                  <a:lnTo>
                    <a:pt x="386" y="135"/>
                  </a:lnTo>
                  <a:lnTo>
                    <a:pt x="387" y="135"/>
                  </a:lnTo>
                  <a:lnTo>
                    <a:pt x="389" y="138"/>
                  </a:lnTo>
                  <a:lnTo>
                    <a:pt x="390" y="138"/>
                  </a:lnTo>
                  <a:lnTo>
                    <a:pt x="392" y="138"/>
                  </a:lnTo>
                  <a:lnTo>
                    <a:pt x="394" y="135"/>
                  </a:lnTo>
                  <a:lnTo>
                    <a:pt x="392" y="135"/>
                  </a:lnTo>
                  <a:lnTo>
                    <a:pt x="392" y="135"/>
                  </a:lnTo>
                  <a:lnTo>
                    <a:pt x="394" y="132"/>
                  </a:lnTo>
                  <a:lnTo>
                    <a:pt x="394" y="132"/>
                  </a:lnTo>
                  <a:lnTo>
                    <a:pt x="392" y="132"/>
                  </a:lnTo>
                  <a:lnTo>
                    <a:pt x="394" y="130"/>
                  </a:lnTo>
                  <a:lnTo>
                    <a:pt x="389" y="130"/>
                  </a:lnTo>
                  <a:lnTo>
                    <a:pt x="392" y="129"/>
                  </a:lnTo>
                  <a:lnTo>
                    <a:pt x="394" y="129"/>
                  </a:lnTo>
                  <a:lnTo>
                    <a:pt x="394" y="127"/>
                  </a:lnTo>
                  <a:lnTo>
                    <a:pt x="394" y="127"/>
                  </a:lnTo>
                  <a:lnTo>
                    <a:pt x="394" y="126"/>
                  </a:lnTo>
                  <a:lnTo>
                    <a:pt x="392" y="126"/>
                  </a:lnTo>
                  <a:lnTo>
                    <a:pt x="387" y="127"/>
                  </a:lnTo>
                  <a:lnTo>
                    <a:pt x="389" y="126"/>
                  </a:lnTo>
                  <a:lnTo>
                    <a:pt x="390" y="124"/>
                  </a:lnTo>
                  <a:lnTo>
                    <a:pt x="394" y="122"/>
                  </a:lnTo>
                  <a:lnTo>
                    <a:pt x="390" y="122"/>
                  </a:lnTo>
                  <a:lnTo>
                    <a:pt x="387" y="124"/>
                  </a:lnTo>
                  <a:lnTo>
                    <a:pt x="387" y="122"/>
                  </a:lnTo>
                  <a:lnTo>
                    <a:pt x="386" y="122"/>
                  </a:lnTo>
                  <a:lnTo>
                    <a:pt x="384" y="122"/>
                  </a:lnTo>
                  <a:lnTo>
                    <a:pt x="386" y="121"/>
                  </a:lnTo>
                  <a:lnTo>
                    <a:pt x="389" y="121"/>
                  </a:lnTo>
                  <a:lnTo>
                    <a:pt x="387" y="119"/>
                  </a:lnTo>
                  <a:lnTo>
                    <a:pt x="384" y="118"/>
                  </a:lnTo>
                  <a:lnTo>
                    <a:pt x="381" y="118"/>
                  </a:lnTo>
                  <a:lnTo>
                    <a:pt x="379" y="116"/>
                  </a:lnTo>
                  <a:lnTo>
                    <a:pt x="376" y="114"/>
                  </a:lnTo>
                  <a:lnTo>
                    <a:pt x="371" y="113"/>
                  </a:lnTo>
                  <a:lnTo>
                    <a:pt x="371" y="111"/>
                  </a:lnTo>
                  <a:lnTo>
                    <a:pt x="371" y="110"/>
                  </a:lnTo>
                  <a:lnTo>
                    <a:pt x="371" y="110"/>
                  </a:lnTo>
                  <a:lnTo>
                    <a:pt x="365" y="110"/>
                  </a:lnTo>
                  <a:lnTo>
                    <a:pt x="359" y="111"/>
                  </a:lnTo>
                  <a:lnTo>
                    <a:pt x="359" y="110"/>
                  </a:lnTo>
                  <a:lnTo>
                    <a:pt x="354" y="110"/>
                  </a:lnTo>
                  <a:lnTo>
                    <a:pt x="355" y="110"/>
                  </a:lnTo>
                  <a:lnTo>
                    <a:pt x="362" y="110"/>
                  </a:lnTo>
                  <a:lnTo>
                    <a:pt x="365" y="110"/>
                  </a:lnTo>
                  <a:lnTo>
                    <a:pt x="368" y="107"/>
                  </a:lnTo>
                  <a:lnTo>
                    <a:pt x="371" y="107"/>
                  </a:lnTo>
                  <a:lnTo>
                    <a:pt x="368" y="107"/>
                  </a:lnTo>
                  <a:lnTo>
                    <a:pt x="365" y="107"/>
                  </a:lnTo>
                  <a:lnTo>
                    <a:pt x="362" y="103"/>
                  </a:lnTo>
                  <a:lnTo>
                    <a:pt x="359" y="107"/>
                  </a:lnTo>
                  <a:lnTo>
                    <a:pt x="357" y="107"/>
                  </a:lnTo>
                  <a:lnTo>
                    <a:pt x="360" y="103"/>
                  </a:lnTo>
                  <a:lnTo>
                    <a:pt x="355" y="103"/>
                  </a:lnTo>
                  <a:lnTo>
                    <a:pt x="352" y="100"/>
                  </a:lnTo>
                  <a:lnTo>
                    <a:pt x="354" y="100"/>
                  </a:lnTo>
                  <a:lnTo>
                    <a:pt x="355" y="103"/>
                  </a:lnTo>
                  <a:lnTo>
                    <a:pt x="357" y="103"/>
                  </a:lnTo>
                  <a:lnTo>
                    <a:pt x="365" y="103"/>
                  </a:lnTo>
                  <a:lnTo>
                    <a:pt x="368" y="103"/>
                  </a:lnTo>
                  <a:lnTo>
                    <a:pt x="371" y="103"/>
                  </a:lnTo>
                  <a:lnTo>
                    <a:pt x="373" y="100"/>
                  </a:lnTo>
                  <a:lnTo>
                    <a:pt x="374" y="100"/>
                  </a:lnTo>
                  <a:lnTo>
                    <a:pt x="371" y="103"/>
                  </a:lnTo>
                  <a:lnTo>
                    <a:pt x="373" y="103"/>
                  </a:lnTo>
                  <a:lnTo>
                    <a:pt x="376" y="103"/>
                  </a:lnTo>
                  <a:lnTo>
                    <a:pt x="381" y="103"/>
                  </a:lnTo>
                  <a:lnTo>
                    <a:pt x="384" y="103"/>
                  </a:lnTo>
                  <a:lnTo>
                    <a:pt x="387" y="103"/>
                  </a:lnTo>
                  <a:lnTo>
                    <a:pt x="379" y="100"/>
                  </a:lnTo>
                  <a:lnTo>
                    <a:pt x="376" y="100"/>
                  </a:lnTo>
                  <a:lnTo>
                    <a:pt x="371" y="100"/>
                  </a:lnTo>
                  <a:lnTo>
                    <a:pt x="368" y="97"/>
                  </a:lnTo>
                  <a:lnTo>
                    <a:pt x="371" y="97"/>
                  </a:lnTo>
                  <a:lnTo>
                    <a:pt x="371" y="97"/>
                  </a:lnTo>
                  <a:lnTo>
                    <a:pt x="374" y="100"/>
                  </a:lnTo>
                  <a:lnTo>
                    <a:pt x="376" y="100"/>
                  </a:lnTo>
                  <a:lnTo>
                    <a:pt x="378" y="100"/>
                  </a:lnTo>
                  <a:lnTo>
                    <a:pt x="381" y="97"/>
                  </a:lnTo>
                  <a:lnTo>
                    <a:pt x="384" y="97"/>
                  </a:lnTo>
                  <a:lnTo>
                    <a:pt x="386" y="97"/>
                  </a:lnTo>
                  <a:lnTo>
                    <a:pt x="389" y="97"/>
                  </a:lnTo>
                  <a:lnTo>
                    <a:pt x="394" y="100"/>
                  </a:lnTo>
                  <a:lnTo>
                    <a:pt x="389" y="100"/>
                  </a:lnTo>
                  <a:lnTo>
                    <a:pt x="386" y="97"/>
                  </a:lnTo>
                  <a:lnTo>
                    <a:pt x="384" y="100"/>
                  </a:lnTo>
                  <a:lnTo>
                    <a:pt x="382" y="100"/>
                  </a:lnTo>
                  <a:lnTo>
                    <a:pt x="392" y="103"/>
                  </a:lnTo>
                  <a:lnTo>
                    <a:pt x="397" y="103"/>
                  </a:lnTo>
                  <a:lnTo>
                    <a:pt x="401" y="103"/>
                  </a:lnTo>
                  <a:lnTo>
                    <a:pt x="406" y="100"/>
                  </a:lnTo>
                  <a:lnTo>
                    <a:pt x="411" y="103"/>
                  </a:lnTo>
                  <a:lnTo>
                    <a:pt x="413" y="100"/>
                  </a:lnTo>
                  <a:lnTo>
                    <a:pt x="413" y="100"/>
                  </a:lnTo>
                  <a:lnTo>
                    <a:pt x="414" y="97"/>
                  </a:lnTo>
                  <a:lnTo>
                    <a:pt x="416" y="97"/>
                  </a:lnTo>
                  <a:lnTo>
                    <a:pt x="409" y="95"/>
                  </a:lnTo>
                  <a:lnTo>
                    <a:pt x="405" y="95"/>
                  </a:lnTo>
                  <a:lnTo>
                    <a:pt x="401" y="95"/>
                  </a:lnTo>
                  <a:lnTo>
                    <a:pt x="401" y="97"/>
                  </a:lnTo>
                  <a:lnTo>
                    <a:pt x="403" y="97"/>
                  </a:lnTo>
                  <a:lnTo>
                    <a:pt x="401" y="100"/>
                  </a:lnTo>
                  <a:lnTo>
                    <a:pt x="400" y="97"/>
                  </a:lnTo>
                  <a:lnTo>
                    <a:pt x="397" y="95"/>
                  </a:lnTo>
                  <a:lnTo>
                    <a:pt x="398" y="95"/>
                  </a:lnTo>
                  <a:lnTo>
                    <a:pt x="401" y="94"/>
                  </a:lnTo>
                  <a:lnTo>
                    <a:pt x="398" y="92"/>
                  </a:lnTo>
                  <a:lnTo>
                    <a:pt x="401" y="92"/>
                  </a:lnTo>
                  <a:lnTo>
                    <a:pt x="405" y="91"/>
                  </a:lnTo>
                  <a:lnTo>
                    <a:pt x="403" y="89"/>
                  </a:lnTo>
                  <a:lnTo>
                    <a:pt x="405" y="89"/>
                  </a:lnTo>
                  <a:lnTo>
                    <a:pt x="406" y="91"/>
                  </a:lnTo>
                  <a:lnTo>
                    <a:pt x="403" y="92"/>
                  </a:lnTo>
                  <a:lnTo>
                    <a:pt x="403" y="94"/>
                  </a:lnTo>
                  <a:lnTo>
                    <a:pt x="406" y="94"/>
                  </a:lnTo>
                  <a:lnTo>
                    <a:pt x="411" y="95"/>
                  </a:lnTo>
                  <a:lnTo>
                    <a:pt x="417" y="94"/>
                  </a:lnTo>
                  <a:lnTo>
                    <a:pt x="416" y="91"/>
                  </a:lnTo>
                  <a:lnTo>
                    <a:pt x="417" y="91"/>
                  </a:lnTo>
                  <a:lnTo>
                    <a:pt x="417" y="92"/>
                  </a:lnTo>
                  <a:lnTo>
                    <a:pt x="424" y="92"/>
                  </a:lnTo>
                  <a:lnTo>
                    <a:pt x="427" y="92"/>
                  </a:lnTo>
                  <a:lnTo>
                    <a:pt x="428" y="91"/>
                  </a:lnTo>
                  <a:lnTo>
                    <a:pt x="427" y="89"/>
                  </a:lnTo>
                  <a:lnTo>
                    <a:pt x="427" y="87"/>
                  </a:lnTo>
                  <a:lnTo>
                    <a:pt x="424" y="89"/>
                  </a:lnTo>
                  <a:lnTo>
                    <a:pt x="421" y="87"/>
                  </a:lnTo>
                  <a:lnTo>
                    <a:pt x="421" y="87"/>
                  </a:lnTo>
                  <a:lnTo>
                    <a:pt x="424" y="86"/>
                  </a:lnTo>
                  <a:lnTo>
                    <a:pt x="424" y="86"/>
                  </a:lnTo>
                  <a:lnTo>
                    <a:pt x="417" y="83"/>
                  </a:lnTo>
                  <a:lnTo>
                    <a:pt x="416" y="86"/>
                  </a:lnTo>
                  <a:lnTo>
                    <a:pt x="417" y="87"/>
                  </a:lnTo>
                  <a:lnTo>
                    <a:pt x="417" y="87"/>
                  </a:lnTo>
                  <a:lnTo>
                    <a:pt x="416" y="87"/>
                  </a:lnTo>
                  <a:lnTo>
                    <a:pt x="416" y="86"/>
                  </a:lnTo>
                  <a:lnTo>
                    <a:pt x="416" y="86"/>
                  </a:lnTo>
                  <a:lnTo>
                    <a:pt x="417" y="83"/>
                  </a:lnTo>
                  <a:lnTo>
                    <a:pt x="417" y="83"/>
                  </a:lnTo>
                  <a:lnTo>
                    <a:pt x="416" y="83"/>
                  </a:lnTo>
                  <a:lnTo>
                    <a:pt x="413" y="80"/>
                  </a:lnTo>
                  <a:lnTo>
                    <a:pt x="406" y="80"/>
                  </a:lnTo>
                  <a:lnTo>
                    <a:pt x="409" y="80"/>
                  </a:lnTo>
                  <a:lnTo>
                    <a:pt x="406" y="76"/>
                  </a:lnTo>
                  <a:lnTo>
                    <a:pt x="408" y="76"/>
                  </a:lnTo>
                  <a:lnTo>
                    <a:pt x="411" y="76"/>
                  </a:lnTo>
                  <a:lnTo>
                    <a:pt x="416" y="80"/>
                  </a:lnTo>
                  <a:lnTo>
                    <a:pt x="421" y="80"/>
                  </a:lnTo>
                  <a:lnTo>
                    <a:pt x="424" y="83"/>
                  </a:lnTo>
                  <a:lnTo>
                    <a:pt x="427" y="83"/>
                  </a:lnTo>
                  <a:lnTo>
                    <a:pt x="427" y="83"/>
                  </a:lnTo>
                  <a:lnTo>
                    <a:pt x="428" y="80"/>
                  </a:lnTo>
                  <a:lnTo>
                    <a:pt x="428" y="80"/>
                  </a:lnTo>
                  <a:lnTo>
                    <a:pt x="428" y="76"/>
                  </a:lnTo>
                  <a:lnTo>
                    <a:pt x="428" y="76"/>
                  </a:lnTo>
                  <a:lnTo>
                    <a:pt x="427" y="75"/>
                  </a:lnTo>
                  <a:lnTo>
                    <a:pt x="424" y="73"/>
                  </a:lnTo>
                  <a:lnTo>
                    <a:pt x="427" y="73"/>
                  </a:lnTo>
                  <a:lnTo>
                    <a:pt x="428" y="73"/>
                  </a:lnTo>
                  <a:lnTo>
                    <a:pt x="428" y="72"/>
                  </a:lnTo>
                  <a:lnTo>
                    <a:pt x="427" y="72"/>
                  </a:lnTo>
                  <a:lnTo>
                    <a:pt x="424" y="70"/>
                  </a:lnTo>
                  <a:lnTo>
                    <a:pt x="417" y="70"/>
                  </a:lnTo>
                  <a:lnTo>
                    <a:pt x="424" y="72"/>
                  </a:lnTo>
                  <a:lnTo>
                    <a:pt x="421" y="72"/>
                  </a:lnTo>
                  <a:lnTo>
                    <a:pt x="417" y="72"/>
                  </a:lnTo>
                  <a:lnTo>
                    <a:pt x="413" y="72"/>
                  </a:lnTo>
                  <a:lnTo>
                    <a:pt x="414" y="70"/>
                  </a:lnTo>
                  <a:lnTo>
                    <a:pt x="411" y="68"/>
                  </a:lnTo>
                  <a:lnTo>
                    <a:pt x="413" y="67"/>
                  </a:lnTo>
                  <a:lnTo>
                    <a:pt x="411" y="67"/>
                  </a:lnTo>
                  <a:lnTo>
                    <a:pt x="409" y="67"/>
                  </a:lnTo>
                  <a:lnTo>
                    <a:pt x="409" y="68"/>
                  </a:lnTo>
                  <a:lnTo>
                    <a:pt x="406" y="67"/>
                  </a:lnTo>
                  <a:lnTo>
                    <a:pt x="411" y="64"/>
                  </a:lnTo>
                  <a:lnTo>
                    <a:pt x="413" y="65"/>
                  </a:lnTo>
                  <a:lnTo>
                    <a:pt x="414" y="67"/>
                  </a:lnTo>
                  <a:lnTo>
                    <a:pt x="417" y="65"/>
                  </a:lnTo>
                  <a:lnTo>
                    <a:pt x="421" y="65"/>
                  </a:lnTo>
                  <a:lnTo>
                    <a:pt x="417" y="64"/>
                  </a:lnTo>
                  <a:lnTo>
                    <a:pt x="421" y="64"/>
                  </a:lnTo>
                  <a:lnTo>
                    <a:pt x="421" y="64"/>
                  </a:lnTo>
                  <a:lnTo>
                    <a:pt x="427" y="62"/>
                  </a:lnTo>
                  <a:lnTo>
                    <a:pt x="435" y="64"/>
                  </a:lnTo>
                  <a:lnTo>
                    <a:pt x="440" y="65"/>
                  </a:lnTo>
                  <a:lnTo>
                    <a:pt x="443" y="65"/>
                  </a:lnTo>
                  <a:lnTo>
                    <a:pt x="444" y="64"/>
                  </a:lnTo>
                  <a:lnTo>
                    <a:pt x="446" y="62"/>
                  </a:lnTo>
                  <a:lnTo>
                    <a:pt x="444" y="59"/>
                  </a:lnTo>
                  <a:lnTo>
                    <a:pt x="441" y="59"/>
                  </a:lnTo>
                  <a:lnTo>
                    <a:pt x="438" y="59"/>
                  </a:lnTo>
                  <a:lnTo>
                    <a:pt x="436" y="61"/>
                  </a:lnTo>
                  <a:lnTo>
                    <a:pt x="435" y="59"/>
                  </a:lnTo>
                  <a:lnTo>
                    <a:pt x="430" y="57"/>
                  </a:lnTo>
                  <a:lnTo>
                    <a:pt x="432" y="57"/>
                  </a:lnTo>
                  <a:lnTo>
                    <a:pt x="428" y="57"/>
                  </a:lnTo>
                  <a:lnTo>
                    <a:pt x="427" y="56"/>
                  </a:lnTo>
                  <a:lnTo>
                    <a:pt x="424" y="56"/>
                  </a:lnTo>
                  <a:lnTo>
                    <a:pt x="428" y="54"/>
                  </a:lnTo>
                  <a:lnTo>
                    <a:pt x="432" y="54"/>
                  </a:lnTo>
                  <a:lnTo>
                    <a:pt x="441" y="56"/>
                  </a:lnTo>
                  <a:lnTo>
                    <a:pt x="440" y="54"/>
                  </a:lnTo>
                  <a:lnTo>
                    <a:pt x="436" y="53"/>
                  </a:lnTo>
                  <a:lnTo>
                    <a:pt x="430" y="53"/>
                  </a:lnTo>
                  <a:lnTo>
                    <a:pt x="427" y="53"/>
                  </a:lnTo>
                  <a:lnTo>
                    <a:pt x="424" y="53"/>
                  </a:lnTo>
                  <a:lnTo>
                    <a:pt x="421" y="54"/>
                  </a:lnTo>
                  <a:lnTo>
                    <a:pt x="417" y="56"/>
                  </a:lnTo>
                  <a:lnTo>
                    <a:pt x="416" y="54"/>
                  </a:lnTo>
                  <a:lnTo>
                    <a:pt x="424" y="51"/>
                  </a:lnTo>
                  <a:lnTo>
                    <a:pt x="421" y="51"/>
                  </a:lnTo>
                  <a:lnTo>
                    <a:pt x="424" y="51"/>
                  </a:lnTo>
                  <a:lnTo>
                    <a:pt x="424" y="51"/>
                  </a:lnTo>
                  <a:lnTo>
                    <a:pt x="424" y="48"/>
                  </a:lnTo>
                  <a:lnTo>
                    <a:pt x="427" y="48"/>
                  </a:lnTo>
                  <a:lnTo>
                    <a:pt x="427" y="45"/>
                  </a:lnTo>
                  <a:lnTo>
                    <a:pt x="427" y="45"/>
                  </a:lnTo>
                  <a:lnTo>
                    <a:pt x="427" y="45"/>
                  </a:lnTo>
                  <a:lnTo>
                    <a:pt x="433" y="41"/>
                  </a:lnTo>
                  <a:lnTo>
                    <a:pt x="435" y="41"/>
                  </a:lnTo>
                  <a:lnTo>
                    <a:pt x="438" y="41"/>
                  </a:lnTo>
                  <a:lnTo>
                    <a:pt x="440" y="41"/>
                  </a:lnTo>
                  <a:lnTo>
                    <a:pt x="441" y="41"/>
                  </a:lnTo>
                  <a:lnTo>
                    <a:pt x="444" y="40"/>
                  </a:lnTo>
                  <a:lnTo>
                    <a:pt x="446" y="40"/>
                  </a:lnTo>
                  <a:lnTo>
                    <a:pt x="448" y="38"/>
                  </a:lnTo>
                  <a:lnTo>
                    <a:pt x="444" y="38"/>
                  </a:lnTo>
                  <a:lnTo>
                    <a:pt x="441" y="40"/>
                  </a:lnTo>
                  <a:lnTo>
                    <a:pt x="443" y="38"/>
                  </a:lnTo>
                  <a:lnTo>
                    <a:pt x="443" y="37"/>
                  </a:lnTo>
                  <a:lnTo>
                    <a:pt x="446" y="35"/>
                  </a:lnTo>
                  <a:lnTo>
                    <a:pt x="449" y="34"/>
                  </a:lnTo>
                  <a:lnTo>
                    <a:pt x="455" y="34"/>
                  </a:lnTo>
                  <a:lnTo>
                    <a:pt x="463" y="30"/>
                  </a:lnTo>
                  <a:lnTo>
                    <a:pt x="462" y="30"/>
                  </a:lnTo>
                  <a:lnTo>
                    <a:pt x="455" y="30"/>
                  </a:lnTo>
                  <a:lnTo>
                    <a:pt x="451" y="30"/>
                  </a:lnTo>
                  <a:lnTo>
                    <a:pt x="444" y="30"/>
                  </a:lnTo>
                  <a:lnTo>
                    <a:pt x="441" y="32"/>
                  </a:lnTo>
                  <a:lnTo>
                    <a:pt x="441" y="34"/>
                  </a:lnTo>
                  <a:lnTo>
                    <a:pt x="438" y="34"/>
                  </a:lnTo>
                  <a:lnTo>
                    <a:pt x="436" y="32"/>
                  </a:lnTo>
                  <a:lnTo>
                    <a:pt x="438" y="32"/>
                  </a:lnTo>
                  <a:lnTo>
                    <a:pt x="440" y="30"/>
                  </a:lnTo>
                  <a:lnTo>
                    <a:pt x="438" y="30"/>
                  </a:lnTo>
                  <a:lnTo>
                    <a:pt x="448" y="29"/>
                  </a:lnTo>
                  <a:lnTo>
                    <a:pt x="459" y="29"/>
                  </a:lnTo>
                  <a:lnTo>
                    <a:pt x="467" y="29"/>
                  </a:lnTo>
                  <a:lnTo>
                    <a:pt x="476" y="26"/>
                  </a:lnTo>
                  <a:lnTo>
                    <a:pt x="470" y="26"/>
                  </a:lnTo>
                  <a:lnTo>
                    <a:pt x="465" y="26"/>
                  </a:lnTo>
                  <a:lnTo>
                    <a:pt x="459" y="26"/>
                  </a:lnTo>
                  <a:lnTo>
                    <a:pt x="462" y="24"/>
                  </a:lnTo>
                  <a:lnTo>
                    <a:pt x="468" y="24"/>
                  </a:lnTo>
                  <a:lnTo>
                    <a:pt x="476" y="24"/>
                  </a:lnTo>
                  <a:lnTo>
                    <a:pt x="482" y="22"/>
                  </a:lnTo>
                  <a:lnTo>
                    <a:pt x="484" y="22"/>
                  </a:lnTo>
                  <a:lnTo>
                    <a:pt x="487" y="21"/>
                  </a:lnTo>
                  <a:lnTo>
                    <a:pt x="490" y="21"/>
                  </a:lnTo>
                  <a:lnTo>
                    <a:pt x="494" y="21"/>
                  </a:lnTo>
                  <a:lnTo>
                    <a:pt x="498" y="19"/>
                  </a:lnTo>
                  <a:lnTo>
                    <a:pt x="505" y="18"/>
                  </a:lnTo>
                  <a:lnTo>
                    <a:pt x="508" y="18"/>
                  </a:lnTo>
                  <a:lnTo>
                    <a:pt x="511" y="16"/>
                  </a:lnTo>
                  <a:lnTo>
                    <a:pt x="490" y="13"/>
                  </a:lnTo>
                  <a:lnTo>
                    <a:pt x="490" y="13"/>
                  </a:lnTo>
                  <a:lnTo>
                    <a:pt x="490" y="13"/>
                  </a:lnTo>
                  <a:lnTo>
                    <a:pt x="490" y="13"/>
                  </a:lnTo>
                  <a:lnTo>
                    <a:pt x="490" y="13"/>
                  </a:lnTo>
                  <a:lnTo>
                    <a:pt x="490" y="13"/>
                  </a:lnTo>
                  <a:lnTo>
                    <a:pt x="490" y="13"/>
                  </a:lnTo>
                  <a:close/>
                  <a:moveTo>
                    <a:pt x="103" y="119"/>
                  </a:moveTo>
                  <a:lnTo>
                    <a:pt x="101" y="119"/>
                  </a:lnTo>
                  <a:lnTo>
                    <a:pt x="106" y="116"/>
                  </a:lnTo>
                  <a:lnTo>
                    <a:pt x="103" y="119"/>
                  </a:lnTo>
                  <a:lnTo>
                    <a:pt x="103" y="119"/>
                  </a:lnTo>
                  <a:lnTo>
                    <a:pt x="103" y="119"/>
                  </a:lnTo>
                  <a:lnTo>
                    <a:pt x="103" y="119"/>
                  </a:lnTo>
                  <a:lnTo>
                    <a:pt x="103" y="119"/>
                  </a:lnTo>
                  <a:lnTo>
                    <a:pt x="103" y="119"/>
                  </a:lnTo>
                  <a:lnTo>
                    <a:pt x="103" y="119"/>
                  </a:lnTo>
                  <a:close/>
                  <a:moveTo>
                    <a:pt x="109" y="164"/>
                  </a:moveTo>
                  <a:lnTo>
                    <a:pt x="106" y="162"/>
                  </a:lnTo>
                  <a:lnTo>
                    <a:pt x="111" y="162"/>
                  </a:lnTo>
                  <a:lnTo>
                    <a:pt x="109" y="164"/>
                  </a:lnTo>
                  <a:lnTo>
                    <a:pt x="109" y="164"/>
                  </a:lnTo>
                  <a:lnTo>
                    <a:pt x="109" y="164"/>
                  </a:lnTo>
                  <a:lnTo>
                    <a:pt x="109" y="164"/>
                  </a:lnTo>
                  <a:lnTo>
                    <a:pt x="109" y="164"/>
                  </a:lnTo>
                  <a:lnTo>
                    <a:pt x="109" y="164"/>
                  </a:lnTo>
                  <a:lnTo>
                    <a:pt x="109" y="164"/>
                  </a:lnTo>
                  <a:close/>
                  <a:moveTo>
                    <a:pt x="84" y="205"/>
                  </a:moveTo>
                  <a:lnTo>
                    <a:pt x="82" y="205"/>
                  </a:lnTo>
                  <a:lnTo>
                    <a:pt x="84" y="205"/>
                  </a:lnTo>
                  <a:lnTo>
                    <a:pt x="86" y="205"/>
                  </a:lnTo>
                  <a:lnTo>
                    <a:pt x="84" y="205"/>
                  </a:lnTo>
                  <a:lnTo>
                    <a:pt x="84" y="205"/>
                  </a:lnTo>
                  <a:lnTo>
                    <a:pt x="84" y="205"/>
                  </a:lnTo>
                  <a:lnTo>
                    <a:pt x="84" y="205"/>
                  </a:lnTo>
                  <a:lnTo>
                    <a:pt x="84" y="205"/>
                  </a:lnTo>
                  <a:lnTo>
                    <a:pt x="84" y="205"/>
                  </a:lnTo>
                  <a:lnTo>
                    <a:pt x="84" y="205"/>
                  </a:lnTo>
                  <a:close/>
                  <a:moveTo>
                    <a:pt x="90" y="215"/>
                  </a:moveTo>
                  <a:lnTo>
                    <a:pt x="89" y="215"/>
                  </a:lnTo>
                  <a:lnTo>
                    <a:pt x="93" y="213"/>
                  </a:lnTo>
                  <a:lnTo>
                    <a:pt x="90" y="215"/>
                  </a:lnTo>
                  <a:lnTo>
                    <a:pt x="90" y="215"/>
                  </a:lnTo>
                  <a:lnTo>
                    <a:pt x="90" y="215"/>
                  </a:lnTo>
                  <a:lnTo>
                    <a:pt x="90" y="215"/>
                  </a:lnTo>
                  <a:lnTo>
                    <a:pt x="90" y="215"/>
                  </a:lnTo>
                  <a:lnTo>
                    <a:pt x="90" y="215"/>
                  </a:lnTo>
                  <a:lnTo>
                    <a:pt x="90" y="215"/>
                  </a:lnTo>
                  <a:close/>
                  <a:moveTo>
                    <a:pt x="93" y="205"/>
                  </a:moveTo>
                  <a:lnTo>
                    <a:pt x="90" y="202"/>
                  </a:lnTo>
                  <a:lnTo>
                    <a:pt x="93" y="202"/>
                  </a:lnTo>
                  <a:lnTo>
                    <a:pt x="93" y="202"/>
                  </a:lnTo>
                  <a:lnTo>
                    <a:pt x="93" y="205"/>
                  </a:lnTo>
                  <a:lnTo>
                    <a:pt x="93" y="205"/>
                  </a:lnTo>
                  <a:lnTo>
                    <a:pt x="93" y="205"/>
                  </a:lnTo>
                  <a:lnTo>
                    <a:pt x="93" y="205"/>
                  </a:lnTo>
                  <a:lnTo>
                    <a:pt x="93" y="205"/>
                  </a:lnTo>
                  <a:lnTo>
                    <a:pt x="93" y="205"/>
                  </a:lnTo>
                  <a:lnTo>
                    <a:pt x="93" y="205"/>
                  </a:lnTo>
                  <a:close/>
                  <a:moveTo>
                    <a:pt x="90" y="184"/>
                  </a:moveTo>
                  <a:lnTo>
                    <a:pt x="87" y="186"/>
                  </a:lnTo>
                  <a:lnTo>
                    <a:pt x="82" y="188"/>
                  </a:lnTo>
                  <a:lnTo>
                    <a:pt x="78" y="191"/>
                  </a:lnTo>
                  <a:lnTo>
                    <a:pt x="81" y="188"/>
                  </a:lnTo>
                  <a:lnTo>
                    <a:pt x="86" y="186"/>
                  </a:lnTo>
                  <a:lnTo>
                    <a:pt x="90" y="184"/>
                  </a:lnTo>
                  <a:lnTo>
                    <a:pt x="93" y="183"/>
                  </a:lnTo>
                  <a:lnTo>
                    <a:pt x="90" y="184"/>
                  </a:lnTo>
                  <a:lnTo>
                    <a:pt x="90" y="184"/>
                  </a:lnTo>
                  <a:lnTo>
                    <a:pt x="90" y="184"/>
                  </a:lnTo>
                  <a:lnTo>
                    <a:pt x="90" y="184"/>
                  </a:lnTo>
                  <a:lnTo>
                    <a:pt x="90" y="184"/>
                  </a:lnTo>
                  <a:lnTo>
                    <a:pt x="90" y="184"/>
                  </a:lnTo>
                  <a:lnTo>
                    <a:pt x="90" y="184"/>
                  </a:lnTo>
                  <a:close/>
                  <a:moveTo>
                    <a:pt x="97" y="176"/>
                  </a:moveTo>
                  <a:lnTo>
                    <a:pt x="90" y="176"/>
                  </a:lnTo>
                  <a:lnTo>
                    <a:pt x="97" y="173"/>
                  </a:lnTo>
                  <a:lnTo>
                    <a:pt x="105" y="173"/>
                  </a:lnTo>
                  <a:lnTo>
                    <a:pt x="100" y="176"/>
                  </a:lnTo>
                  <a:lnTo>
                    <a:pt x="97" y="176"/>
                  </a:lnTo>
                  <a:lnTo>
                    <a:pt x="97" y="176"/>
                  </a:lnTo>
                  <a:lnTo>
                    <a:pt x="97" y="176"/>
                  </a:lnTo>
                  <a:lnTo>
                    <a:pt x="97" y="176"/>
                  </a:lnTo>
                  <a:lnTo>
                    <a:pt x="97" y="176"/>
                  </a:lnTo>
                  <a:lnTo>
                    <a:pt x="97" y="176"/>
                  </a:lnTo>
                  <a:lnTo>
                    <a:pt x="97" y="176"/>
                  </a:lnTo>
                  <a:close/>
                  <a:moveTo>
                    <a:pt x="105" y="176"/>
                  </a:moveTo>
                  <a:lnTo>
                    <a:pt x="103" y="178"/>
                  </a:lnTo>
                  <a:lnTo>
                    <a:pt x="101" y="176"/>
                  </a:lnTo>
                  <a:lnTo>
                    <a:pt x="105" y="176"/>
                  </a:lnTo>
                  <a:lnTo>
                    <a:pt x="105" y="176"/>
                  </a:lnTo>
                  <a:lnTo>
                    <a:pt x="105" y="176"/>
                  </a:lnTo>
                  <a:lnTo>
                    <a:pt x="105" y="176"/>
                  </a:lnTo>
                  <a:lnTo>
                    <a:pt x="105" y="176"/>
                  </a:lnTo>
                  <a:lnTo>
                    <a:pt x="105" y="176"/>
                  </a:lnTo>
                  <a:lnTo>
                    <a:pt x="105" y="176"/>
                  </a:lnTo>
                  <a:close/>
                  <a:moveTo>
                    <a:pt x="103" y="181"/>
                  </a:moveTo>
                  <a:lnTo>
                    <a:pt x="100" y="181"/>
                  </a:lnTo>
                  <a:lnTo>
                    <a:pt x="103" y="180"/>
                  </a:lnTo>
                  <a:lnTo>
                    <a:pt x="105" y="181"/>
                  </a:lnTo>
                  <a:lnTo>
                    <a:pt x="103" y="181"/>
                  </a:lnTo>
                  <a:lnTo>
                    <a:pt x="103" y="181"/>
                  </a:lnTo>
                  <a:lnTo>
                    <a:pt x="103" y="181"/>
                  </a:lnTo>
                  <a:lnTo>
                    <a:pt x="103" y="181"/>
                  </a:lnTo>
                  <a:lnTo>
                    <a:pt x="103" y="181"/>
                  </a:lnTo>
                  <a:lnTo>
                    <a:pt x="103" y="181"/>
                  </a:lnTo>
                  <a:lnTo>
                    <a:pt x="103" y="181"/>
                  </a:lnTo>
                  <a:close/>
                  <a:moveTo>
                    <a:pt x="108" y="180"/>
                  </a:moveTo>
                  <a:lnTo>
                    <a:pt x="105" y="180"/>
                  </a:lnTo>
                  <a:lnTo>
                    <a:pt x="109" y="180"/>
                  </a:lnTo>
                  <a:lnTo>
                    <a:pt x="111" y="180"/>
                  </a:lnTo>
                  <a:lnTo>
                    <a:pt x="108" y="180"/>
                  </a:lnTo>
                  <a:lnTo>
                    <a:pt x="108" y="180"/>
                  </a:lnTo>
                  <a:lnTo>
                    <a:pt x="108" y="180"/>
                  </a:lnTo>
                  <a:lnTo>
                    <a:pt x="108" y="180"/>
                  </a:lnTo>
                  <a:lnTo>
                    <a:pt x="108" y="180"/>
                  </a:lnTo>
                  <a:lnTo>
                    <a:pt x="108" y="180"/>
                  </a:lnTo>
                  <a:lnTo>
                    <a:pt x="108" y="180"/>
                  </a:lnTo>
                  <a:close/>
                  <a:moveTo>
                    <a:pt x="111" y="173"/>
                  </a:moveTo>
                  <a:lnTo>
                    <a:pt x="109" y="173"/>
                  </a:lnTo>
                  <a:lnTo>
                    <a:pt x="111" y="173"/>
                  </a:lnTo>
                  <a:lnTo>
                    <a:pt x="114" y="173"/>
                  </a:lnTo>
                  <a:lnTo>
                    <a:pt x="111" y="173"/>
                  </a:lnTo>
                  <a:lnTo>
                    <a:pt x="111" y="173"/>
                  </a:lnTo>
                  <a:lnTo>
                    <a:pt x="111" y="173"/>
                  </a:lnTo>
                  <a:lnTo>
                    <a:pt x="111" y="173"/>
                  </a:lnTo>
                  <a:lnTo>
                    <a:pt x="111" y="173"/>
                  </a:lnTo>
                  <a:lnTo>
                    <a:pt x="111" y="173"/>
                  </a:lnTo>
                  <a:lnTo>
                    <a:pt x="111" y="173"/>
                  </a:lnTo>
                  <a:close/>
                  <a:moveTo>
                    <a:pt x="122" y="256"/>
                  </a:moveTo>
                  <a:lnTo>
                    <a:pt x="122" y="257"/>
                  </a:lnTo>
                  <a:lnTo>
                    <a:pt x="120" y="257"/>
                  </a:lnTo>
                  <a:lnTo>
                    <a:pt x="122" y="256"/>
                  </a:lnTo>
                  <a:lnTo>
                    <a:pt x="122" y="256"/>
                  </a:lnTo>
                  <a:lnTo>
                    <a:pt x="122" y="253"/>
                  </a:lnTo>
                  <a:lnTo>
                    <a:pt x="125" y="254"/>
                  </a:lnTo>
                  <a:lnTo>
                    <a:pt x="125" y="254"/>
                  </a:lnTo>
                  <a:lnTo>
                    <a:pt x="122" y="256"/>
                  </a:lnTo>
                  <a:lnTo>
                    <a:pt x="122" y="256"/>
                  </a:lnTo>
                  <a:lnTo>
                    <a:pt x="122" y="256"/>
                  </a:lnTo>
                  <a:lnTo>
                    <a:pt x="122" y="256"/>
                  </a:lnTo>
                  <a:lnTo>
                    <a:pt x="122" y="256"/>
                  </a:lnTo>
                  <a:lnTo>
                    <a:pt x="122" y="256"/>
                  </a:lnTo>
                  <a:lnTo>
                    <a:pt x="122" y="256"/>
                  </a:lnTo>
                  <a:close/>
                  <a:moveTo>
                    <a:pt x="166" y="229"/>
                  </a:moveTo>
                  <a:lnTo>
                    <a:pt x="166" y="226"/>
                  </a:lnTo>
                  <a:lnTo>
                    <a:pt x="168" y="229"/>
                  </a:lnTo>
                  <a:lnTo>
                    <a:pt x="166" y="229"/>
                  </a:lnTo>
                  <a:lnTo>
                    <a:pt x="166" y="229"/>
                  </a:lnTo>
                  <a:lnTo>
                    <a:pt x="166" y="229"/>
                  </a:lnTo>
                  <a:lnTo>
                    <a:pt x="166" y="229"/>
                  </a:lnTo>
                  <a:lnTo>
                    <a:pt x="166" y="229"/>
                  </a:lnTo>
                  <a:lnTo>
                    <a:pt x="166" y="229"/>
                  </a:lnTo>
                  <a:lnTo>
                    <a:pt x="166" y="229"/>
                  </a:lnTo>
                  <a:close/>
                  <a:moveTo>
                    <a:pt x="301" y="10"/>
                  </a:moveTo>
                  <a:lnTo>
                    <a:pt x="295" y="7"/>
                  </a:lnTo>
                  <a:lnTo>
                    <a:pt x="292" y="7"/>
                  </a:lnTo>
                  <a:lnTo>
                    <a:pt x="295" y="7"/>
                  </a:lnTo>
                  <a:lnTo>
                    <a:pt x="298" y="7"/>
                  </a:lnTo>
                  <a:lnTo>
                    <a:pt x="301" y="7"/>
                  </a:lnTo>
                  <a:lnTo>
                    <a:pt x="301" y="10"/>
                  </a:lnTo>
                  <a:lnTo>
                    <a:pt x="301" y="10"/>
                  </a:lnTo>
                  <a:lnTo>
                    <a:pt x="301" y="10"/>
                  </a:lnTo>
                  <a:lnTo>
                    <a:pt x="301" y="10"/>
                  </a:lnTo>
                  <a:lnTo>
                    <a:pt x="301" y="10"/>
                  </a:lnTo>
                  <a:lnTo>
                    <a:pt x="301" y="10"/>
                  </a:lnTo>
                  <a:lnTo>
                    <a:pt x="301" y="10"/>
                  </a:lnTo>
                  <a:lnTo>
                    <a:pt x="301" y="10"/>
                  </a:lnTo>
                  <a:close/>
                  <a:moveTo>
                    <a:pt x="365" y="113"/>
                  </a:moveTo>
                  <a:lnTo>
                    <a:pt x="368" y="113"/>
                  </a:lnTo>
                  <a:lnTo>
                    <a:pt x="371" y="113"/>
                  </a:lnTo>
                  <a:lnTo>
                    <a:pt x="368" y="114"/>
                  </a:lnTo>
                  <a:lnTo>
                    <a:pt x="365" y="116"/>
                  </a:lnTo>
                  <a:lnTo>
                    <a:pt x="365" y="113"/>
                  </a:lnTo>
                  <a:lnTo>
                    <a:pt x="365" y="113"/>
                  </a:lnTo>
                  <a:lnTo>
                    <a:pt x="365" y="113"/>
                  </a:lnTo>
                  <a:lnTo>
                    <a:pt x="365" y="113"/>
                  </a:lnTo>
                  <a:lnTo>
                    <a:pt x="365" y="113"/>
                  </a:lnTo>
                  <a:lnTo>
                    <a:pt x="365" y="113"/>
                  </a:lnTo>
                  <a:lnTo>
                    <a:pt x="365" y="113"/>
                  </a:lnTo>
                  <a:close/>
                  <a:moveTo>
                    <a:pt x="362" y="3"/>
                  </a:moveTo>
                  <a:lnTo>
                    <a:pt x="368" y="3"/>
                  </a:lnTo>
                  <a:lnTo>
                    <a:pt x="374" y="3"/>
                  </a:lnTo>
                  <a:lnTo>
                    <a:pt x="359" y="3"/>
                  </a:lnTo>
                  <a:lnTo>
                    <a:pt x="357" y="3"/>
                  </a:lnTo>
                  <a:lnTo>
                    <a:pt x="362" y="3"/>
                  </a:lnTo>
                  <a:lnTo>
                    <a:pt x="362" y="3"/>
                  </a:lnTo>
                  <a:lnTo>
                    <a:pt x="362" y="3"/>
                  </a:lnTo>
                  <a:lnTo>
                    <a:pt x="362" y="3"/>
                  </a:lnTo>
                  <a:lnTo>
                    <a:pt x="362" y="3"/>
                  </a:lnTo>
                  <a:lnTo>
                    <a:pt x="362" y="3"/>
                  </a:lnTo>
                  <a:lnTo>
                    <a:pt x="362" y="3"/>
                  </a:lnTo>
                  <a:close/>
                  <a:moveTo>
                    <a:pt x="336" y="119"/>
                  </a:moveTo>
                  <a:lnTo>
                    <a:pt x="340" y="119"/>
                  </a:lnTo>
                  <a:lnTo>
                    <a:pt x="336" y="119"/>
                  </a:lnTo>
                  <a:lnTo>
                    <a:pt x="336" y="119"/>
                  </a:lnTo>
                  <a:lnTo>
                    <a:pt x="336" y="119"/>
                  </a:lnTo>
                  <a:lnTo>
                    <a:pt x="336" y="119"/>
                  </a:lnTo>
                  <a:lnTo>
                    <a:pt x="336" y="119"/>
                  </a:lnTo>
                  <a:lnTo>
                    <a:pt x="336" y="119"/>
                  </a:lnTo>
                  <a:lnTo>
                    <a:pt x="336" y="119"/>
                  </a:lnTo>
                  <a:lnTo>
                    <a:pt x="336" y="119"/>
                  </a:lnTo>
                  <a:close/>
                  <a:moveTo>
                    <a:pt x="343" y="141"/>
                  </a:moveTo>
                  <a:lnTo>
                    <a:pt x="340" y="141"/>
                  </a:lnTo>
                  <a:lnTo>
                    <a:pt x="338" y="141"/>
                  </a:lnTo>
                  <a:lnTo>
                    <a:pt x="336" y="141"/>
                  </a:lnTo>
                  <a:lnTo>
                    <a:pt x="333" y="141"/>
                  </a:lnTo>
                  <a:lnTo>
                    <a:pt x="336" y="141"/>
                  </a:lnTo>
                  <a:lnTo>
                    <a:pt x="343" y="138"/>
                  </a:lnTo>
                  <a:lnTo>
                    <a:pt x="344" y="138"/>
                  </a:lnTo>
                  <a:lnTo>
                    <a:pt x="343" y="141"/>
                  </a:lnTo>
                  <a:lnTo>
                    <a:pt x="343" y="141"/>
                  </a:lnTo>
                  <a:lnTo>
                    <a:pt x="343" y="141"/>
                  </a:lnTo>
                  <a:lnTo>
                    <a:pt x="343" y="141"/>
                  </a:lnTo>
                  <a:lnTo>
                    <a:pt x="343" y="141"/>
                  </a:lnTo>
                  <a:lnTo>
                    <a:pt x="343" y="141"/>
                  </a:lnTo>
                  <a:lnTo>
                    <a:pt x="343" y="141"/>
                  </a:lnTo>
                  <a:close/>
                  <a:moveTo>
                    <a:pt x="343" y="132"/>
                  </a:moveTo>
                  <a:lnTo>
                    <a:pt x="344" y="132"/>
                  </a:lnTo>
                  <a:lnTo>
                    <a:pt x="338" y="135"/>
                  </a:lnTo>
                  <a:lnTo>
                    <a:pt x="336" y="135"/>
                  </a:lnTo>
                  <a:lnTo>
                    <a:pt x="333" y="138"/>
                  </a:lnTo>
                  <a:lnTo>
                    <a:pt x="330" y="138"/>
                  </a:lnTo>
                  <a:lnTo>
                    <a:pt x="330" y="137"/>
                  </a:lnTo>
                  <a:lnTo>
                    <a:pt x="330" y="135"/>
                  </a:lnTo>
                  <a:lnTo>
                    <a:pt x="336" y="132"/>
                  </a:lnTo>
                  <a:lnTo>
                    <a:pt x="336" y="132"/>
                  </a:lnTo>
                  <a:lnTo>
                    <a:pt x="340" y="132"/>
                  </a:lnTo>
                  <a:lnTo>
                    <a:pt x="336" y="129"/>
                  </a:lnTo>
                  <a:lnTo>
                    <a:pt x="340" y="130"/>
                  </a:lnTo>
                  <a:lnTo>
                    <a:pt x="343" y="132"/>
                  </a:lnTo>
                  <a:lnTo>
                    <a:pt x="343" y="132"/>
                  </a:lnTo>
                  <a:lnTo>
                    <a:pt x="343" y="132"/>
                  </a:lnTo>
                  <a:lnTo>
                    <a:pt x="343" y="132"/>
                  </a:lnTo>
                  <a:lnTo>
                    <a:pt x="343" y="132"/>
                  </a:lnTo>
                  <a:lnTo>
                    <a:pt x="343" y="132"/>
                  </a:lnTo>
                  <a:lnTo>
                    <a:pt x="343" y="132"/>
                  </a:lnTo>
                  <a:close/>
                  <a:moveTo>
                    <a:pt x="338" y="7"/>
                  </a:moveTo>
                  <a:lnTo>
                    <a:pt x="336" y="5"/>
                  </a:lnTo>
                  <a:lnTo>
                    <a:pt x="346" y="5"/>
                  </a:lnTo>
                  <a:lnTo>
                    <a:pt x="351" y="5"/>
                  </a:lnTo>
                  <a:lnTo>
                    <a:pt x="349" y="7"/>
                  </a:lnTo>
                  <a:lnTo>
                    <a:pt x="346" y="5"/>
                  </a:lnTo>
                  <a:lnTo>
                    <a:pt x="338" y="7"/>
                  </a:lnTo>
                  <a:lnTo>
                    <a:pt x="338" y="7"/>
                  </a:lnTo>
                  <a:lnTo>
                    <a:pt x="338" y="7"/>
                  </a:lnTo>
                  <a:lnTo>
                    <a:pt x="338" y="7"/>
                  </a:lnTo>
                  <a:lnTo>
                    <a:pt x="338" y="7"/>
                  </a:lnTo>
                  <a:lnTo>
                    <a:pt x="338" y="7"/>
                  </a:lnTo>
                  <a:lnTo>
                    <a:pt x="338" y="7"/>
                  </a:lnTo>
                  <a:close/>
                  <a:moveTo>
                    <a:pt x="351" y="107"/>
                  </a:moveTo>
                  <a:lnTo>
                    <a:pt x="349" y="107"/>
                  </a:lnTo>
                  <a:lnTo>
                    <a:pt x="351" y="107"/>
                  </a:lnTo>
                  <a:lnTo>
                    <a:pt x="352" y="107"/>
                  </a:lnTo>
                  <a:lnTo>
                    <a:pt x="351" y="107"/>
                  </a:lnTo>
                  <a:lnTo>
                    <a:pt x="351" y="107"/>
                  </a:lnTo>
                  <a:lnTo>
                    <a:pt x="351" y="107"/>
                  </a:lnTo>
                  <a:lnTo>
                    <a:pt x="351" y="107"/>
                  </a:lnTo>
                  <a:lnTo>
                    <a:pt x="351" y="107"/>
                  </a:lnTo>
                  <a:lnTo>
                    <a:pt x="351" y="107"/>
                  </a:lnTo>
                  <a:lnTo>
                    <a:pt x="351" y="107"/>
                  </a:lnTo>
                  <a:close/>
                  <a:moveTo>
                    <a:pt x="349" y="16"/>
                  </a:moveTo>
                  <a:lnTo>
                    <a:pt x="351" y="13"/>
                  </a:lnTo>
                  <a:lnTo>
                    <a:pt x="352" y="13"/>
                  </a:lnTo>
                  <a:lnTo>
                    <a:pt x="359" y="13"/>
                  </a:lnTo>
                  <a:lnTo>
                    <a:pt x="365" y="13"/>
                  </a:lnTo>
                  <a:lnTo>
                    <a:pt x="349" y="16"/>
                  </a:lnTo>
                  <a:lnTo>
                    <a:pt x="349" y="16"/>
                  </a:lnTo>
                  <a:lnTo>
                    <a:pt x="349" y="16"/>
                  </a:lnTo>
                  <a:lnTo>
                    <a:pt x="349" y="16"/>
                  </a:lnTo>
                  <a:lnTo>
                    <a:pt x="349" y="16"/>
                  </a:lnTo>
                  <a:lnTo>
                    <a:pt x="349" y="16"/>
                  </a:lnTo>
                  <a:lnTo>
                    <a:pt x="349" y="16"/>
                  </a:lnTo>
                  <a:close/>
                  <a:moveTo>
                    <a:pt x="367" y="13"/>
                  </a:moveTo>
                  <a:lnTo>
                    <a:pt x="373" y="13"/>
                  </a:lnTo>
                  <a:lnTo>
                    <a:pt x="371" y="10"/>
                  </a:lnTo>
                  <a:lnTo>
                    <a:pt x="381" y="13"/>
                  </a:lnTo>
                  <a:lnTo>
                    <a:pt x="367" y="13"/>
                  </a:lnTo>
                  <a:lnTo>
                    <a:pt x="367" y="13"/>
                  </a:lnTo>
                  <a:lnTo>
                    <a:pt x="367" y="13"/>
                  </a:lnTo>
                  <a:lnTo>
                    <a:pt x="367" y="13"/>
                  </a:lnTo>
                  <a:lnTo>
                    <a:pt x="367" y="13"/>
                  </a:lnTo>
                  <a:lnTo>
                    <a:pt x="367" y="13"/>
                  </a:lnTo>
                  <a:lnTo>
                    <a:pt x="367" y="13"/>
                  </a:lnTo>
                  <a:close/>
                  <a:moveTo>
                    <a:pt x="409" y="86"/>
                  </a:moveTo>
                  <a:lnTo>
                    <a:pt x="406" y="86"/>
                  </a:lnTo>
                  <a:lnTo>
                    <a:pt x="403" y="83"/>
                  </a:lnTo>
                  <a:lnTo>
                    <a:pt x="406" y="83"/>
                  </a:lnTo>
                  <a:lnTo>
                    <a:pt x="409" y="86"/>
                  </a:lnTo>
                  <a:lnTo>
                    <a:pt x="409" y="86"/>
                  </a:lnTo>
                  <a:lnTo>
                    <a:pt x="409" y="86"/>
                  </a:lnTo>
                  <a:lnTo>
                    <a:pt x="409" y="86"/>
                  </a:lnTo>
                  <a:lnTo>
                    <a:pt x="409" y="86"/>
                  </a:lnTo>
                  <a:lnTo>
                    <a:pt x="409" y="86"/>
                  </a:lnTo>
                  <a:lnTo>
                    <a:pt x="409" y="86"/>
                  </a:lnTo>
                  <a:close/>
                  <a:moveTo>
                    <a:pt x="101" y="113"/>
                  </a:moveTo>
                  <a:lnTo>
                    <a:pt x="100" y="113"/>
                  </a:lnTo>
                  <a:lnTo>
                    <a:pt x="100" y="113"/>
                  </a:lnTo>
                  <a:lnTo>
                    <a:pt x="100" y="114"/>
                  </a:lnTo>
                  <a:lnTo>
                    <a:pt x="101" y="113"/>
                  </a:lnTo>
                  <a:lnTo>
                    <a:pt x="101" y="113"/>
                  </a:lnTo>
                  <a:lnTo>
                    <a:pt x="101" y="113"/>
                  </a:lnTo>
                  <a:lnTo>
                    <a:pt x="101" y="113"/>
                  </a:lnTo>
                  <a:lnTo>
                    <a:pt x="101" y="113"/>
                  </a:lnTo>
                  <a:lnTo>
                    <a:pt x="101" y="113"/>
                  </a:lnTo>
                  <a:lnTo>
                    <a:pt x="101" y="113"/>
                  </a:lnTo>
                  <a:close/>
                  <a:moveTo>
                    <a:pt x="101" y="94"/>
                  </a:moveTo>
                  <a:lnTo>
                    <a:pt x="106" y="92"/>
                  </a:lnTo>
                  <a:lnTo>
                    <a:pt x="97" y="94"/>
                  </a:lnTo>
                  <a:lnTo>
                    <a:pt x="101" y="94"/>
                  </a:lnTo>
                  <a:lnTo>
                    <a:pt x="101" y="94"/>
                  </a:lnTo>
                  <a:lnTo>
                    <a:pt x="101" y="94"/>
                  </a:lnTo>
                  <a:lnTo>
                    <a:pt x="101" y="94"/>
                  </a:lnTo>
                  <a:lnTo>
                    <a:pt x="101" y="94"/>
                  </a:lnTo>
                  <a:lnTo>
                    <a:pt x="101" y="94"/>
                  </a:lnTo>
                  <a:lnTo>
                    <a:pt x="101" y="94"/>
                  </a:lnTo>
                  <a:close/>
                  <a:moveTo>
                    <a:pt x="14" y="59"/>
                  </a:moveTo>
                  <a:lnTo>
                    <a:pt x="19" y="57"/>
                  </a:lnTo>
                  <a:lnTo>
                    <a:pt x="14" y="57"/>
                  </a:lnTo>
                  <a:lnTo>
                    <a:pt x="9" y="57"/>
                  </a:lnTo>
                  <a:lnTo>
                    <a:pt x="11" y="59"/>
                  </a:lnTo>
                  <a:lnTo>
                    <a:pt x="14" y="59"/>
                  </a:lnTo>
                  <a:lnTo>
                    <a:pt x="14" y="59"/>
                  </a:lnTo>
                  <a:lnTo>
                    <a:pt x="14" y="59"/>
                  </a:lnTo>
                  <a:lnTo>
                    <a:pt x="14" y="59"/>
                  </a:lnTo>
                  <a:lnTo>
                    <a:pt x="14" y="59"/>
                  </a:lnTo>
                  <a:lnTo>
                    <a:pt x="14" y="59"/>
                  </a:lnTo>
                  <a:lnTo>
                    <a:pt x="14" y="59"/>
                  </a:lnTo>
                  <a:close/>
                  <a:moveTo>
                    <a:pt x="3" y="57"/>
                  </a:moveTo>
                  <a:lnTo>
                    <a:pt x="0" y="59"/>
                  </a:lnTo>
                  <a:lnTo>
                    <a:pt x="3" y="59"/>
                  </a:lnTo>
                  <a:lnTo>
                    <a:pt x="9" y="59"/>
                  </a:lnTo>
                  <a:lnTo>
                    <a:pt x="3" y="57"/>
                  </a:lnTo>
                  <a:lnTo>
                    <a:pt x="3" y="57"/>
                  </a:lnTo>
                  <a:lnTo>
                    <a:pt x="3" y="57"/>
                  </a:lnTo>
                  <a:lnTo>
                    <a:pt x="3" y="57"/>
                  </a:lnTo>
                  <a:lnTo>
                    <a:pt x="3" y="57"/>
                  </a:lnTo>
                  <a:lnTo>
                    <a:pt x="3" y="57"/>
                  </a:lnTo>
                  <a:lnTo>
                    <a:pt x="3" y="5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63" name="Freeform 371">
              <a:extLst>
                <a:ext uri="{FF2B5EF4-FFF2-40B4-BE49-F238E27FC236}">
                  <a16:creationId xmlns:a16="http://schemas.microsoft.com/office/drawing/2014/main" id="{0EAE675F-4B48-D598-6188-CCAC9767E4F9}"/>
                </a:ext>
              </a:extLst>
            </p:cNvPr>
            <p:cNvSpPr>
              <a:spLocks noEditPoints="1"/>
            </p:cNvSpPr>
            <p:nvPr/>
          </p:nvSpPr>
          <p:spPr bwMode="auto">
            <a:xfrm>
              <a:off x="2606442" y="1519599"/>
              <a:ext cx="2234099" cy="1155183"/>
            </a:xfrm>
            <a:custGeom>
              <a:avLst/>
              <a:gdLst>
                <a:gd name="T0" fmla="*/ 550 w 996"/>
                <a:gd name="T1" fmla="*/ 72 h 515"/>
                <a:gd name="T2" fmla="*/ 540 w 996"/>
                <a:gd name="T3" fmla="*/ 45 h 515"/>
                <a:gd name="T4" fmla="*/ 462 w 996"/>
                <a:gd name="T5" fmla="*/ 65 h 515"/>
                <a:gd name="T6" fmla="*/ 432 w 996"/>
                <a:gd name="T7" fmla="*/ 89 h 515"/>
                <a:gd name="T8" fmla="*/ 631 w 996"/>
                <a:gd name="T9" fmla="*/ 83 h 515"/>
                <a:gd name="T10" fmla="*/ 593 w 996"/>
                <a:gd name="T11" fmla="*/ 77 h 515"/>
                <a:gd name="T12" fmla="*/ 666 w 996"/>
                <a:gd name="T13" fmla="*/ 29 h 515"/>
                <a:gd name="T14" fmla="*/ 704 w 996"/>
                <a:gd name="T15" fmla="*/ 86 h 515"/>
                <a:gd name="T16" fmla="*/ 689 w 996"/>
                <a:gd name="T17" fmla="*/ 62 h 515"/>
                <a:gd name="T18" fmla="*/ 483 w 996"/>
                <a:gd name="T19" fmla="*/ 113 h 515"/>
                <a:gd name="T20" fmla="*/ 421 w 996"/>
                <a:gd name="T21" fmla="*/ 132 h 515"/>
                <a:gd name="T22" fmla="*/ 512 w 996"/>
                <a:gd name="T23" fmla="*/ 154 h 515"/>
                <a:gd name="T24" fmla="*/ 562 w 996"/>
                <a:gd name="T25" fmla="*/ 124 h 515"/>
                <a:gd name="T26" fmla="*/ 731 w 996"/>
                <a:gd name="T27" fmla="*/ 161 h 515"/>
                <a:gd name="T28" fmla="*/ 809 w 996"/>
                <a:gd name="T29" fmla="*/ 148 h 515"/>
                <a:gd name="T30" fmla="*/ 788 w 996"/>
                <a:gd name="T31" fmla="*/ 121 h 515"/>
                <a:gd name="T32" fmla="*/ 705 w 996"/>
                <a:gd name="T33" fmla="*/ 100 h 515"/>
                <a:gd name="T34" fmla="*/ 640 w 996"/>
                <a:gd name="T35" fmla="*/ 132 h 515"/>
                <a:gd name="T36" fmla="*/ 750 w 996"/>
                <a:gd name="T37" fmla="*/ 153 h 515"/>
                <a:gd name="T38" fmla="*/ 721 w 996"/>
                <a:gd name="T39" fmla="*/ 207 h 515"/>
                <a:gd name="T40" fmla="*/ 791 w 996"/>
                <a:gd name="T41" fmla="*/ 229 h 515"/>
                <a:gd name="T42" fmla="*/ 797 w 996"/>
                <a:gd name="T43" fmla="*/ 183 h 515"/>
                <a:gd name="T44" fmla="*/ 716 w 996"/>
                <a:gd name="T45" fmla="*/ 150 h 515"/>
                <a:gd name="T46" fmla="*/ 815 w 996"/>
                <a:gd name="T47" fmla="*/ 386 h 515"/>
                <a:gd name="T48" fmla="*/ 812 w 996"/>
                <a:gd name="T49" fmla="*/ 435 h 515"/>
                <a:gd name="T50" fmla="*/ 715 w 996"/>
                <a:gd name="T51" fmla="*/ 143 h 515"/>
                <a:gd name="T52" fmla="*/ 815 w 996"/>
                <a:gd name="T53" fmla="*/ 7 h 515"/>
                <a:gd name="T54" fmla="*/ 782 w 996"/>
                <a:gd name="T55" fmla="*/ 37 h 515"/>
                <a:gd name="T56" fmla="*/ 721 w 996"/>
                <a:gd name="T57" fmla="*/ 65 h 515"/>
                <a:gd name="T58" fmla="*/ 839 w 996"/>
                <a:gd name="T59" fmla="*/ 37 h 515"/>
                <a:gd name="T60" fmla="*/ 764 w 996"/>
                <a:gd name="T61" fmla="*/ 27 h 515"/>
                <a:gd name="T62" fmla="*/ 710 w 996"/>
                <a:gd name="T63" fmla="*/ 48 h 515"/>
                <a:gd name="T64" fmla="*/ 631 w 996"/>
                <a:gd name="T65" fmla="*/ 167 h 515"/>
                <a:gd name="T66" fmla="*/ 818 w 996"/>
                <a:gd name="T67" fmla="*/ 351 h 515"/>
                <a:gd name="T68" fmla="*/ 788 w 996"/>
                <a:gd name="T69" fmla="*/ 292 h 515"/>
                <a:gd name="T70" fmla="*/ 731 w 996"/>
                <a:gd name="T71" fmla="*/ 288 h 515"/>
                <a:gd name="T72" fmla="*/ 659 w 996"/>
                <a:gd name="T73" fmla="*/ 243 h 515"/>
                <a:gd name="T74" fmla="*/ 564 w 996"/>
                <a:gd name="T75" fmla="*/ 383 h 515"/>
                <a:gd name="T76" fmla="*/ 464 w 996"/>
                <a:gd name="T77" fmla="*/ 281 h 515"/>
                <a:gd name="T78" fmla="*/ 599 w 996"/>
                <a:gd name="T79" fmla="*/ 197 h 515"/>
                <a:gd name="T80" fmla="*/ 689 w 996"/>
                <a:gd name="T81" fmla="*/ 146 h 515"/>
                <a:gd name="T82" fmla="*/ 615 w 996"/>
                <a:gd name="T83" fmla="*/ 146 h 515"/>
                <a:gd name="T84" fmla="*/ 605 w 996"/>
                <a:gd name="T85" fmla="*/ 107 h 515"/>
                <a:gd name="T86" fmla="*/ 540 w 996"/>
                <a:gd name="T87" fmla="*/ 173 h 515"/>
                <a:gd name="T88" fmla="*/ 437 w 996"/>
                <a:gd name="T89" fmla="*/ 164 h 515"/>
                <a:gd name="T90" fmla="*/ 337 w 996"/>
                <a:gd name="T91" fmla="*/ 145 h 515"/>
                <a:gd name="T92" fmla="*/ 183 w 996"/>
                <a:gd name="T93" fmla="*/ 153 h 515"/>
                <a:gd name="T94" fmla="*/ 45 w 996"/>
                <a:gd name="T95" fmla="*/ 337 h 515"/>
                <a:gd name="T96" fmla="*/ 45 w 996"/>
                <a:gd name="T97" fmla="*/ 392 h 515"/>
                <a:gd name="T98" fmla="*/ 437 w 996"/>
                <a:gd name="T99" fmla="*/ 423 h 515"/>
                <a:gd name="T100" fmla="*/ 501 w 996"/>
                <a:gd name="T101" fmla="*/ 473 h 515"/>
                <a:gd name="T102" fmla="*/ 650 w 996"/>
                <a:gd name="T103" fmla="*/ 442 h 515"/>
                <a:gd name="T104" fmla="*/ 693 w 996"/>
                <a:gd name="T105" fmla="*/ 477 h 515"/>
                <a:gd name="T106" fmla="*/ 689 w 996"/>
                <a:gd name="T107" fmla="*/ 432 h 515"/>
                <a:gd name="T108" fmla="*/ 220 w 996"/>
                <a:gd name="T109" fmla="*/ 219 h 515"/>
                <a:gd name="T110" fmla="*/ 212 w 996"/>
                <a:gd name="T111" fmla="*/ 194 h 515"/>
                <a:gd name="T112" fmla="*/ 264 w 996"/>
                <a:gd name="T113" fmla="*/ 270 h 515"/>
                <a:gd name="T114" fmla="*/ 266 w 996"/>
                <a:gd name="T115" fmla="*/ 256 h 515"/>
                <a:gd name="T116" fmla="*/ 294 w 996"/>
                <a:gd name="T117" fmla="*/ 288 h 515"/>
                <a:gd name="T118" fmla="*/ 362 w 996"/>
                <a:gd name="T119" fmla="*/ 373 h 515"/>
                <a:gd name="T120" fmla="*/ 669 w 996"/>
                <a:gd name="T121" fmla="*/ 219 h 515"/>
                <a:gd name="T122" fmla="*/ 599 w 996"/>
                <a:gd name="T123" fmla="*/ 219 h 515"/>
                <a:gd name="T124" fmla="*/ 743 w 996"/>
                <a:gd name="T125" fmla="*/ 26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6" h="515">
                  <a:moveTo>
                    <a:pt x="526" y="77"/>
                  </a:moveTo>
                  <a:lnTo>
                    <a:pt x="526" y="77"/>
                  </a:lnTo>
                  <a:lnTo>
                    <a:pt x="521" y="77"/>
                  </a:lnTo>
                  <a:lnTo>
                    <a:pt x="521" y="77"/>
                  </a:lnTo>
                  <a:lnTo>
                    <a:pt x="508" y="77"/>
                  </a:lnTo>
                  <a:lnTo>
                    <a:pt x="508" y="77"/>
                  </a:lnTo>
                  <a:lnTo>
                    <a:pt x="508" y="73"/>
                  </a:lnTo>
                  <a:lnTo>
                    <a:pt x="508" y="73"/>
                  </a:lnTo>
                  <a:lnTo>
                    <a:pt x="502" y="73"/>
                  </a:lnTo>
                  <a:lnTo>
                    <a:pt x="502" y="73"/>
                  </a:lnTo>
                  <a:lnTo>
                    <a:pt x="508" y="72"/>
                  </a:lnTo>
                  <a:lnTo>
                    <a:pt x="508" y="72"/>
                  </a:lnTo>
                  <a:lnTo>
                    <a:pt x="505" y="70"/>
                  </a:lnTo>
                  <a:lnTo>
                    <a:pt x="505" y="70"/>
                  </a:lnTo>
                  <a:lnTo>
                    <a:pt x="502" y="69"/>
                  </a:lnTo>
                  <a:lnTo>
                    <a:pt x="502" y="69"/>
                  </a:lnTo>
                  <a:lnTo>
                    <a:pt x="494" y="69"/>
                  </a:lnTo>
                  <a:lnTo>
                    <a:pt x="494" y="69"/>
                  </a:lnTo>
                  <a:lnTo>
                    <a:pt x="497" y="67"/>
                  </a:lnTo>
                  <a:lnTo>
                    <a:pt x="497" y="67"/>
                  </a:lnTo>
                  <a:lnTo>
                    <a:pt x="496" y="65"/>
                  </a:lnTo>
                  <a:lnTo>
                    <a:pt x="496" y="65"/>
                  </a:lnTo>
                  <a:lnTo>
                    <a:pt x="494" y="65"/>
                  </a:lnTo>
                  <a:lnTo>
                    <a:pt x="494" y="65"/>
                  </a:lnTo>
                  <a:lnTo>
                    <a:pt x="488" y="65"/>
                  </a:lnTo>
                  <a:lnTo>
                    <a:pt x="488" y="65"/>
                  </a:lnTo>
                  <a:lnTo>
                    <a:pt x="480" y="67"/>
                  </a:lnTo>
                  <a:lnTo>
                    <a:pt x="480" y="67"/>
                  </a:lnTo>
                  <a:lnTo>
                    <a:pt x="483" y="69"/>
                  </a:lnTo>
                  <a:lnTo>
                    <a:pt x="483" y="69"/>
                  </a:lnTo>
                  <a:lnTo>
                    <a:pt x="477" y="69"/>
                  </a:lnTo>
                  <a:lnTo>
                    <a:pt x="477" y="69"/>
                  </a:lnTo>
                  <a:lnTo>
                    <a:pt x="474" y="70"/>
                  </a:lnTo>
                  <a:lnTo>
                    <a:pt x="474" y="70"/>
                  </a:lnTo>
                  <a:lnTo>
                    <a:pt x="467" y="72"/>
                  </a:lnTo>
                  <a:lnTo>
                    <a:pt x="467" y="72"/>
                  </a:lnTo>
                  <a:lnTo>
                    <a:pt x="470" y="73"/>
                  </a:lnTo>
                  <a:lnTo>
                    <a:pt x="470" y="73"/>
                  </a:lnTo>
                  <a:lnTo>
                    <a:pt x="464" y="73"/>
                  </a:lnTo>
                  <a:lnTo>
                    <a:pt x="464" y="73"/>
                  </a:lnTo>
                  <a:lnTo>
                    <a:pt x="458" y="73"/>
                  </a:lnTo>
                  <a:lnTo>
                    <a:pt x="458" y="73"/>
                  </a:lnTo>
                  <a:lnTo>
                    <a:pt x="461" y="77"/>
                  </a:lnTo>
                  <a:lnTo>
                    <a:pt x="461" y="77"/>
                  </a:lnTo>
                  <a:lnTo>
                    <a:pt x="462" y="77"/>
                  </a:lnTo>
                  <a:lnTo>
                    <a:pt x="462" y="77"/>
                  </a:lnTo>
                  <a:lnTo>
                    <a:pt x="456" y="77"/>
                  </a:lnTo>
                  <a:lnTo>
                    <a:pt x="456" y="77"/>
                  </a:lnTo>
                  <a:lnTo>
                    <a:pt x="448" y="80"/>
                  </a:lnTo>
                  <a:lnTo>
                    <a:pt x="448" y="80"/>
                  </a:lnTo>
                  <a:lnTo>
                    <a:pt x="450" y="80"/>
                  </a:lnTo>
                  <a:lnTo>
                    <a:pt x="450" y="80"/>
                  </a:lnTo>
                  <a:lnTo>
                    <a:pt x="453" y="80"/>
                  </a:lnTo>
                  <a:lnTo>
                    <a:pt x="453" y="80"/>
                  </a:lnTo>
                  <a:lnTo>
                    <a:pt x="459" y="80"/>
                  </a:lnTo>
                  <a:lnTo>
                    <a:pt x="459" y="80"/>
                  </a:lnTo>
                  <a:lnTo>
                    <a:pt x="458" y="80"/>
                  </a:lnTo>
                  <a:lnTo>
                    <a:pt x="458" y="80"/>
                  </a:lnTo>
                  <a:lnTo>
                    <a:pt x="461" y="81"/>
                  </a:lnTo>
                  <a:lnTo>
                    <a:pt x="461" y="81"/>
                  </a:lnTo>
                  <a:lnTo>
                    <a:pt x="462" y="81"/>
                  </a:lnTo>
                  <a:lnTo>
                    <a:pt x="462" y="81"/>
                  </a:lnTo>
                  <a:lnTo>
                    <a:pt x="464" y="80"/>
                  </a:lnTo>
                  <a:lnTo>
                    <a:pt x="464" y="80"/>
                  </a:lnTo>
                  <a:lnTo>
                    <a:pt x="466" y="80"/>
                  </a:lnTo>
                  <a:lnTo>
                    <a:pt x="466" y="80"/>
                  </a:lnTo>
                  <a:lnTo>
                    <a:pt x="467" y="80"/>
                  </a:lnTo>
                  <a:lnTo>
                    <a:pt x="467" y="80"/>
                  </a:lnTo>
                  <a:lnTo>
                    <a:pt x="467" y="81"/>
                  </a:lnTo>
                  <a:lnTo>
                    <a:pt x="467" y="81"/>
                  </a:lnTo>
                  <a:lnTo>
                    <a:pt x="470" y="81"/>
                  </a:lnTo>
                  <a:lnTo>
                    <a:pt x="470" y="81"/>
                  </a:lnTo>
                  <a:lnTo>
                    <a:pt x="474" y="80"/>
                  </a:lnTo>
                  <a:lnTo>
                    <a:pt x="474" y="80"/>
                  </a:lnTo>
                  <a:lnTo>
                    <a:pt x="477" y="80"/>
                  </a:lnTo>
                  <a:lnTo>
                    <a:pt x="477" y="80"/>
                  </a:lnTo>
                  <a:lnTo>
                    <a:pt x="477" y="80"/>
                  </a:lnTo>
                  <a:lnTo>
                    <a:pt x="477" y="80"/>
                  </a:lnTo>
                  <a:lnTo>
                    <a:pt x="480" y="80"/>
                  </a:lnTo>
                  <a:lnTo>
                    <a:pt x="480" y="80"/>
                  </a:lnTo>
                  <a:lnTo>
                    <a:pt x="480" y="77"/>
                  </a:lnTo>
                  <a:lnTo>
                    <a:pt x="480" y="77"/>
                  </a:lnTo>
                  <a:lnTo>
                    <a:pt x="482" y="77"/>
                  </a:lnTo>
                  <a:lnTo>
                    <a:pt x="482" y="77"/>
                  </a:lnTo>
                  <a:lnTo>
                    <a:pt x="483" y="77"/>
                  </a:lnTo>
                  <a:lnTo>
                    <a:pt x="483" y="77"/>
                  </a:lnTo>
                  <a:lnTo>
                    <a:pt x="480" y="80"/>
                  </a:lnTo>
                  <a:lnTo>
                    <a:pt x="480" y="80"/>
                  </a:lnTo>
                  <a:lnTo>
                    <a:pt x="480" y="80"/>
                  </a:lnTo>
                  <a:lnTo>
                    <a:pt x="480" y="80"/>
                  </a:lnTo>
                  <a:lnTo>
                    <a:pt x="482" y="80"/>
                  </a:lnTo>
                  <a:lnTo>
                    <a:pt x="482" y="80"/>
                  </a:lnTo>
                  <a:lnTo>
                    <a:pt x="485" y="80"/>
                  </a:lnTo>
                  <a:lnTo>
                    <a:pt x="485" y="80"/>
                  </a:lnTo>
                  <a:lnTo>
                    <a:pt x="489" y="80"/>
                  </a:lnTo>
                  <a:lnTo>
                    <a:pt x="489" y="80"/>
                  </a:lnTo>
                  <a:lnTo>
                    <a:pt x="493" y="80"/>
                  </a:lnTo>
                  <a:lnTo>
                    <a:pt x="493" y="80"/>
                  </a:lnTo>
                  <a:lnTo>
                    <a:pt x="491" y="80"/>
                  </a:lnTo>
                  <a:lnTo>
                    <a:pt x="491" y="80"/>
                  </a:lnTo>
                  <a:lnTo>
                    <a:pt x="496" y="80"/>
                  </a:lnTo>
                  <a:lnTo>
                    <a:pt x="496" y="80"/>
                  </a:lnTo>
                  <a:lnTo>
                    <a:pt x="486" y="81"/>
                  </a:lnTo>
                  <a:lnTo>
                    <a:pt x="486" y="81"/>
                  </a:lnTo>
                  <a:lnTo>
                    <a:pt x="477" y="83"/>
                  </a:lnTo>
                  <a:lnTo>
                    <a:pt x="477" y="83"/>
                  </a:lnTo>
                  <a:lnTo>
                    <a:pt x="467" y="84"/>
                  </a:lnTo>
                  <a:lnTo>
                    <a:pt x="467" y="84"/>
                  </a:lnTo>
                  <a:lnTo>
                    <a:pt x="467" y="88"/>
                  </a:lnTo>
                  <a:lnTo>
                    <a:pt x="467" y="88"/>
                  </a:lnTo>
                  <a:lnTo>
                    <a:pt x="470" y="88"/>
                  </a:lnTo>
                  <a:lnTo>
                    <a:pt x="470" y="88"/>
                  </a:lnTo>
                  <a:lnTo>
                    <a:pt x="480" y="89"/>
                  </a:lnTo>
                  <a:lnTo>
                    <a:pt x="480" y="89"/>
                  </a:lnTo>
                  <a:lnTo>
                    <a:pt x="493" y="86"/>
                  </a:lnTo>
                  <a:lnTo>
                    <a:pt x="493" y="86"/>
                  </a:lnTo>
                  <a:lnTo>
                    <a:pt x="501" y="84"/>
                  </a:lnTo>
                  <a:lnTo>
                    <a:pt x="501" y="84"/>
                  </a:lnTo>
                  <a:lnTo>
                    <a:pt x="508" y="83"/>
                  </a:lnTo>
                  <a:lnTo>
                    <a:pt x="508" y="83"/>
                  </a:lnTo>
                  <a:lnTo>
                    <a:pt x="515" y="81"/>
                  </a:lnTo>
                  <a:lnTo>
                    <a:pt x="515" y="81"/>
                  </a:lnTo>
                  <a:lnTo>
                    <a:pt x="521" y="80"/>
                  </a:lnTo>
                  <a:lnTo>
                    <a:pt x="521" y="80"/>
                  </a:lnTo>
                  <a:lnTo>
                    <a:pt x="521" y="81"/>
                  </a:lnTo>
                  <a:lnTo>
                    <a:pt x="521" y="81"/>
                  </a:lnTo>
                  <a:lnTo>
                    <a:pt x="524" y="81"/>
                  </a:lnTo>
                  <a:lnTo>
                    <a:pt x="524" y="81"/>
                  </a:lnTo>
                  <a:lnTo>
                    <a:pt x="528" y="81"/>
                  </a:lnTo>
                  <a:lnTo>
                    <a:pt x="528" y="81"/>
                  </a:lnTo>
                  <a:lnTo>
                    <a:pt x="531" y="80"/>
                  </a:lnTo>
                  <a:lnTo>
                    <a:pt x="531" y="80"/>
                  </a:lnTo>
                  <a:lnTo>
                    <a:pt x="531" y="81"/>
                  </a:lnTo>
                  <a:lnTo>
                    <a:pt x="531" y="81"/>
                  </a:lnTo>
                  <a:lnTo>
                    <a:pt x="532" y="83"/>
                  </a:lnTo>
                  <a:lnTo>
                    <a:pt x="532" y="83"/>
                  </a:lnTo>
                  <a:lnTo>
                    <a:pt x="537" y="81"/>
                  </a:lnTo>
                  <a:lnTo>
                    <a:pt x="537" y="81"/>
                  </a:lnTo>
                  <a:lnTo>
                    <a:pt x="543" y="81"/>
                  </a:lnTo>
                  <a:lnTo>
                    <a:pt x="543" y="81"/>
                  </a:lnTo>
                  <a:lnTo>
                    <a:pt x="548" y="80"/>
                  </a:lnTo>
                  <a:lnTo>
                    <a:pt x="548" y="80"/>
                  </a:lnTo>
                  <a:lnTo>
                    <a:pt x="555" y="77"/>
                  </a:lnTo>
                  <a:lnTo>
                    <a:pt x="555" y="77"/>
                  </a:lnTo>
                  <a:lnTo>
                    <a:pt x="559" y="73"/>
                  </a:lnTo>
                  <a:lnTo>
                    <a:pt x="559" y="73"/>
                  </a:lnTo>
                  <a:lnTo>
                    <a:pt x="561" y="73"/>
                  </a:lnTo>
                  <a:lnTo>
                    <a:pt x="561" y="73"/>
                  </a:lnTo>
                  <a:lnTo>
                    <a:pt x="561" y="72"/>
                  </a:lnTo>
                  <a:lnTo>
                    <a:pt x="561" y="72"/>
                  </a:lnTo>
                  <a:lnTo>
                    <a:pt x="559" y="70"/>
                  </a:lnTo>
                  <a:lnTo>
                    <a:pt x="559" y="70"/>
                  </a:lnTo>
                  <a:lnTo>
                    <a:pt x="555" y="70"/>
                  </a:lnTo>
                  <a:lnTo>
                    <a:pt x="555" y="70"/>
                  </a:lnTo>
                  <a:lnTo>
                    <a:pt x="551" y="72"/>
                  </a:lnTo>
                  <a:lnTo>
                    <a:pt x="551" y="72"/>
                  </a:lnTo>
                  <a:lnTo>
                    <a:pt x="550" y="72"/>
                  </a:lnTo>
                  <a:lnTo>
                    <a:pt x="550" y="72"/>
                  </a:lnTo>
                  <a:lnTo>
                    <a:pt x="550" y="73"/>
                  </a:lnTo>
                  <a:lnTo>
                    <a:pt x="550" y="73"/>
                  </a:lnTo>
                  <a:lnTo>
                    <a:pt x="547" y="73"/>
                  </a:lnTo>
                  <a:lnTo>
                    <a:pt x="547" y="73"/>
                  </a:lnTo>
                  <a:lnTo>
                    <a:pt x="548" y="72"/>
                  </a:lnTo>
                  <a:lnTo>
                    <a:pt x="548" y="72"/>
                  </a:lnTo>
                  <a:lnTo>
                    <a:pt x="543" y="72"/>
                  </a:lnTo>
                  <a:lnTo>
                    <a:pt x="543" y="72"/>
                  </a:lnTo>
                  <a:lnTo>
                    <a:pt x="543" y="70"/>
                  </a:lnTo>
                  <a:lnTo>
                    <a:pt x="543" y="70"/>
                  </a:lnTo>
                  <a:lnTo>
                    <a:pt x="540" y="70"/>
                  </a:lnTo>
                  <a:lnTo>
                    <a:pt x="540" y="70"/>
                  </a:lnTo>
                  <a:lnTo>
                    <a:pt x="543" y="69"/>
                  </a:lnTo>
                  <a:lnTo>
                    <a:pt x="543" y="69"/>
                  </a:lnTo>
                  <a:lnTo>
                    <a:pt x="547" y="67"/>
                  </a:lnTo>
                  <a:lnTo>
                    <a:pt x="547" y="67"/>
                  </a:lnTo>
                  <a:lnTo>
                    <a:pt x="543" y="67"/>
                  </a:lnTo>
                  <a:lnTo>
                    <a:pt x="543" y="67"/>
                  </a:lnTo>
                  <a:lnTo>
                    <a:pt x="547" y="64"/>
                  </a:lnTo>
                  <a:lnTo>
                    <a:pt x="547" y="64"/>
                  </a:lnTo>
                  <a:lnTo>
                    <a:pt x="548" y="62"/>
                  </a:lnTo>
                  <a:lnTo>
                    <a:pt x="548" y="62"/>
                  </a:lnTo>
                  <a:lnTo>
                    <a:pt x="543" y="62"/>
                  </a:lnTo>
                  <a:lnTo>
                    <a:pt x="543" y="62"/>
                  </a:lnTo>
                  <a:lnTo>
                    <a:pt x="540" y="62"/>
                  </a:lnTo>
                  <a:lnTo>
                    <a:pt x="540" y="62"/>
                  </a:lnTo>
                  <a:lnTo>
                    <a:pt x="534" y="65"/>
                  </a:lnTo>
                  <a:lnTo>
                    <a:pt x="534" y="65"/>
                  </a:lnTo>
                  <a:lnTo>
                    <a:pt x="531" y="65"/>
                  </a:lnTo>
                  <a:lnTo>
                    <a:pt x="531" y="65"/>
                  </a:lnTo>
                  <a:lnTo>
                    <a:pt x="528" y="67"/>
                  </a:lnTo>
                  <a:lnTo>
                    <a:pt x="528" y="67"/>
                  </a:lnTo>
                  <a:lnTo>
                    <a:pt x="529" y="69"/>
                  </a:lnTo>
                  <a:lnTo>
                    <a:pt x="529" y="69"/>
                  </a:lnTo>
                  <a:lnTo>
                    <a:pt x="531" y="69"/>
                  </a:lnTo>
                  <a:lnTo>
                    <a:pt x="531" y="69"/>
                  </a:lnTo>
                  <a:lnTo>
                    <a:pt x="532" y="70"/>
                  </a:lnTo>
                  <a:lnTo>
                    <a:pt x="532" y="70"/>
                  </a:lnTo>
                  <a:lnTo>
                    <a:pt x="528" y="72"/>
                  </a:lnTo>
                  <a:lnTo>
                    <a:pt x="528" y="72"/>
                  </a:lnTo>
                  <a:lnTo>
                    <a:pt x="526" y="72"/>
                  </a:lnTo>
                  <a:lnTo>
                    <a:pt x="526" y="72"/>
                  </a:lnTo>
                  <a:lnTo>
                    <a:pt x="523" y="72"/>
                  </a:lnTo>
                  <a:lnTo>
                    <a:pt x="523" y="72"/>
                  </a:lnTo>
                  <a:lnTo>
                    <a:pt x="528" y="73"/>
                  </a:lnTo>
                  <a:lnTo>
                    <a:pt x="528" y="73"/>
                  </a:lnTo>
                  <a:lnTo>
                    <a:pt x="531" y="73"/>
                  </a:lnTo>
                  <a:lnTo>
                    <a:pt x="531" y="73"/>
                  </a:lnTo>
                  <a:lnTo>
                    <a:pt x="528" y="77"/>
                  </a:lnTo>
                  <a:lnTo>
                    <a:pt x="526" y="77"/>
                  </a:lnTo>
                  <a:lnTo>
                    <a:pt x="526" y="77"/>
                  </a:lnTo>
                  <a:lnTo>
                    <a:pt x="526" y="77"/>
                  </a:lnTo>
                  <a:close/>
                  <a:moveTo>
                    <a:pt x="502" y="62"/>
                  </a:moveTo>
                  <a:lnTo>
                    <a:pt x="502" y="62"/>
                  </a:lnTo>
                  <a:lnTo>
                    <a:pt x="505" y="62"/>
                  </a:lnTo>
                  <a:lnTo>
                    <a:pt x="505" y="62"/>
                  </a:lnTo>
                  <a:lnTo>
                    <a:pt x="508" y="61"/>
                  </a:lnTo>
                  <a:lnTo>
                    <a:pt x="508" y="61"/>
                  </a:lnTo>
                  <a:lnTo>
                    <a:pt x="505" y="61"/>
                  </a:lnTo>
                  <a:lnTo>
                    <a:pt x="505" y="61"/>
                  </a:lnTo>
                  <a:lnTo>
                    <a:pt x="502" y="61"/>
                  </a:lnTo>
                  <a:lnTo>
                    <a:pt x="502" y="61"/>
                  </a:lnTo>
                  <a:lnTo>
                    <a:pt x="497" y="62"/>
                  </a:lnTo>
                  <a:lnTo>
                    <a:pt x="502" y="62"/>
                  </a:lnTo>
                  <a:lnTo>
                    <a:pt x="502" y="62"/>
                  </a:lnTo>
                  <a:lnTo>
                    <a:pt x="502" y="62"/>
                  </a:lnTo>
                  <a:close/>
                  <a:moveTo>
                    <a:pt x="534" y="56"/>
                  </a:moveTo>
                  <a:lnTo>
                    <a:pt x="534" y="56"/>
                  </a:lnTo>
                  <a:lnTo>
                    <a:pt x="543" y="54"/>
                  </a:lnTo>
                  <a:lnTo>
                    <a:pt x="543" y="54"/>
                  </a:lnTo>
                  <a:lnTo>
                    <a:pt x="547" y="54"/>
                  </a:lnTo>
                  <a:lnTo>
                    <a:pt x="547" y="54"/>
                  </a:lnTo>
                  <a:lnTo>
                    <a:pt x="551" y="51"/>
                  </a:lnTo>
                  <a:lnTo>
                    <a:pt x="551" y="51"/>
                  </a:lnTo>
                  <a:lnTo>
                    <a:pt x="548" y="51"/>
                  </a:lnTo>
                  <a:lnTo>
                    <a:pt x="548" y="51"/>
                  </a:lnTo>
                  <a:lnTo>
                    <a:pt x="547" y="51"/>
                  </a:lnTo>
                  <a:lnTo>
                    <a:pt x="547" y="51"/>
                  </a:lnTo>
                  <a:lnTo>
                    <a:pt x="548" y="50"/>
                  </a:lnTo>
                  <a:lnTo>
                    <a:pt x="548" y="50"/>
                  </a:lnTo>
                  <a:lnTo>
                    <a:pt x="550" y="50"/>
                  </a:lnTo>
                  <a:lnTo>
                    <a:pt x="550" y="50"/>
                  </a:lnTo>
                  <a:lnTo>
                    <a:pt x="555" y="50"/>
                  </a:lnTo>
                  <a:lnTo>
                    <a:pt x="555" y="50"/>
                  </a:lnTo>
                  <a:lnTo>
                    <a:pt x="561" y="48"/>
                  </a:lnTo>
                  <a:lnTo>
                    <a:pt x="561" y="48"/>
                  </a:lnTo>
                  <a:lnTo>
                    <a:pt x="556" y="48"/>
                  </a:lnTo>
                  <a:lnTo>
                    <a:pt x="556" y="48"/>
                  </a:lnTo>
                  <a:lnTo>
                    <a:pt x="553" y="48"/>
                  </a:lnTo>
                  <a:lnTo>
                    <a:pt x="553" y="48"/>
                  </a:lnTo>
                  <a:lnTo>
                    <a:pt x="543" y="48"/>
                  </a:lnTo>
                  <a:lnTo>
                    <a:pt x="543" y="48"/>
                  </a:lnTo>
                  <a:lnTo>
                    <a:pt x="532" y="50"/>
                  </a:lnTo>
                  <a:lnTo>
                    <a:pt x="532" y="50"/>
                  </a:lnTo>
                  <a:lnTo>
                    <a:pt x="526" y="51"/>
                  </a:lnTo>
                  <a:lnTo>
                    <a:pt x="526" y="51"/>
                  </a:lnTo>
                  <a:lnTo>
                    <a:pt x="524" y="51"/>
                  </a:lnTo>
                  <a:lnTo>
                    <a:pt x="524" y="51"/>
                  </a:lnTo>
                  <a:lnTo>
                    <a:pt x="524" y="54"/>
                  </a:lnTo>
                  <a:lnTo>
                    <a:pt x="524" y="54"/>
                  </a:lnTo>
                  <a:lnTo>
                    <a:pt x="528" y="56"/>
                  </a:lnTo>
                  <a:lnTo>
                    <a:pt x="534" y="56"/>
                  </a:lnTo>
                  <a:lnTo>
                    <a:pt x="534" y="56"/>
                  </a:lnTo>
                  <a:lnTo>
                    <a:pt x="534" y="56"/>
                  </a:lnTo>
                  <a:close/>
                  <a:moveTo>
                    <a:pt x="564" y="80"/>
                  </a:moveTo>
                  <a:lnTo>
                    <a:pt x="564" y="80"/>
                  </a:lnTo>
                  <a:lnTo>
                    <a:pt x="567" y="80"/>
                  </a:lnTo>
                  <a:lnTo>
                    <a:pt x="567" y="80"/>
                  </a:lnTo>
                  <a:lnTo>
                    <a:pt x="567" y="77"/>
                  </a:lnTo>
                  <a:lnTo>
                    <a:pt x="567" y="77"/>
                  </a:lnTo>
                  <a:lnTo>
                    <a:pt x="564" y="77"/>
                  </a:lnTo>
                  <a:lnTo>
                    <a:pt x="564" y="77"/>
                  </a:lnTo>
                  <a:lnTo>
                    <a:pt x="561" y="77"/>
                  </a:lnTo>
                  <a:lnTo>
                    <a:pt x="561" y="77"/>
                  </a:lnTo>
                  <a:lnTo>
                    <a:pt x="556" y="80"/>
                  </a:lnTo>
                  <a:lnTo>
                    <a:pt x="556" y="80"/>
                  </a:lnTo>
                  <a:lnTo>
                    <a:pt x="558" y="81"/>
                  </a:lnTo>
                  <a:lnTo>
                    <a:pt x="558" y="81"/>
                  </a:lnTo>
                  <a:lnTo>
                    <a:pt x="559" y="81"/>
                  </a:lnTo>
                  <a:lnTo>
                    <a:pt x="564" y="80"/>
                  </a:lnTo>
                  <a:lnTo>
                    <a:pt x="564" y="80"/>
                  </a:lnTo>
                  <a:lnTo>
                    <a:pt x="564" y="80"/>
                  </a:lnTo>
                  <a:close/>
                  <a:moveTo>
                    <a:pt x="540" y="45"/>
                  </a:moveTo>
                  <a:lnTo>
                    <a:pt x="540" y="45"/>
                  </a:lnTo>
                  <a:lnTo>
                    <a:pt x="547" y="45"/>
                  </a:lnTo>
                  <a:lnTo>
                    <a:pt x="547" y="45"/>
                  </a:lnTo>
                  <a:lnTo>
                    <a:pt x="548" y="45"/>
                  </a:lnTo>
                  <a:lnTo>
                    <a:pt x="548" y="45"/>
                  </a:lnTo>
                  <a:lnTo>
                    <a:pt x="551" y="45"/>
                  </a:lnTo>
                  <a:lnTo>
                    <a:pt x="551" y="45"/>
                  </a:lnTo>
                  <a:lnTo>
                    <a:pt x="555" y="45"/>
                  </a:lnTo>
                  <a:lnTo>
                    <a:pt x="555" y="45"/>
                  </a:lnTo>
                  <a:lnTo>
                    <a:pt x="558" y="45"/>
                  </a:lnTo>
                  <a:lnTo>
                    <a:pt x="558" y="45"/>
                  </a:lnTo>
                  <a:lnTo>
                    <a:pt x="562" y="45"/>
                  </a:lnTo>
                  <a:lnTo>
                    <a:pt x="562" y="45"/>
                  </a:lnTo>
                  <a:lnTo>
                    <a:pt x="564" y="45"/>
                  </a:lnTo>
                  <a:lnTo>
                    <a:pt x="564" y="45"/>
                  </a:lnTo>
                  <a:lnTo>
                    <a:pt x="567" y="45"/>
                  </a:lnTo>
                  <a:lnTo>
                    <a:pt x="567" y="45"/>
                  </a:lnTo>
                  <a:lnTo>
                    <a:pt x="570" y="42"/>
                  </a:lnTo>
                  <a:lnTo>
                    <a:pt x="570" y="42"/>
                  </a:lnTo>
                  <a:lnTo>
                    <a:pt x="567" y="42"/>
                  </a:lnTo>
                  <a:lnTo>
                    <a:pt x="567" y="42"/>
                  </a:lnTo>
                  <a:lnTo>
                    <a:pt x="562" y="42"/>
                  </a:lnTo>
                  <a:lnTo>
                    <a:pt x="562" y="42"/>
                  </a:lnTo>
                  <a:lnTo>
                    <a:pt x="550" y="42"/>
                  </a:lnTo>
                  <a:lnTo>
                    <a:pt x="550" y="42"/>
                  </a:lnTo>
                  <a:lnTo>
                    <a:pt x="543" y="45"/>
                  </a:lnTo>
                  <a:lnTo>
                    <a:pt x="543" y="45"/>
                  </a:lnTo>
                  <a:lnTo>
                    <a:pt x="537" y="45"/>
                  </a:lnTo>
                  <a:lnTo>
                    <a:pt x="537" y="45"/>
                  </a:lnTo>
                  <a:lnTo>
                    <a:pt x="537" y="45"/>
                  </a:lnTo>
                  <a:lnTo>
                    <a:pt x="540" y="45"/>
                  </a:lnTo>
                  <a:lnTo>
                    <a:pt x="540" y="45"/>
                  </a:lnTo>
                  <a:lnTo>
                    <a:pt x="540" y="45"/>
                  </a:lnTo>
                  <a:close/>
                  <a:moveTo>
                    <a:pt x="529" y="153"/>
                  </a:moveTo>
                  <a:lnTo>
                    <a:pt x="529" y="153"/>
                  </a:lnTo>
                  <a:lnTo>
                    <a:pt x="532" y="154"/>
                  </a:lnTo>
                  <a:lnTo>
                    <a:pt x="532" y="154"/>
                  </a:lnTo>
                  <a:lnTo>
                    <a:pt x="534" y="154"/>
                  </a:lnTo>
                  <a:lnTo>
                    <a:pt x="534" y="154"/>
                  </a:lnTo>
                  <a:lnTo>
                    <a:pt x="535" y="156"/>
                  </a:lnTo>
                  <a:lnTo>
                    <a:pt x="535" y="156"/>
                  </a:lnTo>
                  <a:lnTo>
                    <a:pt x="537" y="156"/>
                  </a:lnTo>
                  <a:lnTo>
                    <a:pt x="537" y="156"/>
                  </a:lnTo>
                  <a:lnTo>
                    <a:pt x="540" y="158"/>
                  </a:lnTo>
                  <a:lnTo>
                    <a:pt x="540" y="158"/>
                  </a:lnTo>
                  <a:lnTo>
                    <a:pt x="540" y="158"/>
                  </a:lnTo>
                  <a:lnTo>
                    <a:pt x="540" y="158"/>
                  </a:lnTo>
                  <a:lnTo>
                    <a:pt x="547" y="159"/>
                  </a:lnTo>
                  <a:lnTo>
                    <a:pt x="547" y="159"/>
                  </a:lnTo>
                  <a:lnTo>
                    <a:pt x="550" y="158"/>
                  </a:lnTo>
                  <a:lnTo>
                    <a:pt x="550" y="158"/>
                  </a:lnTo>
                  <a:lnTo>
                    <a:pt x="555" y="156"/>
                  </a:lnTo>
                  <a:lnTo>
                    <a:pt x="555" y="156"/>
                  </a:lnTo>
                  <a:lnTo>
                    <a:pt x="559" y="154"/>
                  </a:lnTo>
                  <a:lnTo>
                    <a:pt x="559" y="154"/>
                  </a:lnTo>
                  <a:lnTo>
                    <a:pt x="562" y="154"/>
                  </a:lnTo>
                  <a:lnTo>
                    <a:pt x="562" y="154"/>
                  </a:lnTo>
                  <a:lnTo>
                    <a:pt x="562" y="153"/>
                  </a:lnTo>
                  <a:lnTo>
                    <a:pt x="562" y="153"/>
                  </a:lnTo>
                  <a:lnTo>
                    <a:pt x="561" y="153"/>
                  </a:lnTo>
                  <a:lnTo>
                    <a:pt x="561" y="153"/>
                  </a:lnTo>
                  <a:lnTo>
                    <a:pt x="558" y="153"/>
                  </a:lnTo>
                  <a:lnTo>
                    <a:pt x="558" y="153"/>
                  </a:lnTo>
                  <a:lnTo>
                    <a:pt x="559" y="150"/>
                  </a:lnTo>
                  <a:lnTo>
                    <a:pt x="559" y="150"/>
                  </a:lnTo>
                  <a:lnTo>
                    <a:pt x="558" y="150"/>
                  </a:lnTo>
                  <a:lnTo>
                    <a:pt x="558" y="150"/>
                  </a:lnTo>
                  <a:lnTo>
                    <a:pt x="558" y="148"/>
                  </a:lnTo>
                  <a:lnTo>
                    <a:pt x="558" y="148"/>
                  </a:lnTo>
                  <a:lnTo>
                    <a:pt x="558" y="146"/>
                  </a:lnTo>
                  <a:lnTo>
                    <a:pt x="558" y="146"/>
                  </a:lnTo>
                  <a:lnTo>
                    <a:pt x="555" y="145"/>
                  </a:lnTo>
                  <a:lnTo>
                    <a:pt x="555" y="145"/>
                  </a:lnTo>
                  <a:lnTo>
                    <a:pt x="553" y="143"/>
                  </a:lnTo>
                  <a:lnTo>
                    <a:pt x="553" y="143"/>
                  </a:lnTo>
                  <a:lnTo>
                    <a:pt x="553" y="142"/>
                  </a:lnTo>
                  <a:lnTo>
                    <a:pt x="553" y="142"/>
                  </a:lnTo>
                  <a:lnTo>
                    <a:pt x="551" y="142"/>
                  </a:lnTo>
                  <a:lnTo>
                    <a:pt x="551" y="142"/>
                  </a:lnTo>
                  <a:lnTo>
                    <a:pt x="547" y="142"/>
                  </a:lnTo>
                  <a:lnTo>
                    <a:pt x="547" y="142"/>
                  </a:lnTo>
                  <a:lnTo>
                    <a:pt x="543" y="143"/>
                  </a:lnTo>
                  <a:lnTo>
                    <a:pt x="543" y="143"/>
                  </a:lnTo>
                  <a:lnTo>
                    <a:pt x="543" y="143"/>
                  </a:lnTo>
                  <a:lnTo>
                    <a:pt x="543" y="143"/>
                  </a:lnTo>
                  <a:lnTo>
                    <a:pt x="543" y="145"/>
                  </a:lnTo>
                  <a:lnTo>
                    <a:pt x="543" y="145"/>
                  </a:lnTo>
                  <a:lnTo>
                    <a:pt x="540" y="145"/>
                  </a:lnTo>
                  <a:lnTo>
                    <a:pt x="540" y="145"/>
                  </a:lnTo>
                  <a:lnTo>
                    <a:pt x="537" y="146"/>
                  </a:lnTo>
                  <a:lnTo>
                    <a:pt x="537" y="146"/>
                  </a:lnTo>
                  <a:lnTo>
                    <a:pt x="540" y="148"/>
                  </a:lnTo>
                  <a:lnTo>
                    <a:pt x="540" y="148"/>
                  </a:lnTo>
                  <a:lnTo>
                    <a:pt x="532" y="148"/>
                  </a:lnTo>
                  <a:lnTo>
                    <a:pt x="532" y="148"/>
                  </a:lnTo>
                  <a:lnTo>
                    <a:pt x="529" y="150"/>
                  </a:lnTo>
                  <a:lnTo>
                    <a:pt x="529" y="150"/>
                  </a:lnTo>
                  <a:lnTo>
                    <a:pt x="526" y="151"/>
                  </a:lnTo>
                  <a:lnTo>
                    <a:pt x="526" y="151"/>
                  </a:lnTo>
                  <a:lnTo>
                    <a:pt x="524" y="153"/>
                  </a:lnTo>
                  <a:lnTo>
                    <a:pt x="524" y="153"/>
                  </a:lnTo>
                  <a:lnTo>
                    <a:pt x="526" y="153"/>
                  </a:lnTo>
                  <a:lnTo>
                    <a:pt x="529" y="153"/>
                  </a:lnTo>
                  <a:lnTo>
                    <a:pt x="529" y="153"/>
                  </a:lnTo>
                  <a:lnTo>
                    <a:pt x="529" y="153"/>
                  </a:lnTo>
                  <a:close/>
                  <a:moveTo>
                    <a:pt x="13" y="351"/>
                  </a:moveTo>
                  <a:lnTo>
                    <a:pt x="13" y="351"/>
                  </a:lnTo>
                  <a:lnTo>
                    <a:pt x="16" y="348"/>
                  </a:lnTo>
                  <a:lnTo>
                    <a:pt x="16" y="348"/>
                  </a:lnTo>
                  <a:lnTo>
                    <a:pt x="23" y="345"/>
                  </a:lnTo>
                  <a:lnTo>
                    <a:pt x="23" y="345"/>
                  </a:lnTo>
                  <a:lnTo>
                    <a:pt x="18" y="345"/>
                  </a:lnTo>
                  <a:lnTo>
                    <a:pt x="18" y="345"/>
                  </a:lnTo>
                  <a:lnTo>
                    <a:pt x="15" y="348"/>
                  </a:lnTo>
                  <a:lnTo>
                    <a:pt x="15" y="348"/>
                  </a:lnTo>
                  <a:lnTo>
                    <a:pt x="15" y="345"/>
                  </a:lnTo>
                  <a:lnTo>
                    <a:pt x="15" y="345"/>
                  </a:lnTo>
                  <a:lnTo>
                    <a:pt x="13" y="345"/>
                  </a:lnTo>
                  <a:lnTo>
                    <a:pt x="13" y="345"/>
                  </a:lnTo>
                  <a:lnTo>
                    <a:pt x="10" y="348"/>
                  </a:lnTo>
                  <a:lnTo>
                    <a:pt x="10" y="348"/>
                  </a:lnTo>
                  <a:lnTo>
                    <a:pt x="13" y="345"/>
                  </a:lnTo>
                  <a:lnTo>
                    <a:pt x="13" y="345"/>
                  </a:lnTo>
                  <a:lnTo>
                    <a:pt x="10" y="345"/>
                  </a:lnTo>
                  <a:lnTo>
                    <a:pt x="10" y="345"/>
                  </a:lnTo>
                  <a:lnTo>
                    <a:pt x="7" y="345"/>
                  </a:lnTo>
                  <a:lnTo>
                    <a:pt x="7" y="345"/>
                  </a:lnTo>
                  <a:lnTo>
                    <a:pt x="4" y="348"/>
                  </a:lnTo>
                  <a:lnTo>
                    <a:pt x="4" y="348"/>
                  </a:lnTo>
                  <a:lnTo>
                    <a:pt x="4" y="351"/>
                  </a:lnTo>
                  <a:lnTo>
                    <a:pt x="4" y="351"/>
                  </a:lnTo>
                  <a:lnTo>
                    <a:pt x="2" y="351"/>
                  </a:lnTo>
                  <a:lnTo>
                    <a:pt x="2" y="351"/>
                  </a:lnTo>
                  <a:lnTo>
                    <a:pt x="4" y="354"/>
                  </a:lnTo>
                  <a:lnTo>
                    <a:pt x="4" y="354"/>
                  </a:lnTo>
                  <a:lnTo>
                    <a:pt x="4" y="354"/>
                  </a:lnTo>
                  <a:lnTo>
                    <a:pt x="4" y="354"/>
                  </a:lnTo>
                  <a:lnTo>
                    <a:pt x="4" y="354"/>
                  </a:lnTo>
                  <a:lnTo>
                    <a:pt x="4" y="354"/>
                  </a:lnTo>
                  <a:lnTo>
                    <a:pt x="2" y="356"/>
                  </a:lnTo>
                  <a:lnTo>
                    <a:pt x="2" y="356"/>
                  </a:lnTo>
                  <a:lnTo>
                    <a:pt x="2" y="358"/>
                  </a:lnTo>
                  <a:lnTo>
                    <a:pt x="2" y="358"/>
                  </a:lnTo>
                  <a:lnTo>
                    <a:pt x="7" y="356"/>
                  </a:lnTo>
                  <a:lnTo>
                    <a:pt x="7" y="356"/>
                  </a:lnTo>
                  <a:lnTo>
                    <a:pt x="13" y="351"/>
                  </a:lnTo>
                  <a:lnTo>
                    <a:pt x="13" y="351"/>
                  </a:lnTo>
                  <a:close/>
                  <a:moveTo>
                    <a:pt x="421" y="72"/>
                  </a:moveTo>
                  <a:lnTo>
                    <a:pt x="421" y="72"/>
                  </a:lnTo>
                  <a:lnTo>
                    <a:pt x="423" y="72"/>
                  </a:lnTo>
                  <a:lnTo>
                    <a:pt x="423" y="72"/>
                  </a:lnTo>
                  <a:lnTo>
                    <a:pt x="428" y="70"/>
                  </a:lnTo>
                  <a:lnTo>
                    <a:pt x="428" y="70"/>
                  </a:lnTo>
                  <a:lnTo>
                    <a:pt x="429" y="72"/>
                  </a:lnTo>
                  <a:lnTo>
                    <a:pt x="429" y="72"/>
                  </a:lnTo>
                  <a:lnTo>
                    <a:pt x="432" y="72"/>
                  </a:lnTo>
                  <a:lnTo>
                    <a:pt x="432" y="72"/>
                  </a:lnTo>
                  <a:lnTo>
                    <a:pt x="435" y="70"/>
                  </a:lnTo>
                  <a:lnTo>
                    <a:pt x="435" y="70"/>
                  </a:lnTo>
                  <a:lnTo>
                    <a:pt x="437" y="69"/>
                  </a:lnTo>
                  <a:lnTo>
                    <a:pt x="437" y="69"/>
                  </a:lnTo>
                  <a:lnTo>
                    <a:pt x="437" y="70"/>
                  </a:lnTo>
                  <a:lnTo>
                    <a:pt x="437" y="70"/>
                  </a:lnTo>
                  <a:lnTo>
                    <a:pt x="435" y="72"/>
                  </a:lnTo>
                  <a:lnTo>
                    <a:pt x="435" y="72"/>
                  </a:lnTo>
                  <a:lnTo>
                    <a:pt x="437" y="72"/>
                  </a:lnTo>
                  <a:lnTo>
                    <a:pt x="437" y="72"/>
                  </a:lnTo>
                  <a:lnTo>
                    <a:pt x="439" y="73"/>
                  </a:lnTo>
                  <a:lnTo>
                    <a:pt x="439" y="73"/>
                  </a:lnTo>
                  <a:lnTo>
                    <a:pt x="442" y="72"/>
                  </a:lnTo>
                  <a:lnTo>
                    <a:pt x="442" y="72"/>
                  </a:lnTo>
                  <a:lnTo>
                    <a:pt x="445" y="70"/>
                  </a:lnTo>
                  <a:lnTo>
                    <a:pt x="445" y="70"/>
                  </a:lnTo>
                  <a:lnTo>
                    <a:pt x="447" y="69"/>
                  </a:lnTo>
                  <a:lnTo>
                    <a:pt x="447" y="69"/>
                  </a:lnTo>
                  <a:lnTo>
                    <a:pt x="450" y="67"/>
                  </a:lnTo>
                  <a:lnTo>
                    <a:pt x="450" y="67"/>
                  </a:lnTo>
                  <a:lnTo>
                    <a:pt x="448" y="70"/>
                  </a:lnTo>
                  <a:lnTo>
                    <a:pt x="448" y="70"/>
                  </a:lnTo>
                  <a:lnTo>
                    <a:pt x="451" y="70"/>
                  </a:lnTo>
                  <a:lnTo>
                    <a:pt x="451" y="70"/>
                  </a:lnTo>
                  <a:lnTo>
                    <a:pt x="453" y="69"/>
                  </a:lnTo>
                  <a:lnTo>
                    <a:pt x="453" y="69"/>
                  </a:lnTo>
                  <a:lnTo>
                    <a:pt x="456" y="67"/>
                  </a:lnTo>
                  <a:lnTo>
                    <a:pt x="456" y="67"/>
                  </a:lnTo>
                  <a:lnTo>
                    <a:pt x="459" y="67"/>
                  </a:lnTo>
                  <a:lnTo>
                    <a:pt x="459" y="67"/>
                  </a:lnTo>
                  <a:lnTo>
                    <a:pt x="458" y="65"/>
                  </a:lnTo>
                  <a:lnTo>
                    <a:pt x="458" y="65"/>
                  </a:lnTo>
                  <a:lnTo>
                    <a:pt x="462" y="65"/>
                  </a:lnTo>
                  <a:lnTo>
                    <a:pt x="462" y="65"/>
                  </a:lnTo>
                  <a:lnTo>
                    <a:pt x="466" y="64"/>
                  </a:lnTo>
                  <a:lnTo>
                    <a:pt x="466" y="64"/>
                  </a:lnTo>
                  <a:lnTo>
                    <a:pt x="467" y="62"/>
                  </a:lnTo>
                  <a:lnTo>
                    <a:pt x="467" y="62"/>
                  </a:lnTo>
                  <a:lnTo>
                    <a:pt x="470" y="62"/>
                  </a:lnTo>
                  <a:lnTo>
                    <a:pt x="470" y="62"/>
                  </a:lnTo>
                  <a:lnTo>
                    <a:pt x="467" y="64"/>
                  </a:lnTo>
                  <a:lnTo>
                    <a:pt x="467" y="64"/>
                  </a:lnTo>
                  <a:lnTo>
                    <a:pt x="464" y="67"/>
                  </a:lnTo>
                  <a:lnTo>
                    <a:pt x="464" y="67"/>
                  </a:lnTo>
                  <a:lnTo>
                    <a:pt x="467" y="67"/>
                  </a:lnTo>
                  <a:lnTo>
                    <a:pt x="467" y="67"/>
                  </a:lnTo>
                  <a:lnTo>
                    <a:pt x="470" y="67"/>
                  </a:lnTo>
                  <a:lnTo>
                    <a:pt x="470" y="67"/>
                  </a:lnTo>
                  <a:lnTo>
                    <a:pt x="474" y="65"/>
                  </a:lnTo>
                  <a:lnTo>
                    <a:pt x="474" y="65"/>
                  </a:lnTo>
                  <a:lnTo>
                    <a:pt x="477" y="64"/>
                  </a:lnTo>
                  <a:lnTo>
                    <a:pt x="477" y="64"/>
                  </a:lnTo>
                  <a:lnTo>
                    <a:pt x="483" y="64"/>
                  </a:lnTo>
                  <a:lnTo>
                    <a:pt x="483" y="64"/>
                  </a:lnTo>
                  <a:lnTo>
                    <a:pt x="486" y="62"/>
                  </a:lnTo>
                  <a:lnTo>
                    <a:pt x="486" y="62"/>
                  </a:lnTo>
                  <a:lnTo>
                    <a:pt x="488" y="62"/>
                  </a:lnTo>
                  <a:lnTo>
                    <a:pt x="488" y="62"/>
                  </a:lnTo>
                  <a:lnTo>
                    <a:pt x="486" y="61"/>
                  </a:lnTo>
                  <a:lnTo>
                    <a:pt x="486" y="61"/>
                  </a:lnTo>
                  <a:lnTo>
                    <a:pt x="489" y="61"/>
                  </a:lnTo>
                  <a:lnTo>
                    <a:pt x="489" y="61"/>
                  </a:lnTo>
                  <a:lnTo>
                    <a:pt x="491" y="61"/>
                  </a:lnTo>
                  <a:lnTo>
                    <a:pt x="491" y="61"/>
                  </a:lnTo>
                  <a:lnTo>
                    <a:pt x="489" y="58"/>
                  </a:lnTo>
                  <a:lnTo>
                    <a:pt x="489" y="58"/>
                  </a:lnTo>
                  <a:lnTo>
                    <a:pt x="496" y="58"/>
                  </a:lnTo>
                  <a:lnTo>
                    <a:pt x="496" y="58"/>
                  </a:lnTo>
                  <a:lnTo>
                    <a:pt x="501" y="56"/>
                  </a:lnTo>
                  <a:lnTo>
                    <a:pt x="501" y="56"/>
                  </a:lnTo>
                  <a:lnTo>
                    <a:pt x="499" y="54"/>
                  </a:lnTo>
                  <a:lnTo>
                    <a:pt x="499" y="54"/>
                  </a:lnTo>
                  <a:lnTo>
                    <a:pt x="496" y="54"/>
                  </a:lnTo>
                  <a:lnTo>
                    <a:pt x="496" y="54"/>
                  </a:lnTo>
                  <a:lnTo>
                    <a:pt x="489" y="54"/>
                  </a:lnTo>
                  <a:lnTo>
                    <a:pt x="489" y="54"/>
                  </a:lnTo>
                  <a:lnTo>
                    <a:pt x="491" y="56"/>
                  </a:lnTo>
                  <a:lnTo>
                    <a:pt x="491" y="56"/>
                  </a:lnTo>
                  <a:lnTo>
                    <a:pt x="488" y="56"/>
                  </a:lnTo>
                  <a:lnTo>
                    <a:pt x="488" y="56"/>
                  </a:lnTo>
                  <a:lnTo>
                    <a:pt x="485" y="56"/>
                  </a:lnTo>
                  <a:lnTo>
                    <a:pt x="485" y="56"/>
                  </a:lnTo>
                  <a:lnTo>
                    <a:pt x="477" y="56"/>
                  </a:lnTo>
                  <a:lnTo>
                    <a:pt x="477" y="56"/>
                  </a:lnTo>
                  <a:lnTo>
                    <a:pt x="466" y="58"/>
                  </a:lnTo>
                  <a:lnTo>
                    <a:pt x="466" y="58"/>
                  </a:lnTo>
                  <a:lnTo>
                    <a:pt x="455" y="61"/>
                  </a:lnTo>
                  <a:lnTo>
                    <a:pt x="455" y="61"/>
                  </a:lnTo>
                  <a:lnTo>
                    <a:pt x="437" y="65"/>
                  </a:lnTo>
                  <a:lnTo>
                    <a:pt x="437" y="65"/>
                  </a:lnTo>
                  <a:lnTo>
                    <a:pt x="428" y="67"/>
                  </a:lnTo>
                  <a:lnTo>
                    <a:pt x="428" y="67"/>
                  </a:lnTo>
                  <a:lnTo>
                    <a:pt x="421" y="69"/>
                  </a:lnTo>
                  <a:lnTo>
                    <a:pt x="421" y="69"/>
                  </a:lnTo>
                  <a:lnTo>
                    <a:pt x="421" y="70"/>
                  </a:lnTo>
                  <a:lnTo>
                    <a:pt x="421" y="70"/>
                  </a:lnTo>
                  <a:lnTo>
                    <a:pt x="421" y="70"/>
                  </a:lnTo>
                  <a:lnTo>
                    <a:pt x="421" y="70"/>
                  </a:lnTo>
                  <a:lnTo>
                    <a:pt x="418" y="72"/>
                  </a:lnTo>
                  <a:lnTo>
                    <a:pt x="421" y="72"/>
                  </a:lnTo>
                  <a:lnTo>
                    <a:pt x="421" y="72"/>
                  </a:lnTo>
                  <a:lnTo>
                    <a:pt x="421" y="72"/>
                  </a:lnTo>
                  <a:close/>
                  <a:moveTo>
                    <a:pt x="42" y="362"/>
                  </a:moveTo>
                  <a:lnTo>
                    <a:pt x="42" y="362"/>
                  </a:lnTo>
                  <a:lnTo>
                    <a:pt x="42" y="361"/>
                  </a:lnTo>
                  <a:lnTo>
                    <a:pt x="42" y="361"/>
                  </a:lnTo>
                  <a:lnTo>
                    <a:pt x="39" y="364"/>
                  </a:lnTo>
                  <a:lnTo>
                    <a:pt x="42" y="362"/>
                  </a:lnTo>
                  <a:lnTo>
                    <a:pt x="42" y="362"/>
                  </a:lnTo>
                  <a:lnTo>
                    <a:pt x="42" y="362"/>
                  </a:lnTo>
                  <a:close/>
                  <a:moveTo>
                    <a:pt x="29" y="358"/>
                  </a:moveTo>
                  <a:lnTo>
                    <a:pt x="29" y="358"/>
                  </a:lnTo>
                  <a:lnTo>
                    <a:pt x="32" y="356"/>
                  </a:lnTo>
                  <a:lnTo>
                    <a:pt x="32" y="356"/>
                  </a:lnTo>
                  <a:lnTo>
                    <a:pt x="32" y="354"/>
                  </a:lnTo>
                  <a:lnTo>
                    <a:pt x="32" y="354"/>
                  </a:lnTo>
                  <a:lnTo>
                    <a:pt x="31" y="351"/>
                  </a:lnTo>
                  <a:lnTo>
                    <a:pt x="31" y="351"/>
                  </a:lnTo>
                  <a:lnTo>
                    <a:pt x="29" y="351"/>
                  </a:lnTo>
                  <a:lnTo>
                    <a:pt x="29" y="351"/>
                  </a:lnTo>
                  <a:lnTo>
                    <a:pt x="27" y="351"/>
                  </a:lnTo>
                  <a:lnTo>
                    <a:pt x="27" y="351"/>
                  </a:lnTo>
                  <a:lnTo>
                    <a:pt x="29" y="354"/>
                  </a:lnTo>
                  <a:lnTo>
                    <a:pt x="29" y="354"/>
                  </a:lnTo>
                  <a:lnTo>
                    <a:pt x="29" y="356"/>
                  </a:lnTo>
                  <a:lnTo>
                    <a:pt x="29" y="358"/>
                  </a:lnTo>
                  <a:lnTo>
                    <a:pt x="29" y="358"/>
                  </a:lnTo>
                  <a:lnTo>
                    <a:pt x="29" y="358"/>
                  </a:lnTo>
                  <a:close/>
                  <a:moveTo>
                    <a:pt x="332" y="116"/>
                  </a:moveTo>
                  <a:lnTo>
                    <a:pt x="332" y="116"/>
                  </a:lnTo>
                  <a:lnTo>
                    <a:pt x="332" y="118"/>
                  </a:lnTo>
                  <a:lnTo>
                    <a:pt x="332" y="118"/>
                  </a:lnTo>
                  <a:lnTo>
                    <a:pt x="335" y="118"/>
                  </a:lnTo>
                  <a:lnTo>
                    <a:pt x="335" y="118"/>
                  </a:lnTo>
                  <a:lnTo>
                    <a:pt x="337" y="119"/>
                  </a:lnTo>
                  <a:lnTo>
                    <a:pt x="337" y="119"/>
                  </a:lnTo>
                  <a:lnTo>
                    <a:pt x="339" y="121"/>
                  </a:lnTo>
                  <a:lnTo>
                    <a:pt x="339" y="121"/>
                  </a:lnTo>
                  <a:lnTo>
                    <a:pt x="337" y="124"/>
                  </a:lnTo>
                  <a:lnTo>
                    <a:pt x="337" y="124"/>
                  </a:lnTo>
                  <a:lnTo>
                    <a:pt x="337" y="126"/>
                  </a:lnTo>
                  <a:lnTo>
                    <a:pt x="337" y="126"/>
                  </a:lnTo>
                  <a:lnTo>
                    <a:pt x="339" y="127"/>
                  </a:lnTo>
                  <a:lnTo>
                    <a:pt x="339" y="127"/>
                  </a:lnTo>
                  <a:lnTo>
                    <a:pt x="342" y="127"/>
                  </a:lnTo>
                  <a:lnTo>
                    <a:pt x="342" y="127"/>
                  </a:lnTo>
                  <a:lnTo>
                    <a:pt x="345" y="126"/>
                  </a:lnTo>
                  <a:lnTo>
                    <a:pt x="345" y="126"/>
                  </a:lnTo>
                  <a:lnTo>
                    <a:pt x="354" y="123"/>
                  </a:lnTo>
                  <a:lnTo>
                    <a:pt x="354" y="123"/>
                  </a:lnTo>
                  <a:lnTo>
                    <a:pt x="358" y="123"/>
                  </a:lnTo>
                  <a:lnTo>
                    <a:pt x="358" y="123"/>
                  </a:lnTo>
                  <a:lnTo>
                    <a:pt x="362" y="123"/>
                  </a:lnTo>
                  <a:lnTo>
                    <a:pt x="362" y="123"/>
                  </a:lnTo>
                  <a:lnTo>
                    <a:pt x="367" y="121"/>
                  </a:lnTo>
                  <a:lnTo>
                    <a:pt x="367" y="121"/>
                  </a:lnTo>
                  <a:lnTo>
                    <a:pt x="372" y="118"/>
                  </a:lnTo>
                  <a:lnTo>
                    <a:pt x="372" y="118"/>
                  </a:lnTo>
                  <a:lnTo>
                    <a:pt x="377" y="115"/>
                  </a:lnTo>
                  <a:lnTo>
                    <a:pt x="377" y="115"/>
                  </a:lnTo>
                  <a:lnTo>
                    <a:pt x="383" y="113"/>
                  </a:lnTo>
                  <a:lnTo>
                    <a:pt x="383" y="113"/>
                  </a:lnTo>
                  <a:lnTo>
                    <a:pt x="389" y="111"/>
                  </a:lnTo>
                  <a:lnTo>
                    <a:pt x="389" y="111"/>
                  </a:lnTo>
                  <a:lnTo>
                    <a:pt x="393" y="110"/>
                  </a:lnTo>
                  <a:lnTo>
                    <a:pt x="393" y="110"/>
                  </a:lnTo>
                  <a:lnTo>
                    <a:pt x="399" y="107"/>
                  </a:lnTo>
                  <a:lnTo>
                    <a:pt x="399" y="107"/>
                  </a:lnTo>
                  <a:lnTo>
                    <a:pt x="405" y="107"/>
                  </a:lnTo>
                  <a:lnTo>
                    <a:pt x="405" y="107"/>
                  </a:lnTo>
                  <a:lnTo>
                    <a:pt x="410" y="104"/>
                  </a:lnTo>
                  <a:lnTo>
                    <a:pt x="410" y="104"/>
                  </a:lnTo>
                  <a:lnTo>
                    <a:pt x="415" y="104"/>
                  </a:lnTo>
                  <a:lnTo>
                    <a:pt x="415" y="104"/>
                  </a:lnTo>
                  <a:lnTo>
                    <a:pt x="428" y="100"/>
                  </a:lnTo>
                  <a:lnTo>
                    <a:pt x="428" y="100"/>
                  </a:lnTo>
                  <a:lnTo>
                    <a:pt x="439" y="100"/>
                  </a:lnTo>
                  <a:lnTo>
                    <a:pt x="439" y="100"/>
                  </a:lnTo>
                  <a:lnTo>
                    <a:pt x="442" y="97"/>
                  </a:lnTo>
                  <a:lnTo>
                    <a:pt x="442" y="97"/>
                  </a:lnTo>
                  <a:lnTo>
                    <a:pt x="442" y="97"/>
                  </a:lnTo>
                  <a:lnTo>
                    <a:pt x="442" y="97"/>
                  </a:lnTo>
                  <a:lnTo>
                    <a:pt x="439" y="94"/>
                  </a:lnTo>
                  <a:lnTo>
                    <a:pt x="439" y="94"/>
                  </a:lnTo>
                  <a:lnTo>
                    <a:pt x="437" y="92"/>
                  </a:lnTo>
                  <a:lnTo>
                    <a:pt x="437" y="92"/>
                  </a:lnTo>
                  <a:lnTo>
                    <a:pt x="435" y="91"/>
                  </a:lnTo>
                  <a:lnTo>
                    <a:pt x="435" y="91"/>
                  </a:lnTo>
                  <a:lnTo>
                    <a:pt x="432" y="89"/>
                  </a:lnTo>
                  <a:lnTo>
                    <a:pt x="432" y="89"/>
                  </a:lnTo>
                  <a:lnTo>
                    <a:pt x="428" y="89"/>
                  </a:lnTo>
                  <a:lnTo>
                    <a:pt x="428" y="89"/>
                  </a:lnTo>
                  <a:lnTo>
                    <a:pt x="421" y="91"/>
                  </a:lnTo>
                  <a:lnTo>
                    <a:pt x="421" y="91"/>
                  </a:lnTo>
                  <a:lnTo>
                    <a:pt x="420" y="91"/>
                  </a:lnTo>
                  <a:lnTo>
                    <a:pt x="420" y="91"/>
                  </a:lnTo>
                  <a:lnTo>
                    <a:pt x="421" y="91"/>
                  </a:lnTo>
                  <a:lnTo>
                    <a:pt x="421" y="91"/>
                  </a:lnTo>
                  <a:lnTo>
                    <a:pt x="418" y="91"/>
                  </a:lnTo>
                  <a:lnTo>
                    <a:pt x="418" y="91"/>
                  </a:lnTo>
                  <a:lnTo>
                    <a:pt x="412" y="89"/>
                  </a:lnTo>
                  <a:lnTo>
                    <a:pt x="412" y="89"/>
                  </a:lnTo>
                  <a:lnTo>
                    <a:pt x="407" y="88"/>
                  </a:lnTo>
                  <a:lnTo>
                    <a:pt x="407" y="88"/>
                  </a:lnTo>
                  <a:lnTo>
                    <a:pt x="404" y="86"/>
                  </a:lnTo>
                  <a:lnTo>
                    <a:pt x="404" y="86"/>
                  </a:lnTo>
                  <a:lnTo>
                    <a:pt x="399" y="86"/>
                  </a:lnTo>
                  <a:lnTo>
                    <a:pt x="399" y="86"/>
                  </a:lnTo>
                  <a:lnTo>
                    <a:pt x="391" y="88"/>
                  </a:lnTo>
                  <a:lnTo>
                    <a:pt x="391" y="88"/>
                  </a:lnTo>
                  <a:lnTo>
                    <a:pt x="383" y="88"/>
                  </a:lnTo>
                  <a:lnTo>
                    <a:pt x="383" y="88"/>
                  </a:lnTo>
                  <a:lnTo>
                    <a:pt x="377" y="89"/>
                  </a:lnTo>
                  <a:lnTo>
                    <a:pt x="377" y="89"/>
                  </a:lnTo>
                  <a:lnTo>
                    <a:pt x="372" y="92"/>
                  </a:lnTo>
                  <a:lnTo>
                    <a:pt x="372" y="92"/>
                  </a:lnTo>
                  <a:lnTo>
                    <a:pt x="370" y="94"/>
                  </a:lnTo>
                  <a:lnTo>
                    <a:pt x="370" y="94"/>
                  </a:lnTo>
                  <a:lnTo>
                    <a:pt x="372" y="94"/>
                  </a:lnTo>
                  <a:lnTo>
                    <a:pt x="372" y="94"/>
                  </a:lnTo>
                  <a:lnTo>
                    <a:pt x="367" y="97"/>
                  </a:lnTo>
                  <a:lnTo>
                    <a:pt x="367" y="97"/>
                  </a:lnTo>
                  <a:lnTo>
                    <a:pt x="361" y="100"/>
                  </a:lnTo>
                  <a:lnTo>
                    <a:pt x="361" y="100"/>
                  </a:lnTo>
                  <a:lnTo>
                    <a:pt x="356" y="100"/>
                  </a:lnTo>
                  <a:lnTo>
                    <a:pt x="356" y="100"/>
                  </a:lnTo>
                  <a:lnTo>
                    <a:pt x="351" y="104"/>
                  </a:lnTo>
                  <a:lnTo>
                    <a:pt x="351" y="104"/>
                  </a:lnTo>
                  <a:lnTo>
                    <a:pt x="354" y="104"/>
                  </a:lnTo>
                  <a:lnTo>
                    <a:pt x="354" y="104"/>
                  </a:lnTo>
                  <a:lnTo>
                    <a:pt x="351" y="107"/>
                  </a:lnTo>
                  <a:lnTo>
                    <a:pt x="351" y="107"/>
                  </a:lnTo>
                  <a:lnTo>
                    <a:pt x="348" y="107"/>
                  </a:lnTo>
                  <a:lnTo>
                    <a:pt x="348" y="107"/>
                  </a:lnTo>
                  <a:lnTo>
                    <a:pt x="345" y="107"/>
                  </a:lnTo>
                  <a:lnTo>
                    <a:pt x="345" y="107"/>
                  </a:lnTo>
                  <a:lnTo>
                    <a:pt x="345" y="108"/>
                  </a:lnTo>
                  <a:lnTo>
                    <a:pt x="345" y="108"/>
                  </a:lnTo>
                  <a:lnTo>
                    <a:pt x="340" y="110"/>
                  </a:lnTo>
                  <a:lnTo>
                    <a:pt x="340" y="110"/>
                  </a:lnTo>
                  <a:lnTo>
                    <a:pt x="337" y="111"/>
                  </a:lnTo>
                  <a:lnTo>
                    <a:pt x="337" y="111"/>
                  </a:lnTo>
                  <a:lnTo>
                    <a:pt x="332" y="113"/>
                  </a:lnTo>
                  <a:lnTo>
                    <a:pt x="332" y="113"/>
                  </a:lnTo>
                  <a:lnTo>
                    <a:pt x="329" y="115"/>
                  </a:lnTo>
                  <a:lnTo>
                    <a:pt x="329" y="115"/>
                  </a:lnTo>
                  <a:lnTo>
                    <a:pt x="324" y="116"/>
                  </a:lnTo>
                  <a:lnTo>
                    <a:pt x="324" y="116"/>
                  </a:lnTo>
                  <a:lnTo>
                    <a:pt x="329" y="116"/>
                  </a:lnTo>
                  <a:lnTo>
                    <a:pt x="332" y="116"/>
                  </a:lnTo>
                  <a:lnTo>
                    <a:pt x="332" y="116"/>
                  </a:lnTo>
                  <a:lnTo>
                    <a:pt x="332" y="116"/>
                  </a:lnTo>
                  <a:close/>
                  <a:moveTo>
                    <a:pt x="4" y="359"/>
                  </a:moveTo>
                  <a:lnTo>
                    <a:pt x="4" y="359"/>
                  </a:lnTo>
                  <a:lnTo>
                    <a:pt x="2" y="361"/>
                  </a:lnTo>
                  <a:lnTo>
                    <a:pt x="2" y="361"/>
                  </a:lnTo>
                  <a:lnTo>
                    <a:pt x="0" y="362"/>
                  </a:lnTo>
                  <a:lnTo>
                    <a:pt x="0" y="362"/>
                  </a:lnTo>
                  <a:lnTo>
                    <a:pt x="2" y="362"/>
                  </a:lnTo>
                  <a:lnTo>
                    <a:pt x="2" y="362"/>
                  </a:lnTo>
                  <a:lnTo>
                    <a:pt x="2" y="365"/>
                  </a:lnTo>
                  <a:lnTo>
                    <a:pt x="2" y="365"/>
                  </a:lnTo>
                  <a:lnTo>
                    <a:pt x="2" y="367"/>
                  </a:lnTo>
                  <a:lnTo>
                    <a:pt x="2" y="367"/>
                  </a:lnTo>
                  <a:lnTo>
                    <a:pt x="4" y="372"/>
                  </a:lnTo>
                  <a:lnTo>
                    <a:pt x="4" y="372"/>
                  </a:lnTo>
                  <a:lnTo>
                    <a:pt x="4" y="372"/>
                  </a:lnTo>
                  <a:lnTo>
                    <a:pt x="4" y="372"/>
                  </a:lnTo>
                  <a:lnTo>
                    <a:pt x="7" y="370"/>
                  </a:lnTo>
                  <a:lnTo>
                    <a:pt x="7" y="370"/>
                  </a:lnTo>
                  <a:lnTo>
                    <a:pt x="4" y="370"/>
                  </a:lnTo>
                  <a:lnTo>
                    <a:pt x="4" y="370"/>
                  </a:lnTo>
                  <a:lnTo>
                    <a:pt x="4" y="369"/>
                  </a:lnTo>
                  <a:lnTo>
                    <a:pt x="4" y="369"/>
                  </a:lnTo>
                  <a:lnTo>
                    <a:pt x="4" y="365"/>
                  </a:lnTo>
                  <a:lnTo>
                    <a:pt x="4" y="365"/>
                  </a:lnTo>
                  <a:lnTo>
                    <a:pt x="4" y="362"/>
                  </a:lnTo>
                  <a:lnTo>
                    <a:pt x="4" y="362"/>
                  </a:lnTo>
                  <a:lnTo>
                    <a:pt x="4" y="362"/>
                  </a:lnTo>
                  <a:lnTo>
                    <a:pt x="4" y="362"/>
                  </a:lnTo>
                  <a:lnTo>
                    <a:pt x="4" y="361"/>
                  </a:lnTo>
                  <a:lnTo>
                    <a:pt x="4" y="361"/>
                  </a:lnTo>
                  <a:lnTo>
                    <a:pt x="7" y="359"/>
                  </a:lnTo>
                  <a:lnTo>
                    <a:pt x="7" y="359"/>
                  </a:lnTo>
                  <a:lnTo>
                    <a:pt x="10" y="359"/>
                  </a:lnTo>
                  <a:lnTo>
                    <a:pt x="10" y="359"/>
                  </a:lnTo>
                  <a:lnTo>
                    <a:pt x="10" y="358"/>
                  </a:lnTo>
                  <a:lnTo>
                    <a:pt x="10" y="358"/>
                  </a:lnTo>
                  <a:lnTo>
                    <a:pt x="7" y="358"/>
                  </a:lnTo>
                  <a:lnTo>
                    <a:pt x="7" y="358"/>
                  </a:lnTo>
                  <a:lnTo>
                    <a:pt x="4" y="358"/>
                  </a:lnTo>
                  <a:lnTo>
                    <a:pt x="4" y="358"/>
                  </a:lnTo>
                  <a:lnTo>
                    <a:pt x="2" y="358"/>
                  </a:lnTo>
                  <a:lnTo>
                    <a:pt x="2" y="358"/>
                  </a:lnTo>
                  <a:lnTo>
                    <a:pt x="0" y="359"/>
                  </a:lnTo>
                  <a:lnTo>
                    <a:pt x="4" y="359"/>
                  </a:lnTo>
                  <a:lnTo>
                    <a:pt x="4" y="359"/>
                  </a:lnTo>
                  <a:lnTo>
                    <a:pt x="4" y="359"/>
                  </a:lnTo>
                  <a:close/>
                  <a:moveTo>
                    <a:pt x="567" y="146"/>
                  </a:moveTo>
                  <a:lnTo>
                    <a:pt x="567" y="146"/>
                  </a:lnTo>
                  <a:lnTo>
                    <a:pt x="567" y="145"/>
                  </a:lnTo>
                  <a:lnTo>
                    <a:pt x="567" y="145"/>
                  </a:lnTo>
                  <a:lnTo>
                    <a:pt x="567" y="143"/>
                  </a:lnTo>
                  <a:lnTo>
                    <a:pt x="567" y="143"/>
                  </a:lnTo>
                  <a:lnTo>
                    <a:pt x="564" y="145"/>
                  </a:lnTo>
                  <a:lnTo>
                    <a:pt x="564" y="145"/>
                  </a:lnTo>
                  <a:lnTo>
                    <a:pt x="567" y="145"/>
                  </a:lnTo>
                  <a:lnTo>
                    <a:pt x="567" y="145"/>
                  </a:lnTo>
                  <a:lnTo>
                    <a:pt x="564" y="148"/>
                  </a:lnTo>
                  <a:lnTo>
                    <a:pt x="567" y="146"/>
                  </a:lnTo>
                  <a:lnTo>
                    <a:pt x="567" y="146"/>
                  </a:lnTo>
                  <a:lnTo>
                    <a:pt x="567" y="146"/>
                  </a:lnTo>
                  <a:close/>
                  <a:moveTo>
                    <a:pt x="588" y="58"/>
                  </a:moveTo>
                  <a:lnTo>
                    <a:pt x="588" y="58"/>
                  </a:lnTo>
                  <a:lnTo>
                    <a:pt x="591" y="58"/>
                  </a:lnTo>
                  <a:lnTo>
                    <a:pt x="591" y="58"/>
                  </a:lnTo>
                  <a:lnTo>
                    <a:pt x="591" y="56"/>
                  </a:lnTo>
                  <a:lnTo>
                    <a:pt x="591" y="56"/>
                  </a:lnTo>
                  <a:lnTo>
                    <a:pt x="589" y="54"/>
                  </a:lnTo>
                  <a:lnTo>
                    <a:pt x="589" y="54"/>
                  </a:lnTo>
                  <a:lnTo>
                    <a:pt x="589" y="53"/>
                  </a:lnTo>
                  <a:lnTo>
                    <a:pt x="589" y="53"/>
                  </a:lnTo>
                  <a:lnTo>
                    <a:pt x="586" y="51"/>
                  </a:lnTo>
                  <a:lnTo>
                    <a:pt x="586" y="51"/>
                  </a:lnTo>
                  <a:lnTo>
                    <a:pt x="585" y="53"/>
                  </a:lnTo>
                  <a:lnTo>
                    <a:pt x="585" y="53"/>
                  </a:lnTo>
                  <a:lnTo>
                    <a:pt x="583" y="54"/>
                  </a:lnTo>
                  <a:lnTo>
                    <a:pt x="583" y="54"/>
                  </a:lnTo>
                  <a:lnTo>
                    <a:pt x="583" y="56"/>
                  </a:lnTo>
                  <a:lnTo>
                    <a:pt x="583" y="56"/>
                  </a:lnTo>
                  <a:lnTo>
                    <a:pt x="583" y="58"/>
                  </a:lnTo>
                  <a:lnTo>
                    <a:pt x="583" y="58"/>
                  </a:lnTo>
                  <a:lnTo>
                    <a:pt x="585" y="59"/>
                  </a:lnTo>
                  <a:lnTo>
                    <a:pt x="588" y="58"/>
                  </a:lnTo>
                  <a:lnTo>
                    <a:pt x="588" y="58"/>
                  </a:lnTo>
                  <a:lnTo>
                    <a:pt x="588" y="58"/>
                  </a:lnTo>
                  <a:close/>
                  <a:moveTo>
                    <a:pt x="631" y="80"/>
                  </a:moveTo>
                  <a:lnTo>
                    <a:pt x="631" y="80"/>
                  </a:lnTo>
                  <a:lnTo>
                    <a:pt x="628" y="80"/>
                  </a:lnTo>
                  <a:lnTo>
                    <a:pt x="628" y="80"/>
                  </a:lnTo>
                  <a:lnTo>
                    <a:pt x="626" y="81"/>
                  </a:lnTo>
                  <a:lnTo>
                    <a:pt x="626" y="81"/>
                  </a:lnTo>
                  <a:lnTo>
                    <a:pt x="628" y="81"/>
                  </a:lnTo>
                  <a:lnTo>
                    <a:pt x="628" y="81"/>
                  </a:lnTo>
                  <a:lnTo>
                    <a:pt x="628" y="81"/>
                  </a:lnTo>
                  <a:lnTo>
                    <a:pt x="628" y="81"/>
                  </a:lnTo>
                  <a:lnTo>
                    <a:pt x="631" y="83"/>
                  </a:lnTo>
                  <a:lnTo>
                    <a:pt x="631" y="83"/>
                  </a:lnTo>
                  <a:lnTo>
                    <a:pt x="634" y="84"/>
                  </a:lnTo>
                  <a:lnTo>
                    <a:pt x="634" y="84"/>
                  </a:lnTo>
                  <a:lnTo>
                    <a:pt x="637" y="84"/>
                  </a:lnTo>
                  <a:lnTo>
                    <a:pt x="637" y="84"/>
                  </a:lnTo>
                  <a:lnTo>
                    <a:pt x="643" y="84"/>
                  </a:lnTo>
                  <a:lnTo>
                    <a:pt x="643" y="84"/>
                  </a:lnTo>
                  <a:lnTo>
                    <a:pt x="648" y="83"/>
                  </a:lnTo>
                  <a:lnTo>
                    <a:pt x="648" y="83"/>
                  </a:lnTo>
                  <a:lnTo>
                    <a:pt x="653" y="80"/>
                  </a:lnTo>
                  <a:lnTo>
                    <a:pt x="653" y="80"/>
                  </a:lnTo>
                  <a:lnTo>
                    <a:pt x="653" y="80"/>
                  </a:lnTo>
                  <a:lnTo>
                    <a:pt x="653" y="80"/>
                  </a:lnTo>
                  <a:lnTo>
                    <a:pt x="653" y="77"/>
                  </a:lnTo>
                  <a:lnTo>
                    <a:pt x="653" y="77"/>
                  </a:lnTo>
                  <a:lnTo>
                    <a:pt x="651" y="77"/>
                  </a:lnTo>
                  <a:lnTo>
                    <a:pt x="651" y="77"/>
                  </a:lnTo>
                  <a:lnTo>
                    <a:pt x="648" y="73"/>
                  </a:lnTo>
                  <a:lnTo>
                    <a:pt x="648" y="73"/>
                  </a:lnTo>
                  <a:lnTo>
                    <a:pt x="634" y="77"/>
                  </a:lnTo>
                  <a:lnTo>
                    <a:pt x="634" y="77"/>
                  </a:lnTo>
                  <a:lnTo>
                    <a:pt x="637" y="77"/>
                  </a:lnTo>
                  <a:lnTo>
                    <a:pt x="637" y="77"/>
                  </a:lnTo>
                  <a:lnTo>
                    <a:pt x="634" y="80"/>
                  </a:lnTo>
                  <a:lnTo>
                    <a:pt x="631" y="80"/>
                  </a:lnTo>
                  <a:lnTo>
                    <a:pt x="631" y="80"/>
                  </a:lnTo>
                  <a:lnTo>
                    <a:pt x="631" y="80"/>
                  </a:lnTo>
                  <a:close/>
                  <a:moveTo>
                    <a:pt x="612" y="45"/>
                  </a:moveTo>
                  <a:lnTo>
                    <a:pt x="612" y="45"/>
                  </a:lnTo>
                  <a:lnTo>
                    <a:pt x="621" y="45"/>
                  </a:lnTo>
                  <a:lnTo>
                    <a:pt x="621" y="45"/>
                  </a:lnTo>
                  <a:lnTo>
                    <a:pt x="623" y="45"/>
                  </a:lnTo>
                  <a:lnTo>
                    <a:pt x="623" y="45"/>
                  </a:lnTo>
                  <a:lnTo>
                    <a:pt x="628" y="45"/>
                  </a:lnTo>
                  <a:lnTo>
                    <a:pt x="628" y="45"/>
                  </a:lnTo>
                  <a:lnTo>
                    <a:pt x="631" y="48"/>
                  </a:lnTo>
                  <a:lnTo>
                    <a:pt x="631" y="48"/>
                  </a:lnTo>
                  <a:lnTo>
                    <a:pt x="631" y="48"/>
                  </a:lnTo>
                  <a:lnTo>
                    <a:pt x="631" y="48"/>
                  </a:lnTo>
                  <a:lnTo>
                    <a:pt x="634" y="48"/>
                  </a:lnTo>
                  <a:lnTo>
                    <a:pt x="634" y="48"/>
                  </a:lnTo>
                  <a:lnTo>
                    <a:pt x="631" y="48"/>
                  </a:lnTo>
                  <a:lnTo>
                    <a:pt x="631" y="48"/>
                  </a:lnTo>
                  <a:lnTo>
                    <a:pt x="634" y="50"/>
                  </a:lnTo>
                  <a:lnTo>
                    <a:pt x="634" y="50"/>
                  </a:lnTo>
                  <a:lnTo>
                    <a:pt x="637" y="51"/>
                  </a:lnTo>
                  <a:lnTo>
                    <a:pt x="637" y="51"/>
                  </a:lnTo>
                  <a:lnTo>
                    <a:pt x="639" y="51"/>
                  </a:lnTo>
                  <a:lnTo>
                    <a:pt x="639" y="51"/>
                  </a:lnTo>
                  <a:lnTo>
                    <a:pt x="642" y="50"/>
                  </a:lnTo>
                  <a:lnTo>
                    <a:pt x="642" y="50"/>
                  </a:lnTo>
                  <a:lnTo>
                    <a:pt x="645" y="50"/>
                  </a:lnTo>
                  <a:lnTo>
                    <a:pt x="645" y="50"/>
                  </a:lnTo>
                  <a:lnTo>
                    <a:pt x="647" y="48"/>
                  </a:lnTo>
                  <a:lnTo>
                    <a:pt x="647" y="48"/>
                  </a:lnTo>
                  <a:lnTo>
                    <a:pt x="647" y="45"/>
                  </a:lnTo>
                  <a:lnTo>
                    <a:pt x="647" y="45"/>
                  </a:lnTo>
                  <a:lnTo>
                    <a:pt x="645" y="45"/>
                  </a:lnTo>
                  <a:lnTo>
                    <a:pt x="645" y="45"/>
                  </a:lnTo>
                  <a:lnTo>
                    <a:pt x="647" y="45"/>
                  </a:lnTo>
                  <a:lnTo>
                    <a:pt x="647" y="45"/>
                  </a:lnTo>
                  <a:lnTo>
                    <a:pt x="650" y="42"/>
                  </a:lnTo>
                  <a:lnTo>
                    <a:pt x="650" y="42"/>
                  </a:lnTo>
                  <a:lnTo>
                    <a:pt x="647" y="42"/>
                  </a:lnTo>
                  <a:lnTo>
                    <a:pt x="647" y="42"/>
                  </a:lnTo>
                  <a:lnTo>
                    <a:pt x="648" y="42"/>
                  </a:lnTo>
                  <a:lnTo>
                    <a:pt x="648" y="42"/>
                  </a:lnTo>
                  <a:lnTo>
                    <a:pt x="643" y="42"/>
                  </a:lnTo>
                  <a:lnTo>
                    <a:pt x="643" y="42"/>
                  </a:lnTo>
                  <a:lnTo>
                    <a:pt x="640" y="42"/>
                  </a:lnTo>
                  <a:lnTo>
                    <a:pt x="640" y="42"/>
                  </a:lnTo>
                  <a:lnTo>
                    <a:pt x="643" y="38"/>
                  </a:lnTo>
                  <a:lnTo>
                    <a:pt x="643" y="38"/>
                  </a:lnTo>
                  <a:lnTo>
                    <a:pt x="639" y="38"/>
                  </a:lnTo>
                  <a:lnTo>
                    <a:pt x="639" y="38"/>
                  </a:lnTo>
                  <a:lnTo>
                    <a:pt x="634" y="38"/>
                  </a:lnTo>
                  <a:lnTo>
                    <a:pt x="634" y="38"/>
                  </a:lnTo>
                  <a:lnTo>
                    <a:pt x="631" y="38"/>
                  </a:lnTo>
                  <a:lnTo>
                    <a:pt x="631" y="38"/>
                  </a:lnTo>
                  <a:lnTo>
                    <a:pt x="631" y="38"/>
                  </a:lnTo>
                  <a:lnTo>
                    <a:pt x="631" y="38"/>
                  </a:lnTo>
                  <a:lnTo>
                    <a:pt x="634" y="37"/>
                  </a:lnTo>
                  <a:lnTo>
                    <a:pt x="634" y="37"/>
                  </a:lnTo>
                  <a:lnTo>
                    <a:pt x="631" y="35"/>
                  </a:lnTo>
                  <a:lnTo>
                    <a:pt x="631" y="35"/>
                  </a:lnTo>
                  <a:lnTo>
                    <a:pt x="631" y="35"/>
                  </a:lnTo>
                  <a:lnTo>
                    <a:pt x="631" y="35"/>
                  </a:lnTo>
                  <a:lnTo>
                    <a:pt x="628" y="35"/>
                  </a:lnTo>
                  <a:lnTo>
                    <a:pt x="628" y="35"/>
                  </a:lnTo>
                  <a:lnTo>
                    <a:pt x="618" y="35"/>
                  </a:lnTo>
                  <a:lnTo>
                    <a:pt x="618" y="35"/>
                  </a:lnTo>
                  <a:lnTo>
                    <a:pt x="613" y="37"/>
                  </a:lnTo>
                  <a:lnTo>
                    <a:pt x="613" y="37"/>
                  </a:lnTo>
                  <a:lnTo>
                    <a:pt x="610" y="38"/>
                  </a:lnTo>
                  <a:lnTo>
                    <a:pt x="610" y="38"/>
                  </a:lnTo>
                  <a:lnTo>
                    <a:pt x="612" y="38"/>
                  </a:lnTo>
                  <a:lnTo>
                    <a:pt x="612" y="38"/>
                  </a:lnTo>
                  <a:lnTo>
                    <a:pt x="615" y="38"/>
                  </a:lnTo>
                  <a:lnTo>
                    <a:pt x="615" y="38"/>
                  </a:lnTo>
                  <a:lnTo>
                    <a:pt x="612" y="38"/>
                  </a:lnTo>
                  <a:lnTo>
                    <a:pt x="612" y="38"/>
                  </a:lnTo>
                  <a:lnTo>
                    <a:pt x="610" y="42"/>
                  </a:lnTo>
                  <a:lnTo>
                    <a:pt x="610" y="42"/>
                  </a:lnTo>
                  <a:lnTo>
                    <a:pt x="612" y="42"/>
                  </a:lnTo>
                  <a:lnTo>
                    <a:pt x="612" y="42"/>
                  </a:lnTo>
                  <a:lnTo>
                    <a:pt x="615" y="38"/>
                  </a:lnTo>
                  <a:lnTo>
                    <a:pt x="615" y="38"/>
                  </a:lnTo>
                  <a:lnTo>
                    <a:pt x="618" y="38"/>
                  </a:lnTo>
                  <a:lnTo>
                    <a:pt x="618" y="38"/>
                  </a:lnTo>
                  <a:lnTo>
                    <a:pt x="616" y="42"/>
                  </a:lnTo>
                  <a:lnTo>
                    <a:pt x="616" y="42"/>
                  </a:lnTo>
                  <a:lnTo>
                    <a:pt x="620" y="42"/>
                  </a:lnTo>
                  <a:lnTo>
                    <a:pt x="620" y="42"/>
                  </a:lnTo>
                  <a:lnTo>
                    <a:pt x="623" y="42"/>
                  </a:lnTo>
                  <a:lnTo>
                    <a:pt x="623" y="42"/>
                  </a:lnTo>
                  <a:lnTo>
                    <a:pt x="618" y="42"/>
                  </a:lnTo>
                  <a:lnTo>
                    <a:pt x="618" y="42"/>
                  </a:lnTo>
                  <a:lnTo>
                    <a:pt x="620" y="42"/>
                  </a:lnTo>
                  <a:lnTo>
                    <a:pt x="620" y="42"/>
                  </a:lnTo>
                  <a:lnTo>
                    <a:pt x="616" y="45"/>
                  </a:lnTo>
                  <a:lnTo>
                    <a:pt x="616" y="45"/>
                  </a:lnTo>
                  <a:lnTo>
                    <a:pt x="613" y="45"/>
                  </a:lnTo>
                  <a:lnTo>
                    <a:pt x="613" y="45"/>
                  </a:lnTo>
                  <a:lnTo>
                    <a:pt x="609" y="42"/>
                  </a:lnTo>
                  <a:lnTo>
                    <a:pt x="609" y="42"/>
                  </a:lnTo>
                  <a:lnTo>
                    <a:pt x="605" y="45"/>
                  </a:lnTo>
                  <a:lnTo>
                    <a:pt x="605" y="45"/>
                  </a:lnTo>
                  <a:lnTo>
                    <a:pt x="605" y="45"/>
                  </a:lnTo>
                  <a:lnTo>
                    <a:pt x="605" y="45"/>
                  </a:lnTo>
                  <a:lnTo>
                    <a:pt x="605" y="45"/>
                  </a:lnTo>
                  <a:lnTo>
                    <a:pt x="612" y="45"/>
                  </a:lnTo>
                  <a:lnTo>
                    <a:pt x="612" y="45"/>
                  </a:lnTo>
                  <a:lnTo>
                    <a:pt x="612" y="45"/>
                  </a:lnTo>
                  <a:close/>
                  <a:moveTo>
                    <a:pt x="586" y="73"/>
                  </a:moveTo>
                  <a:lnTo>
                    <a:pt x="586" y="73"/>
                  </a:lnTo>
                  <a:lnTo>
                    <a:pt x="585" y="73"/>
                  </a:lnTo>
                  <a:lnTo>
                    <a:pt x="585" y="73"/>
                  </a:lnTo>
                  <a:lnTo>
                    <a:pt x="582" y="73"/>
                  </a:lnTo>
                  <a:lnTo>
                    <a:pt x="582" y="73"/>
                  </a:lnTo>
                  <a:lnTo>
                    <a:pt x="580" y="73"/>
                  </a:lnTo>
                  <a:lnTo>
                    <a:pt x="580" y="73"/>
                  </a:lnTo>
                  <a:lnTo>
                    <a:pt x="580" y="77"/>
                  </a:lnTo>
                  <a:lnTo>
                    <a:pt x="580" y="77"/>
                  </a:lnTo>
                  <a:lnTo>
                    <a:pt x="588" y="77"/>
                  </a:lnTo>
                  <a:lnTo>
                    <a:pt x="588" y="77"/>
                  </a:lnTo>
                  <a:lnTo>
                    <a:pt x="596" y="73"/>
                  </a:lnTo>
                  <a:lnTo>
                    <a:pt x="596" y="73"/>
                  </a:lnTo>
                  <a:lnTo>
                    <a:pt x="605" y="73"/>
                  </a:lnTo>
                  <a:lnTo>
                    <a:pt x="605" y="73"/>
                  </a:lnTo>
                  <a:lnTo>
                    <a:pt x="602" y="77"/>
                  </a:lnTo>
                  <a:lnTo>
                    <a:pt x="602" y="77"/>
                  </a:lnTo>
                  <a:lnTo>
                    <a:pt x="599" y="77"/>
                  </a:lnTo>
                  <a:lnTo>
                    <a:pt x="599" y="77"/>
                  </a:lnTo>
                  <a:lnTo>
                    <a:pt x="596" y="77"/>
                  </a:lnTo>
                  <a:lnTo>
                    <a:pt x="596" y="77"/>
                  </a:lnTo>
                  <a:lnTo>
                    <a:pt x="593" y="77"/>
                  </a:lnTo>
                  <a:lnTo>
                    <a:pt x="593" y="77"/>
                  </a:lnTo>
                  <a:lnTo>
                    <a:pt x="596" y="80"/>
                  </a:lnTo>
                  <a:lnTo>
                    <a:pt x="596" y="80"/>
                  </a:lnTo>
                  <a:lnTo>
                    <a:pt x="596" y="80"/>
                  </a:lnTo>
                  <a:lnTo>
                    <a:pt x="596" y="80"/>
                  </a:lnTo>
                  <a:lnTo>
                    <a:pt x="593" y="80"/>
                  </a:lnTo>
                  <a:lnTo>
                    <a:pt x="593" y="80"/>
                  </a:lnTo>
                  <a:lnTo>
                    <a:pt x="593" y="80"/>
                  </a:lnTo>
                  <a:lnTo>
                    <a:pt x="593" y="80"/>
                  </a:lnTo>
                  <a:lnTo>
                    <a:pt x="596" y="81"/>
                  </a:lnTo>
                  <a:lnTo>
                    <a:pt x="596" y="81"/>
                  </a:lnTo>
                  <a:lnTo>
                    <a:pt x="602" y="80"/>
                  </a:lnTo>
                  <a:lnTo>
                    <a:pt x="602" y="80"/>
                  </a:lnTo>
                  <a:lnTo>
                    <a:pt x="602" y="81"/>
                  </a:lnTo>
                  <a:lnTo>
                    <a:pt x="602" y="81"/>
                  </a:lnTo>
                  <a:lnTo>
                    <a:pt x="605" y="80"/>
                  </a:lnTo>
                  <a:lnTo>
                    <a:pt x="605" y="80"/>
                  </a:lnTo>
                  <a:lnTo>
                    <a:pt x="609" y="81"/>
                  </a:lnTo>
                  <a:lnTo>
                    <a:pt x="609" y="81"/>
                  </a:lnTo>
                  <a:lnTo>
                    <a:pt x="613" y="81"/>
                  </a:lnTo>
                  <a:lnTo>
                    <a:pt x="613" y="81"/>
                  </a:lnTo>
                  <a:lnTo>
                    <a:pt x="615" y="80"/>
                  </a:lnTo>
                  <a:lnTo>
                    <a:pt x="615" y="80"/>
                  </a:lnTo>
                  <a:lnTo>
                    <a:pt x="615" y="80"/>
                  </a:lnTo>
                  <a:lnTo>
                    <a:pt x="615" y="80"/>
                  </a:lnTo>
                  <a:lnTo>
                    <a:pt x="616" y="80"/>
                  </a:lnTo>
                  <a:lnTo>
                    <a:pt x="616" y="80"/>
                  </a:lnTo>
                  <a:lnTo>
                    <a:pt x="618" y="80"/>
                  </a:lnTo>
                  <a:lnTo>
                    <a:pt x="618" y="80"/>
                  </a:lnTo>
                  <a:lnTo>
                    <a:pt x="616" y="80"/>
                  </a:lnTo>
                  <a:lnTo>
                    <a:pt x="616" y="80"/>
                  </a:lnTo>
                  <a:lnTo>
                    <a:pt x="618" y="77"/>
                  </a:lnTo>
                  <a:lnTo>
                    <a:pt x="618" y="77"/>
                  </a:lnTo>
                  <a:lnTo>
                    <a:pt x="621" y="77"/>
                  </a:lnTo>
                  <a:lnTo>
                    <a:pt x="621" y="77"/>
                  </a:lnTo>
                  <a:lnTo>
                    <a:pt x="620" y="77"/>
                  </a:lnTo>
                  <a:lnTo>
                    <a:pt x="620" y="77"/>
                  </a:lnTo>
                  <a:lnTo>
                    <a:pt x="623" y="77"/>
                  </a:lnTo>
                  <a:lnTo>
                    <a:pt x="623" y="77"/>
                  </a:lnTo>
                  <a:lnTo>
                    <a:pt x="624" y="77"/>
                  </a:lnTo>
                  <a:lnTo>
                    <a:pt x="624" y="77"/>
                  </a:lnTo>
                  <a:lnTo>
                    <a:pt x="628" y="73"/>
                  </a:lnTo>
                  <a:lnTo>
                    <a:pt x="628" y="73"/>
                  </a:lnTo>
                  <a:lnTo>
                    <a:pt x="624" y="73"/>
                  </a:lnTo>
                  <a:lnTo>
                    <a:pt x="624" y="73"/>
                  </a:lnTo>
                  <a:lnTo>
                    <a:pt x="628" y="72"/>
                  </a:lnTo>
                  <a:lnTo>
                    <a:pt x="628" y="72"/>
                  </a:lnTo>
                  <a:lnTo>
                    <a:pt x="631" y="70"/>
                  </a:lnTo>
                  <a:lnTo>
                    <a:pt x="631" y="70"/>
                  </a:lnTo>
                  <a:lnTo>
                    <a:pt x="634" y="69"/>
                  </a:lnTo>
                  <a:lnTo>
                    <a:pt x="634" y="69"/>
                  </a:lnTo>
                  <a:lnTo>
                    <a:pt x="634" y="67"/>
                  </a:lnTo>
                  <a:lnTo>
                    <a:pt x="634" y="67"/>
                  </a:lnTo>
                  <a:lnTo>
                    <a:pt x="634" y="67"/>
                  </a:lnTo>
                  <a:lnTo>
                    <a:pt x="634" y="67"/>
                  </a:lnTo>
                  <a:lnTo>
                    <a:pt x="634" y="65"/>
                  </a:lnTo>
                  <a:lnTo>
                    <a:pt x="634" y="65"/>
                  </a:lnTo>
                  <a:lnTo>
                    <a:pt x="631" y="64"/>
                  </a:lnTo>
                  <a:lnTo>
                    <a:pt x="631" y="64"/>
                  </a:lnTo>
                  <a:lnTo>
                    <a:pt x="628" y="64"/>
                  </a:lnTo>
                  <a:lnTo>
                    <a:pt x="628" y="64"/>
                  </a:lnTo>
                  <a:lnTo>
                    <a:pt x="626" y="64"/>
                  </a:lnTo>
                  <a:lnTo>
                    <a:pt x="626" y="64"/>
                  </a:lnTo>
                  <a:lnTo>
                    <a:pt x="624" y="65"/>
                  </a:lnTo>
                  <a:lnTo>
                    <a:pt x="624" y="65"/>
                  </a:lnTo>
                  <a:lnTo>
                    <a:pt x="623" y="65"/>
                  </a:lnTo>
                  <a:lnTo>
                    <a:pt x="623" y="65"/>
                  </a:lnTo>
                  <a:lnTo>
                    <a:pt x="618" y="64"/>
                  </a:lnTo>
                  <a:lnTo>
                    <a:pt x="618" y="64"/>
                  </a:lnTo>
                  <a:lnTo>
                    <a:pt x="612" y="64"/>
                  </a:lnTo>
                  <a:lnTo>
                    <a:pt x="612" y="64"/>
                  </a:lnTo>
                  <a:lnTo>
                    <a:pt x="610" y="65"/>
                  </a:lnTo>
                  <a:lnTo>
                    <a:pt x="610" y="65"/>
                  </a:lnTo>
                  <a:lnTo>
                    <a:pt x="609" y="65"/>
                  </a:lnTo>
                  <a:lnTo>
                    <a:pt x="609" y="65"/>
                  </a:lnTo>
                  <a:lnTo>
                    <a:pt x="609" y="67"/>
                  </a:lnTo>
                  <a:lnTo>
                    <a:pt x="609" y="67"/>
                  </a:lnTo>
                  <a:lnTo>
                    <a:pt x="612" y="69"/>
                  </a:lnTo>
                  <a:lnTo>
                    <a:pt x="612" y="69"/>
                  </a:lnTo>
                  <a:lnTo>
                    <a:pt x="615" y="69"/>
                  </a:lnTo>
                  <a:lnTo>
                    <a:pt x="615" y="69"/>
                  </a:lnTo>
                  <a:lnTo>
                    <a:pt x="612" y="70"/>
                  </a:lnTo>
                  <a:lnTo>
                    <a:pt x="612" y="70"/>
                  </a:lnTo>
                  <a:lnTo>
                    <a:pt x="610" y="70"/>
                  </a:lnTo>
                  <a:lnTo>
                    <a:pt x="610" y="70"/>
                  </a:lnTo>
                  <a:lnTo>
                    <a:pt x="609" y="70"/>
                  </a:lnTo>
                  <a:lnTo>
                    <a:pt x="609" y="70"/>
                  </a:lnTo>
                  <a:lnTo>
                    <a:pt x="612" y="72"/>
                  </a:lnTo>
                  <a:lnTo>
                    <a:pt x="612" y="72"/>
                  </a:lnTo>
                  <a:lnTo>
                    <a:pt x="607" y="72"/>
                  </a:lnTo>
                  <a:lnTo>
                    <a:pt x="607" y="72"/>
                  </a:lnTo>
                  <a:lnTo>
                    <a:pt x="607" y="70"/>
                  </a:lnTo>
                  <a:lnTo>
                    <a:pt x="607" y="70"/>
                  </a:lnTo>
                  <a:lnTo>
                    <a:pt x="605" y="70"/>
                  </a:lnTo>
                  <a:lnTo>
                    <a:pt x="605" y="70"/>
                  </a:lnTo>
                  <a:lnTo>
                    <a:pt x="605" y="70"/>
                  </a:lnTo>
                  <a:lnTo>
                    <a:pt x="605" y="70"/>
                  </a:lnTo>
                  <a:lnTo>
                    <a:pt x="605" y="69"/>
                  </a:lnTo>
                  <a:lnTo>
                    <a:pt x="605" y="69"/>
                  </a:lnTo>
                  <a:lnTo>
                    <a:pt x="605" y="69"/>
                  </a:lnTo>
                  <a:lnTo>
                    <a:pt x="605" y="69"/>
                  </a:lnTo>
                  <a:lnTo>
                    <a:pt x="605" y="67"/>
                  </a:lnTo>
                  <a:lnTo>
                    <a:pt x="605" y="67"/>
                  </a:lnTo>
                  <a:lnTo>
                    <a:pt x="602" y="65"/>
                  </a:lnTo>
                  <a:lnTo>
                    <a:pt x="602" y="65"/>
                  </a:lnTo>
                  <a:lnTo>
                    <a:pt x="599" y="67"/>
                  </a:lnTo>
                  <a:lnTo>
                    <a:pt x="599" y="67"/>
                  </a:lnTo>
                  <a:lnTo>
                    <a:pt x="596" y="69"/>
                  </a:lnTo>
                  <a:lnTo>
                    <a:pt x="596" y="69"/>
                  </a:lnTo>
                  <a:lnTo>
                    <a:pt x="596" y="69"/>
                  </a:lnTo>
                  <a:lnTo>
                    <a:pt x="596" y="69"/>
                  </a:lnTo>
                  <a:lnTo>
                    <a:pt x="596" y="70"/>
                  </a:lnTo>
                  <a:lnTo>
                    <a:pt x="596" y="70"/>
                  </a:lnTo>
                  <a:lnTo>
                    <a:pt x="596" y="72"/>
                  </a:lnTo>
                  <a:lnTo>
                    <a:pt x="596" y="72"/>
                  </a:lnTo>
                  <a:lnTo>
                    <a:pt x="596" y="72"/>
                  </a:lnTo>
                  <a:lnTo>
                    <a:pt x="596" y="72"/>
                  </a:lnTo>
                  <a:lnTo>
                    <a:pt x="596" y="73"/>
                  </a:lnTo>
                  <a:lnTo>
                    <a:pt x="596" y="73"/>
                  </a:lnTo>
                  <a:lnTo>
                    <a:pt x="596" y="73"/>
                  </a:lnTo>
                  <a:lnTo>
                    <a:pt x="596" y="73"/>
                  </a:lnTo>
                  <a:lnTo>
                    <a:pt x="593" y="73"/>
                  </a:lnTo>
                  <a:lnTo>
                    <a:pt x="593" y="73"/>
                  </a:lnTo>
                  <a:lnTo>
                    <a:pt x="589" y="72"/>
                  </a:lnTo>
                  <a:lnTo>
                    <a:pt x="586" y="73"/>
                  </a:lnTo>
                  <a:lnTo>
                    <a:pt x="586" y="73"/>
                  </a:lnTo>
                  <a:lnTo>
                    <a:pt x="586" y="73"/>
                  </a:lnTo>
                  <a:close/>
                  <a:moveTo>
                    <a:pt x="618" y="50"/>
                  </a:moveTo>
                  <a:lnTo>
                    <a:pt x="618" y="50"/>
                  </a:lnTo>
                  <a:lnTo>
                    <a:pt x="616" y="50"/>
                  </a:lnTo>
                  <a:lnTo>
                    <a:pt x="616" y="50"/>
                  </a:lnTo>
                  <a:lnTo>
                    <a:pt x="615" y="51"/>
                  </a:lnTo>
                  <a:lnTo>
                    <a:pt x="615" y="51"/>
                  </a:lnTo>
                  <a:lnTo>
                    <a:pt x="621" y="53"/>
                  </a:lnTo>
                  <a:lnTo>
                    <a:pt x="621" y="53"/>
                  </a:lnTo>
                  <a:lnTo>
                    <a:pt x="626" y="51"/>
                  </a:lnTo>
                  <a:lnTo>
                    <a:pt x="626" y="51"/>
                  </a:lnTo>
                  <a:lnTo>
                    <a:pt x="626" y="50"/>
                  </a:lnTo>
                  <a:lnTo>
                    <a:pt x="626" y="50"/>
                  </a:lnTo>
                  <a:lnTo>
                    <a:pt x="623" y="50"/>
                  </a:lnTo>
                  <a:lnTo>
                    <a:pt x="618" y="50"/>
                  </a:lnTo>
                  <a:lnTo>
                    <a:pt x="618" y="50"/>
                  </a:lnTo>
                  <a:lnTo>
                    <a:pt x="618" y="50"/>
                  </a:lnTo>
                  <a:close/>
                  <a:moveTo>
                    <a:pt x="672" y="31"/>
                  </a:moveTo>
                  <a:lnTo>
                    <a:pt x="672" y="31"/>
                  </a:lnTo>
                  <a:lnTo>
                    <a:pt x="672" y="31"/>
                  </a:lnTo>
                  <a:lnTo>
                    <a:pt x="672" y="31"/>
                  </a:lnTo>
                  <a:lnTo>
                    <a:pt x="675" y="31"/>
                  </a:lnTo>
                  <a:lnTo>
                    <a:pt x="675" y="31"/>
                  </a:lnTo>
                  <a:lnTo>
                    <a:pt x="678" y="29"/>
                  </a:lnTo>
                  <a:lnTo>
                    <a:pt x="678" y="29"/>
                  </a:lnTo>
                  <a:lnTo>
                    <a:pt x="677" y="27"/>
                  </a:lnTo>
                  <a:lnTo>
                    <a:pt x="677" y="27"/>
                  </a:lnTo>
                  <a:lnTo>
                    <a:pt x="674" y="27"/>
                  </a:lnTo>
                  <a:lnTo>
                    <a:pt x="674" y="27"/>
                  </a:lnTo>
                  <a:lnTo>
                    <a:pt x="669" y="27"/>
                  </a:lnTo>
                  <a:lnTo>
                    <a:pt x="669" y="27"/>
                  </a:lnTo>
                  <a:lnTo>
                    <a:pt x="666" y="29"/>
                  </a:lnTo>
                  <a:lnTo>
                    <a:pt x="666" y="29"/>
                  </a:lnTo>
                  <a:lnTo>
                    <a:pt x="669" y="29"/>
                  </a:lnTo>
                  <a:lnTo>
                    <a:pt x="672" y="31"/>
                  </a:lnTo>
                  <a:lnTo>
                    <a:pt x="672" y="31"/>
                  </a:lnTo>
                  <a:lnTo>
                    <a:pt x="672" y="31"/>
                  </a:lnTo>
                  <a:close/>
                  <a:moveTo>
                    <a:pt x="663" y="48"/>
                  </a:moveTo>
                  <a:lnTo>
                    <a:pt x="663" y="48"/>
                  </a:lnTo>
                  <a:lnTo>
                    <a:pt x="658" y="48"/>
                  </a:lnTo>
                  <a:lnTo>
                    <a:pt x="658" y="48"/>
                  </a:lnTo>
                  <a:lnTo>
                    <a:pt x="663" y="50"/>
                  </a:lnTo>
                  <a:lnTo>
                    <a:pt x="663" y="50"/>
                  </a:lnTo>
                  <a:lnTo>
                    <a:pt x="661" y="50"/>
                  </a:lnTo>
                  <a:lnTo>
                    <a:pt x="661" y="50"/>
                  </a:lnTo>
                  <a:lnTo>
                    <a:pt x="661" y="51"/>
                  </a:lnTo>
                  <a:lnTo>
                    <a:pt x="661" y="51"/>
                  </a:lnTo>
                  <a:lnTo>
                    <a:pt x="666" y="50"/>
                  </a:lnTo>
                  <a:lnTo>
                    <a:pt x="666" y="50"/>
                  </a:lnTo>
                  <a:lnTo>
                    <a:pt x="666" y="50"/>
                  </a:lnTo>
                  <a:lnTo>
                    <a:pt x="666" y="50"/>
                  </a:lnTo>
                  <a:lnTo>
                    <a:pt x="672" y="50"/>
                  </a:lnTo>
                  <a:lnTo>
                    <a:pt x="672" y="50"/>
                  </a:lnTo>
                  <a:lnTo>
                    <a:pt x="677" y="50"/>
                  </a:lnTo>
                  <a:lnTo>
                    <a:pt x="677" y="50"/>
                  </a:lnTo>
                  <a:lnTo>
                    <a:pt x="682" y="48"/>
                  </a:lnTo>
                  <a:lnTo>
                    <a:pt x="682" y="48"/>
                  </a:lnTo>
                  <a:lnTo>
                    <a:pt x="680" y="48"/>
                  </a:lnTo>
                  <a:lnTo>
                    <a:pt x="680" y="48"/>
                  </a:lnTo>
                  <a:lnTo>
                    <a:pt x="678" y="48"/>
                  </a:lnTo>
                  <a:lnTo>
                    <a:pt x="678" y="48"/>
                  </a:lnTo>
                  <a:lnTo>
                    <a:pt x="686" y="45"/>
                  </a:lnTo>
                  <a:lnTo>
                    <a:pt x="686" y="45"/>
                  </a:lnTo>
                  <a:lnTo>
                    <a:pt x="683" y="45"/>
                  </a:lnTo>
                  <a:lnTo>
                    <a:pt x="683" y="45"/>
                  </a:lnTo>
                  <a:lnTo>
                    <a:pt x="682" y="45"/>
                  </a:lnTo>
                  <a:lnTo>
                    <a:pt x="682" y="45"/>
                  </a:lnTo>
                  <a:lnTo>
                    <a:pt x="677" y="45"/>
                  </a:lnTo>
                  <a:lnTo>
                    <a:pt x="677" y="45"/>
                  </a:lnTo>
                  <a:lnTo>
                    <a:pt x="677" y="42"/>
                  </a:lnTo>
                  <a:lnTo>
                    <a:pt x="677" y="42"/>
                  </a:lnTo>
                  <a:lnTo>
                    <a:pt x="675" y="42"/>
                  </a:lnTo>
                  <a:lnTo>
                    <a:pt x="675" y="42"/>
                  </a:lnTo>
                  <a:lnTo>
                    <a:pt x="672" y="42"/>
                  </a:lnTo>
                  <a:lnTo>
                    <a:pt x="672" y="42"/>
                  </a:lnTo>
                  <a:lnTo>
                    <a:pt x="669" y="42"/>
                  </a:lnTo>
                  <a:lnTo>
                    <a:pt x="669" y="42"/>
                  </a:lnTo>
                  <a:lnTo>
                    <a:pt x="663" y="42"/>
                  </a:lnTo>
                  <a:lnTo>
                    <a:pt x="663" y="42"/>
                  </a:lnTo>
                  <a:lnTo>
                    <a:pt x="663" y="42"/>
                  </a:lnTo>
                  <a:lnTo>
                    <a:pt x="663" y="42"/>
                  </a:lnTo>
                  <a:lnTo>
                    <a:pt x="663" y="45"/>
                  </a:lnTo>
                  <a:lnTo>
                    <a:pt x="663" y="45"/>
                  </a:lnTo>
                  <a:lnTo>
                    <a:pt x="661" y="45"/>
                  </a:lnTo>
                  <a:lnTo>
                    <a:pt x="661" y="45"/>
                  </a:lnTo>
                  <a:lnTo>
                    <a:pt x="659" y="45"/>
                  </a:lnTo>
                  <a:lnTo>
                    <a:pt x="659" y="45"/>
                  </a:lnTo>
                  <a:lnTo>
                    <a:pt x="659" y="48"/>
                  </a:lnTo>
                  <a:lnTo>
                    <a:pt x="659" y="48"/>
                  </a:lnTo>
                  <a:lnTo>
                    <a:pt x="666" y="48"/>
                  </a:lnTo>
                  <a:lnTo>
                    <a:pt x="666" y="48"/>
                  </a:lnTo>
                  <a:lnTo>
                    <a:pt x="663" y="48"/>
                  </a:lnTo>
                  <a:lnTo>
                    <a:pt x="663" y="48"/>
                  </a:lnTo>
                  <a:lnTo>
                    <a:pt x="663" y="48"/>
                  </a:lnTo>
                  <a:lnTo>
                    <a:pt x="663" y="48"/>
                  </a:lnTo>
                  <a:close/>
                  <a:moveTo>
                    <a:pt x="651" y="62"/>
                  </a:moveTo>
                  <a:lnTo>
                    <a:pt x="651" y="62"/>
                  </a:lnTo>
                  <a:lnTo>
                    <a:pt x="645" y="62"/>
                  </a:lnTo>
                  <a:lnTo>
                    <a:pt x="645" y="62"/>
                  </a:lnTo>
                  <a:lnTo>
                    <a:pt x="650" y="64"/>
                  </a:lnTo>
                  <a:lnTo>
                    <a:pt x="650" y="64"/>
                  </a:lnTo>
                  <a:lnTo>
                    <a:pt x="655" y="64"/>
                  </a:lnTo>
                  <a:lnTo>
                    <a:pt x="655" y="64"/>
                  </a:lnTo>
                  <a:lnTo>
                    <a:pt x="653" y="65"/>
                  </a:lnTo>
                  <a:lnTo>
                    <a:pt x="653" y="65"/>
                  </a:lnTo>
                  <a:lnTo>
                    <a:pt x="650" y="65"/>
                  </a:lnTo>
                  <a:lnTo>
                    <a:pt x="650" y="65"/>
                  </a:lnTo>
                  <a:lnTo>
                    <a:pt x="651" y="67"/>
                  </a:lnTo>
                  <a:lnTo>
                    <a:pt x="651" y="67"/>
                  </a:lnTo>
                  <a:lnTo>
                    <a:pt x="653" y="67"/>
                  </a:lnTo>
                  <a:lnTo>
                    <a:pt x="653" y="67"/>
                  </a:lnTo>
                  <a:lnTo>
                    <a:pt x="655" y="69"/>
                  </a:lnTo>
                  <a:lnTo>
                    <a:pt x="655" y="69"/>
                  </a:lnTo>
                  <a:lnTo>
                    <a:pt x="658" y="67"/>
                  </a:lnTo>
                  <a:lnTo>
                    <a:pt x="658" y="67"/>
                  </a:lnTo>
                  <a:lnTo>
                    <a:pt x="666" y="69"/>
                  </a:lnTo>
                  <a:lnTo>
                    <a:pt x="666" y="69"/>
                  </a:lnTo>
                  <a:lnTo>
                    <a:pt x="669" y="67"/>
                  </a:lnTo>
                  <a:lnTo>
                    <a:pt x="669" y="67"/>
                  </a:lnTo>
                  <a:lnTo>
                    <a:pt x="672" y="67"/>
                  </a:lnTo>
                  <a:lnTo>
                    <a:pt x="672" y="67"/>
                  </a:lnTo>
                  <a:lnTo>
                    <a:pt x="672" y="67"/>
                  </a:lnTo>
                  <a:lnTo>
                    <a:pt x="672" y="67"/>
                  </a:lnTo>
                  <a:lnTo>
                    <a:pt x="672" y="69"/>
                  </a:lnTo>
                  <a:lnTo>
                    <a:pt x="672" y="69"/>
                  </a:lnTo>
                  <a:lnTo>
                    <a:pt x="672" y="70"/>
                  </a:lnTo>
                  <a:lnTo>
                    <a:pt x="672" y="70"/>
                  </a:lnTo>
                  <a:lnTo>
                    <a:pt x="672" y="72"/>
                  </a:lnTo>
                  <a:lnTo>
                    <a:pt x="672" y="72"/>
                  </a:lnTo>
                  <a:lnTo>
                    <a:pt x="674" y="72"/>
                  </a:lnTo>
                  <a:lnTo>
                    <a:pt x="674" y="72"/>
                  </a:lnTo>
                  <a:lnTo>
                    <a:pt x="672" y="73"/>
                  </a:lnTo>
                  <a:lnTo>
                    <a:pt x="672" y="73"/>
                  </a:lnTo>
                  <a:lnTo>
                    <a:pt x="669" y="77"/>
                  </a:lnTo>
                  <a:lnTo>
                    <a:pt x="669" y="77"/>
                  </a:lnTo>
                  <a:lnTo>
                    <a:pt x="666" y="77"/>
                  </a:lnTo>
                  <a:lnTo>
                    <a:pt x="666" y="77"/>
                  </a:lnTo>
                  <a:lnTo>
                    <a:pt x="663" y="80"/>
                  </a:lnTo>
                  <a:lnTo>
                    <a:pt x="663" y="80"/>
                  </a:lnTo>
                  <a:lnTo>
                    <a:pt x="666" y="80"/>
                  </a:lnTo>
                  <a:lnTo>
                    <a:pt x="666" y="80"/>
                  </a:lnTo>
                  <a:lnTo>
                    <a:pt x="663" y="81"/>
                  </a:lnTo>
                  <a:lnTo>
                    <a:pt x="663" y="81"/>
                  </a:lnTo>
                  <a:lnTo>
                    <a:pt x="663" y="83"/>
                  </a:lnTo>
                  <a:lnTo>
                    <a:pt x="663" y="83"/>
                  </a:lnTo>
                  <a:lnTo>
                    <a:pt x="663" y="84"/>
                  </a:lnTo>
                  <a:lnTo>
                    <a:pt x="663" y="84"/>
                  </a:lnTo>
                  <a:lnTo>
                    <a:pt x="666" y="84"/>
                  </a:lnTo>
                  <a:lnTo>
                    <a:pt x="666" y="84"/>
                  </a:lnTo>
                  <a:lnTo>
                    <a:pt x="669" y="84"/>
                  </a:lnTo>
                  <a:lnTo>
                    <a:pt x="669" y="84"/>
                  </a:lnTo>
                  <a:lnTo>
                    <a:pt x="672" y="83"/>
                  </a:lnTo>
                  <a:lnTo>
                    <a:pt x="672" y="83"/>
                  </a:lnTo>
                  <a:lnTo>
                    <a:pt x="669" y="84"/>
                  </a:lnTo>
                  <a:lnTo>
                    <a:pt x="669" y="84"/>
                  </a:lnTo>
                  <a:lnTo>
                    <a:pt x="672" y="84"/>
                  </a:lnTo>
                  <a:lnTo>
                    <a:pt x="672" y="84"/>
                  </a:lnTo>
                  <a:lnTo>
                    <a:pt x="672" y="86"/>
                  </a:lnTo>
                  <a:lnTo>
                    <a:pt x="672" y="86"/>
                  </a:lnTo>
                  <a:lnTo>
                    <a:pt x="675" y="86"/>
                  </a:lnTo>
                  <a:lnTo>
                    <a:pt x="675" y="86"/>
                  </a:lnTo>
                  <a:lnTo>
                    <a:pt x="680" y="86"/>
                  </a:lnTo>
                  <a:lnTo>
                    <a:pt x="680" y="86"/>
                  </a:lnTo>
                  <a:lnTo>
                    <a:pt x="683" y="86"/>
                  </a:lnTo>
                  <a:lnTo>
                    <a:pt x="683" y="86"/>
                  </a:lnTo>
                  <a:lnTo>
                    <a:pt x="688" y="83"/>
                  </a:lnTo>
                  <a:lnTo>
                    <a:pt x="688" y="83"/>
                  </a:lnTo>
                  <a:lnTo>
                    <a:pt x="688" y="84"/>
                  </a:lnTo>
                  <a:lnTo>
                    <a:pt x="688" y="84"/>
                  </a:lnTo>
                  <a:lnTo>
                    <a:pt x="689" y="83"/>
                  </a:lnTo>
                  <a:lnTo>
                    <a:pt x="689" y="83"/>
                  </a:lnTo>
                  <a:lnTo>
                    <a:pt x="693" y="83"/>
                  </a:lnTo>
                  <a:lnTo>
                    <a:pt x="693" y="83"/>
                  </a:lnTo>
                  <a:lnTo>
                    <a:pt x="693" y="83"/>
                  </a:lnTo>
                  <a:lnTo>
                    <a:pt x="693" y="83"/>
                  </a:lnTo>
                  <a:lnTo>
                    <a:pt x="689" y="84"/>
                  </a:lnTo>
                  <a:lnTo>
                    <a:pt x="689" y="84"/>
                  </a:lnTo>
                  <a:lnTo>
                    <a:pt x="688" y="86"/>
                  </a:lnTo>
                  <a:lnTo>
                    <a:pt x="688" y="86"/>
                  </a:lnTo>
                  <a:lnTo>
                    <a:pt x="693" y="88"/>
                  </a:lnTo>
                  <a:lnTo>
                    <a:pt x="693" y="88"/>
                  </a:lnTo>
                  <a:lnTo>
                    <a:pt x="697" y="86"/>
                  </a:lnTo>
                  <a:lnTo>
                    <a:pt x="697" y="86"/>
                  </a:lnTo>
                  <a:lnTo>
                    <a:pt x="701" y="88"/>
                  </a:lnTo>
                  <a:lnTo>
                    <a:pt x="701" y="88"/>
                  </a:lnTo>
                  <a:lnTo>
                    <a:pt x="702" y="88"/>
                  </a:lnTo>
                  <a:lnTo>
                    <a:pt x="702" y="88"/>
                  </a:lnTo>
                  <a:lnTo>
                    <a:pt x="704" y="86"/>
                  </a:lnTo>
                  <a:lnTo>
                    <a:pt x="704" y="86"/>
                  </a:lnTo>
                  <a:lnTo>
                    <a:pt x="707" y="88"/>
                  </a:lnTo>
                  <a:lnTo>
                    <a:pt x="707" y="88"/>
                  </a:lnTo>
                  <a:lnTo>
                    <a:pt x="709" y="86"/>
                  </a:lnTo>
                  <a:lnTo>
                    <a:pt x="709" y="86"/>
                  </a:lnTo>
                  <a:lnTo>
                    <a:pt x="710" y="88"/>
                  </a:lnTo>
                  <a:lnTo>
                    <a:pt x="710" y="88"/>
                  </a:lnTo>
                  <a:lnTo>
                    <a:pt x="712" y="88"/>
                  </a:lnTo>
                  <a:lnTo>
                    <a:pt x="712" y="88"/>
                  </a:lnTo>
                  <a:lnTo>
                    <a:pt x="715" y="86"/>
                  </a:lnTo>
                  <a:lnTo>
                    <a:pt x="715" y="86"/>
                  </a:lnTo>
                  <a:lnTo>
                    <a:pt x="716" y="88"/>
                  </a:lnTo>
                  <a:lnTo>
                    <a:pt x="716" y="88"/>
                  </a:lnTo>
                  <a:lnTo>
                    <a:pt x="718" y="86"/>
                  </a:lnTo>
                  <a:lnTo>
                    <a:pt x="718" y="86"/>
                  </a:lnTo>
                  <a:lnTo>
                    <a:pt x="721" y="84"/>
                  </a:lnTo>
                  <a:lnTo>
                    <a:pt x="721" y="84"/>
                  </a:lnTo>
                  <a:lnTo>
                    <a:pt x="718" y="86"/>
                  </a:lnTo>
                  <a:lnTo>
                    <a:pt x="718" y="86"/>
                  </a:lnTo>
                  <a:lnTo>
                    <a:pt x="721" y="88"/>
                  </a:lnTo>
                  <a:lnTo>
                    <a:pt x="721" y="88"/>
                  </a:lnTo>
                  <a:lnTo>
                    <a:pt x="724" y="88"/>
                  </a:lnTo>
                  <a:lnTo>
                    <a:pt x="724" y="88"/>
                  </a:lnTo>
                  <a:lnTo>
                    <a:pt x="731" y="86"/>
                  </a:lnTo>
                  <a:lnTo>
                    <a:pt x="731" y="86"/>
                  </a:lnTo>
                  <a:lnTo>
                    <a:pt x="734" y="84"/>
                  </a:lnTo>
                  <a:lnTo>
                    <a:pt x="734" y="84"/>
                  </a:lnTo>
                  <a:lnTo>
                    <a:pt x="736" y="83"/>
                  </a:lnTo>
                  <a:lnTo>
                    <a:pt x="736" y="83"/>
                  </a:lnTo>
                  <a:lnTo>
                    <a:pt x="737" y="83"/>
                  </a:lnTo>
                  <a:lnTo>
                    <a:pt x="737" y="83"/>
                  </a:lnTo>
                  <a:lnTo>
                    <a:pt x="737" y="84"/>
                  </a:lnTo>
                  <a:lnTo>
                    <a:pt x="737" y="84"/>
                  </a:lnTo>
                  <a:lnTo>
                    <a:pt x="737" y="86"/>
                  </a:lnTo>
                  <a:lnTo>
                    <a:pt x="737" y="86"/>
                  </a:lnTo>
                  <a:lnTo>
                    <a:pt x="740" y="88"/>
                  </a:lnTo>
                  <a:lnTo>
                    <a:pt x="740" y="88"/>
                  </a:lnTo>
                  <a:lnTo>
                    <a:pt x="747" y="88"/>
                  </a:lnTo>
                  <a:lnTo>
                    <a:pt x="747" y="88"/>
                  </a:lnTo>
                  <a:lnTo>
                    <a:pt x="751" y="86"/>
                  </a:lnTo>
                  <a:lnTo>
                    <a:pt x="751" y="86"/>
                  </a:lnTo>
                  <a:lnTo>
                    <a:pt x="756" y="86"/>
                  </a:lnTo>
                  <a:lnTo>
                    <a:pt x="756" y="86"/>
                  </a:lnTo>
                  <a:lnTo>
                    <a:pt x="759" y="86"/>
                  </a:lnTo>
                  <a:lnTo>
                    <a:pt x="759" y="86"/>
                  </a:lnTo>
                  <a:lnTo>
                    <a:pt x="763" y="83"/>
                  </a:lnTo>
                  <a:lnTo>
                    <a:pt x="763" y="83"/>
                  </a:lnTo>
                  <a:lnTo>
                    <a:pt x="764" y="81"/>
                  </a:lnTo>
                  <a:lnTo>
                    <a:pt x="764" y="81"/>
                  </a:lnTo>
                  <a:lnTo>
                    <a:pt x="766" y="80"/>
                  </a:lnTo>
                  <a:lnTo>
                    <a:pt x="766" y="80"/>
                  </a:lnTo>
                  <a:lnTo>
                    <a:pt x="769" y="80"/>
                  </a:lnTo>
                  <a:lnTo>
                    <a:pt x="769" y="80"/>
                  </a:lnTo>
                  <a:lnTo>
                    <a:pt x="774" y="80"/>
                  </a:lnTo>
                  <a:lnTo>
                    <a:pt x="774" y="80"/>
                  </a:lnTo>
                  <a:lnTo>
                    <a:pt x="775" y="77"/>
                  </a:lnTo>
                  <a:lnTo>
                    <a:pt x="775" y="77"/>
                  </a:lnTo>
                  <a:lnTo>
                    <a:pt x="772" y="77"/>
                  </a:lnTo>
                  <a:lnTo>
                    <a:pt x="772" y="77"/>
                  </a:lnTo>
                  <a:lnTo>
                    <a:pt x="774" y="77"/>
                  </a:lnTo>
                  <a:lnTo>
                    <a:pt x="774" y="77"/>
                  </a:lnTo>
                  <a:lnTo>
                    <a:pt x="770" y="73"/>
                  </a:lnTo>
                  <a:lnTo>
                    <a:pt x="770" y="73"/>
                  </a:lnTo>
                  <a:lnTo>
                    <a:pt x="769" y="73"/>
                  </a:lnTo>
                  <a:lnTo>
                    <a:pt x="769" y="73"/>
                  </a:lnTo>
                  <a:lnTo>
                    <a:pt x="764" y="73"/>
                  </a:lnTo>
                  <a:lnTo>
                    <a:pt x="764" y="73"/>
                  </a:lnTo>
                  <a:lnTo>
                    <a:pt x="764" y="73"/>
                  </a:lnTo>
                  <a:lnTo>
                    <a:pt x="764" y="73"/>
                  </a:lnTo>
                  <a:lnTo>
                    <a:pt x="763" y="72"/>
                  </a:lnTo>
                  <a:lnTo>
                    <a:pt x="763" y="72"/>
                  </a:lnTo>
                  <a:lnTo>
                    <a:pt x="756" y="73"/>
                  </a:lnTo>
                  <a:lnTo>
                    <a:pt x="756" y="73"/>
                  </a:lnTo>
                  <a:lnTo>
                    <a:pt x="751" y="73"/>
                  </a:lnTo>
                  <a:lnTo>
                    <a:pt x="751" y="73"/>
                  </a:lnTo>
                  <a:lnTo>
                    <a:pt x="747" y="73"/>
                  </a:lnTo>
                  <a:lnTo>
                    <a:pt x="747" y="73"/>
                  </a:lnTo>
                  <a:lnTo>
                    <a:pt x="740" y="73"/>
                  </a:lnTo>
                  <a:lnTo>
                    <a:pt x="740" y="73"/>
                  </a:lnTo>
                  <a:lnTo>
                    <a:pt x="734" y="73"/>
                  </a:lnTo>
                  <a:lnTo>
                    <a:pt x="734" y="73"/>
                  </a:lnTo>
                  <a:lnTo>
                    <a:pt x="721" y="77"/>
                  </a:lnTo>
                  <a:lnTo>
                    <a:pt x="721" y="77"/>
                  </a:lnTo>
                  <a:lnTo>
                    <a:pt x="724" y="77"/>
                  </a:lnTo>
                  <a:lnTo>
                    <a:pt x="724" y="77"/>
                  </a:lnTo>
                  <a:lnTo>
                    <a:pt x="716" y="77"/>
                  </a:lnTo>
                  <a:lnTo>
                    <a:pt x="716" y="77"/>
                  </a:lnTo>
                  <a:lnTo>
                    <a:pt x="716" y="77"/>
                  </a:lnTo>
                  <a:lnTo>
                    <a:pt x="716" y="77"/>
                  </a:lnTo>
                  <a:lnTo>
                    <a:pt x="713" y="73"/>
                  </a:lnTo>
                  <a:lnTo>
                    <a:pt x="713" y="73"/>
                  </a:lnTo>
                  <a:lnTo>
                    <a:pt x="710" y="73"/>
                  </a:lnTo>
                  <a:lnTo>
                    <a:pt x="710" y="73"/>
                  </a:lnTo>
                  <a:lnTo>
                    <a:pt x="709" y="77"/>
                  </a:lnTo>
                  <a:lnTo>
                    <a:pt x="709" y="77"/>
                  </a:lnTo>
                  <a:lnTo>
                    <a:pt x="707" y="77"/>
                  </a:lnTo>
                  <a:lnTo>
                    <a:pt x="707" y="77"/>
                  </a:lnTo>
                  <a:lnTo>
                    <a:pt x="705" y="77"/>
                  </a:lnTo>
                  <a:lnTo>
                    <a:pt x="705" y="77"/>
                  </a:lnTo>
                  <a:lnTo>
                    <a:pt x="702" y="77"/>
                  </a:lnTo>
                  <a:lnTo>
                    <a:pt x="702" y="77"/>
                  </a:lnTo>
                  <a:lnTo>
                    <a:pt x="701" y="73"/>
                  </a:lnTo>
                  <a:lnTo>
                    <a:pt x="701" y="73"/>
                  </a:lnTo>
                  <a:lnTo>
                    <a:pt x="699" y="73"/>
                  </a:lnTo>
                  <a:lnTo>
                    <a:pt x="699" y="73"/>
                  </a:lnTo>
                  <a:lnTo>
                    <a:pt x="697" y="73"/>
                  </a:lnTo>
                  <a:lnTo>
                    <a:pt x="697" y="73"/>
                  </a:lnTo>
                  <a:lnTo>
                    <a:pt x="697" y="77"/>
                  </a:lnTo>
                  <a:lnTo>
                    <a:pt x="697" y="77"/>
                  </a:lnTo>
                  <a:lnTo>
                    <a:pt x="696" y="77"/>
                  </a:lnTo>
                  <a:lnTo>
                    <a:pt x="696" y="77"/>
                  </a:lnTo>
                  <a:lnTo>
                    <a:pt x="696" y="77"/>
                  </a:lnTo>
                  <a:lnTo>
                    <a:pt x="696" y="77"/>
                  </a:lnTo>
                  <a:lnTo>
                    <a:pt x="693" y="73"/>
                  </a:lnTo>
                  <a:lnTo>
                    <a:pt x="693" y="73"/>
                  </a:lnTo>
                  <a:lnTo>
                    <a:pt x="696" y="73"/>
                  </a:lnTo>
                  <a:lnTo>
                    <a:pt x="696" y="73"/>
                  </a:lnTo>
                  <a:lnTo>
                    <a:pt x="697" y="73"/>
                  </a:lnTo>
                  <a:lnTo>
                    <a:pt x="697" y="73"/>
                  </a:lnTo>
                  <a:lnTo>
                    <a:pt x="696" y="73"/>
                  </a:lnTo>
                  <a:lnTo>
                    <a:pt x="696" y="73"/>
                  </a:lnTo>
                  <a:lnTo>
                    <a:pt x="693" y="73"/>
                  </a:lnTo>
                  <a:lnTo>
                    <a:pt x="693" y="73"/>
                  </a:lnTo>
                  <a:lnTo>
                    <a:pt x="696" y="72"/>
                  </a:lnTo>
                  <a:lnTo>
                    <a:pt x="696" y="72"/>
                  </a:lnTo>
                  <a:lnTo>
                    <a:pt x="693" y="72"/>
                  </a:lnTo>
                  <a:lnTo>
                    <a:pt x="693" y="72"/>
                  </a:lnTo>
                  <a:lnTo>
                    <a:pt x="693" y="72"/>
                  </a:lnTo>
                  <a:lnTo>
                    <a:pt x="693" y="72"/>
                  </a:lnTo>
                  <a:lnTo>
                    <a:pt x="688" y="72"/>
                  </a:lnTo>
                  <a:lnTo>
                    <a:pt x="688" y="72"/>
                  </a:lnTo>
                  <a:lnTo>
                    <a:pt x="683" y="73"/>
                  </a:lnTo>
                  <a:lnTo>
                    <a:pt x="683" y="73"/>
                  </a:lnTo>
                  <a:lnTo>
                    <a:pt x="685" y="72"/>
                  </a:lnTo>
                  <a:lnTo>
                    <a:pt x="685" y="72"/>
                  </a:lnTo>
                  <a:lnTo>
                    <a:pt x="688" y="70"/>
                  </a:lnTo>
                  <a:lnTo>
                    <a:pt x="688" y="70"/>
                  </a:lnTo>
                  <a:lnTo>
                    <a:pt x="685" y="69"/>
                  </a:lnTo>
                  <a:lnTo>
                    <a:pt x="685" y="69"/>
                  </a:lnTo>
                  <a:lnTo>
                    <a:pt x="686" y="69"/>
                  </a:lnTo>
                  <a:lnTo>
                    <a:pt x="686" y="69"/>
                  </a:lnTo>
                  <a:lnTo>
                    <a:pt x="689" y="69"/>
                  </a:lnTo>
                  <a:lnTo>
                    <a:pt x="689" y="69"/>
                  </a:lnTo>
                  <a:lnTo>
                    <a:pt x="693" y="70"/>
                  </a:lnTo>
                  <a:lnTo>
                    <a:pt x="693" y="70"/>
                  </a:lnTo>
                  <a:lnTo>
                    <a:pt x="693" y="69"/>
                  </a:lnTo>
                  <a:lnTo>
                    <a:pt x="693" y="69"/>
                  </a:lnTo>
                  <a:lnTo>
                    <a:pt x="696" y="69"/>
                  </a:lnTo>
                  <a:lnTo>
                    <a:pt x="696" y="69"/>
                  </a:lnTo>
                  <a:lnTo>
                    <a:pt x="702" y="69"/>
                  </a:lnTo>
                  <a:lnTo>
                    <a:pt x="702" y="69"/>
                  </a:lnTo>
                  <a:lnTo>
                    <a:pt x="699" y="67"/>
                  </a:lnTo>
                  <a:lnTo>
                    <a:pt x="699" y="67"/>
                  </a:lnTo>
                  <a:lnTo>
                    <a:pt x="696" y="65"/>
                  </a:lnTo>
                  <a:lnTo>
                    <a:pt x="696" y="65"/>
                  </a:lnTo>
                  <a:lnTo>
                    <a:pt x="693" y="64"/>
                  </a:lnTo>
                  <a:lnTo>
                    <a:pt x="693" y="64"/>
                  </a:lnTo>
                  <a:lnTo>
                    <a:pt x="689" y="62"/>
                  </a:lnTo>
                  <a:lnTo>
                    <a:pt x="689" y="62"/>
                  </a:lnTo>
                  <a:lnTo>
                    <a:pt x="685" y="64"/>
                  </a:lnTo>
                  <a:lnTo>
                    <a:pt x="685" y="64"/>
                  </a:lnTo>
                  <a:lnTo>
                    <a:pt x="677" y="64"/>
                  </a:lnTo>
                  <a:lnTo>
                    <a:pt x="677" y="64"/>
                  </a:lnTo>
                  <a:lnTo>
                    <a:pt x="675" y="64"/>
                  </a:lnTo>
                  <a:lnTo>
                    <a:pt x="675" y="64"/>
                  </a:lnTo>
                  <a:lnTo>
                    <a:pt x="675" y="62"/>
                  </a:lnTo>
                  <a:lnTo>
                    <a:pt x="675" y="62"/>
                  </a:lnTo>
                  <a:lnTo>
                    <a:pt x="674" y="61"/>
                  </a:lnTo>
                  <a:lnTo>
                    <a:pt x="674" y="61"/>
                  </a:lnTo>
                  <a:lnTo>
                    <a:pt x="669" y="61"/>
                  </a:lnTo>
                  <a:lnTo>
                    <a:pt x="669" y="61"/>
                  </a:lnTo>
                  <a:lnTo>
                    <a:pt x="663" y="59"/>
                  </a:lnTo>
                  <a:lnTo>
                    <a:pt x="663" y="59"/>
                  </a:lnTo>
                  <a:lnTo>
                    <a:pt x="659" y="59"/>
                  </a:lnTo>
                  <a:lnTo>
                    <a:pt x="659" y="59"/>
                  </a:lnTo>
                  <a:lnTo>
                    <a:pt x="651" y="59"/>
                  </a:lnTo>
                  <a:lnTo>
                    <a:pt x="651" y="59"/>
                  </a:lnTo>
                  <a:lnTo>
                    <a:pt x="650" y="61"/>
                  </a:lnTo>
                  <a:lnTo>
                    <a:pt x="651" y="62"/>
                  </a:lnTo>
                  <a:lnTo>
                    <a:pt x="651" y="62"/>
                  </a:lnTo>
                  <a:lnTo>
                    <a:pt x="651" y="62"/>
                  </a:lnTo>
                  <a:close/>
                  <a:moveTo>
                    <a:pt x="772" y="83"/>
                  </a:moveTo>
                  <a:lnTo>
                    <a:pt x="772" y="83"/>
                  </a:lnTo>
                  <a:lnTo>
                    <a:pt x="770" y="81"/>
                  </a:lnTo>
                  <a:lnTo>
                    <a:pt x="770" y="81"/>
                  </a:lnTo>
                  <a:lnTo>
                    <a:pt x="769" y="81"/>
                  </a:lnTo>
                  <a:lnTo>
                    <a:pt x="769" y="81"/>
                  </a:lnTo>
                  <a:lnTo>
                    <a:pt x="764" y="81"/>
                  </a:lnTo>
                  <a:lnTo>
                    <a:pt x="764" y="81"/>
                  </a:lnTo>
                  <a:lnTo>
                    <a:pt x="766" y="83"/>
                  </a:lnTo>
                  <a:lnTo>
                    <a:pt x="772" y="83"/>
                  </a:lnTo>
                  <a:lnTo>
                    <a:pt x="772" y="83"/>
                  </a:lnTo>
                  <a:lnTo>
                    <a:pt x="772" y="83"/>
                  </a:lnTo>
                  <a:close/>
                  <a:moveTo>
                    <a:pt x="535" y="132"/>
                  </a:moveTo>
                  <a:lnTo>
                    <a:pt x="535" y="132"/>
                  </a:lnTo>
                  <a:lnTo>
                    <a:pt x="534" y="132"/>
                  </a:lnTo>
                  <a:lnTo>
                    <a:pt x="534" y="132"/>
                  </a:lnTo>
                  <a:lnTo>
                    <a:pt x="537" y="132"/>
                  </a:lnTo>
                  <a:lnTo>
                    <a:pt x="537" y="132"/>
                  </a:lnTo>
                  <a:lnTo>
                    <a:pt x="537" y="132"/>
                  </a:lnTo>
                  <a:lnTo>
                    <a:pt x="537" y="132"/>
                  </a:lnTo>
                  <a:lnTo>
                    <a:pt x="537" y="132"/>
                  </a:lnTo>
                  <a:lnTo>
                    <a:pt x="535" y="132"/>
                  </a:lnTo>
                  <a:lnTo>
                    <a:pt x="535" y="132"/>
                  </a:lnTo>
                  <a:lnTo>
                    <a:pt x="535" y="132"/>
                  </a:lnTo>
                  <a:close/>
                  <a:moveTo>
                    <a:pt x="453" y="73"/>
                  </a:moveTo>
                  <a:lnTo>
                    <a:pt x="453" y="73"/>
                  </a:lnTo>
                  <a:lnTo>
                    <a:pt x="458" y="73"/>
                  </a:lnTo>
                  <a:lnTo>
                    <a:pt x="458" y="73"/>
                  </a:lnTo>
                  <a:lnTo>
                    <a:pt x="462" y="70"/>
                  </a:lnTo>
                  <a:lnTo>
                    <a:pt x="462" y="70"/>
                  </a:lnTo>
                  <a:lnTo>
                    <a:pt x="456" y="70"/>
                  </a:lnTo>
                  <a:lnTo>
                    <a:pt x="456" y="70"/>
                  </a:lnTo>
                  <a:lnTo>
                    <a:pt x="450" y="72"/>
                  </a:lnTo>
                  <a:lnTo>
                    <a:pt x="450" y="72"/>
                  </a:lnTo>
                  <a:lnTo>
                    <a:pt x="445" y="73"/>
                  </a:lnTo>
                  <a:lnTo>
                    <a:pt x="445" y="73"/>
                  </a:lnTo>
                  <a:lnTo>
                    <a:pt x="439" y="77"/>
                  </a:lnTo>
                  <a:lnTo>
                    <a:pt x="439" y="77"/>
                  </a:lnTo>
                  <a:lnTo>
                    <a:pt x="442" y="77"/>
                  </a:lnTo>
                  <a:lnTo>
                    <a:pt x="442" y="77"/>
                  </a:lnTo>
                  <a:lnTo>
                    <a:pt x="447" y="77"/>
                  </a:lnTo>
                  <a:lnTo>
                    <a:pt x="453" y="73"/>
                  </a:lnTo>
                  <a:lnTo>
                    <a:pt x="453" y="73"/>
                  </a:lnTo>
                  <a:lnTo>
                    <a:pt x="453" y="73"/>
                  </a:lnTo>
                  <a:close/>
                  <a:moveTo>
                    <a:pt x="520" y="143"/>
                  </a:moveTo>
                  <a:lnTo>
                    <a:pt x="520" y="143"/>
                  </a:lnTo>
                  <a:lnTo>
                    <a:pt x="523" y="142"/>
                  </a:lnTo>
                  <a:lnTo>
                    <a:pt x="523" y="142"/>
                  </a:lnTo>
                  <a:lnTo>
                    <a:pt x="524" y="138"/>
                  </a:lnTo>
                  <a:lnTo>
                    <a:pt x="524" y="138"/>
                  </a:lnTo>
                  <a:lnTo>
                    <a:pt x="521" y="138"/>
                  </a:lnTo>
                  <a:lnTo>
                    <a:pt x="521" y="138"/>
                  </a:lnTo>
                  <a:lnTo>
                    <a:pt x="520" y="138"/>
                  </a:lnTo>
                  <a:lnTo>
                    <a:pt x="520" y="138"/>
                  </a:lnTo>
                  <a:lnTo>
                    <a:pt x="520" y="135"/>
                  </a:lnTo>
                  <a:lnTo>
                    <a:pt x="520" y="135"/>
                  </a:lnTo>
                  <a:lnTo>
                    <a:pt x="518" y="135"/>
                  </a:lnTo>
                  <a:lnTo>
                    <a:pt x="518" y="135"/>
                  </a:lnTo>
                  <a:lnTo>
                    <a:pt x="513" y="132"/>
                  </a:lnTo>
                  <a:lnTo>
                    <a:pt x="513" y="132"/>
                  </a:lnTo>
                  <a:lnTo>
                    <a:pt x="512" y="132"/>
                  </a:lnTo>
                  <a:lnTo>
                    <a:pt x="512" y="132"/>
                  </a:lnTo>
                  <a:lnTo>
                    <a:pt x="512" y="132"/>
                  </a:lnTo>
                  <a:lnTo>
                    <a:pt x="512" y="132"/>
                  </a:lnTo>
                  <a:lnTo>
                    <a:pt x="508" y="132"/>
                  </a:lnTo>
                  <a:lnTo>
                    <a:pt x="508" y="132"/>
                  </a:lnTo>
                  <a:lnTo>
                    <a:pt x="508" y="132"/>
                  </a:lnTo>
                  <a:lnTo>
                    <a:pt x="508" y="132"/>
                  </a:lnTo>
                  <a:lnTo>
                    <a:pt x="505" y="129"/>
                  </a:lnTo>
                  <a:lnTo>
                    <a:pt x="505" y="129"/>
                  </a:lnTo>
                  <a:lnTo>
                    <a:pt x="505" y="129"/>
                  </a:lnTo>
                  <a:lnTo>
                    <a:pt x="505" y="129"/>
                  </a:lnTo>
                  <a:lnTo>
                    <a:pt x="505" y="129"/>
                  </a:lnTo>
                  <a:lnTo>
                    <a:pt x="505" y="129"/>
                  </a:lnTo>
                  <a:lnTo>
                    <a:pt x="505" y="127"/>
                  </a:lnTo>
                  <a:lnTo>
                    <a:pt x="505" y="127"/>
                  </a:lnTo>
                  <a:lnTo>
                    <a:pt x="505" y="126"/>
                  </a:lnTo>
                  <a:lnTo>
                    <a:pt x="505" y="126"/>
                  </a:lnTo>
                  <a:lnTo>
                    <a:pt x="508" y="124"/>
                  </a:lnTo>
                  <a:lnTo>
                    <a:pt x="508" y="124"/>
                  </a:lnTo>
                  <a:lnTo>
                    <a:pt x="512" y="123"/>
                  </a:lnTo>
                  <a:lnTo>
                    <a:pt x="512" y="123"/>
                  </a:lnTo>
                  <a:lnTo>
                    <a:pt x="512" y="119"/>
                  </a:lnTo>
                  <a:lnTo>
                    <a:pt x="512" y="119"/>
                  </a:lnTo>
                  <a:lnTo>
                    <a:pt x="512" y="116"/>
                  </a:lnTo>
                  <a:lnTo>
                    <a:pt x="512" y="116"/>
                  </a:lnTo>
                  <a:lnTo>
                    <a:pt x="516" y="110"/>
                  </a:lnTo>
                  <a:lnTo>
                    <a:pt x="516" y="110"/>
                  </a:lnTo>
                  <a:lnTo>
                    <a:pt x="518" y="108"/>
                  </a:lnTo>
                  <a:lnTo>
                    <a:pt x="518" y="108"/>
                  </a:lnTo>
                  <a:lnTo>
                    <a:pt x="520" y="107"/>
                  </a:lnTo>
                  <a:lnTo>
                    <a:pt x="520" y="107"/>
                  </a:lnTo>
                  <a:lnTo>
                    <a:pt x="518" y="104"/>
                  </a:lnTo>
                  <a:lnTo>
                    <a:pt x="518" y="104"/>
                  </a:lnTo>
                  <a:lnTo>
                    <a:pt x="516" y="104"/>
                  </a:lnTo>
                  <a:lnTo>
                    <a:pt x="516" y="104"/>
                  </a:lnTo>
                  <a:lnTo>
                    <a:pt x="513" y="100"/>
                  </a:lnTo>
                  <a:lnTo>
                    <a:pt x="513" y="100"/>
                  </a:lnTo>
                  <a:lnTo>
                    <a:pt x="508" y="100"/>
                  </a:lnTo>
                  <a:lnTo>
                    <a:pt x="508" y="100"/>
                  </a:lnTo>
                  <a:lnTo>
                    <a:pt x="505" y="100"/>
                  </a:lnTo>
                  <a:lnTo>
                    <a:pt x="505" y="100"/>
                  </a:lnTo>
                  <a:lnTo>
                    <a:pt x="505" y="100"/>
                  </a:lnTo>
                  <a:lnTo>
                    <a:pt x="505" y="100"/>
                  </a:lnTo>
                  <a:lnTo>
                    <a:pt x="502" y="100"/>
                  </a:lnTo>
                  <a:lnTo>
                    <a:pt x="502" y="100"/>
                  </a:lnTo>
                  <a:lnTo>
                    <a:pt x="502" y="100"/>
                  </a:lnTo>
                  <a:lnTo>
                    <a:pt x="502" y="100"/>
                  </a:lnTo>
                  <a:lnTo>
                    <a:pt x="501" y="104"/>
                  </a:lnTo>
                  <a:lnTo>
                    <a:pt x="501" y="104"/>
                  </a:lnTo>
                  <a:lnTo>
                    <a:pt x="497" y="104"/>
                  </a:lnTo>
                  <a:lnTo>
                    <a:pt x="497" y="104"/>
                  </a:lnTo>
                  <a:lnTo>
                    <a:pt x="494" y="108"/>
                  </a:lnTo>
                  <a:lnTo>
                    <a:pt x="494" y="108"/>
                  </a:lnTo>
                  <a:lnTo>
                    <a:pt x="491" y="113"/>
                  </a:lnTo>
                  <a:lnTo>
                    <a:pt x="491" y="113"/>
                  </a:lnTo>
                  <a:lnTo>
                    <a:pt x="489" y="115"/>
                  </a:lnTo>
                  <a:lnTo>
                    <a:pt x="489" y="115"/>
                  </a:lnTo>
                  <a:lnTo>
                    <a:pt x="491" y="118"/>
                  </a:lnTo>
                  <a:lnTo>
                    <a:pt x="491" y="118"/>
                  </a:lnTo>
                  <a:lnTo>
                    <a:pt x="488" y="118"/>
                  </a:lnTo>
                  <a:lnTo>
                    <a:pt x="488" y="118"/>
                  </a:lnTo>
                  <a:lnTo>
                    <a:pt x="485" y="119"/>
                  </a:lnTo>
                  <a:lnTo>
                    <a:pt x="485" y="119"/>
                  </a:lnTo>
                  <a:lnTo>
                    <a:pt x="482" y="119"/>
                  </a:lnTo>
                  <a:lnTo>
                    <a:pt x="482" y="119"/>
                  </a:lnTo>
                  <a:lnTo>
                    <a:pt x="480" y="119"/>
                  </a:lnTo>
                  <a:lnTo>
                    <a:pt x="480" y="119"/>
                  </a:lnTo>
                  <a:lnTo>
                    <a:pt x="483" y="116"/>
                  </a:lnTo>
                  <a:lnTo>
                    <a:pt x="483" y="116"/>
                  </a:lnTo>
                  <a:lnTo>
                    <a:pt x="482" y="116"/>
                  </a:lnTo>
                  <a:lnTo>
                    <a:pt x="482" y="116"/>
                  </a:lnTo>
                  <a:lnTo>
                    <a:pt x="483" y="113"/>
                  </a:lnTo>
                  <a:lnTo>
                    <a:pt x="483" y="113"/>
                  </a:lnTo>
                  <a:lnTo>
                    <a:pt x="488" y="108"/>
                  </a:lnTo>
                  <a:lnTo>
                    <a:pt x="488" y="108"/>
                  </a:lnTo>
                  <a:lnTo>
                    <a:pt x="486" y="108"/>
                  </a:lnTo>
                  <a:lnTo>
                    <a:pt x="486" y="108"/>
                  </a:lnTo>
                  <a:lnTo>
                    <a:pt x="485" y="107"/>
                  </a:lnTo>
                  <a:lnTo>
                    <a:pt x="485" y="107"/>
                  </a:lnTo>
                  <a:lnTo>
                    <a:pt x="483" y="107"/>
                  </a:lnTo>
                  <a:lnTo>
                    <a:pt x="483" y="107"/>
                  </a:lnTo>
                  <a:lnTo>
                    <a:pt x="483" y="104"/>
                  </a:lnTo>
                  <a:lnTo>
                    <a:pt x="483" y="104"/>
                  </a:lnTo>
                  <a:lnTo>
                    <a:pt x="482" y="104"/>
                  </a:lnTo>
                  <a:lnTo>
                    <a:pt x="482" y="104"/>
                  </a:lnTo>
                  <a:lnTo>
                    <a:pt x="480" y="104"/>
                  </a:lnTo>
                  <a:lnTo>
                    <a:pt x="480" y="104"/>
                  </a:lnTo>
                  <a:lnTo>
                    <a:pt x="477" y="104"/>
                  </a:lnTo>
                  <a:lnTo>
                    <a:pt x="477" y="104"/>
                  </a:lnTo>
                  <a:lnTo>
                    <a:pt x="474" y="104"/>
                  </a:lnTo>
                  <a:lnTo>
                    <a:pt x="474" y="104"/>
                  </a:lnTo>
                  <a:lnTo>
                    <a:pt x="474" y="107"/>
                  </a:lnTo>
                  <a:lnTo>
                    <a:pt x="474" y="107"/>
                  </a:lnTo>
                  <a:lnTo>
                    <a:pt x="477" y="107"/>
                  </a:lnTo>
                  <a:lnTo>
                    <a:pt x="477" y="107"/>
                  </a:lnTo>
                  <a:lnTo>
                    <a:pt x="480" y="107"/>
                  </a:lnTo>
                  <a:lnTo>
                    <a:pt x="480" y="107"/>
                  </a:lnTo>
                  <a:lnTo>
                    <a:pt x="477" y="107"/>
                  </a:lnTo>
                  <a:lnTo>
                    <a:pt x="477" y="107"/>
                  </a:lnTo>
                  <a:lnTo>
                    <a:pt x="474" y="107"/>
                  </a:lnTo>
                  <a:lnTo>
                    <a:pt x="474" y="107"/>
                  </a:lnTo>
                  <a:lnTo>
                    <a:pt x="477" y="108"/>
                  </a:lnTo>
                  <a:lnTo>
                    <a:pt x="477" y="108"/>
                  </a:lnTo>
                  <a:lnTo>
                    <a:pt x="477" y="110"/>
                  </a:lnTo>
                  <a:lnTo>
                    <a:pt x="477" y="110"/>
                  </a:lnTo>
                  <a:lnTo>
                    <a:pt x="474" y="108"/>
                  </a:lnTo>
                  <a:lnTo>
                    <a:pt x="474" y="108"/>
                  </a:lnTo>
                  <a:lnTo>
                    <a:pt x="474" y="110"/>
                  </a:lnTo>
                  <a:lnTo>
                    <a:pt x="474" y="110"/>
                  </a:lnTo>
                  <a:lnTo>
                    <a:pt x="470" y="110"/>
                  </a:lnTo>
                  <a:lnTo>
                    <a:pt x="470" y="110"/>
                  </a:lnTo>
                  <a:lnTo>
                    <a:pt x="467" y="108"/>
                  </a:lnTo>
                  <a:lnTo>
                    <a:pt x="467" y="108"/>
                  </a:lnTo>
                  <a:lnTo>
                    <a:pt x="464" y="110"/>
                  </a:lnTo>
                  <a:lnTo>
                    <a:pt x="464" y="110"/>
                  </a:lnTo>
                  <a:lnTo>
                    <a:pt x="462" y="111"/>
                  </a:lnTo>
                  <a:lnTo>
                    <a:pt x="462" y="111"/>
                  </a:lnTo>
                  <a:lnTo>
                    <a:pt x="461" y="111"/>
                  </a:lnTo>
                  <a:lnTo>
                    <a:pt x="461" y="111"/>
                  </a:lnTo>
                  <a:lnTo>
                    <a:pt x="462" y="110"/>
                  </a:lnTo>
                  <a:lnTo>
                    <a:pt x="462" y="110"/>
                  </a:lnTo>
                  <a:lnTo>
                    <a:pt x="459" y="111"/>
                  </a:lnTo>
                  <a:lnTo>
                    <a:pt x="459" y="111"/>
                  </a:lnTo>
                  <a:lnTo>
                    <a:pt x="455" y="113"/>
                  </a:lnTo>
                  <a:lnTo>
                    <a:pt x="455" y="113"/>
                  </a:lnTo>
                  <a:lnTo>
                    <a:pt x="458" y="111"/>
                  </a:lnTo>
                  <a:lnTo>
                    <a:pt x="458" y="111"/>
                  </a:lnTo>
                  <a:lnTo>
                    <a:pt x="461" y="110"/>
                  </a:lnTo>
                  <a:lnTo>
                    <a:pt x="461" y="110"/>
                  </a:lnTo>
                  <a:lnTo>
                    <a:pt x="464" y="108"/>
                  </a:lnTo>
                  <a:lnTo>
                    <a:pt x="464" y="108"/>
                  </a:lnTo>
                  <a:lnTo>
                    <a:pt x="467" y="107"/>
                  </a:lnTo>
                  <a:lnTo>
                    <a:pt x="467" y="107"/>
                  </a:lnTo>
                  <a:lnTo>
                    <a:pt x="462" y="107"/>
                  </a:lnTo>
                  <a:lnTo>
                    <a:pt x="462" y="107"/>
                  </a:lnTo>
                  <a:lnTo>
                    <a:pt x="456" y="104"/>
                  </a:lnTo>
                  <a:lnTo>
                    <a:pt x="456" y="104"/>
                  </a:lnTo>
                  <a:lnTo>
                    <a:pt x="451" y="104"/>
                  </a:lnTo>
                  <a:lnTo>
                    <a:pt x="451" y="104"/>
                  </a:lnTo>
                  <a:lnTo>
                    <a:pt x="445" y="107"/>
                  </a:lnTo>
                  <a:lnTo>
                    <a:pt x="445" y="107"/>
                  </a:lnTo>
                  <a:lnTo>
                    <a:pt x="447" y="107"/>
                  </a:lnTo>
                  <a:lnTo>
                    <a:pt x="447" y="107"/>
                  </a:lnTo>
                  <a:lnTo>
                    <a:pt x="445" y="108"/>
                  </a:lnTo>
                  <a:lnTo>
                    <a:pt x="445" y="108"/>
                  </a:lnTo>
                  <a:lnTo>
                    <a:pt x="442" y="108"/>
                  </a:lnTo>
                  <a:lnTo>
                    <a:pt x="442" y="108"/>
                  </a:lnTo>
                  <a:lnTo>
                    <a:pt x="435" y="108"/>
                  </a:lnTo>
                  <a:lnTo>
                    <a:pt x="435" y="108"/>
                  </a:lnTo>
                  <a:lnTo>
                    <a:pt x="439" y="107"/>
                  </a:lnTo>
                  <a:lnTo>
                    <a:pt x="439" y="107"/>
                  </a:lnTo>
                  <a:lnTo>
                    <a:pt x="442" y="107"/>
                  </a:lnTo>
                  <a:lnTo>
                    <a:pt x="442" y="107"/>
                  </a:lnTo>
                  <a:lnTo>
                    <a:pt x="448" y="104"/>
                  </a:lnTo>
                  <a:lnTo>
                    <a:pt x="448" y="104"/>
                  </a:lnTo>
                  <a:lnTo>
                    <a:pt x="448" y="100"/>
                  </a:lnTo>
                  <a:lnTo>
                    <a:pt x="448" y="100"/>
                  </a:lnTo>
                  <a:lnTo>
                    <a:pt x="445" y="100"/>
                  </a:lnTo>
                  <a:lnTo>
                    <a:pt x="445" y="100"/>
                  </a:lnTo>
                  <a:lnTo>
                    <a:pt x="439" y="100"/>
                  </a:lnTo>
                  <a:lnTo>
                    <a:pt x="439" y="100"/>
                  </a:lnTo>
                  <a:lnTo>
                    <a:pt x="421" y="104"/>
                  </a:lnTo>
                  <a:lnTo>
                    <a:pt x="421" y="104"/>
                  </a:lnTo>
                  <a:lnTo>
                    <a:pt x="412" y="107"/>
                  </a:lnTo>
                  <a:lnTo>
                    <a:pt x="412" y="107"/>
                  </a:lnTo>
                  <a:lnTo>
                    <a:pt x="404" y="108"/>
                  </a:lnTo>
                  <a:lnTo>
                    <a:pt x="404" y="108"/>
                  </a:lnTo>
                  <a:lnTo>
                    <a:pt x="397" y="110"/>
                  </a:lnTo>
                  <a:lnTo>
                    <a:pt x="397" y="110"/>
                  </a:lnTo>
                  <a:lnTo>
                    <a:pt x="401" y="111"/>
                  </a:lnTo>
                  <a:lnTo>
                    <a:pt x="401" y="111"/>
                  </a:lnTo>
                  <a:lnTo>
                    <a:pt x="396" y="113"/>
                  </a:lnTo>
                  <a:lnTo>
                    <a:pt x="396" y="113"/>
                  </a:lnTo>
                  <a:lnTo>
                    <a:pt x="389" y="115"/>
                  </a:lnTo>
                  <a:lnTo>
                    <a:pt x="389" y="115"/>
                  </a:lnTo>
                  <a:lnTo>
                    <a:pt x="383" y="116"/>
                  </a:lnTo>
                  <a:lnTo>
                    <a:pt x="383" y="116"/>
                  </a:lnTo>
                  <a:lnTo>
                    <a:pt x="383" y="118"/>
                  </a:lnTo>
                  <a:lnTo>
                    <a:pt x="383" y="118"/>
                  </a:lnTo>
                  <a:lnTo>
                    <a:pt x="383" y="121"/>
                  </a:lnTo>
                  <a:lnTo>
                    <a:pt x="383" y="121"/>
                  </a:lnTo>
                  <a:lnTo>
                    <a:pt x="386" y="119"/>
                  </a:lnTo>
                  <a:lnTo>
                    <a:pt x="386" y="119"/>
                  </a:lnTo>
                  <a:lnTo>
                    <a:pt x="389" y="121"/>
                  </a:lnTo>
                  <a:lnTo>
                    <a:pt x="389" y="121"/>
                  </a:lnTo>
                  <a:lnTo>
                    <a:pt x="393" y="119"/>
                  </a:lnTo>
                  <a:lnTo>
                    <a:pt x="393" y="119"/>
                  </a:lnTo>
                  <a:lnTo>
                    <a:pt x="391" y="121"/>
                  </a:lnTo>
                  <a:lnTo>
                    <a:pt x="391" y="121"/>
                  </a:lnTo>
                  <a:lnTo>
                    <a:pt x="389" y="121"/>
                  </a:lnTo>
                  <a:lnTo>
                    <a:pt x="389" y="121"/>
                  </a:lnTo>
                  <a:lnTo>
                    <a:pt x="386" y="123"/>
                  </a:lnTo>
                  <a:lnTo>
                    <a:pt x="386" y="123"/>
                  </a:lnTo>
                  <a:lnTo>
                    <a:pt x="389" y="123"/>
                  </a:lnTo>
                  <a:lnTo>
                    <a:pt x="389" y="123"/>
                  </a:lnTo>
                  <a:lnTo>
                    <a:pt x="389" y="124"/>
                  </a:lnTo>
                  <a:lnTo>
                    <a:pt x="389" y="124"/>
                  </a:lnTo>
                  <a:lnTo>
                    <a:pt x="396" y="123"/>
                  </a:lnTo>
                  <a:lnTo>
                    <a:pt x="396" y="123"/>
                  </a:lnTo>
                  <a:lnTo>
                    <a:pt x="405" y="121"/>
                  </a:lnTo>
                  <a:lnTo>
                    <a:pt x="405" y="121"/>
                  </a:lnTo>
                  <a:lnTo>
                    <a:pt x="412" y="121"/>
                  </a:lnTo>
                  <a:lnTo>
                    <a:pt x="412" y="121"/>
                  </a:lnTo>
                  <a:lnTo>
                    <a:pt x="415" y="121"/>
                  </a:lnTo>
                  <a:lnTo>
                    <a:pt x="415" y="121"/>
                  </a:lnTo>
                  <a:lnTo>
                    <a:pt x="410" y="123"/>
                  </a:lnTo>
                  <a:lnTo>
                    <a:pt x="410" y="123"/>
                  </a:lnTo>
                  <a:lnTo>
                    <a:pt x="408" y="123"/>
                  </a:lnTo>
                  <a:lnTo>
                    <a:pt x="408" y="123"/>
                  </a:lnTo>
                  <a:lnTo>
                    <a:pt x="402" y="124"/>
                  </a:lnTo>
                  <a:lnTo>
                    <a:pt x="402" y="124"/>
                  </a:lnTo>
                  <a:lnTo>
                    <a:pt x="396" y="124"/>
                  </a:lnTo>
                  <a:lnTo>
                    <a:pt x="396" y="124"/>
                  </a:lnTo>
                  <a:lnTo>
                    <a:pt x="386" y="126"/>
                  </a:lnTo>
                  <a:lnTo>
                    <a:pt x="386" y="126"/>
                  </a:lnTo>
                  <a:lnTo>
                    <a:pt x="380" y="127"/>
                  </a:lnTo>
                  <a:lnTo>
                    <a:pt x="380" y="127"/>
                  </a:lnTo>
                  <a:lnTo>
                    <a:pt x="377" y="129"/>
                  </a:lnTo>
                  <a:lnTo>
                    <a:pt x="377" y="129"/>
                  </a:lnTo>
                  <a:lnTo>
                    <a:pt x="380" y="129"/>
                  </a:lnTo>
                  <a:lnTo>
                    <a:pt x="380" y="129"/>
                  </a:lnTo>
                  <a:lnTo>
                    <a:pt x="380" y="132"/>
                  </a:lnTo>
                  <a:lnTo>
                    <a:pt x="380" y="132"/>
                  </a:lnTo>
                  <a:lnTo>
                    <a:pt x="394" y="132"/>
                  </a:lnTo>
                  <a:lnTo>
                    <a:pt x="394" y="132"/>
                  </a:lnTo>
                  <a:lnTo>
                    <a:pt x="402" y="132"/>
                  </a:lnTo>
                  <a:lnTo>
                    <a:pt x="402" y="132"/>
                  </a:lnTo>
                  <a:lnTo>
                    <a:pt x="410" y="132"/>
                  </a:lnTo>
                  <a:lnTo>
                    <a:pt x="410" y="132"/>
                  </a:lnTo>
                  <a:lnTo>
                    <a:pt x="421" y="132"/>
                  </a:lnTo>
                  <a:lnTo>
                    <a:pt x="421" y="132"/>
                  </a:lnTo>
                  <a:lnTo>
                    <a:pt x="424" y="132"/>
                  </a:lnTo>
                  <a:lnTo>
                    <a:pt x="424" y="132"/>
                  </a:lnTo>
                  <a:lnTo>
                    <a:pt x="428" y="132"/>
                  </a:lnTo>
                  <a:lnTo>
                    <a:pt x="428" y="132"/>
                  </a:lnTo>
                  <a:lnTo>
                    <a:pt x="429" y="135"/>
                  </a:lnTo>
                  <a:lnTo>
                    <a:pt x="429" y="135"/>
                  </a:lnTo>
                  <a:lnTo>
                    <a:pt x="431" y="135"/>
                  </a:lnTo>
                  <a:lnTo>
                    <a:pt x="431" y="135"/>
                  </a:lnTo>
                  <a:lnTo>
                    <a:pt x="429" y="135"/>
                  </a:lnTo>
                  <a:lnTo>
                    <a:pt x="429" y="135"/>
                  </a:lnTo>
                  <a:lnTo>
                    <a:pt x="426" y="135"/>
                  </a:lnTo>
                  <a:lnTo>
                    <a:pt x="426" y="135"/>
                  </a:lnTo>
                  <a:lnTo>
                    <a:pt x="418" y="138"/>
                  </a:lnTo>
                  <a:lnTo>
                    <a:pt x="418" y="138"/>
                  </a:lnTo>
                  <a:lnTo>
                    <a:pt x="405" y="135"/>
                  </a:lnTo>
                  <a:lnTo>
                    <a:pt x="405" y="135"/>
                  </a:lnTo>
                  <a:lnTo>
                    <a:pt x="386" y="138"/>
                  </a:lnTo>
                  <a:lnTo>
                    <a:pt x="386" y="138"/>
                  </a:lnTo>
                  <a:lnTo>
                    <a:pt x="380" y="138"/>
                  </a:lnTo>
                  <a:lnTo>
                    <a:pt x="380" y="138"/>
                  </a:lnTo>
                  <a:lnTo>
                    <a:pt x="374" y="138"/>
                  </a:lnTo>
                  <a:lnTo>
                    <a:pt x="374" y="138"/>
                  </a:lnTo>
                  <a:lnTo>
                    <a:pt x="372" y="142"/>
                  </a:lnTo>
                  <a:lnTo>
                    <a:pt x="372" y="142"/>
                  </a:lnTo>
                  <a:lnTo>
                    <a:pt x="372" y="143"/>
                  </a:lnTo>
                  <a:lnTo>
                    <a:pt x="372" y="143"/>
                  </a:lnTo>
                  <a:lnTo>
                    <a:pt x="374" y="145"/>
                  </a:lnTo>
                  <a:lnTo>
                    <a:pt x="374" y="145"/>
                  </a:lnTo>
                  <a:lnTo>
                    <a:pt x="374" y="146"/>
                  </a:lnTo>
                  <a:lnTo>
                    <a:pt x="374" y="146"/>
                  </a:lnTo>
                  <a:lnTo>
                    <a:pt x="377" y="148"/>
                  </a:lnTo>
                  <a:lnTo>
                    <a:pt x="377" y="148"/>
                  </a:lnTo>
                  <a:lnTo>
                    <a:pt x="380" y="148"/>
                  </a:lnTo>
                  <a:lnTo>
                    <a:pt x="380" y="148"/>
                  </a:lnTo>
                  <a:lnTo>
                    <a:pt x="389" y="148"/>
                  </a:lnTo>
                  <a:lnTo>
                    <a:pt x="389" y="148"/>
                  </a:lnTo>
                  <a:lnTo>
                    <a:pt x="397" y="150"/>
                  </a:lnTo>
                  <a:lnTo>
                    <a:pt x="397" y="150"/>
                  </a:lnTo>
                  <a:lnTo>
                    <a:pt x="393" y="153"/>
                  </a:lnTo>
                  <a:lnTo>
                    <a:pt x="393" y="153"/>
                  </a:lnTo>
                  <a:lnTo>
                    <a:pt x="391" y="156"/>
                  </a:lnTo>
                  <a:lnTo>
                    <a:pt x="391" y="156"/>
                  </a:lnTo>
                  <a:lnTo>
                    <a:pt x="393" y="158"/>
                  </a:lnTo>
                  <a:lnTo>
                    <a:pt x="393" y="158"/>
                  </a:lnTo>
                  <a:lnTo>
                    <a:pt x="391" y="158"/>
                  </a:lnTo>
                  <a:lnTo>
                    <a:pt x="391" y="158"/>
                  </a:lnTo>
                  <a:lnTo>
                    <a:pt x="394" y="159"/>
                  </a:lnTo>
                  <a:lnTo>
                    <a:pt x="394" y="159"/>
                  </a:lnTo>
                  <a:lnTo>
                    <a:pt x="396" y="159"/>
                  </a:lnTo>
                  <a:lnTo>
                    <a:pt x="396" y="159"/>
                  </a:lnTo>
                  <a:lnTo>
                    <a:pt x="401" y="158"/>
                  </a:lnTo>
                  <a:lnTo>
                    <a:pt x="401" y="158"/>
                  </a:lnTo>
                  <a:lnTo>
                    <a:pt x="407" y="158"/>
                  </a:lnTo>
                  <a:lnTo>
                    <a:pt x="407" y="158"/>
                  </a:lnTo>
                  <a:lnTo>
                    <a:pt x="410" y="158"/>
                  </a:lnTo>
                  <a:lnTo>
                    <a:pt x="410" y="158"/>
                  </a:lnTo>
                  <a:lnTo>
                    <a:pt x="415" y="156"/>
                  </a:lnTo>
                  <a:lnTo>
                    <a:pt x="415" y="156"/>
                  </a:lnTo>
                  <a:lnTo>
                    <a:pt x="415" y="158"/>
                  </a:lnTo>
                  <a:lnTo>
                    <a:pt x="415" y="158"/>
                  </a:lnTo>
                  <a:lnTo>
                    <a:pt x="418" y="158"/>
                  </a:lnTo>
                  <a:lnTo>
                    <a:pt x="418" y="158"/>
                  </a:lnTo>
                  <a:lnTo>
                    <a:pt x="424" y="156"/>
                  </a:lnTo>
                  <a:lnTo>
                    <a:pt x="424" y="156"/>
                  </a:lnTo>
                  <a:lnTo>
                    <a:pt x="434" y="154"/>
                  </a:lnTo>
                  <a:lnTo>
                    <a:pt x="434" y="154"/>
                  </a:lnTo>
                  <a:lnTo>
                    <a:pt x="439" y="153"/>
                  </a:lnTo>
                  <a:lnTo>
                    <a:pt x="439" y="153"/>
                  </a:lnTo>
                  <a:lnTo>
                    <a:pt x="442" y="153"/>
                  </a:lnTo>
                  <a:lnTo>
                    <a:pt x="442" y="153"/>
                  </a:lnTo>
                  <a:lnTo>
                    <a:pt x="453" y="151"/>
                  </a:lnTo>
                  <a:lnTo>
                    <a:pt x="453" y="151"/>
                  </a:lnTo>
                  <a:lnTo>
                    <a:pt x="461" y="146"/>
                  </a:lnTo>
                  <a:lnTo>
                    <a:pt x="461" y="146"/>
                  </a:lnTo>
                  <a:lnTo>
                    <a:pt x="466" y="146"/>
                  </a:lnTo>
                  <a:lnTo>
                    <a:pt x="466" y="146"/>
                  </a:lnTo>
                  <a:lnTo>
                    <a:pt x="467" y="146"/>
                  </a:lnTo>
                  <a:lnTo>
                    <a:pt x="467" y="146"/>
                  </a:lnTo>
                  <a:lnTo>
                    <a:pt x="466" y="148"/>
                  </a:lnTo>
                  <a:lnTo>
                    <a:pt x="466" y="148"/>
                  </a:lnTo>
                  <a:lnTo>
                    <a:pt x="464" y="150"/>
                  </a:lnTo>
                  <a:lnTo>
                    <a:pt x="464" y="150"/>
                  </a:lnTo>
                  <a:lnTo>
                    <a:pt x="467" y="150"/>
                  </a:lnTo>
                  <a:lnTo>
                    <a:pt x="467" y="150"/>
                  </a:lnTo>
                  <a:lnTo>
                    <a:pt x="467" y="150"/>
                  </a:lnTo>
                  <a:lnTo>
                    <a:pt x="467" y="150"/>
                  </a:lnTo>
                  <a:lnTo>
                    <a:pt x="470" y="150"/>
                  </a:lnTo>
                  <a:lnTo>
                    <a:pt x="470" y="150"/>
                  </a:lnTo>
                  <a:lnTo>
                    <a:pt x="474" y="150"/>
                  </a:lnTo>
                  <a:lnTo>
                    <a:pt x="474" y="150"/>
                  </a:lnTo>
                  <a:lnTo>
                    <a:pt x="474" y="151"/>
                  </a:lnTo>
                  <a:lnTo>
                    <a:pt x="474" y="151"/>
                  </a:lnTo>
                  <a:lnTo>
                    <a:pt x="470" y="153"/>
                  </a:lnTo>
                  <a:lnTo>
                    <a:pt x="470" y="153"/>
                  </a:lnTo>
                  <a:lnTo>
                    <a:pt x="474" y="153"/>
                  </a:lnTo>
                  <a:lnTo>
                    <a:pt x="474" y="153"/>
                  </a:lnTo>
                  <a:lnTo>
                    <a:pt x="477" y="153"/>
                  </a:lnTo>
                  <a:lnTo>
                    <a:pt x="477" y="153"/>
                  </a:lnTo>
                  <a:lnTo>
                    <a:pt x="480" y="153"/>
                  </a:lnTo>
                  <a:lnTo>
                    <a:pt x="480" y="153"/>
                  </a:lnTo>
                  <a:lnTo>
                    <a:pt x="483" y="154"/>
                  </a:lnTo>
                  <a:lnTo>
                    <a:pt x="483" y="154"/>
                  </a:lnTo>
                  <a:lnTo>
                    <a:pt x="488" y="154"/>
                  </a:lnTo>
                  <a:lnTo>
                    <a:pt x="488" y="154"/>
                  </a:lnTo>
                  <a:lnTo>
                    <a:pt x="493" y="154"/>
                  </a:lnTo>
                  <a:lnTo>
                    <a:pt x="493" y="154"/>
                  </a:lnTo>
                  <a:lnTo>
                    <a:pt x="497" y="153"/>
                  </a:lnTo>
                  <a:lnTo>
                    <a:pt x="497" y="153"/>
                  </a:lnTo>
                  <a:lnTo>
                    <a:pt x="502" y="151"/>
                  </a:lnTo>
                  <a:lnTo>
                    <a:pt x="502" y="151"/>
                  </a:lnTo>
                  <a:lnTo>
                    <a:pt x="505" y="151"/>
                  </a:lnTo>
                  <a:lnTo>
                    <a:pt x="505" y="151"/>
                  </a:lnTo>
                  <a:lnTo>
                    <a:pt x="505" y="150"/>
                  </a:lnTo>
                  <a:lnTo>
                    <a:pt x="505" y="150"/>
                  </a:lnTo>
                  <a:lnTo>
                    <a:pt x="505" y="148"/>
                  </a:lnTo>
                  <a:lnTo>
                    <a:pt x="505" y="148"/>
                  </a:lnTo>
                  <a:lnTo>
                    <a:pt x="508" y="146"/>
                  </a:lnTo>
                  <a:lnTo>
                    <a:pt x="508" y="146"/>
                  </a:lnTo>
                  <a:lnTo>
                    <a:pt x="505" y="145"/>
                  </a:lnTo>
                  <a:lnTo>
                    <a:pt x="505" y="145"/>
                  </a:lnTo>
                  <a:lnTo>
                    <a:pt x="501" y="146"/>
                  </a:lnTo>
                  <a:lnTo>
                    <a:pt x="501" y="146"/>
                  </a:lnTo>
                  <a:lnTo>
                    <a:pt x="496" y="148"/>
                  </a:lnTo>
                  <a:lnTo>
                    <a:pt x="496" y="148"/>
                  </a:lnTo>
                  <a:lnTo>
                    <a:pt x="497" y="146"/>
                  </a:lnTo>
                  <a:lnTo>
                    <a:pt x="497" y="146"/>
                  </a:lnTo>
                  <a:lnTo>
                    <a:pt x="497" y="145"/>
                  </a:lnTo>
                  <a:lnTo>
                    <a:pt x="497" y="145"/>
                  </a:lnTo>
                  <a:lnTo>
                    <a:pt x="496" y="145"/>
                  </a:lnTo>
                  <a:lnTo>
                    <a:pt x="496" y="145"/>
                  </a:lnTo>
                  <a:lnTo>
                    <a:pt x="497" y="143"/>
                  </a:lnTo>
                  <a:lnTo>
                    <a:pt x="497" y="143"/>
                  </a:lnTo>
                  <a:lnTo>
                    <a:pt x="499" y="143"/>
                  </a:lnTo>
                  <a:lnTo>
                    <a:pt x="499" y="143"/>
                  </a:lnTo>
                  <a:lnTo>
                    <a:pt x="501" y="145"/>
                  </a:lnTo>
                  <a:lnTo>
                    <a:pt x="501" y="145"/>
                  </a:lnTo>
                  <a:lnTo>
                    <a:pt x="502" y="145"/>
                  </a:lnTo>
                  <a:lnTo>
                    <a:pt x="502" y="145"/>
                  </a:lnTo>
                  <a:lnTo>
                    <a:pt x="505" y="142"/>
                  </a:lnTo>
                  <a:lnTo>
                    <a:pt x="505" y="142"/>
                  </a:lnTo>
                  <a:lnTo>
                    <a:pt x="508" y="142"/>
                  </a:lnTo>
                  <a:lnTo>
                    <a:pt x="508" y="142"/>
                  </a:lnTo>
                  <a:lnTo>
                    <a:pt x="512" y="140"/>
                  </a:lnTo>
                  <a:lnTo>
                    <a:pt x="512" y="140"/>
                  </a:lnTo>
                  <a:lnTo>
                    <a:pt x="513" y="142"/>
                  </a:lnTo>
                  <a:lnTo>
                    <a:pt x="513" y="142"/>
                  </a:lnTo>
                  <a:lnTo>
                    <a:pt x="515" y="142"/>
                  </a:lnTo>
                  <a:lnTo>
                    <a:pt x="515" y="142"/>
                  </a:lnTo>
                  <a:lnTo>
                    <a:pt x="518" y="140"/>
                  </a:lnTo>
                  <a:lnTo>
                    <a:pt x="518" y="140"/>
                  </a:lnTo>
                  <a:lnTo>
                    <a:pt x="516" y="142"/>
                  </a:lnTo>
                  <a:lnTo>
                    <a:pt x="520" y="143"/>
                  </a:lnTo>
                  <a:lnTo>
                    <a:pt x="520" y="143"/>
                  </a:lnTo>
                  <a:lnTo>
                    <a:pt x="520" y="143"/>
                  </a:lnTo>
                  <a:close/>
                  <a:moveTo>
                    <a:pt x="512" y="154"/>
                  </a:moveTo>
                  <a:lnTo>
                    <a:pt x="512" y="154"/>
                  </a:lnTo>
                  <a:lnTo>
                    <a:pt x="515" y="154"/>
                  </a:lnTo>
                  <a:lnTo>
                    <a:pt x="515" y="154"/>
                  </a:lnTo>
                  <a:lnTo>
                    <a:pt x="516" y="153"/>
                  </a:lnTo>
                  <a:lnTo>
                    <a:pt x="516" y="153"/>
                  </a:lnTo>
                  <a:lnTo>
                    <a:pt x="516" y="151"/>
                  </a:lnTo>
                  <a:lnTo>
                    <a:pt x="516" y="151"/>
                  </a:lnTo>
                  <a:lnTo>
                    <a:pt x="515" y="151"/>
                  </a:lnTo>
                  <a:lnTo>
                    <a:pt x="512" y="154"/>
                  </a:lnTo>
                  <a:lnTo>
                    <a:pt x="512" y="154"/>
                  </a:lnTo>
                  <a:lnTo>
                    <a:pt x="512" y="154"/>
                  </a:lnTo>
                  <a:close/>
                  <a:moveTo>
                    <a:pt x="526" y="94"/>
                  </a:moveTo>
                  <a:lnTo>
                    <a:pt x="526" y="94"/>
                  </a:lnTo>
                  <a:lnTo>
                    <a:pt x="518" y="97"/>
                  </a:lnTo>
                  <a:lnTo>
                    <a:pt x="518" y="97"/>
                  </a:lnTo>
                  <a:lnTo>
                    <a:pt x="515" y="97"/>
                  </a:lnTo>
                  <a:lnTo>
                    <a:pt x="515" y="97"/>
                  </a:lnTo>
                  <a:lnTo>
                    <a:pt x="516" y="100"/>
                  </a:lnTo>
                  <a:lnTo>
                    <a:pt x="516" y="100"/>
                  </a:lnTo>
                  <a:lnTo>
                    <a:pt x="520" y="100"/>
                  </a:lnTo>
                  <a:lnTo>
                    <a:pt x="520" y="100"/>
                  </a:lnTo>
                  <a:lnTo>
                    <a:pt x="518" y="100"/>
                  </a:lnTo>
                  <a:lnTo>
                    <a:pt x="518" y="100"/>
                  </a:lnTo>
                  <a:lnTo>
                    <a:pt x="520" y="104"/>
                  </a:lnTo>
                  <a:lnTo>
                    <a:pt x="520" y="104"/>
                  </a:lnTo>
                  <a:lnTo>
                    <a:pt x="520" y="104"/>
                  </a:lnTo>
                  <a:lnTo>
                    <a:pt x="520" y="104"/>
                  </a:lnTo>
                  <a:lnTo>
                    <a:pt x="521" y="107"/>
                  </a:lnTo>
                  <a:lnTo>
                    <a:pt x="521" y="107"/>
                  </a:lnTo>
                  <a:lnTo>
                    <a:pt x="524" y="104"/>
                  </a:lnTo>
                  <a:lnTo>
                    <a:pt x="524" y="104"/>
                  </a:lnTo>
                  <a:lnTo>
                    <a:pt x="528" y="104"/>
                  </a:lnTo>
                  <a:lnTo>
                    <a:pt x="528" y="104"/>
                  </a:lnTo>
                  <a:lnTo>
                    <a:pt x="534" y="100"/>
                  </a:lnTo>
                  <a:lnTo>
                    <a:pt x="534" y="100"/>
                  </a:lnTo>
                  <a:lnTo>
                    <a:pt x="537" y="97"/>
                  </a:lnTo>
                  <a:lnTo>
                    <a:pt x="537" y="97"/>
                  </a:lnTo>
                  <a:lnTo>
                    <a:pt x="537" y="97"/>
                  </a:lnTo>
                  <a:lnTo>
                    <a:pt x="537" y="97"/>
                  </a:lnTo>
                  <a:lnTo>
                    <a:pt x="532" y="94"/>
                  </a:lnTo>
                  <a:lnTo>
                    <a:pt x="526" y="94"/>
                  </a:lnTo>
                  <a:lnTo>
                    <a:pt x="526" y="94"/>
                  </a:lnTo>
                  <a:lnTo>
                    <a:pt x="526" y="94"/>
                  </a:lnTo>
                  <a:close/>
                  <a:moveTo>
                    <a:pt x="588" y="72"/>
                  </a:moveTo>
                  <a:lnTo>
                    <a:pt x="588" y="72"/>
                  </a:lnTo>
                  <a:lnTo>
                    <a:pt x="591" y="70"/>
                  </a:lnTo>
                  <a:lnTo>
                    <a:pt x="591" y="70"/>
                  </a:lnTo>
                  <a:lnTo>
                    <a:pt x="586" y="70"/>
                  </a:lnTo>
                  <a:lnTo>
                    <a:pt x="586" y="70"/>
                  </a:lnTo>
                  <a:lnTo>
                    <a:pt x="583" y="70"/>
                  </a:lnTo>
                  <a:lnTo>
                    <a:pt x="583" y="70"/>
                  </a:lnTo>
                  <a:lnTo>
                    <a:pt x="578" y="70"/>
                  </a:lnTo>
                  <a:lnTo>
                    <a:pt x="578" y="70"/>
                  </a:lnTo>
                  <a:lnTo>
                    <a:pt x="575" y="72"/>
                  </a:lnTo>
                  <a:lnTo>
                    <a:pt x="575" y="72"/>
                  </a:lnTo>
                  <a:lnTo>
                    <a:pt x="583" y="72"/>
                  </a:lnTo>
                  <a:lnTo>
                    <a:pt x="588" y="72"/>
                  </a:lnTo>
                  <a:lnTo>
                    <a:pt x="588" y="72"/>
                  </a:lnTo>
                  <a:lnTo>
                    <a:pt x="588" y="72"/>
                  </a:lnTo>
                  <a:close/>
                  <a:moveTo>
                    <a:pt x="591" y="65"/>
                  </a:moveTo>
                  <a:lnTo>
                    <a:pt x="591" y="65"/>
                  </a:lnTo>
                  <a:lnTo>
                    <a:pt x="588" y="64"/>
                  </a:lnTo>
                  <a:lnTo>
                    <a:pt x="588" y="64"/>
                  </a:lnTo>
                  <a:lnTo>
                    <a:pt x="585" y="64"/>
                  </a:lnTo>
                  <a:lnTo>
                    <a:pt x="585" y="64"/>
                  </a:lnTo>
                  <a:lnTo>
                    <a:pt x="583" y="64"/>
                  </a:lnTo>
                  <a:lnTo>
                    <a:pt x="583" y="64"/>
                  </a:lnTo>
                  <a:lnTo>
                    <a:pt x="580" y="64"/>
                  </a:lnTo>
                  <a:lnTo>
                    <a:pt x="580" y="64"/>
                  </a:lnTo>
                  <a:lnTo>
                    <a:pt x="578" y="65"/>
                  </a:lnTo>
                  <a:lnTo>
                    <a:pt x="578" y="65"/>
                  </a:lnTo>
                  <a:lnTo>
                    <a:pt x="577" y="67"/>
                  </a:lnTo>
                  <a:lnTo>
                    <a:pt x="577" y="67"/>
                  </a:lnTo>
                  <a:lnTo>
                    <a:pt x="585" y="67"/>
                  </a:lnTo>
                  <a:lnTo>
                    <a:pt x="591" y="65"/>
                  </a:lnTo>
                  <a:lnTo>
                    <a:pt x="591" y="65"/>
                  </a:lnTo>
                  <a:lnTo>
                    <a:pt x="591" y="65"/>
                  </a:lnTo>
                  <a:close/>
                  <a:moveTo>
                    <a:pt x="572" y="97"/>
                  </a:moveTo>
                  <a:lnTo>
                    <a:pt x="572" y="97"/>
                  </a:lnTo>
                  <a:lnTo>
                    <a:pt x="570" y="97"/>
                  </a:lnTo>
                  <a:lnTo>
                    <a:pt x="570" y="97"/>
                  </a:lnTo>
                  <a:lnTo>
                    <a:pt x="567" y="97"/>
                  </a:lnTo>
                  <a:lnTo>
                    <a:pt x="567" y="97"/>
                  </a:lnTo>
                  <a:lnTo>
                    <a:pt x="564" y="97"/>
                  </a:lnTo>
                  <a:lnTo>
                    <a:pt x="564" y="97"/>
                  </a:lnTo>
                  <a:lnTo>
                    <a:pt x="562" y="97"/>
                  </a:lnTo>
                  <a:lnTo>
                    <a:pt x="562" y="97"/>
                  </a:lnTo>
                  <a:lnTo>
                    <a:pt x="564" y="100"/>
                  </a:lnTo>
                  <a:lnTo>
                    <a:pt x="564" y="100"/>
                  </a:lnTo>
                  <a:lnTo>
                    <a:pt x="567" y="100"/>
                  </a:lnTo>
                  <a:lnTo>
                    <a:pt x="567" y="100"/>
                  </a:lnTo>
                  <a:lnTo>
                    <a:pt x="570" y="100"/>
                  </a:lnTo>
                  <a:lnTo>
                    <a:pt x="570" y="100"/>
                  </a:lnTo>
                  <a:lnTo>
                    <a:pt x="572" y="100"/>
                  </a:lnTo>
                  <a:lnTo>
                    <a:pt x="572" y="100"/>
                  </a:lnTo>
                  <a:lnTo>
                    <a:pt x="570" y="100"/>
                  </a:lnTo>
                  <a:lnTo>
                    <a:pt x="570" y="100"/>
                  </a:lnTo>
                  <a:lnTo>
                    <a:pt x="570" y="100"/>
                  </a:lnTo>
                  <a:lnTo>
                    <a:pt x="570" y="100"/>
                  </a:lnTo>
                  <a:lnTo>
                    <a:pt x="567" y="104"/>
                  </a:lnTo>
                  <a:lnTo>
                    <a:pt x="567" y="104"/>
                  </a:lnTo>
                  <a:lnTo>
                    <a:pt x="567" y="104"/>
                  </a:lnTo>
                  <a:lnTo>
                    <a:pt x="567" y="104"/>
                  </a:lnTo>
                  <a:lnTo>
                    <a:pt x="567" y="104"/>
                  </a:lnTo>
                  <a:lnTo>
                    <a:pt x="567" y="104"/>
                  </a:lnTo>
                  <a:lnTo>
                    <a:pt x="567" y="107"/>
                  </a:lnTo>
                  <a:lnTo>
                    <a:pt x="567" y="107"/>
                  </a:lnTo>
                  <a:lnTo>
                    <a:pt x="564" y="107"/>
                  </a:lnTo>
                  <a:lnTo>
                    <a:pt x="564" y="107"/>
                  </a:lnTo>
                  <a:lnTo>
                    <a:pt x="567" y="104"/>
                  </a:lnTo>
                  <a:lnTo>
                    <a:pt x="567" y="104"/>
                  </a:lnTo>
                  <a:lnTo>
                    <a:pt x="564" y="104"/>
                  </a:lnTo>
                  <a:lnTo>
                    <a:pt x="564" y="104"/>
                  </a:lnTo>
                  <a:lnTo>
                    <a:pt x="564" y="107"/>
                  </a:lnTo>
                  <a:lnTo>
                    <a:pt x="564" y="107"/>
                  </a:lnTo>
                  <a:lnTo>
                    <a:pt x="559" y="107"/>
                  </a:lnTo>
                  <a:lnTo>
                    <a:pt x="559" y="107"/>
                  </a:lnTo>
                  <a:lnTo>
                    <a:pt x="555" y="107"/>
                  </a:lnTo>
                  <a:lnTo>
                    <a:pt x="555" y="107"/>
                  </a:lnTo>
                  <a:lnTo>
                    <a:pt x="555" y="107"/>
                  </a:lnTo>
                  <a:lnTo>
                    <a:pt x="555" y="107"/>
                  </a:lnTo>
                  <a:lnTo>
                    <a:pt x="555" y="104"/>
                  </a:lnTo>
                  <a:lnTo>
                    <a:pt x="555" y="104"/>
                  </a:lnTo>
                  <a:lnTo>
                    <a:pt x="553" y="104"/>
                  </a:lnTo>
                  <a:lnTo>
                    <a:pt x="553" y="104"/>
                  </a:lnTo>
                  <a:lnTo>
                    <a:pt x="550" y="104"/>
                  </a:lnTo>
                  <a:lnTo>
                    <a:pt x="550" y="104"/>
                  </a:lnTo>
                  <a:lnTo>
                    <a:pt x="547" y="104"/>
                  </a:lnTo>
                  <a:lnTo>
                    <a:pt x="547" y="104"/>
                  </a:lnTo>
                  <a:lnTo>
                    <a:pt x="543" y="107"/>
                  </a:lnTo>
                  <a:lnTo>
                    <a:pt x="543" y="107"/>
                  </a:lnTo>
                  <a:lnTo>
                    <a:pt x="543" y="107"/>
                  </a:lnTo>
                  <a:lnTo>
                    <a:pt x="543" y="107"/>
                  </a:lnTo>
                  <a:lnTo>
                    <a:pt x="543" y="108"/>
                  </a:lnTo>
                  <a:lnTo>
                    <a:pt x="543" y="108"/>
                  </a:lnTo>
                  <a:lnTo>
                    <a:pt x="543" y="108"/>
                  </a:lnTo>
                  <a:lnTo>
                    <a:pt x="543" y="108"/>
                  </a:lnTo>
                  <a:lnTo>
                    <a:pt x="547" y="110"/>
                  </a:lnTo>
                  <a:lnTo>
                    <a:pt x="547" y="110"/>
                  </a:lnTo>
                  <a:lnTo>
                    <a:pt x="547" y="111"/>
                  </a:lnTo>
                  <a:lnTo>
                    <a:pt x="547" y="111"/>
                  </a:lnTo>
                  <a:lnTo>
                    <a:pt x="548" y="111"/>
                  </a:lnTo>
                  <a:lnTo>
                    <a:pt x="548" y="111"/>
                  </a:lnTo>
                  <a:lnTo>
                    <a:pt x="550" y="111"/>
                  </a:lnTo>
                  <a:lnTo>
                    <a:pt x="550" y="111"/>
                  </a:lnTo>
                  <a:lnTo>
                    <a:pt x="550" y="113"/>
                  </a:lnTo>
                  <a:lnTo>
                    <a:pt x="550" y="113"/>
                  </a:lnTo>
                  <a:lnTo>
                    <a:pt x="551" y="113"/>
                  </a:lnTo>
                  <a:lnTo>
                    <a:pt x="551" y="113"/>
                  </a:lnTo>
                  <a:lnTo>
                    <a:pt x="553" y="113"/>
                  </a:lnTo>
                  <a:lnTo>
                    <a:pt x="553" y="113"/>
                  </a:lnTo>
                  <a:lnTo>
                    <a:pt x="555" y="116"/>
                  </a:lnTo>
                  <a:lnTo>
                    <a:pt x="555" y="116"/>
                  </a:lnTo>
                  <a:lnTo>
                    <a:pt x="556" y="119"/>
                  </a:lnTo>
                  <a:lnTo>
                    <a:pt x="556" y="119"/>
                  </a:lnTo>
                  <a:lnTo>
                    <a:pt x="556" y="124"/>
                  </a:lnTo>
                  <a:lnTo>
                    <a:pt x="556" y="124"/>
                  </a:lnTo>
                  <a:lnTo>
                    <a:pt x="562" y="124"/>
                  </a:lnTo>
                  <a:lnTo>
                    <a:pt x="562" y="124"/>
                  </a:lnTo>
                  <a:lnTo>
                    <a:pt x="567" y="121"/>
                  </a:lnTo>
                  <a:lnTo>
                    <a:pt x="567" y="121"/>
                  </a:lnTo>
                  <a:lnTo>
                    <a:pt x="567" y="119"/>
                  </a:lnTo>
                  <a:lnTo>
                    <a:pt x="567" y="119"/>
                  </a:lnTo>
                  <a:lnTo>
                    <a:pt x="567" y="119"/>
                  </a:lnTo>
                  <a:lnTo>
                    <a:pt x="567" y="119"/>
                  </a:lnTo>
                  <a:lnTo>
                    <a:pt x="570" y="119"/>
                  </a:lnTo>
                  <a:lnTo>
                    <a:pt x="570" y="119"/>
                  </a:lnTo>
                  <a:lnTo>
                    <a:pt x="572" y="121"/>
                  </a:lnTo>
                  <a:lnTo>
                    <a:pt x="572" y="121"/>
                  </a:lnTo>
                  <a:lnTo>
                    <a:pt x="577" y="119"/>
                  </a:lnTo>
                  <a:lnTo>
                    <a:pt x="577" y="119"/>
                  </a:lnTo>
                  <a:lnTo>
                    <a:pt x="582" y="118"/>
                  </a:lnTo>
                  <a:lnTo>
                    <a:pt x="582" y="118"/>
                  </a:lnTo>
                  <a:lnTo>
                    <a:pt x="585" y="118"/>
                  </a:lnTo>
                  <a:lnTo>
                    <a:pt x="585" y="118"/>
                  </a:lnTo>
                  <a:lnTo>
                    <a:pt x="586" y="118"/>
                  </a:lnTo>
                  <a:lnTo>
                    <a:pt x="586" y="118"/>
                  </a:lnTo>
                  <a:lnTo>
                    <a:pt x="585" y="116"/>
                  </a:lnTo>
                  <a:lnTo>
                    <a:pt x="585" y="116"/>
                  </a:lnTo>
                  <a:lnTo>
                    <a:pt x="588" y="116"/>
                  </a:lnTo>
                  <a:lnTo>
                    <a:pt x="588" y="116"/>
                  </a:lnTo>
                  <a:lnTo>
                    <a:pt x="586" y="115"/>
                  </a:lnTo>
                  <a:lnTo>
                    <a:pt x="586" y="115"/>
                  </a:lnTo>
                  <a:lnTo>
                    <a:pt x="589" y="115"/>
                  </a:lnTo>
                  <a:lnTo>
                    <a:pt x="589" y="115"/>
                  </a:lnTo>
                  <a:lnTo>
                    <a:pt x="589" y="113"/>
                  </a:lnTo>
                  <a:lnTo>
                    <a:pt x="589" y="113"/>
                  </a:lnTo>
                  <a:lnTo>
                    <a:pt x="589" y="111"/>
                  </a:lnTo>
                  <a:lnTo>
                    <a:pt x="589" y="111"/>
                  </a:lnTo>
                  <a:lnTo>
                    <a:pt x="593" y="110"/>
                  </a:lnTo>
                  <a:lnTo>
                    <a:pt x="593" y="110"/>
                  </a:lnTo>
                  <a:lnTo>
                    <a:pt x="596" y="108"/>
                  </a:lnTo>
                  <a:lnTo>
                    <a:pt x="596" y="108"/>
                  </a:lnTo>
                  <a:lnTo>
                    <a:pt x="596" y="107"/>
                  </a:lnTo>
                  <a:lnTo>
                    <a:pt x="596" y="107"/>
                  </a:lnTo>
                  <a:lnTo>
                    <a:pt x="591" y="108"/>
                  </a:lnTo>
                  <a:lnTo>
                    <a:pt x="591" y="108"/>
                  </a:lnTo>
                  <a:lnTo>
                    <a:pt x="593" y="107"/>
                  </a:lnTo>
                  <a:lnTo>
                    <a:pt x="593" y="107"/>
                  </a:lnTo>
                  <a:lnTo>
                    <a:pt x="593" y="107"/>
                  </a:lnTo>
                  <a:lnTo>
                    <a:pt x="593" y="107"/>
                  </a:lnTo>
                  <a:lnTo>
                    <a:pt x="593" y="104"/>
                  </a:lnTo>
                  <a:lnTo>
                    <a:pt x="593" y="104"/>
                  </a:lnTo>
                  <a:lnTo>
                    <a:pt x="588" y="104"/>
                  </a:lnTo>
                  <a:lnTo>
                    <a:pt x="588" y="104"/>
                  </a:lnTo>
                  <a:lnTo>
                    <a:pt x="582" y="107"/>
                  </a:lnTo>
                  <a:lnTo>
                    <a:pt x="582" y="107"/>
                  </a:lnTo>
                  <a:lnTo>
                    <a:pt x="583" y="104"/>
                  </a:lnTo>
                  <a:lnTo>
                    <a:pt x="583" y="104"/>
                  </a:lnTo>
                  <a:lnTo>
                    <a:pt x="585" y="104"/>
                  </a:lnTo>
                  <a:lnTo>
                    <a:pt x="585" y="104"/>
                  </a:lnTo>
                  <a:lnTo>
                    <a:pt x="589" y="104"/>
                  </a:lnTo>
                  <a:lnTo>
                    <a:pt x="589" y="104"/>
                  </a:lnTo>
                  <a:lnTo>
                    <a:pt x="599" y="100"/>
                  </a:lnTo>
                  <a:lnTo>
                    <a:pt x="599" y="100"/>
                  </a:lnTo>
                  <a:lnTo>
                    <a:pt x="599" y="97"/>
                  </a:lnTo>
                  <a:lnTo>
                    <a:pt x="599" y="97"/>
                  </a:lnTo>
                  <a:lnTo>
                    <a:pt x="599" y="97"/>
                  </a:lnTo>
                  <a:lnTo>
                    <a:pt x="599" y="97"/>
                  </a:lnTo>
                  <a:lnTo>
                    <a:pt x="602" y="97"/>
                  </a:lnTo>
                  <a:lnTo>
                    <a:pt x="602" y="97"/>
                  </a:lnTo>
                  <a:lnTo>
                    <a:pt x="605" y="97"/>
                  </a:lnTo>
                  <a:lnTo>
                    <a:pt x="605" y="97"/>
                  </a:lnTo>
                  <a:lnTo>
                    <a:pt x="605" y="94"/>
                  </a:lnTo>
                  <a:lnTo>
                    <a:pt x="605" y="94"/>
                  </a:lnTo>
                  <a:lnTo>
                    <a:pt x="602" y="94"/>
                  </a:lnTo>
                  <a:lnTo>
                    <a:pt x="602" y="94"/>
                  </a:lnTo>
                  <a:lnTo>
                    <a:pt x="599" y="94"/>
                  </a:lnTo>
                  <a:lnTo>
                    <a:pt x="599" y="94"/>
                  </a:lnTo>
                  <a:lnTo>
                    <a:pt x="599" y="94"/>
                  </a:lnTo>
                  <a:lnTo>
                    <a:pt x="599" y="94"/>
                  </a:lnTo>
                  <a:lnTo>
                    <a:pt x="593" y="94"/>
                  </a:lnTo>
                  <a:lnTo>
                    <a:pt x="593" y="94"/>
                  </a:lnTo>
                  <a:lnTo>
                    <a:pt x="589" y="94"/>
                  </a:lnTo>
                  <a:lnTo>
                    <a:pt x="589" y="94"/>
                  </a:lnTo>
                  <a:lnTo>
                    <a:pt x="585" y="97"/>
                  </a:lnTo>
                  <a:lnTo>
                    <a:pt x="585" y="97"/>
                  </a:lnTo>
                  <a:lnTo>
                    <a:pt x="585" y="94"/>
                  </a:lnTo>
                  <a:lnTo>
                    <a:pt x="585" y="94"/>
                  </a:lnTo>
                  <a:lnTo>
                    <a:pt x="583" y="94"/>
                  </a:lnTo>
                  <a:lnTo>
                    <a:pt x="583" y="94"/>
                  </a:lnTo>
                  <a:lnTo>
                    <a:pt x="582" y="94"/>
                  </a:lnTo>
                  <a:lnTo>
                    <a:pt x="582" y="94"/>
                  </a:lnTo>
                  <a:lnTo>
                    <a:pt x="578" y="94"/>
                  </a:lnTo>
                  <a:lnTo>
                    <a:pt x="578" y="94"/>
                  </a:lnTo>
                  <a:lnTo>
                    <a:pt x="577" y="94"/>
                  </a:lnTo>
                  <a:lnTo>
                    <a:pt x="577" y="94"/>
                  </a:lnTo>
                  <a:lnTo>
                    <a:pt x="572" y="94"/>
                  </a:lnTo>
                  <a:lnTo>
                    <a:pt x="572" y="94"/>
                  </a:lnTo>
                  <a:lnTo>
                    <a:pt x="570" y="94"/>
                  </a:lnTo>
                  <a:lnTo>
                    <a:pt x="572" y="97"/>
                  </a:lnTo>
                  <a:lnTo>
                    <a:pt x="572" y="97"/>
                  </a:lnTo>
                  <a:lnTo>
                    <a:pt x="572" y="97"/>
                  </a:lnTo>
                  <a:close/>
                  <a:moveTo>
                    <a:pt x="562" y="146"/>
                  </a:moveTo>
                  <a:lnTo>
                    <a:pt x="562" y="146"/>
                  </a:lnTo>
                  <a:lnTo>
                    <a:pt x="564" y="145"/>
                  </a:lnTo>
                  <a:lnTo>
                    <a:pt x="564" y="145"/>
                  </a:lnTo>
                  <a:lnTo>
                    <a:pt x="564" y="145"/>
                  </a:lnTo>
                  <a:lnTo>
                    <a:pt x="562" y="146"/>
                  </a:lnTo>
                  <a:lnTo>
                    <a:pt x="562" y="146"/>
                  </a:lnTo>
                  <a:lnTo>
                    <a:pt x="562" y="146"/>
                  </a:lnTo>
                  <a:close/>
                  <a:moveTo>
                    <a:pt x="624" y="229"/>
                  </a:moveTo>
                  <a:lnTo>
                    <a:pt x="624" y="229"/>
                  </a:lnTo>
                  <a:lnTo>
                    <a:pt x="618" y="229"/>
                  </a:lnTo>
                  <a:lnTo>
                    <a:pt x="618" y="229"/>
                  </a:lnTo>
                  <a:lnTo>
                    <a:pt x="615" y="229"/>
                  </a:lnTo>
                  <a:lnTo>
                    <a:pt x="615" y="229"/>
                  </a:lnTo>
                  <a:lnTo>
                    <a:pt x="612" y="229"/>
                  </a:lnTo>
                  <a:lnTo>
                    <a:pt x="612" y="229"/>
                  </a:lnTo>
                  <a:lnTo>
                    <a:pt x="605" y="234"/>
                  </a:lnTo>
                  <a:lnTo>
                    <a:pt x="605" y="234"/>
                  </a:lnTo>
                  <a:lnTo>
                    <a:pt x="605" y="235"/>
                  </a:lnTo>
                  <a:lnTo>
                    <a:pt x="605" y="235"/>
                  </a:lnTo>
                  <a:lnTo>
                    <a:pt x="605" y="237"/>
                  </a:lnTo>
                  <a:lnTo>
                    <a:pt x="605" y="237"/>
                  </a:lnTo>
                  <a:lnTo>
                    <a:pt x="609" y="237"/>
                  </a:lnTo>
                  <a:lnTo>
                    <a:pt x="609" y="237"/>
                  </a:lnTo>
                  <a:lnTo>
                    <a:pt x="610" y="237"/>
                  </a:lnTo>
                  <a:lnTo>
                    <a:pt x="610" y="237"/>
                  </a:lnTo>
                  <a:lnTo>
                    <a:pt x="612" y="237"/>
                  </a:lnTo>
                  <a:lnTo>
                    <a:pt x="612" y="237"/>
                  </a:lnTo>
                  <a:lnTo>
                    <a:pt x="613" y="237"/>
                  </a:lnTo>
                  <a:lnTo>
                    <a:pt x="613" y="237"/>
                  </a:lnTo>
                  <a:lnTo>
                    <a:pt x="616" y="235"/>
                  </a:lnTo>
                  <a:lnTo>
                    <a:pt x="616" y="235"/>
                  </a:lnTo>
                  <a:lnTo>
                    <a:pt x="624" y="232"/>
                  </a:lnTo>
                  <a:lnTo>
                    <a:pt x="624" y="232"/>
                  </a:lnTo>
                  <a:lnTo>
                    <a:pt x="631" y="229"/>
                  </a:lnTo>
                  <a:lnTo>
                    <a:pt x="631" y="229"/>
                  </a:lnTo>
                  <a:lnTo>
                    <a:pt x="628" y="226"/>
                  </a:lnTo>
                  <a:lnTo>
                    <a:pt x="624" y="229"/>
                  </a:lnTo>
                  <a:lnTo>
                    <a:pt x="624" y="229"/>
                  </a:lnTo>
                  <a:lnTo>
                    <a:pt x="624" y="229"/>
                  </a:lnTo>
                  <a:close/>
                  <a:moveTo>
                    <a:pt x="718" y="173"/>
                  </a:moveTo>
                  <a:lnTo>
                    <a:pt x="718" y="173"/>
                  </a:lnTo>
                  <a:lnTo>
                    <a:pt x="721" y="173"/>
                  </a:lnTo>
                  <a:lnTo>
                    <a:pt x="721" y="173"/>
                  </a:lnTo>
                  <a:lnTo>
                    <a:pt x="729" y="173"/>
                  </a:lnTo>
                  <a:lnTo>
                    <a:pt x="729" y="173"/>
                  </a:lnTo>
                  <a:lnTo>
                    <a:pt x="734" y="170"/>
                  </a:lnTo>
                  <a:lnTo>
                    <a:pt x="734" y="170"/>
                  </a:lnTo>
                  <a:lnTo>
                    <a:pt x="739" y="170"/>
                  </a:lnTo>
                  <a:lnTo>
                    <a:pt x="739" y="170"/>
                  </a:lnTo>
                  <a:lnTo>
                    <a:pt x="740" y="164"/>
                  </a:lnTo>
                  <a:lnTo>
                    <a:pt x="740" y="164"/>
                  </a:lnTo>
                  <a:lnTo>
                    <a:pt x="742" y="164"/>
                  </a:lnTo>
                  <a:lnTo>
                    <a:pt x="742" y="164"/>
                  </a:lnTo>
                  <a:lnTo>
                    <a:pt x="743" y="162"/>
                  </a:lnTo>
                  <a:lnTo>
                    <a:pt x="743" y="162"/>
                  </a:lnTo>
                  <a:lnTo>
                    <a:pt x="742" y="161"/>
                  </a:lnTo>
                  <a:lnTo>
                    <a:pt x="742" y="161"/>
                  </a:lnTo>
                  <a:lnTo>
                    <a:pt x="737" y="161"/>
                  </a:lnTo>
                  <a:lnTo>
                    <a:pt x="737" y="161"/>
                  </a:lnTo>
                  <a:lnTo>
                    <a:pt x="731" y="161"/>
                  </a:lnTo>
                  <a:lnTo>
                    <a:pt x="731" y="161"/>
                  </a:lnTo>
                  <a:lnTo>
                    <a:pt x="721" y="164"/>
                  </a:lnTo>
                  <a:lnTo>
                    <a:pt x="721" y="164"/>
                  </a:lnTo>
                  <a:lnTo>
                    <a:pt x="718" y="167"/>
                  </a:lnTo>
                  <a:lnTo>
                    <a:pt x="718" y="167"/>
                  </a:lnTo>
                  <a:lnTo>
                    <a:pt x="716" y="170"/>
                  </a:lnTo>
                  <a:lnTo>
                    <a:pt x="716" y="170"/>
                  </a:lnTo>
                  <a:lnTo>
                    <a:pt x="718" y="170"/>
                  </a:lnTo>
                  <a:lnTo>
                    <a:pt x="718" y="170"/>
                  </a:lnTo>
                  <a:lnTo>
                    <a:pt x="716" y="173"/>
                  </a:lnTo>
                  <a:lnTo>
                    <a:pt x="718" y="173"/>
                  </a:lnTo>
                  <a:lnTo>
                    <a:pt x="718" y="173"/>
                  </a:lnTo>
                  <a:lnTo>
                    <a:pt x="718" y="173"/>
                  </a:lnTo>
                  <a:close/>
                  <a:moveTo>
                    <a:pt x="855" y="178"/>
                  </a:moveTo>
                  <a:lnTo>
                    <a:pt x="855" y="178"/>
                  </a:lnTo>
                  <a:lnTo>
                    <a:pt x="858" y="177"/>
                  </a:lnTo>
                  <a:lnTo>
                    <a:pt x="858" y="177"/>
                  </a:lnTo>
                  <a:lnTo>
                    <a:pt x="856" y="177"/>
                  </a:lnTo>
                  <a:lnTo>
                    <a:pt x="856" y="177"/>
                  </a:lnTo>
                  <a:lnTo>
                    <a:pt x="855" y="177"/>
                  </a:lnTo>
                  <a:lnTo>
                    <a:pt x="855" y="177"/>
                  </a:lnTo>
                  <a:lnTo>
                    <a:pt x="855" y="175"/>
                  </a:lnTo>
                  <a:lnTo>
                    <a:pt x="855" y="175"/>
                  </a:lnTo>
                  <a:lnTo>
                    <a:pt x="853" y="177"/>
                  </a:lnTo>
                  <a:lnTo>
                    <a:pt x="853" y="177"/>
                  </a:lnTo>
                  <a:lnTo>
                    <a:pt x="853" y="177"/>
                  </a:lnTo>
                  <a:lnTo>
                    <a:pt x="853" y="177"/>
                  </a:lnTo>
                  <a:lnTo>
                    <a:pt x="853" y="180"/>
                  </a:lnTo>
                  <a:lnTo>
                    <a:pt x="853" y="180"/>
                  </a:lnTo>
                  <a:lnTo>
                    <a:pt x="850" y="178"/>
                  </a:lnTo>
                  <a:lnTo>
                    <a:pt x="850" y="178"/>
                  </a:lnTo>
                  <a:lnTo>
                    <a:pt x="850" y="177"/>
                  </a:lnTo>
                  <a:lnTo>
                    <a:pt x="850" y="177"/>
                  </a:lnTo>
                  <a:lnTo>
                    <a:pt x="847" y="178"/>
                  </a:lnTo>
                  <a:lnTo>
                    <a:pt x="847" y="178"/>
                  </a:lnTo>
                  <a:lnTo>
                    <a:pt x="847" y="177"/>
                  </a:lnTo>
                  <a:lnTo>
                    <a:pt x="847" y="177"/>
                  </a:lnTo>
                  <a:lnTo>
                    <a:pt x="843" y="177"/>
                  </a:lnTo>
                  <a:lnTo>
                    <a:pt x="843" y="177"/>
                  </a:lnTo>
                  <a:lnTo>
                    <a:pt x="847" y="173"/>
                  </a:lnTo>
                  <a:lnTo>
                    <a:pt x="847" y="173"/>
                  </a:lnTo>
                  <a:lnTo>
                    <a:pt x="850" y="173"/>
                  </a:lnTo>
                  <a:lnTo>
                    <a:pt x="850" y="173"/>
                  </a:lnTo>
                  <a:lnTo>
                    <a:pt x="847" y="173"/>
                  </a:lnTo>
                  <a:lnTo>
                    <a:pt x="847" y="173"/>
                  </a:lnTo>
                  <a:lnTo>
                    <a:pt x="843" y="173"/>
                  </a:lnTo>
                  <a:lnTo>
                    <a:pt x="843" y="173"/>
                  </a:lnTo>
                  <a:lnTo>
                    <a:pt x="842" y="173"/>
                  </a:lnTo>
                  <a:lnTo>
                    <a:pt x="842" y="173"/>
                  </a:lnTo>
                  <a:lnTo>
                    <a:pt x="839" y="173"/>
                  </a:lnTo>
                  <a:lnTo>
                    <a:pt x="839" y="173"/>
                  </a:lnTo>
                  <a:lnTo>
                    <a:pt x="837" y="173"/>
                  </a:lnTo>
                  <a:lnTo>
                    <a:pt x="837" y="173"/>
                  </a:lnTo>
                  <a:lnTo>
                    <a:pt x="839" y="173"/>
                  </a:lnTo>
                  <a:lnTo>
                    <a:pt x="839" y="173"/>
                  </a:lnTo>
                  <a:lnTo>
                    <a:pt x="840" y="173"/>
                  </a:lnTo>
                  <a:lnTo>
                    <a:pt x="840" y="173"/>
                  </a:lnTo>
                  <a:lnTo>
                    <a:pt x="840" y="170"/>
                  </a:lnTo>
                  <a:lnTo>
                    <a:pt x="840" y="170"/>
                  </a:lnTo>
                  <a:lnTo>
                    <a:pt x="842" y="170"/>
                  </a:lnTo>
                  <a:lnTo>
                    <a:pt x="842" y="170"/>
                  </a:lnTo>
                  <a:lnTo>
                    <a:pt x="840" y="167"/>
                  </a:lnTo>
                  <a:lnTo>
                    <a:pt x="840" y="167"/>
                  </a:lnTo>
                  <a:lnTo>
                    <a:pt x="839" y="167"/>
                  </a:lnTo>
                  <a:lnTo>
                    <a:pt x="839" y="167"/>
                  </a:lnTo>
                  <a:lnTo>
                    <a:pt x="836" y="167"/>
                  </a:lnTo>
                  <a:lnTo>
                    <a:pt x="836" y="167"/>
                  </a:lnTo>
                  <a:lnTo>
                    <a:pt x="836" y="167"/>
                  </a:lnTo>
                  <a:lnTo>
                    <a:pt x="836" y="167"/>
                  </a:lnTo>
                  <a:lnTo>
                    <a:pt x="834" y="167"/>
                  </a:lnTo>
                  <a:lnTo>
                    <a:pt x="834" y="167"/>
                  </a:lnTo>
                  <a:lnTo>
                    <a:pt x="837" y="164"/>
                  </a:lnTo>
                  <a:lnTo>
                    <a:pt x="837" y="164"/>
                  </a:lnTo>
                  <a:lnTo>
                    <a:pt x="836" y="164"/>
                  </a:lnTo>
                  <a:lnTo>
                    <a:pt x="836" y="164"/>
                  </a:lnTo>
                  <a:lnTo>
                    <a:pt x="834" y="164"/>
                  </a:lnTo>
                  <a:lnTo>
                    <a:pt x="834" y="164"/>
                  </a:lnTo>
                  <a:lnTo>
                    <a:pt x="831" y="167"/>
                  </a:lnTo>
                  <a:lnTo>
                    <a:pt x="831" y="167"/>
                  </a:lnTo>
                  <a:lnTo>
                    <a:pt x="829" y="167"/>
                  </a:lnTo>
                  <a:lnTo>
                    <a:pt x="829" y="167"/>
                  </a:lnTo>
                  <a:lnTo>
                    <a:pt x="829" y="167"/>
                  </a:lnTo>
                  <a:lnTo>
                    <a:pt x="829" y="167"/>
                  </a:lnTo>
                  <a:lnTo>
                    <a:pt x="831" y="164"/>
                  </a:lnTo>
                  <a:lnTo>
                    <a:pt x="831" y="164"/>
                  </a:lnTo>
                  <a:lnTo>
                    <a:pt x="829" y="164"/>
                  </a:lnTo>
                  <a:lnTo>
                    <a:pt x="829" y="164"/>
                  </a:lnTo>
                  <a:lnTo>
                    <a:pt x="828" y="164"/>
                  </a:lnTo>
                  <a:lnTo>
                    <a:pt x="828" y="164"/>
                  </a:lnTo>
                  <a:lnTo>
                    <a:pt x="823" y="167"/>
                  </a:lnTo>
                  <a:lnTo>
                    <a:pt x="823" y="167"/>
                  </a:lnTo>
                  <a:lnTo>
                    <a:pt x="826" y="164"/>
                  </a:lnTo>
                  <a:lnTo>
                    <a:pt x="826" y="164"/>
                  </a:lnTo>
                  <a:lnTo>
                    <a:pt x="829" y="162"/>
                  </a:lnTo>
                  <a:lnTo>
                    <a:pt x="829" y="162"/>
                  </a:lnTo>
                  <a:lnTo>
                    <a:pt x="824" y="164"/>
                  </a:lnTo>
                  <a:lnTo>
                    <a:pt x="824" y="164"/>
                  </a:lnTo>
                  <a:lnTo>
                    <a:pt x="818" y="167"/>
                  </a:lnTo>
                  <a:lnTo>
                    <a:pt x="818" y="167"/>
                  </a:lnTo>
                  <a:lnTo>
                    <a:pt x="821" y="164"/>
                  </a:lnTo>
                  <a:lnTo>
                    <a:pt x="821" y="164"/>
                  </a:lnTo>
                  <a:lnTo>
                    <a:pt x="824" y="164"/>
                  </a:lnTo>
                  <a:lnTo>
                    <a:pt x="824" y="164"/>
                  </a:lnTo>
                  <a:lnTo>
                    <a:pt x="821" y="162"/>
                  </a:lnTo>
                  <a:lnTo>
                    <a:pt x="821" y="162"/>
                  </a:lnTo>
                  <a:lnTo>
                    <a:pt x="820" y="162"/>
                  </a:lnTo>
                  <a:lnTo>
                    <a:pt x="820" y="162"/>
                  </a:lnTo>
                  <a:lnTo>
                    <a:pt x="821" y="161"/>
                  </a:lnTo>
                  <a:lnTo>
                    <a:pt x="821" y="161"/>
                  </a:lnTo>
                  <a:lnTo>
                    <a:pt x="818" y="161"/>
                  </a:lnTo>
                  <a:lnTo>
                    <a:pt x="818" y="161"/>
                  </a:lnTo>
                  <a:lnTo>
                    <a:pt x="818" y="161"/>
                  </a:lnTo>
                  <a:lnTo>
                    <a:pt x="818" y="161"/>
                  </a:lnTo>
                  <a:lnTo>
                    <a:pt x="815" y="161"/>
                  </a:lnTo>
                  <a:lnTo>
                    <a:pt x="815" y="161"/>
                  </a:lnTo>
                  <a:lnTo>
                    <a:pt x="815" y="161"/>
                  </a:lnTo>
                  <a:lnTo>
                    <a:pt x="815" y="161"/>
                  </a:lnTo>
                  <a:lnTo>
                    <a:pt x="813" y="161"/>
                  </a:lnTo>
                  <a:lnTo>
                    <a:pt x="813" y="161"/>
                  </a:lnTo>
                  <a:lnTo>
                    <a:pt x="818" y="159"/>
                  </a:lnTo>
                  <a:lnTo>
                    <a:pt x="818" y="159"/>
                  </a:lnTo>
                  <a:lnTo>
                    <a:pt x="818" y="159"/>
                  </a:lnTo>
                  <a:lnTo>
                    <a:pt x="818" y="159"/>
                  </a:lnTo>
                  <a:lnTo>
                    <a:pt x="815" y="158"/>
                  </a:lnTo>
                  <a:lnTo>
                    <a:pt x="815" y="158"/>
                  </a:lnTo>
                  <a:lnTo>
                    <a:pt x="815" y="158"/>
                  </a:lnTo>
                  <a:lnTo>
                    <a:pt x="815" y="158"/>
                  </a:lnTo>
                  <a:lnTo>
                    <a:pt x="812" y="159"/>
                  </a:lnTo>
                  <a:lnTo>
                    <a:pt x="812" y="159"/>
                  </a:lnTo>
                  <a:lnTo>
                    <a:pt x="813" y="158"/>
                  </a:lnTo>
                  <a:lnTo>
                    <a:pt x="813" y="158"/>
                  </a:lnTo>
                  <a:lnTo>
                    <a:pt x="809" y="158"/>
                  </a:lnTo>
                  <a:lnTo>
                    <a:pt x="809" y="158"/>
                  </a:lnTo>
                  <a:lnTo>
                    <a:pt x="807" y="156"/>
                  </a:lnTo>
                  <a:lnTo>
                    <a:pt x="807" y="156"/>
                  </a:lnTo>
                  <a:lnTo>
                    <a:pt x="809" y="156"/>
                  </a:lnTo>
                  <a:lnTo>
                    <a:pt x="809" y="156"/>
                  </a:lnTo>
                  <a:lnTo>
                    <a:pt x="813" y="156"/>
                  </a:lnTo>
                  <a:lnTo>
                    <a:pt x="813" y="156"/>
                  </a:lnTo>
                  <a:lnTo>
                    <a:pt x="810" y="154"/>
                  </a:lnTo>
                  <a:lnTo>
                    <a:pt x="810" y="154"/>
                  </a:lnTo>
                  <a:lnTo>
                    <a:pt x="815" y="154"/>
                  </a:lnTo>
                  <a:lnTo>
                    <a:pt x="815" y="154"/>
                  </a:lnTo>
                  <a:lnTo>
                    <a:pt x="812" y="153"/>
                  </a:lnTo>
                  <a:lnTo>
                    <a:pt x="812" y="153"/>
                  </a:lnTo>
                  <a:lnTo>
                    <a:pt x="815" y="151"/>
                  </a:lnTo>
                  <a:lnTo>
                    <a:pt x="815" y="151"/>
                  </a:lnTo>
                  <a:lnTo>
                    <a:pt x="818" y="151"/>
                  </a:lnTo>
                  <a:lnTo>
                    <a:pt x="818" y="151"/>
                  </a:lnTo>
                  <a:lnTo>
                    <a:pt x="815" y="150"/>
                  </a:lnTo>
                  <a:lnTo>
                    <a:pt x="815" y="150"/>
                  </a:lnTo>
                  <a:lnTo>
                    <a:pt x="818" y="150"/>
                  </a:lnTo>
                  <a:lnTo>
                    <a:pt x="818" y="150"/>
                  </a:lnTo>
                  <a:lnTo>
                    <a:pt x="815" y="148"/>
                  </a:lnTo>
                  <a:lnTo>
                    <a:pt x="815" y="148"/>
                  </a:lnTo>
                  <a:lnTo>
                    <a:pt x="813" y="148"/>
                  </a:lnTo>
                  <a:lnTo>
                    <a:pt x="813" y="148"/>
                  </a:lnTo>
                  <a:lnTo>
                    <a:pt x="809" y="148"/>
                  </a:lnTo>
                  <a:lnTo>
                    <a:pt x="809" y="148"/>
                  </a:lnTo>
                  <a:lnTo>
                    <a:pt x="812" y="146"/>
                  </a:lnTo>
                  <a:lnTo>
                    <a:pt x="812" y="146"/>
                  </a:lnTo>
                  <a:lnTo>
                    <a:pt x="815" y="146"/>
                  </a:lnTo>
                  <a:lnTo>
                    <a:pt x="815" y="146"/>
                  </a:lnTo>
                  <a:lnTo>
                    <a:pt x="818" y="148"/>
                  </a:lnTo>
                  <a:lnTo>
                    <a:pt x="818" y="148"/>
                  </a:lnTo>
                  <a:lnTo>
                    <a:pt x="821" y="150"/>
                  </a:lnTo>
                  <a:lnTo>
                    <a:pt x="821" y="150"/>
                  </a:lnTo>
                  <a:lnTo>
                    <a:pt x="824" y="150"/>
                  </a:lnTo>
                  <a:lnTo>
                    <a:pt x="824" y="150"/>
                  </a:lnTo>
                  <a:lnTo>
                    <a:pt x="829" y="150"/>
                  </a:lnTo>
                  <a:lnTo>
                    <a:pt x="829" y="150"/>
                  </a:lnTo>
                  <a:lnTo>
                    <a:pt x="831" y="150"/>
                  </a:lnTo>
                  <a:lnTo>
                    <a:pt x="831" y="150"/>
                  </a:lnTo>
                  <a:lnTo>
                    <a:pt x="829" y="148"/>
                  </a:lnTo>
                  <a:lnTo>
                    <a:pt x="829" y="148"/>
                  </a:lnTo>
                  <a:lnTo>
                    <a:pt x="828" y="146"/>
                  </a:lnTo>
                  <a:lnTo>
                    <a:pt x="828" y="146"/>
                  </a:lnTo>
                  <a:lnTo>
                    <a:pt x="824" y="145"/>
                  </a:lnTo>
                  <a:lnTo>
                    <a:pt x="824" y="145"/>
                  </a:lnTo>
                  <a:lnTo>
                    <a:pt x="818" y="145"/>
                  </a:lnTo>
                  <a:lnTo>
                    <a:pt x="818" y="145"/>
                  </a:lnTo>
                  <a:lnTo>
                    <a:pt x="815" y="145"/>
                  </a:lnTo>
                  <a:lnTo>
                    <a:pt x="815" y="145"/>
                  </a:lnTo>
                  <a:lnTo>
                    <a:pt x="812" y="145"/>
                  </a:lnTo>
                  <a:lnTo>
                    <a:pt x="812" y="145"/>
                  </a:lnTo>
                  <a:lnTo>
                    <a:pt x="821" y="142"/>
                  </a:lnTo>
                  <a:lnTo>
                    <a:pt x="821" y="142"/>
                  </a:lnTo>
                  <a:lnTo>
                    <a:pt x="826" y="142"/>
                  </a:lnTo>
                  <a:lnTo>
                    <a:pt x="826" y="142"/>
                  </a:lnTo>
                  <a:lnTo>
                    <a:pt x="829" y="142"/>
                  </a:lnTo>
                  <a:lnTo>
                    <a:pt x="829" y="142"/>
                  </a:lnTo>
                  <a:lnTo>
                    <a:pt x="831" y="140"/>
                  </a:lnTo>
                  <a:lnTo>
                    <a:pt x="831" y="140"/>
                  </a:lnTo>
                  <a:lnTo>
                    <a:pt x="829" y="138"/>
                  </a:lnTo>
                  <a:lnTo>
                    <a:pt x="829" y="138"/>
                  </a:lnTo>
                  <a:lnTo>
                    <a:pt x="828" y="135"/>
                  </a:lnTo>
                  <a:lnTo>
                    <a:pt x="828" y="135"/>
                  </a:lnTo>
                  <a:lnTo>
                    <a:pt x="824" y="135"/>
                  </a:lnTo>
                  <a:lnTo>
                    <a:pt x="824" y="135"/>
                  </a:lnTo>
                  <a:lnTo>
                    <a:pt x="823" y="138"/>
                  </a:lnTo>
                  <a:lnTo>
                    <a:pt x="823" y="138"/>
                  </a:lnTo>
                  <a:lnTo>
                    <a:pt x="818" y="138"/>
                  </a:lnTo>
                  <a:lnTo>
                    <a:pt x="818" y="138"/>
                  </a:lnTo>
                  <a:lnTo>
                    <a:pt x="817" y="140"/>
                  </a:lnTo>
                  <a:lnTo>
                    <a:pt x="817" y="140"/>
                  </a:lnTo>
                  <a:lnTo>
                    <a:pt x="818" y="138"/>
                  </a:lnTo>
                  <a:lnTo>
                    <a:pt x="818" y="138"/>
                  </a:lnTo>
                  <a:lnTo>
                    <a:pt x="818" y="138"/>
                  </a:lnTo>
                  <a:lnTo>
                    <a:pt x="818" y="138"/>
                  </a:lnTo>
                  <a:lnTo>
                    <a:pt x="815" y="138"/>
                  </a:lnTo>
                  <a:lnTo>
                    <a:pt x="815" y="138"/>
                  </a:lnTo>
                  <a:lnTo>
                    <a:pt x="812" y="138"/>
                  </a:lnTo>
                  <a:lnTo>
                    <a:pt x="812" y="138"/>
                  </a:lnTo>
                  <a:lnTo>
                    <a:pt x="818" y="135"/>
                  </a:lnTo>
                  <a:lnTo>
                    <a:pt x="818" y="135"/>
                  </a:lnTo>
                  <a:lnTo>
                    <a:pt x="821" y="135"/>
                  </a:lnTo>
                  <a:lnTo>
                    <a:pt x="821" y="135"/>
                  </a:lnTo>
                  <a:lnTo>
                    <a:pt x="823" y="135"/>
                  </a:lnTo>
                  <a:lnTo>
                    <a:pt x="823" y="135"/>
                  </a:lnTo>
                  <a:lnTo>
                    <a:pt x="824" y="132"/>
                  </a:lnTo>
                  <a:lnTo>
                    <a:pt x="824" y="132"/>
                  </a:lnTo>
                  <a:lnTo>
                    <a:pt x="826" y="132"/>
                  </a:lnTo>
                  <a:lnTo>
                    <a:pt x="826" y="132"/>
                  </a:lnTo>
                  <a:lnTo>
                    <a:pt x="821" y="132"/>
                  </a:lnTo>
                  <a:lnTo>
                    <a:pt x="821" y="132"/>
                  </a:lnTo>
                  <a:lnTo>
                    <a:pt x="818" y="129"/>
                  </a:lnTo>
                  <a:lnTo>
                    <a:pt x="818" y="129"/>
                  </a:lnTo>
                  <a:lnTo>
                    <a:pt x="810" y="132"/>
                  </a:lnTo>
                  <a:lnTo>
                    <a:pt x="810" y="132"/>
                  </a:lnTo>
                  <a:lnTo>
                    <a:pt x="815" y="129"/>
                  </a:lnTo>
                  <a:lnTo>
                    <a:pt x="815" y="129"/>
                  </a:lnTo>
                  <a:lnTo>
                    <a:pt x="813" y="129"/>
                  </a:lnTo>
                  <a:lnTo>
                    <a:pt x="813" y="129"/>
                  </a:lnTo>
                  <a:lnTo>
                    <a:pt x="810" y="129"/>
                  </a:lnTo>
                  <a:lnTo>
                    <a:pt x="810" y="129"/>
                  </a:lnTo>
                  <a:lnTo>
                    <a:pt x="805" y="132"/>
                  </a:lnTo>
                  <a:lnTo>
                    <a:pt x="805" y="132"/>
                  </a:lnTo>
                  <a:lnTo>
                    <a:pt x="799" y="135"/>
                  </a:lnTo>
                  <a:lnTo>
                    <a:pt x="799" y="135"/>
                  </a:lnTo>
                  <a:lnTo>
                    <a:pt x="794" y="138"/>
                  </a:lnTo>
                  <a:lnTo>
                    <a:pt x="794" y="138"/>
                  </a:lnTo>
                  <a:lnTo>
                    <a:pt x="801" y="132"/>
                  </a:lnTo>
                  <a:lnTo>
                    <a:pt x="801" y="132"/>
                  </a:lnTo>
                  <a:lnTo>
                    <a:pt x="797" y="132"/>
                  </a:lnTo>
                  <a:lnTo>
                    <a:pt x="797" y="132"/>
                  </a:lnTo>
                  <a:lnTo>
                    <a:pt x="797" y="132"/>
                  </a:lnTo>
                  <a:lnTo>
                    <a:pt x="797" y="132"/>
                  </a:lnTo>
                  <a:lnTo>
                    <a:pt x="794" y="135"/>
                  </a:lnTo>
                  <a:lnTo>
                    <a:pt x="794" y="135"/>
                  </a:lnTo>
                  <a:lnTo>
                    <a:pt x="791" y="135"/>
                  </a:lnTo>
                  <a:lnTo>
                    <a:pt x="791" y="135"/>
                  </a:lnTo>
                  <a:lnTo>
                    <a:pt x="794" y="132"/>
                  </a:lnTo>
                  <a:lnTo>
                    <a:pt x="794" y="132"/>
                  </a:lnTo>
                  <a:lnTo>
                    <a:pt x="797" y="132"/>
                  </a:lnTo>
                  <a:lnTo>
                    <a:pt x="797" y="132"/>
                  </a:lnTo>
                  <a:lnTo>
                    <a:pt x="802" y="132"/>
                  </a:lnTo>
                  <a:lnTo>
                    <a:pt x="802" y="132"/>
                  </a:lnTo>
                  <a:lnTo>
                    <a:pt x="807" y="129"/>
                  </a:lnTo>
                  <a:lnTo>
                    <a:pt x="807" y="129"/>
                  </a:lnTo>
                  <a:lnTo>
                    <a:pt x="810" y="127"/>
                  </a:lnTo>
                  <a:lnTo>
                    <a:pt x="810" y="127"/>
                  </a:lnTo>
                  <a:lnTo>
                    <a:pt x="807" y="127"/>
                  </a:lnTo>
                  <a:lnTo>
                    <a:pt x="807" y="127"/>
                  </a:lnTo>
                  <a:lnTo>
                    <a:pt x="802" y="129"/>
                  </a:lnTo>
                  <a:lnTo>
                    <a:pt x="802" y="129"/>
                  </a:lnTo>
                  <a:lnTo>
                    <a:pt x="794" y="129"/>
                  </a:lnTo>
                  <a:lnTo>
                    <a:pt x="794" y="129"/>
                  </a:lnTo>
                  <a:lnTo>
                    <a:pt x="791" y="132"/>
                  </a:lnTo>
                  <a:lnTo>
                    <a:pt x="791" y="132"/>
                  </a:lnTo>
                  <a:lnTo>
                    <a:pt x="791" y="132"/>
                  </a:lnTo>
                  <a:lnTo>
                    <a:pt x="791" y="132"/>
                  </a:lnTo>
                  <a:lnTo>
                    <a:pt x="794" y="129"/>
                  </a:lnTo>
                  <a:lnTo>
                    <a:pt x="794" y="129"/>
                  </a:lnTo>
                  <a:lnTo>
                    <a:pt x="791" y="129"/>
                  </a:lnTo>
                  <a:lnTo>
                    <a:pt x="791" y="129"/>
                  </a:lnTo>
                  <a:lnTo>
                    <a:pt x="791" y="129"/>
                  </a:lnTo>
                  <a:lnTo>
                    <a:pt x="791" y="129"/>
                  </a:lnTo>
                  <a:lnTo>
                    <a:pt x="794" y="127"/>
                  </a:lnTo>
                  <a:lnTo>
                    <a:pt x="794" y="127"/>
                  </a:lnTo>
                  <a:lnTo>
                    <a:pt x="797" y="127"/>
                  </a:lnTo>
                  <a:lnTo>
                    <a:pt x="797" y="127"/>
                  </a:lnTo>
                  <a:lnTo>
                    <a:pt x="801" y="127"/>
                  </a:lnTo>
                  <a:lnTo>
                    <a:pt x="801" y="127"/>
                  </a:lnTo>
                  <a:lnTo>
                    <a:pt x="804" y="126"/>
                  </a:lnTo>
                  <a:lnTo>
                    <a:pt x="804" y="126"/>
                  </a:lnTo>
                  <a:lnTo>
                    <a:pt x="805" y="126"/>
                  </a:lnTo>
                  <a:lnTo>
                    <a:pt x="805" y="126"/>
                  </a:lnTo>
                  <a:lnTo>
                    <a:pt x="807" y="124"/>
                  </a:lnTo>
                  <a:lnTo>
                    <a:pt x="807" y="124"/>
                  </a:lnTo>
                  <a:lnTo>
                    <a:pt x="807" y="123"/>
                  </a:lnTo>
                  <a:lnTo>
                    <a:pt x="807" y="123"/>
                  </a:lnTo>
                  <a:lnTo>
                    <a:pt x="804" y="121"/>
                  </a:lnTo>
                  <a:lnTo>
                    <a:pt x="804" y="121"/>
                  </a:lnTo>
                  <a:lnTo>
                    <a:pt x="797" y="121"/>
                  </a:lnTo>
                  <a:lnTo>
                    <a:pt x="797" y="121"/>
                  </a:lnTo>
                  <a:lnTo>
                    <a:pt x="794" y="123"/>
                  </a:lnTo>
                  <a:lnTo>
                    <a:pt x="794" y="123"/>
                  </a:lnTo>
                  <a:lnTo>
                    <a:pt x="791" y="124"/>
                  </a:lnTo>
                  <a:lnTo>
                    <a:pt x="791" y="124"/>
                  </a:lnTo>
                  <a:lnTo>
                    <a:pt x="788" y="126"/>
                  </a:lnTo>
                  <a:lnTo>
                    <a:pt x="788" y="126"/>
                  </a:lnTo>
                  <a:lnTo>
                    <a:pt x="785" y="127"/>
                  </a:lnTo>
                  <a:lnTo>
                    <a:pt x="785" y="127"/>
                  </a:lnTo>
                  <a:lnTo>
                    <a:pt x="788" y="126"/>
                  </a:lnTo>
                  <a:lnTo>
                    <a:pt x="788" y="126"/>
                  </a:lnTo>
                  <a:lnTo>
                    <a:pt x="791" y="124"/>
                  </a:lnTo>
                  <a:lnTo>
                    <a:pt x="791" y="124"/>
                  </a:lnTo>
                  <a:lnTo>
                    <a:pt x="788" y="124"/>
                  </a:lnTo>
                  <a:lnTo>
                    <a:pt x="788" y="124"/>
                  </a:lnTo>
                  <a:lnTo>
                    <a:pt x="786" y="124"/>
                  </a:lnTo>
                  <a:lnTo>
                    <a:pt x="786" y="124"/>
                  </a:lnTo>
                  <a:lnTo>
                    <a:pt x="786" y="123"/>
                  </a:lnTo>
                  <a:lnTo>
                    <a:pt x="786" y="123"/>
                  </a:lnTo>
                  <a:lnTo>
                    <a:pt x="788" y="121"/>
                  </a:lnTo>
                  <a:lnTo>
                    <a:pt x="788" y="121"/>
                  </a:lnTo>
                  <a:lnTo>
                    <a:pt x="786" y="121"/>
                  </a:lnTo>
                  <a:lnTo>
                    <a:pt x="786" y="121"/>
                  </a:lnTo>
                  <a:lnTo>
                    <a:pt x="785" y="123"/>
                  </a:lnTo>
                  <a:lnTo>
                    <a:pt x="785" y="123"/>
                  </a:lnTo>
                  <a:lnTo>
                    <a:pt x="780" y="126"/>
                  </a:lnTo>
                  <a:lnTo>
                    <a:pt x="780" y="126"/>
                  </a:lnTo>
                  <a:lnTo>
                    <a:pt x="783" y="123"/>
                  </a:lnTo>
                  <a:lnTo>
                    <a:pt x="783" y="123"/>
                  </a:lnTo>
                  <a:lnTo>
                    <a:pt x="780" y="123"/>
                  </a:lnTo>
                  <a:lnTo>
                    <a:pt x="780" y="123"/>
                  </a:lnTo>
                  <a:lnTo>
                    <a:pt x="783" y="121"/>
                  </a:lnTo>
                  <a:lnTo>
                    <a:pt x="783" y="121"/>
                  </a:lnTo>
                  <a:lnTo>
                    <a:pt x="783" y="119"/>
                  </a:lnTo>
                  <a:lnTo>
                    <a:pt x="783" y="119"/>
                  </a:lnTo>
                  <a:lnTo>
                    <a:pt x="782" y="119"/>
                  </a:lnTo>
                  <a:lnTo>
                    <a:pt x="782" y="119"/>
                  </a:lnTo>
                  <a:lnTo>
                    <a:pt x="778" y="121"/>
                  </a:lnTo>
                  <a:lnTo>
                    <a:pt x="778" y="121"/>
                  </a:lnTo>
                  <a:lnTo>
                    <a:pt x="777" y="123"/>
                  </a:lnTo>
                  <a:lnTo>
                    <a:pt x="777" y="123"/>
                  </a:lnTo>
                  <a:lnTo>
                    <a:pt x="775" y="123"/>
                  </a:lnTo>
                  <a:lnTo>
                    <a:pt x="775" y="123"/>
                  </a:lnTo>
                  <a:lnTo>
                    <a:pt x="774" y="123"/>
                  </a:lnTo>
                  <a:lnTo>
                    <a:pt x="774" y="123"/>
                  </a:lnTo>
                  <a:lnTo>
                    <a:pt x="780" y="119"/>
                  </a:lnTo>
                  <a:lnTo>
                    <a:pt x="780" y="119"/>
                  </a:lnTo>
                  <a:lnTo>
                    <a:pt x="775" y="121"/>
                  </a:lnTo>
                  <a:lnTo>
                    <a:pt x="775" y="121"/>
                  </a:lnTo>
                  <a:lnTo>
                    <a:pt x="772" y="121"/>
                  </a:lnTo>
                  <a:lnTo>
                    <a:pt x="772" y="121"/>
                  </a:lnTo>
                  <a:lnTo>
                    <a:pt x="777" y="119"/>
                  </a:lnTo>
                  <a:lnTo>
                    <a:pt x="777" y="119"/>
                  </a:lnTo>
                  <a:lnTo>
                    <a:pt x="774" y="119"/>
                  </a:lnTo>
                  <a:lnTo>
                    <a:pt x="774" y="119"/>
                  </a:lnTo>
                  <a:lnTo>
                    <a:pt x="782" y="118"/>
                  </a:lnTo>
                  <a:lnTo>
                    <a:pt x="782" y="118"/>
                  </a:lnTo>
                  <a:lnTo>
                    <a:pt x="788" y="116"/>
                  </a:lnTo>
                  <a:lnTo>
                    <a:pt x="788" y="116"/>
                  </a:lnTo>
                  <a:lnTo>
                    <a:pt x="786" y="115"/>
                  </a:lnTo>
                  <a:lnTo>
                    <a:pt x="786" y="115"/>
                  </a:lnTo>
                  <a:lnTo>
                    <a:pt x="785" y="113"/>
                  </a:lnTo>
                  <a:lnTo>
                    <a:pt x="785" y="113"/>
                  </a:lnTo>
                  <a:lnTo>
                    <a:pt x="778" y="115"/>
                  </a:lnTo>
                  <a:lnTo>
                    <a:pt x="778" y="115"/>
                  </a:lnTo>
                  <a:lnTo>
                    <a:pt x="782" y="113"/>
                  </a:lnTo>
                  <a:lnTo>
                    <a:pt x="782" y="113"/>
                  </a:lnTo>
                  <a:lnTo>
                    <a:pt x="783" y="110"/>
                  </a:lnTo>
                  <a:lnTo>
                    <a:pt x="783" y="110"/>
                  </a:lnTo>
                  <a:lnTo>
                    <a:pt x="782" y="108"/>
                  </a:lnTo>
                  <a:lnTo>
                    <a:pt x="782" y="108"/>
                  </a:lnTo>
                  <a:lnTo>
                    <a:pt x="778" y="108"/>
                  </a:lnTo>
                  <a:lnTo>
                    <a:pt x="778" y="108"/>
                  </a:lnTo>
                  <a:lnTo>
                    <a:pt x="775" y="110"/>
                  </a:lnTo>
                  <a:lnTo>
                    <a:pt x="775" y="110"/>
                  </a:lnTo>
                  <a:lnTo>
                    <a:pt x="774" y="108"/>
                  </a:lnTo>
                  <a:lnTo>
                    <a:pt x="774" y="108"/>
                  </a:lnTo>
                  <a:lnTo>
                    <a:pt x="772" y="107"/>
                  </a:lnTo>
                  <a:lnTo>
                    <a:pt x="772" y="107"/>
                  </a:lnTo>
                  <a:lnTo>
                    <a:pt x="766" y="107"/>
                  </a:lnTo>
                  <a:lnTo>
                    <a:pt x="766" y="107"/>
                  </a:lnTo>
                  <a:lnTo>
                    <a:pt x="756" y="108"/>
                  </a:lnTo>
                  <a:lnTo>
                    <a:pt x="756" y="108"/>
                  </a:lnTo>
                  <a:lnTo>
                    <a:pt x="753" y="108"/>
                  </a:lnTo>
                  <a:lnTo>
                    <a:pt x="753" y="108"/>
                  </a:lnTo>
                  <a:lnTo>
                    <a:pt x="753" y="110"/>
                  </a:lnTo>
                  <a:lnTo>
                    <a:pt x="753" y="110"/>
                  </a:lnTo>
                  <a:lnTo>
                    <a:pt x="753" y="111"/>
                  </a:lnTo>
                  <a:lnTo>
                    <a:pt x="753" y="111"/>
                  </a:lnTo>
                  <a:lnTo>
                    <a:pt x="753" y="111"/>
                  </a:lnTo>
                  <a:lnTo>
                    <a:pt x="753" y="111"/>
                  </a:lnTo>
                  <a:lnTo>
                    <a:pt x="751" y="113"/>
                  </a:lnTo>
                  <a:lnTo>
                    <a:pt x="751" y="113"/>
                  </a:lnTo>
                  <a:lnTo>
                    <a:pt x="751" y="111"/>
                  </a:lnTo>
                  <a:lnTo>
                    <a:pt x="751" y="111"/>
                  </a:lnTo>
                  <a:lnTo>
                    <a:pt x="748" y="113"/>
                  </a:lnTo>
                  <a:lnTo>
                    <a:pt x="748" y="113"/>
                  </a:lnTo>
                  <a:lnTo>
                    <a:pt x="750" y="115"/>
                  </a:lnTo>
                  <a:lnTo>
                    <a:pt x="750" y="115"/>
                  </a:lnTo>
                  <a:lnTo>
                    <a:pt x="748" y="115"/>
                  </a:lnTo>
                  <a:lnTo>
                    <a:pt x="748" y="115"/>
                  </a:lnTo>
                  <a:lnTo>
                    <a:pt x="745" y="115"/>
                  </a:lnTo>
                  <a:lnTo>
                    <a:pt x="745" y="115"/>
                  </a:lnTo>
                  <a:lnTo>
                    <a:pt x="747" y="116"/>
                  </a:lnTo>
                  <a:lnTo>
                    <a:pt x="747" y="116"/>
                  </a:lnTo>
                  <a:lnTo>
                    <a:pt x="742" y="116"/>
                  </a:lnTo>
                  <a:lnTo>
                    <a:pt x="742" y="116"/>
                  </a:lnTo>
                  <a:lnTo>
                    <a:pt x="748" y="111"/>
                  </a:lnTo>
                  <a:lnTo>
                    <a:pt x="748" y="111"/>
                  </a:lnTo>
                  <a:lnTo>
                    <a:pt x="745" y="111"/>
                  </a:lnTo>
                  <a:lnTo>
                    <a:pt x="745" y="111"/>
                  </a:lnTo>
                  <a:lnTo>
                    <a:pt x="743" y="111"/>
                  </a:lnTo>
                  <a:lnTo>
                    <a:pt x="743" y="111"/>
                  </a:lnTo>
                  <a:lnTo>
                    <a:pt x="740" y="113"/>
                  </a:lnTo>
                  <a:lnTo>
                    <a:pt x="740" y="113"/>
                  </a:lnTo>
                  <a:lnTo>
                    <a:pt x="742" y="111"/>
                  </a:lnTo>
                  <a:lnTo>
                    <a:pt x="742" y="111"/>
                  </a:lnTo>
                  <a:lnTo>
                    <a:pt x="742" y="110"/>
                  </a:lnTo>
                  <a:lnTo>
                    <a:pt x="742" y="110"/>
                  </a:lnTo>
                  <a:lnTo>
                    <a:pt x="739" y="111"/>
                  </a:lnTo>
                  <a:lnTo>
                    <a:pt x="739" y="111"/>
                  </a:lnTo>
                  <a:lnTo>
                    <a:pt x="737" y="113"/>
                  </a:lnTo>
                  <a:lnTo>
                    <a:pt x="737" y="113"/>
                  </a:lnTo>
                  <a:lnTo>
                    <a:pt x="736" y="113"/>
                  </a:lnTo>
                  <a:lnTo>
                    <a:pt x="736" y="113"/>
                  </a:lnTo>
                  <a:lnTo>
                    <a:pt x="734" y="113"/>
                  </a:lnTo>
                  <a:lnTo>
                    <a:pt x="734" y="113"/>
                  </a:lnTo>
                  <a:lnTo>
                    <a:pt x="729" y="116"/>
                  </a:lnTo>
                  <a:lnTo>
                    <a:pt x="729" y="116"/>
                  </a:lnTo>
                  <a:lnTo>
                    <a:pt x="728" y="116"/>
                  </a:lnTo>
                  <a:lnTo>
                    <a:pt x="728" y="116"/>
                  </a:lnTo>
                  <a:lnTo>
                    <a:pt x="728" y="115"/>
                  </a:lnTo>
                  <a:lnTo>
                    <a:pt x="728" y="115"/>
                  </a:lnTo>
                  <a:lnTo>
                    <a:pt x="728" y="115"/>
                  </a:lnTo>
                  <a:lnTo>
                    <a:pt x="728" y="115"/>
                  </a:lnTo>
                  <a:lnTo>
                    <a:pt x="731" y="115"/>
                  </a:lnTo>
                  <a:lnTo>
                    <a:pt x="731" y="115"/>
                  </a:lnTo>
                  <a:lnTo>
                    <a:pt x="729" y="113"/>
                  </a:lnTo>
                  <a:lnTo>
                    <a:pt x="729" y="113"/>
                  </a:lnTo>
                  <a:lnTo>
                    <a:pt x="731" y="111"/>
                  </a:lnTo>
                  <a:lnTo>
                    <a:pt x="731" y="111"/>
                  </a:lnTo>
                  <a:lnTo>
                    <a:pt x="736" y="110"/>
                  </a:lnTo>
                  <a:lnTo>
                    <a:pt x="736" y="110"/>
                  </a:lnTo>
                  <a:lnTo>
                    <a:pt x="732" y="110"/>
                  </a:lnTo>
                  <a:lnTo>
                    <a:pt x="732" y="110"/>
                  </a:lnTo>
                  <a:lnTo>
                    <a:pt x="740" y="107"/>
                  </a:lnTo>
                  <a:lnTo>
                    <a:pt x="740" y="107"/>
                  </a:lnTo>
                  <a:lnTo>
                    <a:pt x="739" y="107"/>
                  </a:lnTo>
                  <a:lnTo>
                    <a:pt x="739" y="107"/>
                  </a:lnTo>
                  <a:lnTo>
                    <a:pt x="740" y="104"/>
                  </a:lnTo>
                  <a:lnTo>
                    <a:pt x="740" y="104"/>
                  </a:lnTo>
                  <a:lnTo>
                    <a:pt x="742" y="104"/>
                  </a:lnTo>
                  <a:lnTo>
                    <a:pt x="742" y="104"/>
                  </a:lnTo>
                  <a:lnTo>
                    <a:pt x="740" y="100"/>
                  </a:lnTo>
                  <a:lnTo>
                    <a:pt x="740" y="100"/>
                  </a:lnTo>
                  <a:lnTo>
                    <a:pt x="737" y="100"/>
                  </a:lnTo>
                  <a:lnTo>
                    <a:pt x="737" y="100"/>
                  </a:lnTo>
                  <a:lnTo>
                    <a:pt x="740" y="97"/>
                  </a:lnTo>
                  <a:lnTo>
                    <a:pt x="740" y="97"/>
                  </a:lnTo>
                  <a:lnTo>
                    <a:pt x="739" y="97"/>
                  </a:lnTo>
                  <a:lnTo>
                    <a:pt x="739" y="97"/>
                  </a:lnTo>
                  <a:lnTo>
                    <a:pt x="737" y="94"/>
                  </a:lnTo>
                  <a:lnTo>
                    <a:pt x="737" y="94"/>
                  </a:lnTo>
                  <a:lnTo>
                    <a:pt x="734" y="94"/>
                  </a:lnTo>
                  <a:lnTo>
                    <a:pt x="734" y="94"/>
                  </a:lnTo>
                  <a:lnTo>
                    <a:pt x="724" y="97"/>
                  </a:lnTo>
                  <a:lnTo>
                    <a:pt x="724" y="97"/>
                  </a:lnTo>
                  <a:lnTo>
                    <a:pt x="716" y="97"/>
                  </a:lnTo>
                  <a:lnTo>
                    <a:pt x="716" y="97"/>
                  </a:lnTo>
                  <a:lnTo>
                    <a:pt x="713" y="97"/>
                  </a:lnTo>
                  <a:lnTo>
                    <a:pt x="713" y="97"/>
                  </a:lnTo>
                  <a:lnTo>
                    <a:pt x="710" y="100"/>
                  </a:lnTo>
                  <a:lnTo>
                    <a:pt x="710" y="100"/>
                  </a:lnTo>
                  <a:lnTo>
                    <a:pt x="709" y="100"/>
                  </a:lnTo>
                  <a:lnTo>
                    <a:pt x="709" y="100"/>
                  </a:lnTo>
                  <a:lnTo>
                    <a:pt x="707" y="100"/>
                  </a:lnTo>
                  <a:lnTo>
                    <a:pt x="707" y="100"/>
                  </a:lnTo>
                  <a:lnTo>
                    <a:pt x="705" y="100"/>
                  </a:lnTo>
                  <a:lnTo>
                    <a:pt x="705" y="100"/>
                  </a:lnTo>
                  <a:lnTo>
                    <a:pt x="702" y="100"/>
                  </a:lnTo>
                  <a:lnTo>
                    <a:pt x="702" y="100"/>
                  </a:lnTo>
                  <a:lnTo>
                    <a:pt x="705" y="104"/>
                  </a:lnTo>
                  <a:lnTo>
                    <a:pt x="705" y="104"/>
                  </a:lnTo>
                  <a:lnTo>
                    <a:pt x="707" y="104"/>
                  </a:lnTo>
                  <a:lnTo>
                    <a:pt x="707" y="104"/>
                  </a:lnTo>
                  <a:lnTo>
                    <a:pt x="713" y="104"/>
                  </a:lnTo>
                  <a:lnTo>
                    <a:pt x="713" y="104"/>
                  </a:lnTo>
                  <a:lnTo>
                    <a:pt x="709" y="104"/>
                  </a:lnTo>
                  <a:lnTo>
                    <a:pt x="709" y="104"/>
                  </a:lnTo>
                  <a:lnTo>
                    <a:pt x="704" y="104"/>
                  </a:lnTo>
                  <a:lnTo>
                    <a:pt x="704" y="104"/>
                  </a:lnTo>
                  <a:lnTo>
                    <a:pt x="701" y="104"/>
                  </a:lnTo>
                  <a:lnTo>
                    <a:pt x="701" y="104"/>
                  </a:lnTo>
                  <a:lnTo>
                    <a:pt x="697" y="104"/>
                  </a:lnTo>
                  <a:lnTo>
                    <a:pt x="697" y="104"/>
                  </a:lnTo>
                  <a:lnTo>
                    <a:pt x="702" y="107"/>
                  </a:lnTo>
                  <a:lnTo>
                    <a:pt x="702" y="107"/>
                  </a:lnTo>
                  <a:lnTo>
                    <a:pt x="697" y="104"/>
                  </a:lnTo>
                  <a:lnTo>
                    <a:pt x="697" y="104"/>
                  </a:lnTo>
                  <a:lnTo>
                    <a:pt x="693" y="107"/>
                  </a:lnTo>
                  <a:lnTo>
                    <a:pt x="693" y="107"/>
                  </a:lnTo>
                  <a:lnTo>
                    <a:pt x="693" y="107"/>
                  </a:lnTo>
                  <a:lnTo>
                    <a:pt x="693" y="107"/>
                  </a:lnTo>
                  <a:lnTo>
                    <a:pt x="693" y="108"/>
                  </a:lnTo>
                  <a:lnTo>
                    <a:pt x="693" y="108"/>
                  </a:lnTo>
                  <a:lnTo>
                    <a:pt x="693" y="110"/>
                  </a:lnTo>
                  <a:lnTo>
                    <a:pt x="693" y="110"/>
                  </a:lnTo>
                  <a:lnTo>
                    <a:pt x="696" y="111"/>
                  </a:lnTo>
                  <a:lnTo>
                    <a:pt x="696" y="111"/>
                  </a:lnTo>
                  <a:lnTo>
                    <a:pt x="696" y="111"/>
                  </a:lnTo>
                  <a:lnTo>
                    <a:pt x="696" y="111"/>
                  </a:lnTo>
                  <a:lnTo>
                    <a:pt x="696" y="113"/>
                  </a:lnTo>
                  <a:lnTo>
                    <a:pt x="696" y="113"/>
                  </a:lnTo>
                  <a:lnTo>
                    <a:pt x="697" y="115"/>
                  </a:lnTo>
                  <a:lnTo>
                    <a:pt x="697" y="115"/>
                  </a:lnTo>
                  <a:lnTo>
                    <a:pt x="697" y="116"/>
                  </a:lnTo>
                  <a:lnTo>
                    <a:pt x="697" y="116"/>
                  </a:lnTo>
                  <a:lnTo>
                    <a:pt x="696" y="115"/>
                  </a:lnTo>
                  <a:lnTo>
                    <a:pt x="696" y="115"/>
                  </a:lnTo>
                  <a:lnTo>
                    <a:pt x="696" y="113"/>
                  </a:lnTo>
                  <a:lnTo>
                    <a:pt x="696" y="113"/>
                  </a:lnTo>
                  <a:lnTo>
                    <a:pt x="693" y="113"/>
                  </a:lnTo>
                  <a:lnTo>
                    <a:pt x="693" y="113"/>
                  </a:lnTo>
                  <a:lnTo>
                    <a:pt x="689" y="113"/>
                  </a:lnTo>
                  <a:lnTo>
                    <a:pt x="689" y="113"/>
                  </a:lnTo>
                  <a:lnTo>
                    <a:pt x="688" y="113"/>
                  </a:lnTo>
                  <a:lnTo>
                    <a:pt x="688" y="113"/>
                  </a:lnTo>
                  <a:lnTo>
                    <a:pt x="685" y="115"/>
                  </a:lnTo>
                  <a:lnTo>
                    <a:pt x="685" y="115"/>
                  </a:lnTo>
                  <a:lnTo>
                    <a:pt x="682" y="115"/>
                  </a:lnTo>
                  <a:lnTo>
                    <a:pt x="682" y="115"/>
                  </a:lnTo>
                  <a:lnTo>
                    <a:pt x="683" y="116"/>
                  </a:lnTo>
                  <a:lnTo>
                    <a:pt x="683" y="116"/>
                  </a:lnTo>
                  <a:lnTo>
                    <a:pt x="685" y="118"/>
                  </a:lnTo>
                  <a:lnTo>
                    <a:pt x="685" y="118"/>
                  </a:lnTo>
                  <a:lnTo>
                    <a:pt x="683" y="118"/>
                  </a:lnTo>
                  <a:lnTo>
                    <a:pt x="683" y="118"/>
                  </a:lnTo>
                  <a:lnTo>
                    <a:pt x="686" y="119"/>
                  </a:lnTo>
                  <a:lnTo>
                    <a:pt x="686" y="119"/>
                  </a:lnTo>
                  <a:lnTo>
                    <a:pt x="689" y="119"/>
                  </a:lnTo>
                  <a:lnTo>
                    <a:pt x="689" y="119"/>
                  </a:lnTo>
                  <a:lnTo>
                    <a:pt x="689" y="121"/>
                  </a:lnTo>
                  <a:lnTo>
                    <a:pt x="689" y="121"/>
                  </a:lnTo>
                  <a:lnTo>
                    <a:pt x="688" y="123"/>
                  </a:lnTo>
                  <a:lnTo>
                    <a:pt x="688" y="123"/>
                  </a:lnTo>
                  <a:lnTo>
                    <a:pt x="685" y="124"/>
                  </a:lnTo>
                  <a:lnTo>
                    <a:pt x="685" y="124"/>
                  </a:lnTo>
                  <a:lnTo>
                    <a:pt x="683" y="123"/>
                  </a:lnTo>
                  <a:lnTo>
                    <a:pt x="683" y="123"/>
                  </a:lnTo>
                  <a:lnTo>
                    <a:pt x="680" y="119"/>
                  </a:lnTo>
                  <a:lnTo>
                    <a:pt x="680" y="119"/>
                  </a:lnTo>
                  <a:lnTo>
                    <a:pt x="678" y="118"/>
                  </a:lnTo>
                  <a:lnTo>
                    <a:pt x="678" y="118"/>
                  </a:lnTo>
                  <a:lnTo>
                    <a:pt x="678" y="116"/>
                  </a:lnTo>
                  <a:lnTo>
                    <a:pt x="678" y="116"/>
                  </a:lnTo>
                  <a:lnTo>
                    <a:pt x="680" y="113"/>
                  </a:lnTo>
                  <a:lnTo>
                    <a:pt x="680" y="113"/>
                  </a:lnTo>
                  <a:lnTo>
                    <a:pt x="685" y="110"/>
                  </a:lnTo>
                  <a:lnTo>
                    <a:pt x="685" y="110"/>
                  </a:lnTo>
                  <a:lnTo>
                    <a:pt x="683" y="108"/>
                  </a:lnTo>
                  <a:lnTo>
                    <a:pt x="683" y="108"/>
                  </a:lnTo>
                  <a:lnTo>
                    <a:pt x="683" y="107"/>
                  </a:lnTo>
                  <a:lnTo>
                    <a:pt x="683" y="107"/>
                  </a:lnTo>
                  <a:lnTo>
                    <a:pt x="686" y="107"/>
                  </a:lnTo>
                  <a:lnTo>
                    <a:pt x="686" y="107"/>
                  </a:lnTo>
                  <a:lnTo>
                    <a:pt x="689" y="104"/>
                  </a:lnTo>
                  <a:lnTo>
                    <a:pt x="689" y="104"/>
                  </a:lnTo>
                  <a:lnTo>
                    <a:pt x="699" y="100"/>
                  </a:lnTo>
                  <a:lnTo>
                    <a:pt x="699" y="100"/>
                  </a:lnTo>
                  <a:lnTo>
                    <a:pt x="709" y="97"/>
                  </a:lnTo>
                  <a:lnTo>
                    <a:pt x="709" y="97"/>
                  </a:lnTo>
                  <a:lnTo>
                    <a:pt x="710" y="94"/>
                  </a:lnTo>
                  <a:lnTo>
                    <a:pt x="710" y="94"/>
                  </a:lnTo>
                  <a:lnTo>
                    <a:pt x="707" y="94"/>
                  </a:lnTo>
                  <a:lnTo>
                    <a:pt x="707" y="94"/>
                  </a:lnTo>
                  <a:lnTo>
                    <a:pt x="696" y="94"/>
                  </a:lnTo>
                  <a:lnTo>
                    <a:pt x="696" y="94"/>
                  </a:lnTo>
                  <a:lnTo>
                    <a:pt x="688" y="94"/>
                  </a:lnTo>
                  <a:lnTo>
                    <a:pt x="688" y="94"/>
                  </a:lnTo>
                  <a:lnTo>
                    <a:pt x="677" y="97"/>
                  </a:lnTo>
                  <a:lnTo>
                    <a:pt x="677" y="97"/>
                  </a:lnTo>
                  <a:lnTo>
                    <a:pt x="669" y="100"/>
                  </a:lnTo>
                  <a:lnTo>
                    <a:pt x="669" y="100"/>
                  </a:lnTo>
                  <a:lnTo>
                    <a:pt x="666" y="104"/>
                  </a:lnTo>
                  <a:lnTo>
                    <a:pt x="666" y="104"/>
                  </a:lnTo>
                  <a:lnTo>
                    <a:pt x="663" y="107"/>
                  </a:lnTo>
                  <a:lnTo>
                    <a:pt x="663" y="107"/>
                  </a:lnTo>
                  <a:lnTo>
                    <a:pt x="661" y="107"/>
                  </a:lnTo>
                  <a:lnTo>
                    <a:pt x="661" y="107"/>
                  </a:lnTo>
                  <a:lnTo>
                    <a:pt x="659" y="107"/>
                  </a:lnTo>
                  <a:lnTo>
                    <a:pt x="659" y="107"/>
                  </a:lnTo>
                  <a:lnTo>
                    <a:pt x="653" y="110"/>
                  </a:lnTo>
                  <a:lnTo>
                    <a:pt x="653" y="110"/>
                  </a:lnTo>
                  <a:lnTo>
                    <a:pt x="650" y="111"/>
                  </a:lnTo>
                  <a:lnTo>
                    <a:pt x="650" y="111"/>
                  </a:lnTo>
                  <a:lnTo>
                    <a:pt x="650" y="113"/>
                  </a:lnTo>
                  <a:lnTo>
                    <a:pt x="650" y="113"/>
                  </a:lnTo>
                  <a:lnTo>
                    <a:pt x="651" y="113"/>
                  </a:lnTo>
                  <a:lnTo>
                    <a:pt x="651" y="113"/>
                  </a:lnTo>
                  <a:lnTo>
                    <a:pt x="647" y="115"/>
                  </a:lnTo>
                  <a:lnTo>
                    <a:pt x="647" y="115"/>
                  </a:lnTo>
                  <a:lnTo>
                    <a:pt x="645" y="118"/>
                  </a:lnTo>
                  <a:lnTo>
                    <a:pt x="645" y="118"/>
                  </a:lnTo>
                  <a:lnTo>
                    <a:pt x="639" y="123"/>
                  </a:lnTo>
                  <a:lnTo>
                    <a:pt x="639" y="123"/>
                  </a:lnTo>
                  <a:lnTo>
                    <a:pt x="640" y="123"/>
                  </a:lnTo>
                  <a:lnTo>
                    <a:pt x="640" y="123"/>
                  </a:lnTo>
                  <a:lnTo>
                    <a:pt x="642" y="124"/>
                  </a:lnTo>
                  <a:lnTo>
                    <a:pt x="642" y="124"/>
                  </a:lnTo>
                  <a:lnTo>
                    <a:pt x="648" y="124"/>
                  </a:lnTo>
                  <a:lnTo>
                    <a:pt x="648" y="124"/>
                  </a:lnTo>
                  <a:lnTo>
                    <a:pt x="658" y="124"/>
                  </a:lnTo>
                  <a:lnTo>
                    <a:pt x="658" y="124"/>
                  </a:lnTo>
                  <a:lnTo>
                    <a:pt x="658" y="126"/>
                  </a:lnTo>
                  <a:lnTo>
                    <a:pt x="658" y="126"/>
                  </a:lnTo>
                  <a:lnTo>
                    <a:pt x="659" y="127"/>
                  </a:lnTo>
                  <a:lnTo>
                    <a:pt x="659" y="127"/>
                  </a:lnTo>
                  <a:lnTo>
                    <a:pt x="663" y="127"/>
                  </a:lnTo>
                  <a:lnTo>
                    <a:pt x="663" y="127"/>
                  </a:lnTo>
                  <a:lnTo>
                    <a:pt x="656" y="129"/>
                  </a:lnTo>
                  <a:lnTo>
                    <a:pt x="656" y="129"/>
                  </a:lnTo>
                  <a:lnTo>
                    <a:pt x="650" y="129"/>
                  </a:lnTo>
                  <a:lnTo>
                    <a:pt x="650" y="129"/>
                  </a:lnTo>
                  <a:lnTo>
                    <a:pt x="645" y="127"/>
                  </a:lnTo>
                  <a:lnTo>
                    <a:pt x="645" y="127"/>
                  </a:lnTo>
                  <a:lnTo>
                    <a:pt x="640" y="127"/>
                  </a:lnTo>
                  <a:lnTo>
                    <a:pt x="640" y="127"/>
                  </a:lnTo>
                  <a:lnTo>
                    <a:pt x="639" y="129"/>
                  </a:lnTo>
                  <a:lnTo>
                    <a:pt x="639" y="129"/>
                  </a:lnTo>
                  <a:lnTo>
                    <a:pt x="639" y="132"/>
                  </a:lnTo>
                  <a:lnTo>
                    <a:pt x="639" y="132"/>
                  </a:lnTo>
                  <a:lnTo>
                    <a:pt x="639" y="132"/>
                  </a:lnTo>
                  <a:lnTo>
                    <a:pt x="639" y="132"/>
                  </a:lnTo>
                  <a:lnTo>
                    <a:pt x="640" y="132"/>
                  </a:lnTo>
                  <a:lnTo>
                    <a:pt x="640" y="132"/>
                  </a:lnTo>
                  <a:lnTo>
                    <a:pt x="642" y="135"/>
                  </a:lnTo>
                  <a:lnTo>
                    <a:pt x="642" y="135"/>
                  </a:lnTo>
                  <a:lnTo>
                    <a:pt x="645" y="135"/>
                  </a:lnTo>
                  <a:lnTo>
                    <a:pt x="645" y="135"/>
                  </a:lnTo>
                  <a:lnTo>
                    <a:pt x="647" y="135"/>
                  </a:lnTo>
                  <a:lnTo>
                    <a:pt x="647" y="135"/>
                  </a:lnTo>
                  <a:lnTo>
                    <a:pt x="651" y="135"/>
                  </a:lnTo>
                  <a:lnTo>
                    <a:pt x="651" y="135"/>
                  </a:lnTo>
                  <a:lnTo>
                    <a:pt x="655" y="135"/>
                  </a:lnTo>
                  <a:lnTo>
                    <a:pt x="655" y="135"/>
                  </a:lnTo>
                  <a:lnTo>
                    <a:pt x="653" y="135"/>
                  </a:lnTo>
                  <a:lnTo>
                    <a:pt x="653" y="135"/>
                  </a:lnTo>
                  <a:lnTo>
                    <a:pt x="656" y="135"/>
                  </a:lnTo>
                  <a:lnTo>
                    <a:pt x="656" y="135"/>
                  </a:lnTo>
                  <a:lnTo>
                    <a:pt x="658" y="135"/>
                  </a:lnTo>
                  <a:lnTo>
                    <a:pt x="658" y="135"/>
                  </a:lnTo>
                  <a:lnTo>
                    <a:pt x="659" y="135"/>
                  </a:lnTo>
                  <a:lnTo>
                    <a:pt x="659" y="135"/>
                  </a:lnTo>
                  <a:lnTo>
                    <a:pt x="663" y="132"/>
                  </a:lnTo>
                  <a:lnTo>
                    <a:pt x="663" y="132"/>
                  </a:lnTo>
                  <a:lnTo>
                    <a:pt x="661" y="135"/>
                  </a:lnTo>
                  <a:lnTo>
                    <a:pt x="661" y="135"/>
                  </a:lnTo>
                  <a:lnTo>
                    <a:pt x="659" y="135"/>
                  </a:lnTo>
                  <a:lnTo>
                    <a:pt x="659" y="135"/>
                  </a:lnTo>
                  <a:lnTo>
                    <a:pt x="659" y="138"/>
                  </a:lnTo>
                  <a:lnTo>
                    <a:pt x="659" y="138"/>
                  </a:lnTo>
                  <a:lnTo>
                    <a:pt x="661" y="138"/>
                  </a:lnTo>
                  <a:lnTo>
                    <a:pt x="661" y="138"/>
                  </a:lnTo>
                  <a:lnTo>
                    <a:pt x="663" y="138"/>
                  </a:lnTo>
                  <a:lnTo>
                    <a:pt x="663" y="138"/>
                  </a:lnTo>
                  <a:lnTo>
                    <a:pt x="663" y="138"/>
                  </a:lnTo>
                  <a:lnTo>
                    <a:pt x="663" y="138"/>
                  </a:lnTo>
                  <a:lnTo>
                    <a:pt x="666" y="138"/>
                  </a:lnTo>
                  <a:lnTo>
                    <a:pt x="666" y="138"/>
                  </a:lnTo>
                  <a:lnTo>
                    <a:pt x="669" y="138"/>
                  </a:lnTo>
                  <a:lnTo>
                    <a:pt x="669" y="138"/>
                  </a:lnTo>
                  <a:lnTo>
                    <a:pt x="672" y="138"/>
                  </a:lnTo>
                  <a:lnTo>
                    <a:pt x="672" y="138"/>
                  </a:lnTo>
                  <a:lnTo>
                    <a:pt x="672" y="138"/>
                  </a:lnTo>
                  <a:lnTo>
                    <a:pt x="672" y="138"/>
                  </a:lnTo>
                  <a:lnTo>
                    <a:pt x="675" y="140"/>
                  </a:lnTo>
                  <a:lnTo>
                    <a:pt x="675" y="140"/>
                  </a:lnTo>
                  <a:lnTo>
                    <a:pt x="680" y="140"/>
                  </a:lnTo>
                  <a:lnTo>
                    <a:pt x="680" y="140"/>
                  </a:lnTo>
                  <a:lnTo>
                    <a:pt x="685" y="138"/>
                  </a:lnTo>
                  <a:lnTo>
                    <a:pt x="685" y="138"/>
                  </a:lnTo>
                  <a:lnTo>
                    <a:pt x="689" y="140"/>
                  </a:lnTo>
                  <a:lnTo>
                    <a:pt x="689" y="140"/>
                  </a:lnTo>
                  <a:lnTo>
                    <a:pt x="689" y="140"/>
                  </a:lnTo>
                  <a:lnTo>
                    <a:pt x="689" y="140"/>
                  </a:lnTo>
                  <a:lnTo>
                    <a:pt x="693" y="142"/>
                  </a:lnTo>
                  <a:lnTo>
                    <a:pt x="693" y="142"/>
                  </a:lnTo>
                  <a:lnTo>
                    <a:pt x="697" y="140"/>
                  </a:lnTo>
                  <a:lnTo>
                    <a:pt x="697" y="140"/>
                  </a:lnTo>
                  <a:lnTo>
                    <a:pt x="696" y="138"/>
                  </a:lnTo>
                  <a:lnTo>
                    <a:pt x="696" y="138"/>
                  </a:lnTo>
                  <a:lnTo>
                    <a:pt x="689" y="135"/>
                  </a:lnTo>
                  <a:lnTo>
                    <a:pt x="689" y="135"/>
                  </a:lnTo>
                  <a:lnTo>
                    <a:pt x="696" y="138"/>
                  </a:lnTo>
                  <a:lnTo>
                    <a:pt x="696" y="138"/>
                  </a:lnTo>
                  <a:lnTo>
                    <a:pt x="702" y="142"/>
                  </a:lnTo>
                  <a:lnTo>
                    <a:pt x="702" y="142"/>
                  </a:lnTo>
                  <a:lnTo>
                    <a:pt x="704" y="142"/>
                  </a:lnTo>
                  <a:lnTo>
                    <a:pt x="704" y="142"/>
                  </a:lnTo>
                  <a:lnTo>
                    <a:pt x="705" y="142"/>
                  </a:lnTo>
                  <a:lnTo>
                    <a:pt x="705" y="142"/>
                  </a:lnTo>
                  <a:lnTo>
                    <a:pt x="705" y="140"/>
                  </a:lnTo>
                  <a:lnTo>
                    <a:pt x="705" y="140"/>
                  </a:lnTo>
                  <a:lnTo>
                    <a:pt x="702" y="138"/>
                  </a:lnTo>
                  <a:lnTo>
                    <a:pt x="702" y="138"/>
                  </a:lnTo>
                  <a:lnTo>
                    <a:pt x="701" y="138"/>
                  </a:lnTo>
                  <a:lnTo>
                    <a:pt x="701" y="138"/>
                  </a:lnTo>
                  <a:lnTo>
                    <a:pt x="704" y="138"/>
                  </a:lnTo>
                  <a:lnTo>
                    <a:pt x="704" y="138"/>
                  </a:lnTo>
                  <a:lnTo>
                    <a:pt x="709" y="138"/>
                  </a:lnTo>
                  <a:lnTo>
                    <a:pt x="709" y="138"/>
                  </a:lnTo>
                  <a:lnTo>
                    <a:pt x="712" y="140"/>
                  </a:lnTo>
                  <a:lnTo>
                    <a:pt x="712" y="140"/>
                  </a:lnTo>
                  <a:lnTo>
                    <a:pt x="716" y="138"/>
                  </a:lnTo>
                  <a:lnTo>
                    <a:pt x="716" y="138"/>
                  </a:lnTo>
                  <a:lnTo>
                    <a:pt x="718" y="140"/>
                  </a:lnTo>
                  <a:lnTo>
                    <a:pt x="718" y="140"/>
                  </a:lnTo>
                  <a:lnTo>
                    <a:pt x="718" y="142"/>
                  </a:lnTo>
                  <a:lnTo>
                    <a:pt x="718" y="142"/>
                  </a:lnTo>
                  <a:lnTo>
                    <a:pt x="724" y="140"/>
                  </a:lnTo>
                  <a:lnTo>
                    <a:pt x="724" y="140"/>
                  </a:lnTo>
                  <a:lnTo>
                    <a:pt x="728" y="138"/>
                  </a:lnTo>
                  <a:lnTo>
                    <a:pt x="728" y="138"/>
                  </a:lnTo>
                  <a:lnTo>
                    <a:pt x="728" y="135"/>
                  </a:lnTo>
                  <a:lnTo>
                    <a:pt x="728" y="135"/>
                  </a:lnTo>
                  <a:lnTo>
                    <a:pt x="724" y="135"/>
                  </a:lnTo>
                  <a:lnTo>
                    <a:pt x="724" y="135"/>
                  </a:lnTo>
                  <a:lnTo>
                    <a:pt x="728" y="135"/>
                  </a:lnTo>
                  <a:lnTo>
                    <a:pt x="728" y="135"/>
                  </a:lnTo>
                  <a:lnTo>
                    <a:pt x="728" y="132"/>
                  </a:lnTo>
                  <a:lnTo>
                    <a:pt x="728" y="132"/>
                  </a:lnTo>
                  <a:lnTo>
                    <a:pt x="728" y="135"/>
                  </a:lnTo>
                  <a:lnTo>
                    <a:pt x="728" y="135"/>
                  </a:lnTo>
                  <a:lnTo>
                    <a:pt x="729" y="135"/>
                  </a:lnTo>
                  <a:lnTo>
                    <a:pt x="729" y="135"/>
                  </a:lnTo>
                  <a:lnTo>
                    <a:pt x="731" y="135"/>
                  </a:lnTo>
                  <a:lnTo>
                    <a:pt x="731" y="135"/>
                  </a:lnTo>
                  <a:lnTo>
                    <a:pt x="732" y="135"/>
                  </a:lnTo>
                  <a:lnTo>
                    <a:pt x="732" y="135"/>
                  </a:lnTo>
                  <a:lnTo>
                    <a:pt x="736" y="135"/>
                  </a:lnTo>
                  <a:lnTo>
                    <a:pt x="736" y="135"/>
                  </a:lnTo>
                  <a:lnTo>
                    <a:pt x="737" y="138"/>
                  </a:lnTo>
                  <a:lnTo>
                    <a:pt x="737" y="138"/>
                  </a:lnTo>
                  <a:lnTo>
                    <a:pt x="737" y="138"/>
                  </a:lnTo>
                  <a:lnTo>
                    <a:pt x="737" y="138"/>
                  </a:lnTo>
                  <a:lnTo>
                    <a:pt x="734" y="142"/>
                  </a:lnTo>
                  <a:lnTo>
                    <a:pt x="734" y="142"/>
                  </a:lnTo>
                  <a:lnTo>
                    <a:pt x="739" y="142"/>
                  </a:lnTo>
                  <a:lnTo>
                    <a:pt x="739" y="142"/>
                  </a:lnTo>
                  <a:lnTo>
                    <a:pt x="740" y="142"/>
                  </a:lnTo>
                  <a:lnTo>
                    <a:pt x="740" y="142"/>
                  </a:lnTo>
                  <a:lnTo>
                    <a:pt x="740" y="142"/>
                  </a:lnTo>
                  <a:lnTo>
                    <a:pt x="740" y="142"/>
                  </a:lnTo>
                  <a:lnTo>
                    <a:pt x="742" y="142"/>
                  </a:lnTo>
                  <a:lnTo>
                    <a:pt x="742" y="142"/>
                  </a:lnTo>
                  <a:lnTo>
                    <a:pt x="742" y="143"/>
                  </a:lnTo>
                  <a:lnTo>
                    <a:pt x="742" y="143"/>
                  </a:lnTo>
                  <a:lnTo>
                    <a:pt x="740" y="143"/>
                  </a:lnTo>
                  <a:lnTo>
                    <a:pt x="740" y="143"/>
                  </a:lnTo>
                  <a:lnTo>
                    <a:pt x="737" y="143"/>
                  </a:lnTo>
                  <a:lnTo>
                    <a:pt x="737" y="143"/>
                  </a:lnTo>
                  <a:lnTo>
                    <a:pt x="740" y="145"/>
                  </a:lnTo>
                  <a:lnTo>
                    <a:pt x="740" y="145"/>
                  </a:lnTo>
                  <a:lnTo>
                    <a:pt x="742" y="145"/>
                  </a:lnTo>
                  <a:lnTo>
                    <a:pt x="742" y="145"/>
                  </a:lnTo>
                  <a:lnTo>
                    <a:pt x="745" y="146"/>
                  </a:lnTo>
                  <a:lnTo>
                    <a:pt x="745" y="146"/>
                  </a:lnTo>
                  <a:lnTo>
                    <a:pt x="747" y="148"/>
                  </a:lnTo>
                  <a:lnTo>
                    <a:pt x="747" y="148"/>
                  </a:lnTo>
                  <a:lnTo>
                    <a:pt x="748" y="150"/>
                  </a:lnTo>
                  <a:lnTo>
                    <a:pt x="748" y="150"/>
                  </a:lnTo>
                  <a:lnTo>
                    <a:pt x="747" y="151"/>
                  </a:lnTo>
                  <a:lnTo>
                    <a:pt x="747" y="151"/>
                  </a:lnTo>
                  <a:lnTo>
                    <a:pt x="745" y="151"/>
                  </a:lnTo>
                  <a:lnTo>
                    <a:pt x="745" y="151"/>
                  </a:lnTo>
                  <a:lnTo>
                    <a:pt x="740" y="151"/>
                  </a:lnTo>
                  <a:lnTo>
                    <a:pt x="740" y="151"/>
                  </a:lnTo>
                  <a:lnTo>
                    <a:pt x="737" y="151"/>
                  </a:lnTo>
                  <a:lnTo>
                    <a:pt x="737" y="151"/>
                  </a:lnTo>
                  <a:lnTo>
                    <a:pt x="736" y="153"/>
                  </a:lnTo>
                  <a:lnTo>
                    <a:pt x="736" y="153"/>
                  </a:lnTo>
                  <a:lnTo>
                    <a:pt x="736" y="154"/>
                  </a:lnTo>
                  <a:lnTo>
                    <a:pt x="736" y="154"/>
                  </a:lnTo>
                  <a:lnTo>
                    <a:pt x="734" y="156"/>
                  </a:lnTo>
                  <a:lnTo>
                    <a:pt x="734" y="156"/>
                  </a:lnTo>
                  <a:lnTo>
                    <a:pt x="740" y="154"/>
                  </a:lnTo>
                  <a:lnTo>
                    <a:pt x="740" y="154"/>
                  </a:lnTo>
                  <a:lnTo>
                    <a:pt x="747" y="153"/>
                  </a:lnTo>
                  <a:lnTo>
                    <a:pt x="747" y="153"/>
                  </a:lnTo>
                  <a:lnTo>
                    <a:pt x="748" y="151"/>
                  </a:lnTo>
                  <a:lnTo>
                    <a:pt x="748" y="151"/>
                  </a:lnTo>
                  <a:lnTo>
                    <a:pt x="750" y="153"/>
                  </a:lnTo>
                  <a:lnTo>
                    <a:pt x="750" y="153"/>
                  </a:lnTo>
                  <a:lnTo>
                    <a:pt x="753" y="151"/>
                  </a:lnTo>
                  <a:lnTo>
                    <a:pt x="753" y="151"/>
                  </a:lnTo>
                  <a:lnTo>
                    <a:pt x="753" y="151"/>
                  </a:lnTo>
                  <a:lnTo>
                    <a:pt x="753" y="151"/>
                  </a:lnTo>
                  <a:lnTo>
                    <a:pt x="753" y="153"/>
                  </a:lnTo>
                  <a:lnTo>
                    <a:pt x="753" y="153"/>
                  </a:lnTo>
                  <a:lnTo>
                    <a:pt x="753" y="153"/>
                  </a:lnTo>
                  <a:lnTo>
                    <a:pt x="753" y="153"/>
                  </a:lnTo>
                  <a:lnTo>
                    <a:pt x="751" y="154"/>
                  </a:lnTo>
                  <a:lnTo>
                    <a:pt x="751" y="154"/>
                  </a:lnTo>
                  <a:lnTo>
                    <a:pt x="753" y="154"/>
                  </a:lnTo>
                  <a:lnTo>
                    <a:pt x="753" y="154"/>
                  </a:lnTo>
                  <a:lnTo>
                    <a:pt x="753" y="156"/>
                  </a:lnTo>
                  <a:lnTo>
                    <a:pt x="753" y="156"/>
                  </a:lnTo>
                  <a:lnTo>
                    <a:pt x="753" y="158"/>
                  </a:lnTo>
                  <a:lnTo>
                    <a:pt x="753" y="158"/>
                  </a:lnTo>
                  <a:lnTo>
                    <a:pt x="756" y="158"/>
                  </a:lnTo>
                  <a:lnTo>
                    <a:pt x="756" y="158"/>
                  </a:lnTo>
                  <a:lnTo>
                    <a:pt x="756" y="156"/>
                  </a:lnTo>
                  <a:lnTo>
                    <a:pt x="756" y="156"/>
                  </a:lnTo>
                  <a:lnTo>
                    <a:pt x="759" y="156"/>
                  </a:lnTo>
                  <a:lnTo>
                    <a:pt x="759" y="156"/>
                  </a:lnTo>
                  <a:lnTo>
                    <a:pt x="756" y="159"/>
                  </a:lnTo>
                  <a:lnTo>
                    <a:pt x="756" y="159"/>
                  </a:lnTo>
                  <a:lnTo>
                    <a:pt x="756" y="161"/>
                  </a:lnTo>
                  <a:lnTo>
                    <a:pt x="756" y="161"/>
                  </a:lnTo>
                  <a:lnTo>
                    <a:pt x="759" y="161"/>
                  </a:lnTo>
                  <a:lnTo>
                    <a:pt x="759" y="161"/>
                  </a:lnTo>
                  <a:lnTo>
                    <a:pt x="763" y="159"/>
                  </a:lnTo>
                  <a:lnTo>
                    <a:pt x="763" y="159"/>
                  </a:lnTo>
                  <a:lnTo>
                    <a:pt x="759" y="161"/>
                  </a:lnTo>
                  <a:lnTo>
                    <a:pt x="759" y="161"/>
                  </a:lnTo>
                  <a:lnTo>
                    <a:pt x="763" y="161"/>
                  </a:lnTo>
                  <a:lnTo>
                    <a:pt x="763" y="161"/>
                  </a:lnTo>
                  <a:lnTo>
                    <a:pt x="763" y="162"/>
                  </a:lnTo>
                  <a:lnTo>
                    <a:pt x="763" y="162"/>
                  </a:lnTo>
                  <a:lnTo>
                    <a:pt x="763" y="164"/>
                  </a:lnTo>
                  <a:lnTo>
                    <a:pt x="763" y="164"/>
                  </a:lnTo>
                  <a:lnTo>
                    <a:pt x="763" y="164"/>
                  </a:lnTo>
                  <a:lnTo>
                    <a:pt x="763" y="164"/>
                  </a:lnTo>
                  <a:lnTo>
                    <a:pt x="763" y="167"/>
                  </a:lnTo>
                  <a:lnTo>
                    <a:pt x="763" y="167"/>
                  </a:lnTo>
                  <a:lnTo>
                    <a:pt x="763" y="167"/>
                  </a:lnTo>
                  <a:lnTo>
                    <a:pt x="763" y="167"/>
                  </a:lnTo>
                  <a:lnTo>
                    <a:pt x="763" y="170"/>
                  </a:lnTo>
                  <a:lnTo>
                    <a:pt x="763" y="170"/>
                  </a:lnTo>
                  <a:lnTo>
                    <a:pt x="763" y="173"/>
                  </a:lnTo>
                  <a:lnTo>
                    <a:pt x="763" y="173"/>
                  </a:lnTo>
                  <a:lnTo>
                    <a:pt x="756" y="175"/>
                  </a:lnTo>
                  <a:lnTo>
                    <a:pt x="756" y="175"/>
                  </a:lnTo>
                  <a:lnTo>
                    <a:pt x="753" y="177"/>
                  </a:lnTo>
                  <a:lnTo>
                    <a:pt x="753" y="177"/>
                  </a:lnTo>
                  <a:lnTo>
                    <a:pt x="753" y="178"/>
                  </a:lnTo>
                  <a:lnTo>
                    <a:pt x="753" y="178"/>
                  </a:lnTo>
                  <a:lnTo>
                    <a:pt x="753" y="180"/>
                  </a:lnTo>
                  <a:lnTo>
                    <a:pt x="753" y="180"/>
                  </a:lnTo>
                  <a:lnTo>
                    <a:pt x="740" y="183"/>
                  </a:lnTo>
                  <a:lnTo>
                    <a:pt x="740" y="183"/>
                  </a:lnTo>
                  <a:lnTo>
                    <a:pt x="734" y="186"/>
                  </a:lnTo>
                  <a:lnTo>
                    <a:pt x="734" y="186"/>
                  </a:lnTo>
                  <a:lnTo>
                    <a:pt x="731" y="186"/>
                  </a:lnTo>
                  <a:lnTo>
                    <a:pt x="731" y="186"/>
                  </a:lnTo>
                  <a:lnTo>
                    <a:pt x="731" y="188"/>
                  </a:lnTo>
                  <a:lnTo>
                    <a:pt x="731" y="188"/>
                  </a:lnTo>
                  <a:lnTo>
                    <a:pt x="732" y="191"/>
                  </a:lnTo>
                  <a:lnTo>
                    <a:pt x="732" y="191"/>
                  </a:lnTo>
                  <a:lnTo>
                    <a:pt x="734" y="192"/>
                  </a:lnTo>
                  <a:lnTo>
                    <a:pt x="734" y="192"/>
                  </a:lnTo>
                  <a:lnTo>
                    <a:pt x="736" y="194"/>
                  </a:lnTo>
                  <a:lnTo>
                    <a:pt x="736" y="194"/>
                  </a:lnTo>
                  <a:lnTo>
                    <a:pt x="734" y="194"/>
                  </a:lnTo>
                  <a:lnTo>
                    <a:pt x="734" y="194"/>
                  </a:lnTo>
                  <a:lnTo>
                    <a:pt x="729" y="194"/>
                  </a:lnTo>
                  <a:lnTo>
                    <a:pt x="729" y="194"/>
                  </a:lnTo>
                  <a:lnTo>
                    <a:pt x="724" y="197"/>
                  </a:lnTo>
                  <a:lnTo>
                    <a:pt x="724" y="197"/>
                  </a:lnTo>
                  <a:lnTo>
                    <a:pt x="718" y="197"/>
                  </a:lnTo>
                  <a:lnTo>
                    <a:pt x="718" y="197"/>
                  </a:lnTo>
                  <a:lnTo>
                    <a:pt x="718" y="197"/>
                  </a:lnTo>
                  <a:lnTo>
                    <a:pt x="718" y="197"/>
                  </a:lnTo>
                  <a:lnTo>
                    <a:pt x="716" y="197"/>
                  </a:lnTo>
                  <a:lnTo>
                    <a:pt x="716" y="197"/>
                  </a:lnTo>
                  <a:lnTo>
                    <a:pt x="713" y="197"/>
                  </a:lnTo>
                  <a:lnTo>
                    <a:pt x="713" y="197"/>
                  </a:lnTo>
                  <a:lnTo>
                    <a:pt x="710" y="197"/>
                  </a:lnTo>
                  <a:lnTo>
                    <a:pt x="710" y="197"/>
                  </a:lnTo>
                  <a:lnTo>
                    <a:pt x="707" y="197"/>
                  </a:lnTo>
                  <a:lnTo>
                    <a:pt x="707" y="197"/>
                  </a:lnTo>
                  <a:lnTo>
                    <a:pt x="701" y="197"/>
                  </a:lnTo>
                  <a:lnTo>
                    <a:pt x="701" y="197"/>
                  </a:lnTo>
                  <a:lnTo>
                    <a:pt x="697" y="197"/>
                  </a:lnTo>
                  <a:lnTo>
                    <a:pt x="697" y="197"/>
                  </a:lnTo>
                  <a:lnTo>
                    <a:pt x="696" y="197"/>
                  </a:lnTo>
                  <a:lnTo>
                    <a:pt x="696" y="197"/>
                  </a:lnTo>
                  <a:lnTo>
                    <a:pt x="696" y="197"/>
                  </a:lnTo>
                  <a:lnTo>
                    <a:pt x="696" y="197"/>
                  </a:lnTo>
                  <a:lnTo>
                    <a:pt x="696" y="199"/>
                  </a:lnTo>
                  <a:lnTo>
                    <a:pt x="696" y="199"/>
                  </a:lnTo>
                  <a:lnTo>
                    <a:pt x="693" y="199"/>
                  </a:lnTo>
                  <a:lnTo>
                    <a:pt x="693" y="199"/>
                  </a:lnTo>
                  <a:lnTo>
                    <a:pt x="689" y="199"/>
                  </a:lnTo>
                  <a:lnTo>
                    <a:pt x="689" y="199"/>
                  </a:lnTo>
                  <a:lnTo>
                    <a:pt x="686" y="200"/>
                  </a:lnTo>
                  <a:lnTo>
                    <a:pt x="686" y="200"/>
                  </a:lnTo>
                  <a:lnTo>
                    <a:pt x="685" y="204"/>
                  </a:lnTo>
                  <a:lnTo>
                    <a:pt x="685" y="204"/>
                  </a:lnTo>
                  <a:lnTo>
                    <a:pt x="682" y="205"/>
                  </a:lnTo>
                  <a:lnTo>
                    <a:pt x="682" y="205"/>
                  </a:lnTo>
                  <a:lnTo>
                    <a:pt x="683" y="205"/>
                  </a:lnTo>
                  <a:lnTo>
                    <a:pt x="683" y="205"/>
                  </a:lnTo>
                  <a:lnTo>
                    <a:pt x="683" y="207"/>
                  </a:lnTo>
                  <a:lnTo>
                    <a:pt x="683" y="207"/>
                  </a:lnTo>
                  <a:lnTo>
                    <a:pt x="685" y="210"/>
                  </a:lnTo>
                  <a:lnTo>
                    <a:pt x="685" y="210"/>
                  </a:lnTo>
                  <a:lnTo>
                    <a:pt x="689" y="210"/>
                  </a:lnTo>
                  <a:lnTo>
                    <a:pt x="689" y="210"/>
                  </a:lnTo>
                  <a:lnTo>
                    <a:pt x="693" y="212"/>
                  </a:lnTo>
                  <a:lnTo>
                    <a:pt x="693" y="212"/>
                  </a:lnTo>
                  <a:lnTo>
                    <a:pt x="693" y="212"/>
                  </a:lnTo>
                  <a:lnTo>
                    <a:pt x="693" y="212"/>
                  </a:lnTo>
                  <a:lnTo>
                    <a:pt x="693" y="210"/>
                  </a:lnTo>
                  <a:lnTo>
                    <a:pt x="693" y="210"/>
                  </a:lnTo>
                  <a:lnTo>
                    <a:pt x="696" y="210"/>
                  </a:lnTo>
                  <a:lnTo>
                    <a:pt x="696" y="210"/>
                  </a:lnTo>
                  <a:lnTo>
                    <a:pt x="697" y="210"/>
                  </a:lnTo>
                  <a:lnTo>
                    <a:pt x="697" y="210"/>
                  </a:lnTo>
                  <a:lnTo>
                    <a:pt x="701" y="210"/>
                  </a:lnTo>
                  <a:lnTo>
                    <a:pt x="701" y="210"/>
                  </a:lnTo>
                  <a:lnTo>
                    <a:pt x="704" y="208"/>
                  </a:lnTo>
                  <a:lnTo>
                    <a:pt x="704" y="208"/>
                  </a:lnTo>
                  <a:lnTo>
                    <a:pt x="704" y="207"/>
                  </a:lnTo>
                  <a:lnTo>
                    <a:pt x="704" y="207"/>
                  </a:lnTo>
                  <a:lnTo>
                    <a:pt x="705" y="207"/>
                  </a:lnTo>
                  <a:lnTo>
                    <a:pt x="705" y="207"/>
                  </a:lnTo>
                  <a:lnTo>
                    <a:pt x="710" y="208"/>
                  </a:lnTo>
                  <a:lnTo>
                    <a:pt x="710" y="208"/>
                  </a:lnTo>
                  <a:lnTo>
                    <a:pt x="713" y="208"/>
                  </a:lnTo>
                  <a:lnTo>
                    <a:pt x="713" y="208"/>
                  </a:lnTo>
                  <a:lnTo>
                    <a:pt x="716" y="208"/>
                  </a:lnTo>
                  <a:lnTo>
                    <a:pt x="716" y="208"/>
                  </a:lnTo>
                  <a:lnTo>
                    <a:pt x="716" y="205"/>
                  </a:lnTo>
                  <a:lnTo>
                    <a:pt x="716" y="205"/>
                  </a:lnTo>
                  <a:lnTo>
                    <a:pt x="715" y="204"/>
                  </a:lnTo>
                  <a:lnTo>
                    <a:pt x="715" y="204"/>
                  </a:lnTo>
                  <a:lnTo>
                    <a:pt x="718" y="202"/>
                  </a:lnTo>
                  <a:lnTo>
                    <a:pt x="718" y="202"/>
                  </a:lnTo>
                  <a:lnTo>
                    <a:pt x="718" y="204"/>
                  </a:lnTo>
                  <a:lnTo>
                    <a:pt x="718" y="204"/>
                  </a:lnTo>
                  <a:lnTo>
                    <a:pt x="718" y="205"/>
                  </a:lnTo>
                  <a:lnTo>
                    <a:pt x="718" y="205"/>
                  </a:lnTo>
                  <a:lnTo>
                    <a:pt x="721" y="205"/>
                  </a:lnTo>
                  <a:lnTo>
                    <a:pt x="721" y="205"/>
                  </a:lnTo>
                  <a:lnTo>
                    <a:pt x="721" y="207"/>
                  </a:lnTo>
                  <a:lnTo>
                    <a:pt x="721" y="207"/>
                  </a:lnTo>
                  <a:lnTo>
                    <a:pt x="721" y="207"/>
                  </a:lnTo>
                  <a:lnTo>
                    <a:pt x="721" y="207"/>
                  </a:lnTo>
                  <a:lnTo>
                    <a:pt x="721" y="208"/>
                  </a:lnTo>
                  <a:lnTo>
                    <a:pt x="721" y="208"/>
                  </a:lnTo>
                  <a:lnTo>
                    <a:pt x="721" y="208"/>
                  </a:lnTo>
                  <a:lnTo>
                    <a:pt x="721" y="208"/>
                  </a:lnTo>
                  <a:lnTo>
                    <a:pt x="724" y="207"/>
                  </a:lnTo>
                  <a:lnTo>
                    <a:pt x="724" y="207"/>
                  </a:lnTo>
                  <a:lnTo>
                    <a:pt x="724" y="207"/>
                  </a:lnTo>
                  <a:lnTo>
                    <a:pt x="724" y="207"/>
                  </a:lnTo>
                  <a:lnTo>
                    <a:pt x="728" y="205"/>
                  </a:lnTo>
                  <a:lnTo>
                    <a:pt x="728" y="205"/>
                  </a:lnTo>
                  <a:lnTo>
                    <a:pt x="728" y="207"/>
                  </a:lnTo>
                  <a:lnTo>
                    <a:pt x="728" y="207"/>
                  </a:lnTo>
                  <a:lnTo>
                    <a:pt x="728" y="207"/>
                  </a:lnTo>
                  <a:lnTo>
                    <a:pt x="728" y="207"/>
                  </a:lnTo>
                  <a:lnTo>
                    <a:pt x="728" y="208"/>
                  </a:lnTo>
                  <a:lnTo>
                    <a:pt x="728" y="208"/>
                  </a:lnTo>
                  <a:lnTo>
                    <a:pt x="728" y="210"/>
                  </a:lnTo>
                  <a:lnTo>
                    <a:pt x="728" y="210"/>
                  </a:lnTo>
                  <a:lnTo>
                    <a:pt x="728" y="212"/>
                  </a:lnTo>
                  <a:lnTo>
                    <a:pt x="728" y="212"/>
                  </a:lnTo>
                  <a:lnTo>
                    <a:pt x="729" y="213"/>
                  </a:lnTo>
                  <a:lnTo>
                    <a:pt x="729" y="213"/>
                  </a:lnTo>
                  <a:lnTo>
                    <a:pt x="729" y="215"/>
                  </a:lnTo>
                  <a:lnTo>
                    <a:pt x="729" y="215"/>
                  </a:lnTo>
                  <a:lnTo>
                    <a:pt x="731" y="213"/>
                  </a:lnTo>
                  <a:lnTo>
                    <a:pt x="731" y="213"/>
                  </a:lnTo>
                  <a:lnTo>
                    <a:pt x="729" y="216"/>
                  </a:lnTo>
                  <a:lnTo>
                    <a:pt x="729" y="216"/>
                  </a:lnTo>
                  <a:lnTo>
                    <a:pt x="731" y="216"/>
                  </a:lnTo>
                  <a:lnTo>
                    <a:pt x="731" y="216"/>
                  </a:lnTo>
                  <a:lnTo>
                    <a:pt x="732" y="216"/>
                  </a:lnTo>
                  <a:lnTo>
                    <a:pt x="732" y="216"/>
                  </a:lnTo>
                  <a:lnTo>
                    <a:pt x="731" y="218"/>
                  </a:lnTo>
                  <a:lnTo>
                    <a:pt x="731" y="218"/>
                  </a:lnTo>
                  <a:lnTo>
                    <a:pt x="734" y="218"/>
                  </a:lnTo>
                  <a:lnTo>
                    <a:pt x="734" y="218"/>
                  </a:lnTo>
                  <a:lnTo>
                    <a:pt x="736" y="216"/>
                  </a:lnTo>
                  <a:lnTo>
                    <a:pt x="736" y="216"/>
                  </a:lnTo>
                  <a:lnTo>
                    <a:pt x="737" y="218"/>
                  </a:lnTo>
                  <a:lnTo>
                    <a:pt x="737" y="218"/>
                  </a:lnTo>
                  <a:lnTo>
                    <a:pt x="739" y="218"/>
                  </a:lnTo>
                  <a:lnTo>
                    <a:pt x="739" y="218"/>
                  </a:lnTo>
                  <a:lnTo>
                    <a:pt x="740" y="219"/>
                  </a:lnTo>
                  <a:lnTo>
                    <a:pt x="740" y="219"/>
                  </a:lnTo>
                  <a:lnTo>
                    <a:pt x="736" y="219"/>
                  </a:lnTo>
                  <a:lnTo>
                    <a:pt x="736" y="219"/>
                  </a:lnTo>
                  <a:lnTo>
                    <a:pt x="731" y="219"/>
                  </a:lnTo>
                  <a:lnTo>
                    <a:pt x="731" y="219"/>
                  </a:lnTo>
                  <a:lnTo>
                    <a:pt x="732" y="223"/>
                  </a:lnTo>
                  <a:lnTo>
                    <a:pt x="732" y="223"/>
                  </a:lnTo>
                  <a:lnTo>
                    <a:pt x="734" y="226"/>
                  </a:lnTo>
                  <a:lnTo>
                    <a:pt x="734" y="226"/>
                  </a:lnTo>
                  <a:lnTo>
                    <a:pt x="736" y="226"/>
                  </a:lnTo>
                  <a:lnTo>
                    <a:pt x="736" y="226"/>
                  </a:lnTo>
                  <a:lnTo>
                    <a:pt x="737" y="226"/>
                  </a:lnTo>
                  <a:lnTo>
                    <a:pt x="737" y="226"/>
                  </a:lnTo>
                  <a:lnTo>
                    <a:pt x="740" y="229"/>
                  </a:lnTo>
                  <a:lnTo>
                    <a:pt x="740" y="229"/>
                  </a:lnTo>
                  <a:lnTo>
                    <a:pt x="743" y="229"/>
                  </a:lnTo>
                  <a:lnTo>
                    <a:pt x="743" y="229"/>
                  </a:lnTo>
                  <a:lnTo>
                    <a:pt x="748" y="229"/>
                  </a:lnTo>
                  <a:lnTo>
                    <a:pt x="748" y="229"/>
                  </a:lnTo>
                  <a:lnTo>
                    <a:pt x="751" y="229"/>
                  </a:lnTo>
                  <a:lnTo>
                    <a:pt x="751" y="229"/>
                  </a:lnTo>
                  <a:lnTo>
                    <a:pt x="751" y="231"/>
                  </a:lnTo>
                  <a:lnTo>
                    <a:pt x="751" y="231"/>
                  </a:lnTo>
                  <a:lnTo>
                    <a:pt x="753" y="234"/>
                  </a:lnTo>
                  <a:lnTo>
                    <a:pt x="753" y="234"/>
                  </a:lnTo>
                  <a:lnTo>
                    <a:pt x="756" y="235"/>
                  </a:lnTo>
                  <a:lnTo>
                    <a:pt x="756" y="235"/>
                  </a:lnTo>
                  <a:lnTo>
                    <a:pt x="759" y="237"/>
                  </a:lnTo>
                  <a:lnTo>
                    <a:pt x="759" y="237"/>
                  </a:lnTo>
                  <a:lnTo>
                    <a:pt x="764" y="237"/>
                  </a:lnTo>
                  <a:lnTo>
                    <a:pt x="764" y="237"/>
                  </a:lnTo>
                  <a:lnTo>
                    <a:pt x="770" y="238"/>
                  </a:lnTo>
                  <a:lnTo>
                    <a:pt x="770" y="238"/>
                  </a:lnTo>
                  <a:lnTo>
                    <a:pt x="775" y="240"/>
                  </a:lnTo>
                  <a:lnTo>
                    <a:pt x="775" y="240"/>
                  </a:lnTo>
                  <a:lnTo>
                    <a:pt x="780" y="242"/>
                  </a:lnTo>
                  <a:lnTo>
                    <a:pt x="780" y="242"/>
                  </a:lnTo>
                  <a:lnTo>
                    <a:pt x="780" y="238"/>
                  </a:lnTo>
                  <a:lnTo>
                    <a:pt x="780" y="238"/>
                  </a:lnTo>
                  <a:lnTo>
                    <a:pt x="782" y="238"/>
                  </a:lnTo>
                  <a:lnTo>
                    <a:pt x="782" y="238"/>
                  </a:lnTo>
                  <a:lnTo>
                    <a:pt x="782" y="237"/>
                  </a:lnTo>
                  <a:lnTo>
                    <a:pt x="782" y="237"/>
                  </a:lnTo>
                  <a:lnTo>
                    <a:pt x="782" y="235"/>
                  </a:lnTo>
                  <a:lnTo>
                    <a:pt x="782" y="235"/>
                  </a:lnTo>
                  <a:lnTo>
                    <a:pt x="780" y="235"/>
                  </a:lnTo>
                  <a:lnTo>
                    <a:pt x="780" y="235"/>
                  </a:lnTo>
                  <a:lnTo>
                    <a:pt x="778" y="234"/>
                  </a:lnTo>
                  <a:lnTo>
                    <a:pt x="778" y="234"/>
                  </a:lnTo>
                  <a:lnTo>
                    <a:pt x="780" y="232"/>
                  </a:lnTo>
                  <a:lnTo>
                    <a:pt x="780" y="232"/>
                  </a:lnTo>
                  <a:lnTo>
                    <a:pt x="778" y="231"/>
                  </a:lnTo>
                  <a:lnTo>
                    <a:pt x="778" y="231"/>
                  </a:lnTo>
                  <a:lnTo>
                    <a:pt x="777" y="231"/>
                  </a:lnTo>
                  <a:lnTo>
                    <a:pt x="777" y="231"/>
                  </a:lnTo>
                  <a:lnTo>
                    <a:pt x="775" y="231"/>
                  </a:lnTo>
                  <a:lnTo>
                    <a:pt x="775" y="231"/>
                  </a:lnTo>
                  <a:lnTo>
                    <a:pt x="775" y="229"/>
                  </a:lnTo>
                  <a:lnTo>
                    <a:pt x="775" y="229"/>
                  </a:lnTo>
                  <a:lnTo>
                    <a:pt x="774" y="229"/>
                  </a:lnTo>
                  <a:lnTo>
                    <a:pt x="774" y="229"/>
                  </a:lnTo>
                  <a:lnTo>
                    <a:pt x="774" y="226"/>
                  </a:lnTo>
                  <a:lnTo>
                    <a:pt x="774" y="226"/>
                  </a:lnTo>
                  <a:lnTo>
                    <a:pt x="772" y="229"/>
                  </a:lnTo>
                  <a:lnTo>
                    <a:pt x="772" y="229"/>
                  </a:lnTo>
                  <a:lnTo>
                    <a:pt x="772" y="226"/>
                  </a:lnTo>
                  <a:lnTo>
                    <a:pt x="772" y="226"/>
                  </a:lnTo>
                  <a:lnTo>
                    <a:pt x="767" y="223"/>
                  </a:lnTo>
                  <a:lnTo>
                    <a:pt x="767" y="223"/>
                  </a:lnTo>
                  <a:lnTo>
                    <a:pt x="764" y="219"/>
                  </a:lnTo>
                  <a:lnTo>
                    <a:pt x="764" y="219"/>
                  </a:lnTo>
                  <a:lnTo>
                    <a:pt x="766" y="218"/>
                  </a:lnTo>
                  <a:lnTo>
                    <a:pt x="766" y="218"/>
                  </a:lnTo>
                  <a:lnTo>
                    <a:pt x="767" y="218"/>
                  </a:lnTo>
                  <a:lnTo>
                    <a:pt x="767" y="218"/>
                  </a:lnTo>
                  <a:lnTo>
                    <a:pt x="770" y="218"/>
                  </a:lnTo>
                  <a:lnTo>
                    <a:pt x="770" y="218"/>
                  </a:lnTo>
                  <a:lnTo>
                    <a:pt x="772" y="219"/>
                  </a:lnTo>
                  <a:lnTo>
                    <a:pt x="772" y="219"/>
                  </a:lnTo>
                  <a:lnTo>
                    <a:pt x="774" y="223"/>
                  </a:lnTo>
                  <a:lnTo>
                    <a:pt x="774" y="223"/>
                  </a:lnTo>
                  <a:lnTo>
                    <a:pt x="775" y="218"/>
                  </a:lnTo>
                  <a:lnTo>
                    <a:pt x="775" y="218"/>
                  </a:lnTo>
                  <a:lnTo>
                    <a:pt x="777" y="223"/>
                  </a:lnTo>
                  <a:lnTo>
                    <a:pt x="777" y="223"/>
                  </a:lnTo>
                  <a:lnTo>
                    <a:pt x="780" y="223"/>
                  </a:lnTo>
                  <a:lnTo>
                    <a:pt x="780" y="223"/>
                  </a:lnTo>
                  <a:lnTo>
                    <a:pt x="782" y="223"/>
                  </a:lnTo>
                  <a:lnTo>
                    <a:pt x="782" y="223"/>
                  </a:lnTo>
                  <a:lnTo>
                    <a:pt x="780" y="226"/>
                  </a:lnTo>
                  <a:lnTo>
                    <a:pt x="780" y="226"/>
                  </a:lnTo>
                  <a:lnTo>
                    <a:pt x="782" y="223"/>
                  </a:lnTo>
                  <a:lnTo>
                    <a:pt x="782" y="223"/>
                  </a:lnTo>
                  <a:lnTo>
                    <a:pt x="782" y="226"/>
                  </a:lnTo>
                  <a:lnTo>
                    <a:pt x="782" y="226"/>
                  </a:lnTo>
                  <a:lnTo>
                    <a:pt x="783" y="226"/>
                  </a:lnTo>
                  <a:lnTo>
                    <a:pt x="783" y="226"/>
                  </a:lnTo>
                  <a:lnTo>
                    <a:pt x="783" y="226"/>
                  </a:lnTo>
                  <a:lnTo>
                    <a:pt x="783" y="226"/>
                  </a:lnTo>
                  <a:lnTo>
                    <a:pt x="783" y="223"/>
                  </a:lnTo>
                  <a:lnTo>
                    <a:pt x="783" y="223"/>
                  </a:lnTo>
                  <a:lnTo>
                    <a:pt x="785" y="226"/>
                  </a:lnTo>
                  <a:lnTo>
                    <a:pt x="785" y="226"/>
                  </a:lnTo>
                  <a:lnTo>
                    <a:pt x="786" y="229"/>
                  </a:lnTo>
                  <a:lnTo>
                    <a:pt x="786" y="229"/>
                  </a:lnTo>
                  <a:lnTo>
                    <a:pt x="786" y="226"/>
                  </a:lnTo>
                  <a:lnTo>
                    <a:pt x="786" y="226"/>
                  </a:lnTo>
                  <a:lnTo>
                    <a:pt x="788" y="226"/>
                  </a:lnTo>
                  <a:lnTo>
                    <a:pt x="788" y="226"/>
                  </a:lnTo>
                  <a:lnTo>
                    <a:pt x="788" y="226"/>
                  </a:lnTo>
                  <a:lnTo>
                    <a:pt x="788" y="226"/>
                  </a:lnTo>
                  <a:lnTo>
                    <a:pt x="791" y="226"/>
                  </a:lnTo>
                  <a:lnTo>
                    <a:pt x="791" y="226"/>
                  </a:lnTo>
                  <a:lnTo>
                    <a:pt x="791" y="229"/>
                  </a:lnTo>
                  <a:lnTo>
                    <a:pt x="791" y="229"/>
                  </a:lnTo>
                  <a:lnTo>
                    <a:pt x="791" y="229"/>
                  </a:lnTo>
                  <a:lnTo>
                    <a:pt x="791" y="229"/>
                  </a:lnTo>
                  <a:lnTo>
                    <a:pt x="794" y="229"/>
                  </a:lnTo>
                  <a:lnTo>
                    <a:pt x="794" y="229"/>
                  </a:lnTo>
                  <a:lnTo>
                    <a:pt x="794" y="231"/>
                  </a:lnTo>
                  <a:lnTo>
                    <a:pt x="794" y="231"/>
                  </a:lnTo>
                  <a:lnTo>
                    <a:pt x="794" y="232"/>
                  </a:lnTo>
                  <a:lnTo>
                    <a:pt x="794" y="232"/>
                  </a:lnTo>
                  <a:lnTo>
                    <a:pt x="794" y="232"/>
                  </a:lnTo>
                  <a:lnTo>
                    <a:pt x="794" y="232"/>
                  </a:lnTo>
                  <a:lnTo>
                    <a:pt x="794" y="231"/>
                  </a:lnTo>
                  <a:lnTo>
                    <a:pt x="794" y="231"/>
                  </a:lnTo>
                  <a:lnTo>
                    <a:pt x="794" y="229"/>
                  </a:lnTo>
                  <a:lnTo>
                    <a:pt x="794" y="229"/>
                  </a:lnTo>
                  <a:lnTo>
                    <a:pt x="794" y="226"/>
                  </a:lnTo>
                  <a:lnTo>
                    <a:pt x="794" y="226"/>
                  </a:lnTo>
                  <a:lnTo>
                    <a:pt x="797" y="229"/>
                  </a:lnTo>
                  <a:lnTo>
                    <a:pt x="797" y="229"/>
                  </a:lnTo>
                  <a:lnTo>
                    <a:pt x="799" y="229"/>
                  </a:lnTo>
                  <a:lnTo>
                    <a:pt x="799" y="229"/>
                  </a:lnTo>
                  <a:lnTo>
                    <a:pt x="799" y="226"/>
                  </a:lnTo>
                  <a:lnTo>
                    <a:pt x="799" y="226"/>
                  </a:lnTo>
                  <a:lnTo>
                    <a:pt x="799" y="226"/>
                  </a:lnTo>
                  <a:lnTo>
                    <a:pt x="799" y="226"/>
                  </a:lnTo>
                  <a:lnTo>
                    <a:pt x="797" y="223"/>
                  </a:lnTo>
                  <a:lnTo>
                    <a:pt x="797" y="223"/>
                  </a:lnTo>
                  <a:lnTo>
                    <a:pt x="801" y="223"/>
                  </a:lnTo>
                  <a:lnTo>
                    <a:pt x="801" y="223"/>
                  </a:lnTo>
                  <a:lnTo>
                    <a:pt x="799" y="223"/>
                  </a:lnTo>
                  <a:lnTo>
                    <a:pt x="799" y="223"/>
                  </a:lnTo>
                  <a:lnTo>
                    <a:pt x="801" y="219"/>
                  </a:lnTo>
                  <a:lnTo>
                    <a:pt x="801" y="219"/>
                  </a:lnTo>
                  <a:lnTo>
                    <a:pt x="802" y="219"/>
                  </a:lnTo>
                  <a:lnTo>
                    <a:pt x="802" y="219"/>
                  </a:lnTo>
                  <a:lnTo>
                    <a:pt x="802" y="219"/>
                  </a:lnTo>
                  <a:lnTo>
                    <a:pt x="802" y="219"/>
                  </a:lnTo>
                  <a:lnTo>
                    <a:pt x="802" y="223"/>
                  </a:lnTo>
                  <a:lnTo>
                    <a:pt x="802" y="223"/>
                  </a:lnTo>
                  <a:lnTo>
                    <a:pt x="804" y="223"/>
                  </a:lnTo>
                  <a:lnTo>
                    <a:pt x="804" y="223"/>
                  </a:lnTo>
                  <a:lnTo>
                    <a:pt x="804" y="223"/>
                  </a:lnTo>
                  <a:lnTo>
                    <a:pt x="804" y="223"/>
                  </a:lnTo>
                  <a:lnTo>
                    <a:pt x="805" y="219"/>
                  </a:lnTo>
                  <a:lnTo>
                    <a:pt x="805" y="219"/>
                  </a:lnTo>
                  <a:lnTo>
                    <a:pt x="807" y="219"/>
                  </a:lnTo>
                  <a:lnTo>
                    <a:pt x="807" y="219"/>
                  </a:lnTo>
                  <a:lnTo>
                    <a:pt x="807" y="218"/>
                  </a:lnTo>
                  <a:lnTo>
                    <a:pt x="807" y="218"/>
                  </a:lnTo>
                  <a:lnTo>
                    <a:pt x="805" y="218"/>
                  </a:lnTo>
                  <a:lnTo>
                    <a:pt x="805" y="218"/>
                  </a:lnTo>
                  <a:lnTo>
                    <a:pt x="805" y="216"/>
                  </a:lnTo>
                  <a:lnTo>
                    <a:pt x="805" y="216"/>
                  </a:lnTo>
                  <a:lnTo>
                    <a:pt x="809" y="215"/>
                  </a:lnTo>
                  <a:lnTo>
                    <a:pt x="809" y="215"/>
                  </a:lnTo>
                  <a:lnTo>
                    <a:pt x="804" y="213"/>
                  </a:lnTo>
                  <a:lnTo>
                    <a:pt x="804" y="213"/>
                  </a:lnTo>
                  <a:lnTo>
                    <a:pt x="802" y="212"/>
                  </a:lnTo>
                  <a:lnTo>
                    <a:pt x="802" y="212"/>
                  </a:lnTo>
                  <a:lnTo>
                    <a:pt x="804" y="210"/>
                  </a:lnTo>
                  <a:lnTo>
                    <a:pt x="804" y="210"/>
                  </a:lnTo>
                  <a:lnTo>
                    <a:pt x="805" y="210"/>
                  </a:lnTo>
                  <a:lnTo>
                    <a:pt x="805" y="210"/>
                  </a:lnTo>
                  <a:lnTo>
                    <a:pt x="809" y="207"/>
                  </a:lnTo>
                  <a:lnTo>
                    <a:pt x="809" y="207"/>
                  </a:lnTo>
                  <a:lnTo>
                    <a:pt x="805" y="208"/>
                  </a:lnTo>
                  <a:lnTo>
                    <a:pt x="805" y="208"/>
                  </a:lnTo>
                  <a:lnTo>
                    <a:pt x="805" y="207"/>
                  </a:lnTo>
                  <a:lnTo>
                    <a:pt x="805" y="207"/>
                  </a:lnTo>
                  <a:lnTo>
                    <a:pt x="802" y="207"/>
                  </a:lnTo>
                  <a:lnTo>
                    <a:pt x="802" y="207"/>
                  </a:lnTo>
                  <a:lnTo>
                    <a:pt x="804" y="205"/>
                  </a:lnTo>
                  <a:lnTo>
                    <a:pt x="804" y="205"/>
                  </a:lnTo>
                  <a:lnTo>
                    <a:pt x="805" y="205"/>
                  </a:lnTo>
                  <a:lnTo>
                    <a:pt x="805" y="205"/>
                  </a:lnTo>
                  <a:lnTo>
                    <a:pt x="804" y="204"/>
                  </a:lnTo>
                  <a:lnTo>
                    <a:pt x="804" y="204"/>
                  </a:lnTo>
                  <a:lnTo>
                    <a:pt x="805" y="202"/>
                  </a:lnTo>
                  <a:lnTo>
                    <a:pt x="805" y="202"/>
                  </a:lnTo>
                  <a:lnTo>
                    <a:pt x="804" y="202"/>
                  </a:lnTo>
                  <a:lnTo>
                    <a:pt x="804" y="202"/>
                  </a:lnTo>
                  <a:lnTo>
                    <a:pt x="802" y="204"/>
                  </a:lnTo>
                  <a:lnTo>
                    <a:pt x="802" y="204"/>
                  </a:lnTo>
                  <a:lnTo>
                    <a:pt x="799" y="205"/>
                  </a:lnTo>
                  <a:lnTo>
                    <a:pt x="799" y="205"/>
                  </a:lnTo>
                  <a:lnTo>
                    <a:pt x="801" y="202"/>
                  </a:lnTo>
                  <a:lnTo>
                    <a:pt x="801" y="202"/>
                  </a:lnTo>
                  <a:lnTo>
                    <a:pt x="799" y="202"/>
                  </a:lnTo>
                  <a:lnTo>
                    <a:pt x="799" y="202"/>
                  </a:lnTo>
                  <a:lnTo>
                    <a:pt x="797" y="200"/>
                  </a:lnTo>
                  <a:lnTo>
                    <a:pt x="797" y="200"/>
                  </a:lnTo>
                  <a:lnTo>
                    <a:pt x="794" y="204"/>
                  </a:lnTo>
                  <a:lnTo>
                    <a:pt x="794" y="204"/>
                  </a:lnTo>
                  <a:lnTo>
                    <a:pt x="797" y="200"/>
                  </a:lnTo>
                  <a:lnTo>
                    <a:pt x="797" y="200"/>
                  </a:lnTo>
                  <a:lnTo>
                    <a:pt x="794" y="200"/>
                  </a:lnTo>
                  <a:lnTo>
                    <a:pt x="794" y="200"/>
                  </a:lnTo>
                  <a:lnTo>
                    <a:pt x="797" y="199"/>
                  </a:lnTo>
                  <a:lnTo>
                    <a:pt x="797" y="199"/>
                  </a:lnTo>
                  <a:lnTo>
                    <a:pt x="796" y="199"/>
                  </a:lnTo>
                  <a:lnTo>
                    <a:pt x="796" y="199"/>
                  </a:lnTo>
                  <a:lnTo>
                    <a:pt x="797" y="197"/>
                  </a:lnTo>
                  <a:lnTo>
                    <a:pt x="797" y="197"/>
                  </a:lnTo>
                  <a:lnTo>
                    <a:pt x="794" y="197"/>
                  </a:lnTo>
                  <a:lnTo>
                    <a:pt x="794" y="197"/>
                  </a:lnTo>
                  <a:lnTo>
                    <a:pt x="794" y="197"/>
                  </a:lnTo>
                  <a:lnTo>
                    <a:pt x="794" y="197"/>
                  </a:lnTo>
                  <a:lnTo>
                    <a:pt x="794" y="197"/>
                  </a:lnTo>
                  <a:lnTo>
                    <a:pt x="794" y="197"/>
                  </a:lnTo>
                  <a:lnTo>
                    <a:pt x="797" y="194"/>
                  </a:lnTo>
                  <a:lnTo>
                    <a:pt x="797" y="194"/>
                  </a:lnTo>
                  <a:lnTo>
                    <a:pt x="794" y="194"/>
                  </a:lnTo>
                  <a:lnTo>
                    <a:pt x="794" y="194"/>
                  </a:lnTo>
                  <a:lnTo>
                    <a:pt x="794" y="194"/>
                  </a:lnTo>
                  <a:lnTo>
                    <a:pt x="794" y="194"/>
                  </a:lnTo>
                  <a:lnTo>
                    <a:pt x="794" y="194"/>
                  </a:lnTo>
                  <a:lnTo>
                    <a:pt x="794" y="194"/>
                  </a:lnTo>
                  <a:lnTo>
                    <a:pt x="791" y="194"/>
                  </a:lnTo>
                  <a:lnTo>
                    <a:pt x="791" y="194"/>
                  </a:lnTo>
                  <a:lnTo>
                    <a:pt x="788" y="194"/>
                  </a:lnTo>
                  <a:lnTo>
                    <a:pt x="788" y="194"/>
                  </a:lnTo>
                  <a:lnTo>
                    <a:pt x="791" y="192"/>
                  </a:lnTo>
                  <a:lnTo>
                    <a:pt x="791" y="192"/>
                  </a:lnTo>
                  <a:lnTo>
                    <a:pt x="788" y="192"/>
                  </a:lnTo>
                  <a:lnTo>
                    <a:pt x="788" y="192"/>
                  </a:lnTo>
                  <a:lnTo>
                    <a:pt x="791" y="191"/>
                  </a:lnTo>
                  <a:lnTo>
                    <a:pt x="791" y="191"/>
                  </a:lnTo>
                  <a:lnTo>
                    <a:pt x="788" y="191"/>
                  </a:lnTo>
                  <a:lnTo>
                    <a:pt x="788" y="191"/>
                  </a:lnTo>
                  <a:lnTo>
                    <a:pt x="791" y="189"/>
                  </a:lnTo>
                  <a:lnTo>
                    <a:pt x="791" y="189"/>
                  </a:lnTo>
                  <a:lnTo>
                    <a:pt x="791" y="188"/>
                  </a:lnTo>
                  <a:lnTo>
                    <a:pt x="791" y="188"/>
                  </a:lnTo>
                  <a:lnTo>
                    <a:pt x="791" y="188"/>
                  </a:lnTo>
                  <a:lnTo>
                    <a:pt x="791" y="188"/>
                  </a:lnTo>
                  <a:lnTo>
                    <a:pt x="786" y="186"/>
                  </a:lnTo>
                  <a:lnTo>
                    <a:pt x="786" y="186"/>
                  </a:lnTo>
                  <a:lnTo>
                    <a:pt x="788" y="186"/>
                  </a:lnTo>
                  <a:lnTo>
                    <a:pt x="788" y="186"/>
                  </a:lnTo>
                  <a:lnTo>
                    <a:pt x="794" y="188"/>
                  </a:lnTo>
                  <a:lnTo>
                    <a:pt x="794" y="188"/>
                  </a:lnTo>
                  <a:lnTo>
                    <a:pt x="791" y="189"/>
                  </a:lnTo>
                  <a:lnTo>
                    <a:pt x="791" y="189"/>
                  </a:lnTo>
                  <a:lnTo>
                    <a:pt x="791" y="191"/>
                  </a:lnTo>
                  <a:lnTo>
                    <a:pt x="791" y="191"/>
                  </a:lnTo>
                  <a:lnTo>
                    <a:pt x="794" y="191"/>
                  </a:lnTo>
                  <a:lnTo>
                    <a:pt x="794" y="191"/>
                  </a:lnTo>
                  <a:lnTo>
                    <a:pt x="799" y="189"/>
                  </a:lnTo>
                  <a:lnTo>
                    <a:pt x="799" y="189"/>
                  </a:lnTo>
                  <a:lnTo>
                    <a:pt x="799" y="188"/>
                  </a:lnTo>
                  <a:lnTo>
                    <a:pt x="799" y="188"/>
                  </a:lnTo>
                  <a:lnTo>
                    <a:pt x="797" y="186"/>
                  </a:lnTo>
                  <a:lnTo>
                    <a:pt x="797" y="186"/>
                  </a:lnTo>
                  <a:lnTo>
                    <a:pt x="797" y="185"/>
                  </a:lnTo>
                  <a:lnTo>
                    <a:pt x="797" y="185"/>
                  </a:lnTo>
                  <a:lnTo>
                    <a:pt x="797" y="183"/>
                  </a:lnTo>
                  <a:lnTo>
                    <a:pt x="797" y="183"/>
                  </a:lnTo>
                  <a:lnTo>
                    <a:pt x="797" y="183"/>
                  </a:lnTo>
                  <a:lnTo>
                    <a:pt x="797" y="183"/>
                  </a:lnTo>
                  <a:lnTo>
                    <a:pt x="799" y="185"/>
                  </a:lnTo>
                  <a:lnTo>
                    <a:pt x="799" y="185"/>
                  </a:lnTo>
                  <a:lnTo>
                    <a:pt x="801" y="185"/>
                  </a:lnTo>
                  <a:lnTo>
                    <a:pt x="801" y="185"/>
                  </a:lnTo>
                  <a:lnTo>
                    <a:pt x="804" y="183"/>
                  </a:lnTo>
                  <a:lnTo>
                    <a:pt x="804" y="183"/>
                  </a:lnTo>
                  <a:lnTo>
                    <a:pt x="802" y="181"/>
                  </a:lnTo>
                  <a:lnTo>
                    <a:pt x="802" y="181"/>
                  </a:lnTo>
                  <a:lnTo>
                    <a:pt x="804" y="181"/>
                  </a:lnTo>
                  <a:lnTo>
                    <a:pt x="804" y="181"/>
                  </a:lnTo>
                  <a:lnTo>
                    <a:pt x="805" y="181"/>
                  </a:lnTo>
                  <a:lnTo>
                    <a:pt x="805" y="181"/>
                  </a:lnTo>
                  <a:lnTo>
                    <a:pt x="807" y="181"/>
                  </a:lnTo>
                  <a:lnTo>
                    <a:pt x="807" y="181"/>
                  </a:lnTo>
                  <a:lnTo>
                    <a:pt x="807" y="183"/>
                  </a:lnTo>
                  <a:lnTo>
                    <a:pt x="807" y="183"/>
                  </a:lnTo>
                  <a:lnTo>
                    <a:pt x="809" y="185"/>
                  </a:lnTo>
                  <a:lnTo>
                    <a:pt x="809" y="185"/>
                  </a:lnTo>
                  <a:lnTo>
                    <a:pt x="810" y="183"/>
                  </a:lnTo>
                  <a:lnTo>
                    <a:pt x="810" y="183"/>
                  </a:lnTo>
                  <a:lnTo>
                    <a:pt x="809" y="186"/>
                  </a:lnTo>
                  <a:lnTo>
                    <a:pt x="809" y="186"/>
                  </a:lnTo>
                  <a:lnTo>
                    <a:pt x="810" y="186"/>
                  </a:lnTo>
                  <a:lnTo>
                    <a:pt x="810" y="186"/>
                  </a:lnTo>
                  <a:lnTo>
                    <a:pt x="812" y="186"/>
                  </a:lnTo>
                  <a:lnTo>
                    <a:pt x="812" y="186"/>
                  </a:lnTo>
                  <a:lnTo>
                    <a:pt x="813" y="188"/>
                  </a:lnTo>
                  <a:lnTo>
                    <a:pt x="813" y="188"/>
                  </a:lnTo>
                  <a:lnTo>
                    <a:pt x="812" y="189"/>
                  </a:lnTo>
                  <a:lnTo>
                    <a:pt x="812" y="189"/>
                  </a:lnTo>
                  <a:lnTo>
                    <a:pt x="818" y="189"/>
                  </a:lnTo>
                  <a:lnTo>
                    <a:pt x="818" y="189"/>
                  </a:lnTo>
                  <a:lnTo>
                    <a:pt x="815" y="191"/>
                  </a:lnTo>
                  <a:lnTo>
                    <a:pt x="815" y="191"/>
                  </a:lnTo>
                  <a:lnTo>
                    <a:pt x="815" y="192"/>
                  </a:lnTo>
                  <a:lnTo>
                    <a:pt x="815" y="192"/>
                  </a:lnTo>
                  <a:lnTo>
                    <a:pt x="818" y="192"/>
                  </a:lnTo>
                  <a:lnTo>
                    <a:pt x="818" y="192"/>
                  </a:lnTo>
                  <a:lnTo>
                    <a:pt x="820" y="192"/>
                  </a:lnTo>
                  <a:lnTo>
                    <a:pt x="820" y="192"/>
                  </a:lnTo>
                  <a:lnTo>
                    <a:pt x="818" y="194"/>
                  </a:lnTo>
                  <a:lnTo>
                    <a:pt x="818" y="194"/>
                  </a:lnTo>
                  <a:lnTo>
                    <a:pt x="820" y="194"/>
                  </a:lnTo>
                  <a:lnTo>
                    <a:pt x="820" y="194"/>
                  </a:lnTo>
                  <a:lnTo>
                    <a:pt x="815" y="197"/>
                  </a:lnTo>
                  <a:lnTo>
                    <a:pt x="815" y="197"/>
                  </a:lnTo>
                  <a:lnTo>
                    <a:pt x="818" y="197"/>
                  </a:lnTo>
                  <a:lnTo>
                    <a:pt x="818" y="197"/>
                  </a:lnTo>
                  <a:lnTo>
                    <a:pt x="815" y="197"/>
                  </a:lnTo>
                  <a:lnTo>
                    <a:pt x="815" y="197"/>
                  </a:lnTo>
                  <a:lnTo>
                    <a:pt x="818" y="197"/>
                  </a:lnTo>
                  <a:lnTo>
                    <a:pt x="818" y="197"/>
                  </a:lnTo>
                  <a:lnTo>
                    <a:pt x="818" y="199"/>
                  </a:lnTo>
                  <a:lnTo>
                    <a:pt x="818" y="199"/>
                  </a:lnTo>
                  <a:lnTo>
                    <a:pt x="818" y="199"/>
                  </a:lnTo>
                  <a:lnTo>
                    <a:pt x="818" y="199"/>
                  </a:lnTo>
                  <a:lnTo>
                    <a:pt x="820" y="197"/>
                  </a:lnTo>
                  <a:lnTo>
                    <a:pt x="820" y="197"/>
                  </a:lnTo>
                  <a:lnTo>
                    <a:pt x="823" y="199"/>
                  </a:lnTo>
                  <a:lnTo>
                    <a:pt x="823" y="199"/>
                  </a:lnTo>
                  <a:lnTo>
                    <a:pt x="824" y="199"/>
                  </a:lnTo>
                  <a:lnTo>
                    <a:pt x="824" y="199"/>
                  </a:lnTo>
                  <a:lnTo>
                    <a:pt x="824" y="200"/>
                  </a:lnTo>
                  <a:lnTo>
                    <a:pt x="824" y="200"/>
                  </a:lnTo>
                  <a:lnTo>
                    <a:pt x="826" y="202"/>
                  </a:lnTo>
                  <a:lnTo>
                    <a:pt x="826" y="202"/>
                  </a:lnTo>
                  <a:lnTo>
                    <a:pt x="829" y="199"/>
                  </a:lnTo>
                  <a:lnTo>
                    <a:pt x="829" y="199"/>
                  </a:lnTo>
                  <a:lnTo>
                    <a:pt x="831" y="197"/>
                  </a:lnTo>
                  <a:lnTo>
                    <a:pt x="831" y="197"/>
                  </a:lnTo>
                  <a:lnTo>
                    <a:pt x="831" y="197"/>
                  </a:lnTo>
                  <a:lnTo>
                    <a:pt x="831" y="197"/>
                  </a:lnTo>
                  <a:lnTo>
                    <a:pt x="831" y="194"/>
                  </a:lnTo>
                  <a:lnTo>
                    <a:pt x="831" y="194"/>
                  </a:lnTo>
                  <a:lnTo>
                    <a:pt x="832" y="194"/>
                  </a:lnTo>
                  <a:lnTo>
                    <a:pt x="832" y="194"/>
                  </a:lnTo>
                  <a:lnTo>
                    <a:pt x="831" y="194"/>
                  </a:lnTo>
                  <a:lnTo>
                    <a:pt x="831" y="194"/>
                  </a:lnTo>
                  <a:lnTo>
                    <a:pt x="832" y="192"/>
                  </a:lnTo>
                  <a:lnTo>
                    <a:pt x="832" y="192"/>
                  </a:lnTo>
                  <a:lnTo>
                    <a:pt x="834" y="192"/>
                  </a:lnTo>
                  <a:lnTo>
                    <a:pt x="834" y="192"/>
                  </a:lnTo>
                  <a:lnTo>
                    <a:pt x="834" y="191"/>
                  </a:lnTo>
                  <a:lnTo>
                    <a:pt x="834" y="191"/>
                  </a:lnTo>
                  <a:lnTo>
                    <a:pt x="836" y="194"/>
                  </a:lnTo>
                  <a:lnTo>
                    <a:pt x="836" y="194"/>
                  </a:lnTo>
                  <a:lnTo>
                    <a:pt x="837" y="194"/>
                  </a:lnTo>
                  <a:lnTo>
                    <a:pt x="837" y="194"/>
                  </a:lnTo>
                  <a:lnTo>
                    <a:pt x="839" y="192"/>
                  </a:lnTo>
                  <a:lnTo>
                    <a:pt x="839" y="192"/>
                  </a:lnTo>
                  <a:lnTo>
                    <a:pt x="839" y="194"/>
                  </a:lnTo>
                  <a:lnTo>
                    <a:pt x="839" y="194"/>
                  </a:lnTo>
                  <a:lnTo>
                    <a:pt x="840" y="194"/>
                  </a:lnTo>
                  <a:lnTo>
                    <a:pt x="840" y="194"/>
                  </a:lnTo>
                  <a:lnTo>
                    <a:pt x="840" y="192"/>
                  </a:lnTo>
                  <a:lnTo>
                    <a:pt x="840" y="192"/>
                  </a:lnTo>
                  <a:lnTo>
                    <a:pt x="840" y="191"/>
                  </a:lnTo>
                  <a:lnTo>
                    <a:pt x="840" y="191"/>
                  </a:lnTo>
                  <a:lnTo>
                    <a:pt x="843" y="191"/>
                  </a:lnTo>
                  <a:lnTo>
                    <a:pt x="843" y="191"/>
                  </a:lnTo>
                  <a:lnTo>
                    <a:pt x="843" y="191"/>
                  </a:lnTo>
                  <a:lnTo>
                    <a:pt x="843" y="191"/>
                  </a:lnTo>
                  <a:lnTo>
                    <a:pt x="843" y="189"/>
                  </a:lnTo>
                  <a:lnTo>
                    <a:pt x="843" y="189"/>
                  </a:lnTo>
                  <a:lnTo>
                    <a:pt x="850" y="189"/>
                  </a:lnTo>
                  <a:lnTo>
                    <a:pt x="850" y="189"/>
                  </a:lnTo>
                  <a:lnTo>
                    <a:pt x="847" y="188"/>
                  </a:lnTo>
                  <a:lnTo>
                    <a:pt x="847" y="188"/>
                  </a:lnTo>
                  <a:lnTo>
                    <a:pt x="847" y="186"/>
                  </a:lnTo>
                  <a:lnTo>
                    <a:pt x="847" y="186"/>
                  </a:lnTo>
                  <a:lnTo>
                    <a:pt x="847" y="185"/>
                  </a:lnTo>
                  <a:lnTo>
                    <a:pt x="847" y="185"/>
                  </a:lnTo>
                  <a:lnTo>
                    <a:pt x="847" y="185"/>
                  </a:lnTo>
                  <a:lnTo>
                    <a:pt x="847" y="185"/>
                  </a:lnTo>
                  <a:lnTo>
                    <a:pt x="850" y="183"/>
                  </a:lnTo>
                  <a:lnTo>
                    <a:pt x="850" y="183"/>
                  </a:lnTo>
                  <a:lnTo>
                    <a:pt x="850" y="185"/>
                  </a:lnTo>
                  <a:lnTo>
                    <a:pt x="850" y="185"/>
                  </a:lnTo>
                  <a:lnTo>
                    <a:pt x="853" y="185"/>
                  </a:lnTo>
                  <a:lnTo>
                    <a:pt x="853" y="185"/>
                  </a:lnTo>
                  <a:lnTo>
                    <a:pt x="856" y="183"/>
                  </a:lnTo>
                  <a:lnTo>
                    <a:pt x="856" y="183"/>
                  </a:lnTo>
                  <a:lnTo>
                    <a:pt x="856" y="181"/>
                  </a:lnTo>
                  <a:lnTo>
                    <a:pt x="856" y="181"/>
                  </a:lnTo>
                  <a:lnTo>
                    <a:pt x="859" y="181"/>
                  </a:lnTo>
                  <a:lnTo>
                    <a:pt x="859" y="181"/>
                  </a:lnTo>
                  <a:lnTo>
                    <a:pt x="859" y="180"/>
                  </a:lnTo>
                  <a:lnTo>
                    <a:pt x="859" y="180"/>
                  </a:lnTo>
                  <a:lnTo>
                    <a:pt x="859" y="178"/>
                  </a:lnTo>
                  <a:lnTo>
                    <a:pt x="859" y="178"/>
                  </a:lnTo>
                  <a:lnTo>
                    <a:pt x="858" y="178"/>
                  </a:lnTo>
                  <a:lnTo>
                    <a:pt x="855" y="178"/>
                  </a:lnTo>
                  <a:lnTo>
                    <a:pt x="855" y="178"/>
                  </a:lnTo>
                  <a:lnTo>
                    <a:pt x="855" y="178"/>
                  </a:lnTo>
                  <a:close/>
                  <a:moveTo>
                    <a:pt x="716" y="150"/>
                  </a:moveTo>
                  <a:lnTo>
                    <a:pt x="716" y="150"/>
                  </a:lnTo>
                  <a:lnTo>
                    <a:pt x="713" y="151"/>
                  </a:lnTo>
                  <a:lnTo>
                    <a:pt x="713" y="151"/>
                  </a:lnTo>
                  <a:lnTo>
                    <a:pt x="712" y="153"/>
                  </a:lnTo>
                  <a:lnTo>
                    <a:pt x="712" y="153"/>
                  </a:lnTo>
                  <a:lnTo>
                    <a:pt x="710" y="154"/>
                  </a:lnTo>
                  <a:lnTo>
                    <a:pt x="710" y="154"/>
                  </a:lnTo>
                  <a:lnTo>
                    <a:pt x="715" y="153"/>
                  </a:lnTo>
                  <a:lnTo>
                    <a:pt x="715" y="153"/>
                  </a:lnTo>
                  <a:lnTo>
                    <a:pt x="718" y="151"/>
                  </a:lnTo>
                  <a:lnTo>
                    <a:pt x="718" y="151"/>
                  </a:lnTo>
                  <a:lnTo>
                    <a:pt x="721" y="150"/>
                  </a:lnTo>
                  <a:lnTo>
                    <a:pt x="721" y="150"/>
                  </a:lnTo>
                  <a:lnTo>
                    <a:pt x="724" y="146"/>
                  </a:lnTo>
                  <a:lnTo>
                    <a:pt x="724" y="146"/>
                  </a:lnTo>
                  <a:lnTo>
                    <a:pt x="724" y="146"/>
                  </a:lnTo>
                  <a:lnTo>
                    <a:pt x="724" y="146"/>
                  </a:lnTo>
                  <a:lnTo>
                    <a:pt x="718" y="148"/>
                  </a:lnTo>
                  <a:lnTo>
                    <a:pt x="716" y="150"/>
                  </a:lnTo>
                  <a:lnTo>
                    <a:pt x="716" y="150"/>
                  </a:lnTo>
                  <a:lnTo>
                    <a:pt x="716" y="150"/>
                  </a:lnTo>
                  <a:close/>
                  <a:moveTo>
                    <a:pt x="721" y="145"/>
                  </a:moveTo>
                  <a:lnTo>
                    <a:pt x="721" y="145"/>
                  </a:lnTo>
                  <a:lnTo>
                    <a:pt x="728" y="145"/>
                  </a:lnTo>
                  <a:lnTo>
                    <a:pt x="728" y="145"/>
                  </a:lnTo>
                  <a:lnTo>
                    <a:pt x="729" y="143"/>
                  </a:lnTo>
                  <a:lnTo>
                    <a:pt x="729" y="143"/>
                  </a:lnTo>
                  <a:lnTo>
                    <a:pt x="729" y="142"/>
                  </a:lnTo>
                  <a:lnTo>
                    <a:pt x="729" y="142"/>
                  </a:lnTo>
                  <a:lnTo>
                    <a:pt x="724" y="143"/>
                  </a:lnTo>
                  <a:lnTo>
                    <a:pt x="721" y="145"/>
                  </a:lnTo>
                  <a:lnTo>
                    <a:pt x="721" y="145"/>
                  </a:lnTo>
                  <a:lnTo>
                    <a:pt x="721" y="145"/>
                  </a:lnTo>
                  <a:close/>
                  <a:moveTo>
                    <a:pt x="788" y="118"/>
                  </a:moveTo>
                  <a:lnTo>
                    <a:pt x="788" y="118"/>
                  </a:lnTo>
                  <a:lnTo>
                    <a:pt x="786" y="119"/>
                  </a:lnTo>
                  <a:lnTo>
                    <a:pt x="786" y="119"/>
                  </a:lnTo>
                  <a:lnTo>
                    <a:pt x="783" y="121"/>
                  </a:lnTo>
                  <a:lnTo>
                    <a:pt x="783" y="121"/>
                  </a:lnTo>
                  <a:lnTo>
                    <a:pt x="788" y="119"/>
                  </a:lnTo>
                  <a:lnTo>
                    <a:pt x="788" y="118"/>
                  </a:lnTo>
                  <a:lnTo>
                    <a:pt x="788" y="118"/>
                  </a:lnTo>
                  <a:lnTo>
                    <a:pt x="788" y="118"/>
                  </a:lnTo>
                  <a:close/>
                  <a:moveTo>
                    <a:pt x="815" y="435"/>
                  </a:moveTo>
                  <a:lnTo>
                    <a:pt x="815" y="435"/>
                  </a:lnTo>
                  <a:lnTo>
                    <a:pt x="813" y="437"/>
                  </a:lnTo>
                  <a:lnTo>
                    <a:pt x="813" y="437"/>
                  </a:lnTo>
                  <a:lnTo>
                    <a:pt x="812" y="439"/>
                  </a:lnTo>
                  <a:lnTo>
                    <a:pt x="815" y="435"/>
                  </a:lnTo>
                  <a:lnTo>
                    <a:pt x="815" y="435"/>
                  </a:lnTo>
                  <a:lnTo>
                    <a:pt x="815" y="435"/>
                  </a:lnTo>
                  <a:close/>
                  <a:moveTo>
                    <a:pt x="834" y="421"/>
                  </a:moveTo>
                  <a:lnTo>
                    <a:pt x="834" y="421"/>
                  </a:lnTo>
                  <a:lnTo>
                    <a:pt x="832" y="421"/>
                  </a:lnTo>
                  <a:lnTo>
                    <a:pt x="832" y="421"/>
                  </a:lnTo>
                  <a:lnTo>
                    <a:pt x="831" y="421"/>
                  </a:lnTo>
                  <a:lnTo>
                    <a:pt x="831" y="421"/>
                  </a:lnTo>
                  <a:lnTo>
                    <a:pt x="829" y="421"/>
                  </a:lnTo>
                  <a:lnTo>
                    <a:pt x="829" y="421"/>
                  </a:lnTo>
                  <a:lnTo>
                    <a:pt x="828" y="423"/>
                  </a:lnTo>
                  <a:lnTo>
                    <a:pt x="828" y="423"/>
                  </a:lnTo>
                  <a:lnTo>
                    <a:pt x="826" y="423"/>
                  </a:lnTo>
                  <a:lnTo>
                    <a:pt x="826" y="423"/>
                  </a:lnTo>
                  <a:lnTo>
                    <a:pt x="824" y="424"/>
                  </a:lnTo>
                  <a:lnTo>
                    <a:pt x="824" y="424"/>
                  </a:lnTo>
                  <a:lnTo>
                    <a:pt x="824" y="423"/>
                  </a:lnTo>
                  <a:lnTo>
                    <a:pt x="824" y="423"/>
                  </a:lnTo>
                  <a:lnTo>
                    <a:pt x="826" y="421"/>
                  </a:lnTo>
                  <a:lnTo>
                    <a:pt x="826" y="421"/>
                  </a:lnTo>
                  <a:lnTo>
                    <a:pt x="829" y="419"/>
                  </a:lnTo>
                  <a:lnTo>
                    <a:pt x="829" y="419"/>
                  </a:lnTo>
                  <a:lnTo>
                    <a:pt x="828" y="419"/>
                  </a:lnTo>
                  <a:lnTo>
                    <a:pt x="828" y="419"/>
                  </a:lnTo>
                  <a:lnTo>
                    <a:pt x="826" y="418"/>
                  </a:lnTo>
                  <a:lnTo>
                    <a:pt x="826" y="418"/>
                  </a:lnTo>
                  <a:lnTo>
                    <a:pt x="826" y="419"/>
                  </a:lnTo>
                  <a:lnTo>
                    <a:pt x="826" y="419"/>
                  </a:lnTo>
                  <a:lnTo>
                    <a:pt x="824" y="421"/>
                  </a:lnTo>
                  <a:lnTo>
                    <a:pt x="824" y="421"/>
                  </a:lnTo>
                  <a:lnTo>
                    <a:pt x="824" y="418"/>
                  </a:lnTo>
                  <a:lnTo>
                    <a:pt x="824" y="418"/>
                  </a:lnTo>
                  <a:lnTo>
                    <a:pt x="823" y="418"/>
                  </a:lnTo>
                  <a:lnTo>
                    <a:pt x="823" y="418"/>
                  </a:lnTo>
                  <a:lnTo>
                    <a:pt x="829" y="415"/>
                  </a:lnTo>
                  <a:lnTo>
                    <a:pt x="829" y="415"/>
                  </a:lnTo>
                  <a:lnTo>
                    <a:pt x="834" y="413"/>
                  </a:lnTo>
                  <a:lnTo>
                    <a:pt x="834" y="413"/>
                  </a:lnTo>
                  <a:lnTo>
                    <a:pt x="831" y="410"/>
                  </a:lnTo>
                  <a:lnTo>
                    <a:pt x="831" y="410"/>
                  </a:lnTo>
                  <a:lnTo>
                    <a:pt x="829" y="410"/>
                  </a:lnTo>
                  <a:lnTo>
                    <a:pt x="829" y="410"/>
                  </a:lnTo>
                  <a:lnTo>
                    <a:pt x="828" y="410"/>
                  </a:lnTo>
                  <a:lnTo>
                    <a:pt x="828" y="410"/>
                  </a:lnTo>
                  <a:lnTo>
                    <a:pt x="824" y="410"/>
                  </a:lnTo>
                  <a:lnTo>
                    <a:pt x="824" y="410"/>
                  </a:lnTo>
                  <a:lnTo>
                    <a:pt x="821" y="413"/>
                  </a:lnTo>
                  <a:lnTo>
                    <a:pt x="821" y="413"/>
                  </a:lnTo>
                  <a:lnTo>
                    <a:pt x="823" y="408"/>
                  </a:lnTo>
                  <a:lnTo>
                    <a:pt x="823" y="408"/>
                  </a:lnTo>
                  <a:lnTo>
                    <a:pt x="820" y="412"/>
                  </a:lnTo>
                  <a:lnTo>
                    <a:pt x="820" y="412"/>
                  </a:lnTo>
                  <a:lnTo>
                    <a:pt x="818" y="412"/>
                  </a:lnTo>
                  <a:lnTo>
                    <a:pt x="818" y="412"/>
                  </a:lnTo>
                  <a:lnTo>
                    <a:pt x="818" y="412"/>
                  </a:lnTo>
                  <a:lnTo>
                    <a:pt x="818" y="412"/>
                  </a:lnTo>
                  <a:lnTo>
                    <a:pt x="815" y="413"/>
                  </a:lnTo>
                  <a:lnTo>
                    <a:pt x="815" y="413"/>
                  </a:lnTo>
                  <a:lnTo>
                    <a:pt x="815" y="413"/>
                  </a:lnTo>
                  <a:lnTo>
                    <a:pt x="815" y="413"/>
                  </a:lnTo>
                  <a:lnTo>
                    <a:pt x="815" y="410"/>
                  </a:lnTo>
                  <a:lnTo>
                    <a:pt x="815" y="410"/>
                  </a:lnTo>
                  <a:lnTo>
                    <a:pt x="815" y="408"/>
                  </a:lnTo>
                  <a:lnTo>
                    <a:pt x="815" y="408"/>
                  </a:lnTo>
                  <a:lnTo>
                    <a:pt x="815" y="410"/>
                  </a:lnTo>
                  <a:lnTo>
                    <a:pt x="815" y="410"/>
                  </a:lnTo>
                  <a:lnTo>
                    <a:pt x="813" y="412"/>
                  </a:lnTo>
                  <a:lnTo>
                    <a:pt x="813" y="412"/>
                  </a:lnTo>
                  <a:lnTo>
                    <a:pt x="813" y="410"/>
                  </a:lnTo>
                  <a:lnTo>
                    <a:pt x="813" y="410"/>
                  </a:lnTo>
                  <a:lnTo>
                    <a:pt x="812" y="412"/>
                  </a:lnTo>
                  <a:lnTo>
                    <a:pt x="812" y="412"/>
                  </a:lnTo>
                  <a:lnTo>
                    <a:pt x="812" y="410"/>
                  </a:lnTo>
                  <a:lnTo>
                    <a:pt x="812" y="410"/>
                  </a:lnTo>
                  <a:lnTo>
                    <a:pt x="810" y="410"/>
                  </a:lnTo>
                  <a:lnTo>
                    <a:pt x="810" y="410"/>
                  </a:lnTo>
                  <a:lnTo>
                    <a:pt x="809" y="408"/>
                  </a:lnTo>
                  <a:lnTo>
                    <a:pt x="809" y="408"/>
                  </a:lnTo>
                  <a:lnTo>
                    <a:pt x="805" y="410"/>
                  </a:lnTo>
                  <a:lnTo>
                    <a:pt x="805" y="410"/>
                  </a:lnTo>
                  <a:lnTo>
                    <a:pt x="807" y="408"/>
                  </a:lnTo>
                  <a:lnTo>
                    <a:pt x="807" y="408"/>
                  </a:lnTo>
                  <a:lnTo>
                    <a:pt x="810" y="407"/>
                  </a:lnTo>
                  <a:lnTo>
                    <a:pt x="810" y="407"/>
                  </a:lnTo>
                  <a:lnTo>
                    <a:pt x="807" y="407"/>
                  </a:lnTo>
                  <a:lnTo>
                    <a:pt x="807" y="407"/>
                  </a:lnTo>
                  <a:lnTo>
                    <a:pt x="805" y="407"/>
                  </a:lnTo>
                  <a:lnTo>
                    <a:pt x="805" y="407"/>
                  </a:lnTo>
                  <a:lnTo>
                    <a:pt x="812" y="405"/>
                  </a:lnTo>
                  <a:lnTo>
                    <a:pt x="812" y="405"/>
                  </a:lnTo>
                  <a:lnTo>
                    <a:pt x="813" y="404"/>
                  </a:lnTo>
                  <a:lnTo>
                    <a:pt x="813" y="404"/>
                  </a:lnTo>
                  <a:lnTo>
                    <a:pt x="815" y="402"/>
                  </a:lnTo>
                  <a:lnTo>
                    <a:pt x="815" y="402"/>
                  </a:lnTo>
                  <a:lnTo>
                    <a:pt x="812" y="402"/>
                  </a:lnTo>
                  <a:lnTo>
                    <a:pt x="812" y="402"/>
                  </a:lnTo>
                  <a:lnTo>
                    <a:pt x="809" y="402"/>
                  </a:lnTo>
                  <a:lnTo>
                    <a:pt x="809" y="402"/>
                  </a:lnTo>
                  <a:lnTo>
                    <a:pt x="809" y="400"/>
                  </a:lnTo>
                  <a:lnTo>
                    <a:pt x="809" y="400"/>
                  </a:lnTo>
                  <a:lnTo>
                    <a:pt x="797" y="408"/>
                  </a:lnTo>
                  <a:lnTo>
                    <a:pt x="797" y="408"/>
                  </a:lnTo>
                  <a:lnTo>
                    <a:pt x="797" y="407"/>
                  </a:lnTo>
                  <a:lnTo>
                    <a:pt x="797" y="407"/>
                  </a:lnTo>
                  <a:lnTo>
                    <a:pt x="797" y="405"/>
                  </a:lnTo>
                  <a:lnTo>
                    <a:pt x="797" y="405"/>
                  </a:lnTo>
                  <a:lnTo>
                    <a:pt x="801" y="404"/>
                  </a:lnTo>
                  <a:lnTo>
                    <a:pt x="801" y="404"/>
                  </a:lnTo>
                  <a:lnTo>
                    <a:pt x="804" y="399"/>
                  </a:lnTo>
                  <a:lnTo>
                    <a:pt x="804" y="399"/>
                  </a:lnTo>
                  <a:lnTo>
                    <a:pt x="810" y="394"/>
                  </a:lnTo>
                  <a:lnTo>
                    <a:pt x="810" y="394"/>
                  </a:lnTo>
                  <a:lnTo>
                    <a:pt x="812" y="389"/>
                  </a:lnTo>
                  <a:lnTo>
                    <a:pt x="812" y="389"/>
                  </a:lnTo>
                  <a:lnTo>
                    <a:pt x="813" y="391"/>
                  </a:lnTo>
                  <a:lnTo>
                    <a:pt x="813" y="391"/>
                  </a:lnTo>
                  <a:lnTo>
                    <a:pt x="815" y="389"/>
                  </a:lnTo>
                  <a:lnTo>
                    <a:pt x="815" y="389"/>
                  </a:lnTo>
                  <a:lnTo>
                    <a:pt x="815" y="389"/>
                  </a:lnTo>
                  <a:lnTo>
                    <a:pt x="815" y="389"/>
                  </a:lnTo>
                  <a:lnTo>
                    <a:pt x="818" y="386"/>
                  </a:lnTo>
                  <a:lnTo>
                    <a:pt x="818" y="386"/>
                  </a:lnTo>
                  <a:lnTo>
                    <a:pt x="818" y="386"/>
                  </a:lnTo>
                  <a:lnTo>
                    <a:pt x="818" y="386"/>
                  </a:lnTo>
                  <a:lnTo>
                    <a:pt x="818" y="386"/>
                  </a:lnTo>
                  <a:lnTo>
                    <a:pt x="818" y="386"/>
                  </a:lnTo>
                  <a:lnTo>
                    <a:pt x="815" y="386"/>
                  </a:lnTo>
                  <a:lnTo>
                    <a:pt x="815" y="386"/>
                  </a:lnTo>
                  <a:lnTo>
                    <a:pt x="815" y="383"/>
                  </a:lnTo>
                  <a:lnTo>
                    <a:pt x="815" y="383"/>
                  </a:lnTo>
                  <a:lnTo>
                    <a:pt x="818" y="383"/>
                  </a:lnTo>
                  <a:lnTo>
                    <a:pt x="818" y="383"/>
                  </a:lnTo>
                  <a:lnTo>
                    <a:pt x="820" y="383"/>
                  </a:lnTo>
                  <a:lnTo>
                    <a:pt x="820" y="383"/>
                  </a:lnTo>
                  <a:lnTo>
                    <a:pt x="821" y="383"/>
                  </a:lnTo>
                  <a:lnTo>
                    <a:pt x="821" y="383"/>
                  </a:lnTo>
                  <a:lnTo>
                    <a:pt x="821" y="380"/>
                  </a:lnTo>
                  <a:lnTo>
                    <a:pt x="821" y="380"/>
                  </a:lnTo>
                  <a:lnTo>
                    <a:pt x="821" y="380"/>
                  </a:lnTo>
                  <a:lnTo>
                    <a:pt x="821" y="380"/>
                  </a:lnTo>
                  <a:lnTo>
                    <a:pt x="820" y="380"/>
                  </a:lnTo>
                  <a:lnTo>
                    <a:pt x="820" y="380"/>
                  </a:lnTo>
                  <a:lnTo>
                    <a:pt x="820" y="380"/>
                  </a:lnTo>
                  <a:lnTo>
                    <a:pt x="820" y="380"/>
                  </a:lnTo>
                  <a:lnTo>
                    <a:pt x="818" y="380"/>
                  </a:lnTo>
                  <a:lnTo>
                    <a:pt x="818" y="380"/>
                  </a:lnTo>
                  <a:lnTo>
                    <a:pt x="818" y="380"/>
                  </a:lnTo>
                  <a:lnTo>
                    <a:pt x="818" y="380"/>
                  </a:lnTo>
                  <a:lnTo>
                    <a:pt x="813" y="383"/>
                  </a:lnTo>
                  <a:lnTo>
                    <a:pt x="813" y="383"/>
                  </a:lnTo>
                  <a:lnTo>
                    <a:pt x="810" y="383"/>
                  </a:lnTo>
                  <a:lnTo>
                    <a:pt x="810" y="383"/>
                  </a:lnTo>
                  <a:lnTo>
                    <a:pt x="807" y="386"/>
                  </a:lnTo>
                  <a:lnTo>
                    <a:pt x="807" y="386"/>
                  </a:lnTo>
                  <a:lnTo>
                    <a:pt x="802" y="389"/>
                  </a:lnTo>
                  <a:lnTo>
                    <a:pt x="802" y="389"/>
                  </a:lnTo>
                  <a:lnTo>
                    <a:pt x="797" y="391"/>
                  </a:lnTo>
                  <a:lnTo>
                    <a:pt x="797" y="391"/>
                  </a:lnTo>
                  <a:lnTo>
                    <a:pt x="799" y="392"/>
                  </a:lnTo>
                  <a:lnTo>
                    <a:pt x="799" y="392"/>
                  </a:lnTo>
                  <a:lnTo>
                    <a:pt x="797" y="394"/>
                  </a:lnTo>
                  <a:lnTo>
                    <a:pt x="797" y="394"/>
                  </a:lnTo>
                  <a:lnTo>
                    <a:pt x="794" y="396"/>
                  </a:lnTo>
                  <a:lnTo>
                    <a:pt x="794" y="396"/>
                  </a:lnTo>
                  <a:lnTo>
                    <a:pt x="791" y="400"/>
                  </a:lnTo>
                  <a:lnTo>
                    <a:pt x="791" y="400"/>
                  </a:lnTo>
                  <a:lnTo>
                    <a:pt x="788" y="405"/>
                  </a:lnTo>
                  <a:lnTo>
                    <a:pt x="788" y="405"/>
                  </a:lnTo>
                  <a:lnTo>
                    <a:pt x="786" y="408"/>
                  </a:lnTo>
                  <a:lnTo>
                    <a:pt x="786" y="408"/>
                  </a:lnTo>
                  <a:lnTo>
                    <a:pt x="785" y="408"/>
                  </a:lnTo>
                  <a:lnTo>
                    <a:pt x="785" y="408"/>
                  </a:lnTo>
                  <a:lnTo>
                    <a:pt x="783" y="410"/>
                  </a:lnTo>
                  <a:lnTo>
                    <a:pt x="783" y="410"/>
                  </a:lnTo>
                  <a:lnTo>
                    <a:pt x="782" y="413"/>
                  </a:lnTo>
                  <a:lnTo>
                    <a:pt x="782" y="413"/>
                  </a:lnTo>
                  <a:lnTo>
                    <a:pt x="783" y="413"/>
                  </a:lnTo>
                  <a:lnTo>
                    <a:pt x="783" y="413"/>
                  </a:lnTo>
                  <a:lnTo>
                    <a:pt x="783" y="415"/>
                  </a:lnTo>
                  <a:lnTo>
                    <a:pt x="783" y="415"/>
                  </a:lnTo>
                  <a:lnTo>
                    <a:pt x="782" y="415"/>
                  </a:lnTo>
                  <a:lnTo>
                    <a:pt x="782" y="415"/>
                  </a:lnTo>
                  <a:lnTo>
                    <a:pt x="782" y="415"/>
                  </a:lnTo>
                  <a:lnTo>
                    <a:pt x="782" y="415"/>
                  </a:lnTo>
                  <a:lnTo>
                    <a:pt x="780" y="415"/>
                  </a:lnTo>
                  <a:lnTo>
                    <a:pt x="780" y="415"/>
                  </a:lnTo>
                  <a:lnTo>
                    <a:pt x="777" y="415"/>
                  </a:lnTo>
                  <a:lnTo>
                    <a:pt x="777" y="415"/>
                  </a:lnTo>
                  <a:lnTo>
                    <a:pt x="775" y="418"/>
                  </a:lnTo>
                  <a:lnTo>
                    <a:pt x="775" y="418"/>
                  </a:lnTo>
                  <a:lnTo>
                    <a:pt x="772" y="421"/>
                  </a:lnTo>
                  <a:lnTo>
                    <a:pt x="772" y="421"/>
                  </a:lnTo>
                  <a:lnTo>
                    <a:pt x="770" y="421"/>
                  </a:lnTo>
                  <a:lnTo>
                    <a:pt x="770" y="421"/>
                  </a:lnTo>
                  <a:lnTo>
                    <a:pt x="769" y="421"/>
                  </a:lnTo>
                  <a:lnTo>
                    <a:pt x="769" y="421"/>
                  </a:lnTo>
                  <a:lnTo>
                    <a:pt x="772" y="418"/>
                  </a:lnTo>
                  <a:lnTo>
                    <a:pt x="772" y="418"/>
                  </a:lnTo>
                  <a:lnTo>
                    <a:pt x="769" y="419"/>
                  </a:lnTo>
                  <a:lnTo>
                    <a:pt x="769" y="419"/>
                  </a:lnTo>
                  <a:lnTo>
                    <a:pt x="767" y="421"/>
                  </a:lnTo>
                  <a:lnTo>
                    <a:pt x="767" y="421"/>
                  </a:lnTo>
                  <a:lnTo>
                    <a:pt x="766" y="423"/>
                  </a:lnTo>
                  <a:lnTo>
                    <a:pt x="766" y="423"/>
                  </a:lnTo>
                  <a:lnTo>
                    <a:pt x="770" y="423"/>
                  </a:lnTo>
                  <a:lnTo>
                    <a:pt x="770" y="423"/>
                  </a:lnTo>
                  <a:lnTo>
                    <a:pt x="775" y="423"/>
                  </a:lnTo>
                  <a:lnTo>
                    <a:pt x="775" y="423"/>
                  </a:lnTo>
                  <a:lnTo>
                    <a:pt x="770" y="424"/>
                  </a:lnTo>
                  <a:lnTo>
                    <a:pt x="770" y="424"/>
                  </a:lnTo>
                  <a:lnTo>
                    <a:pt x="767" y="427"/>
                  </a:lnTo>
                  <a:lnTo>
                    <a:pt x="767" y="427"/>
                  </a:lnTo>
                  <a:lnTo>
                    <a:pt x="763" y="429"/>
                  </a:lnTo>
                  <a:lnTo>
                    <a:pt x="763" y="429"/>
                  </a:lnTo>
                  <a:lnTo>
                    <a:pt x="763" y="431"/>
                  </a:lnTo>
                  <a:lnTo>
                    <a:pt x="763" y="431"/>
                  </a:lnTo>
                  <a:lnTo>
                    <a:pt x="759" y="434"/>
                  </a:lnTo>
                  <a:lnTo>
                    <a:pt x="759" y="434"/>
                  </a:lnTo>
                  <a:lnTo>
                    <a:pt x="759" y="435"/>
                  </a:lnTo>
                  <a:lnTo>
                    <a:pt x="759" y="435"/>
                  </a:lnTo>
                  <a:lnTo>
                    <a:pt x="763" y="435"/>
                  </a:lnTo>
                  <a:lnTo>
                    <a:pt x="763" y="435"/>
                  </a:lnTo>
                  <a:lnTo>
                    <a:pt x="770" y="435"/>
                  </a:lnTo>
                  <a:lnTo>
                    <a:pt x="770" y="435"/>
                  </a:lnTo>
                  <a:lnTo>
                    <a:pt x="772" y="434"/>
                  </a:lnTo>
                  <a:lnTo>
                    <a:pt x="772" y="434"/>
                  </a:lnTo>
                  <a:lnTo>
                    <a:pt x="772" y="435"/>
                  </a:lnTo>
                  <a:lnTo>
                    <a:pt x="772" y="435"/>
                  </a:lnTo>
                  <a:lnTo>
                    <a:pt x="774" y="435"/>
                  </a:lnTo>
                  <a:lnTo>
                    <a:pt x="774" y="435"/>
                  </a:lnTo>
                  <a:lnTo>
                    <a:pt x="777" y="435"/>
                  </a:lnTo>
                  <a:lnTo>
                    <a:pt x="777" y="435"/>
                  </a:lnTo>
                  <a:lnTo>
                    <a:pt x="780" y="435"/>
                  </a:lnTo>
                  <a:lnTo>
                    <a:pt x="780" y="435"/>
                  </a:lnTo>
                  <a:lnTo>
                    <a:pt x="783" y="435"/>
                  </a:lnTo>
                  <a:lnTo>
                    <a:pt x="783" y="435"/>
                  </a:lnTo>
                  <a:lnTo>
                    <a:pt x="786" y="435"/>
                  </a:lnTo>
                  <a:lnTo>
                    <a:pt x="786" y="435"/>
                  </a:lnTo>
                  <a:lnTo>
                    <a:pt x="788" y="435"/>
                  </a:lnTo>
                  <a:lnTo>
                    <a:pt x="788" y="435"/>
                  </a:lnTo>
                  <a:lnTo>
                    <a:pt x="788" y="435"/>
                  </a:lnTo>
                  <a:lnTo>
                    <a:pt x="788" y="435"/>
                  </a:lnTo>
                  <a:lnTo>
                    <a:pt x="791" y="435"/>
                  </a:lnTo>
                  <a:lnTo>
                    <a:pt x="791" y="435"/>
                  </a:lnTo>
                  <a:lnTo>
                    <a:pt x="794" y="435"/>
                  </a:lnTo>
                  <a:lnTo>
                    <a:pt x="794" y="435"/>
                  </a:lnTo>
                  <a:lnTo>
                    <a:pt x="794" y="434"/>
                  </a:lnTo>
                  <a:lnTo>
                    <a:pt x="794" y="434"/>
                  </a:lnTo>
                  <a:lnTo>
                    <a:pt x="794" y="435"/>
                  </a:lnTo>
                  <a:lnTo>
                    <a:pt x="794" y="435"/>
                  </a:lnTo>
                  <a:lnTo>
                    <a:pt x="797" y="432"/>
                  </a:lnTo>
                  <a:lnTo>
                    <a:pt x="797" y="432"/>
                  </a:lnTo>
                  <a:lnTo>
                    <a:pt x="797" y="434"/>
                  </a:lnTo>
                  <a:lnTo>
                    <a:pt x="797" y="434"/>
                  </a:lnTo>
                  <a:lnTo>
                    <a:pt x="799" y="432"/>
                  </a:lnTo>
                  <a:lnTo>
                    <a:pt x="799" y="432"/>
                  </a:lnTo>
                  <a:lnTo>
                    <a:pt x="801" y="431"/>
                  </a:lnTo>
                  <a:lnTo>
                    <a:pt x="801" y="431"/>
                  </a:lnTo>
                  <a:lnTo>
                    <a:pt x="799" y="434"/>
                  </a:lnTo>
                  <a:lnTo>
                    <a:pt x="799" y="434"/>
                  </a:lnTo>
                  <a:lnTo>
                    <a:pt x="799" y="435"/>
                  </a:lnTo>
                  <a:lnTo>
                    <a:pt x="799" y="435"/>
                  </a:lnTo>
                  <a:lnTo>
                    <a:pt x="797" y="435"/>
                  </a:lnTo>
                  <a:lnTo>
                    <a:pt x="797" y="435"/>
                  </a:lnTo>
                  <a:lnTo>
                    <a:pt x="797" y="435"/>
                  </a:lnTo>
                  <a:lnTo>
                    <a:pt x="797" y="435"/>
                  </a:lnTo>
                  <a:lnTo>
                    <a:pt x="797" y="435"/>
                  </a:lnTo>
                  <a:lnTo>
                    <a:pt x="797" y="435"/>
                  </a:lnTo>
                  <a:lnTo>
                    <a:pt x="799" y="435"/>
                  </a:lnTo>
                  <a:lnTo>
                    <a:pt x="799" y="435"/>
                  </a:lnTo>
                  <a:lnTo>
                    <a:pt x="801" y="435"/>
                  </a:lnTo>
                  <a:lnTo>
                    <a:pt x="801" y="435"/>
                  </a:lnTo>
                  <a:lnTo>
                    <a:pt x="801" y="439"/>
                  </a:lnTo>
                  <a:lnTo>
                    <a:pt x="801" y="439"/>
                  </a:lnTo>
                  <a:lnTo>
                    <a:pt x="802" y="435"/>
                  </a:lnTo>
                  <a:lnTo>
                    <a:pt x="802" y="435"/>
                  </a:lnTo>
                  <a:lnTo>
                    <a:pt x="804" y="435"/>
                  </a:lnTo>
                  <a:lnTo>
                    <a:pt x="804" y="435"/>
                  </a:lnTo>
                  <a:lnTo>
                    <a:pt x="807" y="435"/>
                  </a:lnTo>
                  <a:lnTo>
                    <a:pt x="807" y="435"/>
                  </a:lnTo>
                  <a:lnTo>
                    <a:pt x="810" y="434"/>
                  </a:lnTo>
                  <a:lnTo>
                    <a:pt x="810" y="434"/>
                  </a:lnTo>
                  <a:lnTo>
                    <a:pt x="809" y="435"/>
                  </a:lnTo>
                  <a:lnTo>
                    <a:pt x="809" y="435"/>
                  </a:lnTo>
                  <a:lnTo>
                    <a:pt x="812" y="435"/>
                  </a:lnTo>
                  <a:lnTo>
                    <a:pt x="812" y="435"/>
                  </a:lnTo>
                  <a:lnTo>
                    <a:pt x="810" y="435"/>
                  </a:lnTo>
                  <a:lnTo>
                    <a:pt x="810" y="435"/>
                  </a:lnTo>
                  <a:lnTo>
                    <a:pt x="805" y="439"/>
                  </a:lnTo>
                  <a:lnTo>
                    <a:pt x="805" y="439"/>
                  </a:lnTo>
                  <a:lnTo>
                    <a:pt x="801" y="442"/>
                  </a:lnTo>
                  <a:lnTo>
                    <a:pt x="801" y="442"/>
                  </a:lnTo>
                  <a:lnTo>
                    <a:pt x="797" y="442"/>
                  </a:lnTo>
                  <a:lnTo>
                    <a:pt x="797" y="442"/>
                  </a:lnTo>
                  <a:lnTo>
                    <a:pt x="794" y="445"/>
                  </a:lnTo>
                  <a:lnTo>
                    <a:pt x="794" y="445"/>
                  </a:lnTo>
                  <a:lnTo>
                    <a:pt x="794" y="445"/>
                  </a:lnTo>
                  <a:lnTo>
                    <a:pt x="794" y="445"/>
                  </a:lnTo>
                  <a:lnTo>
                    <a:pt x="797" y="445"/>
                  </a:lnTo>
                  <a:lnTo>
                    <a:pt x="797" y="445"/>
                  </a:lnTo>
                  <a:lnTo>
                    <a:pt x="802" y="445"/>
                  </a:lnTo>
                  <a:lnTo>
                    <a:pt x="802" y="445"/>
                  </a:lnTo>
                  <a:lnTo>
                    <a:pt x="805" y="442"/>
                  </a:lnTo>
                  <a:lnTo>
                    <a:pt x="805" y="442"/>
                  </a:lnTo>
                  <a:lnTo>
                    <a:pt x="810" y="439"/>
                  </a:lnTo>
                  <a:lnTo>
                    <a:pt x="810" y="439"/>
                  </a:lnTo>
                  <a:lnTo>
                    <a:pt x="813" y="437"/>
                  </a:lnTo>
                  <a:lnTo>
                    <a:pt x="813" y="437"/>
                  </a:lnTo>
                  <a:lnTo>
                    <a:pt x="815" y="435"/>
                  </a:lnTo>
                  <a:lnTo>
                    <a:pt x="815" y="435"/>
                  </a:lnTo>
                  <a:lnTo>
                    <a:pt x="818" y="432"/>
                  </a:lnTo>
                  <a:lnTo>
                    <a:pt x="818" y="432"/>
                  </a:lnTo>
                  <a:lnTo>
                    <a:pt x="820" y="432"/>
                  </a:lnTo>
                  <a:lnTo>
                    <a:pt x="820" y="432"/>
                  </a:lnTo>
                  <a:lnTo>
                    <a:pt x="820" y="435"/>
                  </a:lnTo>
                  <a:lnTo>
                    <a:pt x="820" y="435"/>
                  </a:lnTo>
                  <a:lnTo>
                    <a:pt x="820" y="439"/>
                  </a:lnTo>
                  <a:lnTo>
                    <a:pt x="820" y="439"/>
                  </a:lnTo>
                  <a:lnTo>
                    <a:pt x="818" y="442"/>
                  </a:lnTo>
                  <a:lnTo>
                    <a:pt x="818" y="442"/>
                  </a:lnTo>
                  <a:lnTo>
                    <a:pt x="815" y="442"/>
                  </a:lnTo>
                  <a:lnTo>
                    <a:pt x="815" y="442"/>
                  </a:lnTo>
                  <a:lnTo>
                    <a:pt x="815" y="445"/>
                  </a:lnTo>
                  <a:lnTo>
                    <a:pt x="815" y="445"/>
                  </a:lnTo>
                  <a:lnTo>
                    <a:pt x="815" y="445"/>
                  </a:lnTo>
                  <a:lnTo>
                    <a:pt x="815" y="445"/>
                  </a:lnTo>
                  <a:lnTo>
                    <a:pt x="818" y="445"/>
                  </a:lnTo>
                  <a:lnTo>
                    <a:pt x="818" y="445"/>
                  </a:lnTo>
                  <a:lnTo>
                    <a:pt x="823" y="442"/>
                  </a:lnTo>
                  <a:lnTo>
                    <a:pt x="823" y="442"/>
                  </a:lnTo>
                  <a:lnTo>
                    <a:pt x="821" y="442"/>
                  </a:lnTo>
                  <a:lnTo>
                    <a:pt x="821" y="442"/>
                  </a:lnTo>
                  <a:lnTo>
                    <a:pt x="820" y="445"/>
                  </a:lnTo>
                  <a:lnTo>
                    <a:pt x="820" y="445"/>
                  </a:lnTo>
                  <a:lnTo>
                    <a:pt x="821" y="445"/>
                  </a:lnTo>
                  <a:lnTo>
                    <a:pt x="821" y="445"/>
                  </a:lnTo>
                  <a:lnTo>
                    <a:pt x="820" y="445"/>
                  </a:lnTo>
                  <a:lnTo>
                    <a:pt x="820" y="445"/>
                  </a:lnTo>
                  <a:lnTo>
                    <a:pt x="821" y="445"/>
                  </a:lnTo>
                  <a:lnTo>
                    <a:pt x="821" y="445"/>
                  </a:lnTo>
                  <a:lnTo>
                    <a:pt x="820" y="446"/>
                  </a:lnTo>
                  <a:lnTo>
                    <a:pt x="820" y="446"/>
                  </a:lnTo>
                  <a:lnTo>
                    <a:pt x="820" y="448"/>
                  </a:lnTo>
                  <a:lnTo>
                    <a:pt x="820" y="448"/>
                  </a:lnTo>
                  <a:lnTo>
                    <a:pt x="821" y="448"/>
                  </a:lnTo>
                  <a:lnTo>
                    <a:pt x="821" y="448"/>
                  </a:lnTo>
                  <a:lnTo>
                    <a:pt x="824" y="448"/>
                  </a:lnTo>
                  <a:lnTo>
                    <a:pt x="824" y="448"/>
                  </a:lnTo>
                  <a:lnTo>
                    <a:pt x="826" y="448"/>
                  </a:lnTo>
                  <a:lnTo>
                    <a:pt x="826" y="448"/>
                  </a:lnTo>
                  <a:lnTo>
                    <a:pt x="826" y="446"/>
                  </a:lnTo>
                  <a:lnTo>
                    <a:pt x="826" y="446"/>
                  </a:lnTo>
                  <a:lnTo>
                    <a:pt x="829" y="445"/>
                  </a:lnTo>
                  <a:lnTo>
                    <a:pt x="829" y="445"/>
                  </a:lnTo>
                  <a:lnTo>
                    <a:pt x="834" y="439"/>
                  </a:lnTo>
                  <a:lnTo>
                    <a:pt x="834" y="439"/>
                  </a:lnTo>
                  <a:lnTo>
                    <a:pt x="834" y="434"/>
                  </a:lnTo>
                  <a:lnTo>
                    <a:pt x="834" y="434"/>
                  </a:lnTo>
                  <a:lnTo>
                    <a:pt x="832" y="434"/>
                  </a:lnTo>
                  <a:lnTo>
                    <a:pt x="832" y="434"/>
                  </a:lnTo>
                  <a:lnTo>
                    <a:pt x="831" y="435"/>
                  </a:lnTo>
                  <a:lnTo>
                    <a:pt x="831" y="435"/>
                  </a:lnTo>
                  <a:lnTo>
                    <a:pt x="829" y="435"/>
                  </a:lnTo>
                  <a:lnTo>
                    <a:pt x="829" y="435"/>
                  </a:lnTo>
                  <a:lnTo>
                    <a:pt x="828" y="439"/>
                  </a:lnTo>
                  <a:lnTo>
                    <a:pt x="828" y="439"/>
                  </a:lnTo>
                  <a:lnTo>
                    <a:pt x="828" y="435"/>
                  </a:lnTo>
                  <a:lnTo>
                    <a:pt x="828" y="435"/>
                  </a:lnTo>
                  <a:lnTo>
                    <a:pt x="829" y="434"/>
                  </a:lnTo>
                  <a:lnTo>
                    <a:pt x="829" y="434"/>
                  </a:lnTo>
                  <a:lnTo>
                    <a:pt x="832" y="431"/>
                  </a:lnTo>
                  <a:lnTo>
                    <a:pt x="832" y="431"/>
                  </a:lnTo>
                  <a:lnTo>
                    <a:pt x="836" y="427"/>
                  </a:lnTo>
                  <a:lnTo>
                    <a:pt x="836" y="427"/>
                  </a:lnTo>
                  <a:lnTo>
                    <a:pt x="832" y="427"/>
                  </a:lnTo>
                  <a:lnTo>
                    <a:pt x="832" y="427"/>
                  </a:lnTo>
                  <a:lnTo>
                    <a:pt x="831" y="429"/>
                  </a:lnTo>
                  <a:lnTo>
                    <a:pt x="831" y="429"/>
                  </a:lnTo>
                  <a:lnTo>
                    <a:pt x="826" y="432"/>
                  </a:lnTo>
                  <a:lnTo>
                    <a:pt x="826" y="432"/>
                  </a:lnTo>
                  <a:lnTo>
                    <a:pt x="823" y="435"/>
                  </a:lnTo>
                  <a:lnTo>
                    <a:pt x="823" y="435"/>
                  </a:lnTo>
                  <a:lnTo>
                    <a:pt x="823" y="435"/>
                  </a:lnTo>
                  <a:lnTo>
                    <a:pt x="823" y="435"/>
                  </a:lnTo>
                  <a:lnTo>
                    <a:pt x="823" y="434"/>
                  </a:lnTo>
                  <a:lnTo>
                    <a:pt x="823" y="434"/>
                  </a:lnTo>
                  <a:lnTo>
                    <a:pt x="821" y="434"/>
                  </a:lnTo>
                  <a:lnTo>
                    <a:pt x="821" y="434"/>
                  </a:lnTo>
                  <a:lnTo>
                    <a:pt x="821" y="432"/>
                  </a:lnTo>
                  <a:lnTo>
                    <a:pt x="821" y="432"/>
                  </a:lnTo>
                  <a:lnTo>
                    <a:pt x="823" y="431"/>
                  </a:lnTo>
                  <a:lnTo>
                    <a:pt x="823" y="431"/>
                  </a:lnTo>
                  <a:lnTo>
                    <a:pt x="824" y="429"/>
                  </a:lnTo>
                  <a:lnTo>
                    <a:pt x="824" y="429"/>
                  </a:lnTo>
                  <a:lnTo>
                    <a:pt x="823" y="429"/>
                  </a:lnTo>
                  <a:lnTo>
                    <a:pt x="823" y="429"/>
                  </a:lnTo>
                  <a:lnTo>
                    <a:pt x="823" y="427"/>
                  </a:lnTo>
                  <a:lnTo>
                    <a:pt x="823" y="427"/>
                  </a:lnTo>
                  <a:lnTo>
                    <a:pt x="824" y="427"/>
                  </a:lnTo>
                  <a:lnTo>
                    <a:pt x="824" y="427"/>
                  </a:lnTo>
                  <a:lnTo>
                    <a:pt x="826" y="427"/>
                  </a:lnTo>
                  <a:lnTo>
                    <a:pt x="826" y="427"/>
                  </a:lnTo>
                  <a:lnTo>
                    <a:pt x="828" y="426"/>
                  </a:lnTo>
                  <a:lnTo>
                    <a:pt x="828" y="426"/>
                  </a:lnTo>
                  <a:lnTo>
                    <a:pt x="834" y="423"/>
                  </a:lnTo>
                  <a:lnTo>
                    <a:pt x="834" y="423"/>
                  </a:lnTo>
                  <a:lnTo>
                    <a:pt x="836" y="423"/>
                  </a:lnTo>
                  <a:lnTo>
                    <a:pt x="836" y="423"/>
                  </a:lnTo>
                  <a:lnTo>
                    <a:pt x="836" y="421"/>
                  </a:lnTo>
                  <a:lnTo>
                    <a:pt x="836" y="421"/>
                  </a:lnTo>
                  <a:lnTo>
                    <a:pt x="834" y="419"/>
                  </a:lnTo>
                  <a:lnTo>
                    <a:pt x="834" y="421"/>
                  </a:lnTo>
                  <a:lnTo>
                    <a:pt x="834" y="421"/>
                  </a:lnTo>
                  <a:lnTo>
                    <a:pt x="834" y="421"/>
                  </a:lnTo>
                  <a:close/>
                  <a:moveTo>
                    <a:pt x="821" y="200"/>
                  </a:moveTo>
                  <a:lnTo>
                    <a:pt x="821" y="200"/>
                  </a:lnTo>
                  <a:lnTo>
                    <a:pt x="823" y="199"/>
                  </a:lnTo>
                  <a:lnTo>
                    <a:pt x="823" y="199"/>
                  </a:lnTo>
                  <a:lnTo>
                    <a:pt x="821" y="199"/>
                  </a:lnTo>
                  <a:lnTo>
                    <a:pt x="821" y="200"/>
                  </a:lnTo>
                  <a:lnTo>
                    <a:pt x="821" y="200"/>
                  </a:lnTo>
                  <a:lnTo>
                    <a:pt x="821" y="200"/>
                  </a:lnTo>
                  <a:close/>
                  <a:moveTo>
                    <a:pt x="348" y="361"/>
                  </a:moveTo>
                  <a:lnTo>
                    <a:pt x="348" y="361"/>
                  </a:lnTo>
                  <a:lnTo>
                    <a:pt x="347" y="361"/>
                  </a:lnTo>
                  <a:lnTo>
                    <a:pt x="347" y="361"/>
                  </a:lnTo>
                  <a:lnTo>
                    <a:pt x="347" y="361"/>
                  </a:lnTo>
                  <a:lnTo>
                    <a:pt x="348" y="361"/>
                  </a:lnTo>
                  <a:lnTo>
                    <a:pt x="348" y="361"/>
                  </a:lnTo>
                  <a:close/>
                  <a:moveTo>
                    <a:pt x="712" y="142"/>
                  </a:moveTo>
                  <a:lnTo>
                    <a:pt x="712" y="142"/>
                  </a:lnTo>
                  <a:lnTo>
                    <a:pt x="709" y="142"/>
                  </a:lnTo>
                  <a:lnTo>
                    <a:pt x="709" y="142"/>
                  </a:lnTo>
                  <a:lnTo>
                    <a:pt x="709" y="143"/>
                  </a:lnTo>
                  <a:lnTo>
                    <a:pt x="709" y="143"/>
                  </a:lnTo>
                  <a:lnTo>
                    <a:pt x="707" y="143"/>
                  </a:lnTo>
                  <a:lnTo>
                    <a:pt x="707" y="143"/>
                  </a:lnTo>
                  <a:lnTo>
                    <a:pt x="710" y="145"/>
                  </a:lnTo>
                  <a:lnTo>
                    <a:pt x="710" y="145"/>
                  </a:lnTo>
                  <a:lnTo>
                    <a:pt x="712" y="145"/>
                  </a:lnTo>
                  <a:lnTo>
                    <a:pt x="712" y="145"/>
                  </a:lnTo>
                  <a:lnTo>
                    <a:pt x="715" y="143"/>
                  </a:lnTo>
                  <a:lnTo>
                    <a:pt x="715" y="143"/>
                  </a:lnTo>
                  <a:lnTo>
                    <a:pt x="718" y="143"/>
                  </a:lnTo>
                  <a:lnTo>
                    <a:pt x="718" y="143"/>
                  </a:lnTo>
                  <a:lnTo>
                    <a:pt x="718" y="142"/>
                  </a:lnTo>
                  <a:lnTo>
                    <a:pt x="718" y="142"/>
                  </a:lnTo>
                  <a:lnTo>
                    <a:pt x="715" y="142"/>
                  </a:lnTo>
                  <a:lnTo>
                    <a:pt x="712" y="142"/>
                  </a:lnTo>
                  <a:lnTo>
                    <a:pt x="712" y="142"/>
                  </a:lnTo>
                  <a:lnTo>
                    <a:pt x="712" y="142"/>
                  </a:lnTo>
                  <a:close/>
                  <a:moveTo>
                    <a:pt x="994" y="7"/>
                  </a:moveTo>
                  <a:lnTo>
                    <a:pt x="994" y="7"/>
                  </a:lnTo>
                  <a:lnTo>
                    <a:pt x="993" y="4"/>
                  </a:lnTo>
                  <a:lnTo>
                    <a:pt x="993" y="4"/>
                  </a:lnTo>
                  <a:lnTo>
                    <a:pt x="988" y="7"/>
                  </a:lnTo>
                  <a:lnTo>
                    <a:pt x="988" y="7"/>
                  </a:lnTo>
                  <a:lnTo>
                    <a:pt x="990" y="4"/>
                  </a:lnTo>
                  <a:lnTo>
                    <a:pt x="990" y="4"/>
                  </a:lnTo>
                  <a:lnTo>
                    <a:pt x="986" y="7"/>
                  </a:lnTo>
                  <a:lnTo>
                    <a:pt x="986" y="7"/>
                  </a:lnTo>
                  <a:lnTo>
                    <a:pt x="980" y="7"/>
                  </a:lnTo>
                  <a:lnTo>
                    <a:pt x="980" y="7"/>
                  </a:lnTo>
                  <a:lnTo>
                    <a:pt x="983" y="4"/>
                  </a:lnTo>
                  <a:lnTo>
                    <a:pt x="983" y="4"/>
                  </a:lnTo>
                  <a:lnTo>
                    <a:pt x="980" y="4"/>
                  </a:lnTo>
                  <a:lnTo>
                    <a:pt x="980" y="4"/>
                  </a:lnTo>
                  <a:lnTo>
                    <a:pt x="978" y="4"/>
                  </a:lnTo>
                  <a:lnTo>
                    <a:pt x="978" y="4"/>
                  </a:lnTo>
                  <a:lnTo>
                    <a:pt x="975" y="4"/>
                  </a:lnTo>
                  <a:lnTo>
                    <a:pt x="975" y="4"/>
                  </a:lnTo>
                  <a:lnTo>
                    <a:pt x="972" y="2"/>
                  </a:lnTo>
                  <a:lnTo>
                    <a:pt x="972" y="2"/>
                  </a:lnTo>
                  <a:lnTo>
                    <a:pt x="967" y="4"/>
                  </a:lnTo>
                  <a:lnTo>
                    <a:pt x="967" y="4"/>
                  </a:lnTo>
                  <a:lnTo>
                    <a:pt x="958" y="4"/>
                  </a:lnTo>
                  <a:lnTo>
                    <a:pt x="958" y="4"/>
                  </a:lnTo>
                  <a:lnTo>
                    <a:pt x="963" y="2"/>
                  </a:lnTo>
                  <a:lnTo>
                    <a:pt x="963" y="2"/>
                  </a:lnTo>
                  <a:lnTo>
                    <a:pt x="951" y="2"/>
                  </a:lnTo>
                  <a:lnTo>
                    <a:pt x="951" y="2"/>
                  </a:lnTo>
                  <a:lnTo>
                    <a:pt x="945" y="2"/>
                  </a:lnTo>
                  <a:lnTo>
                    <a:pt x="945" y="2"/>
                  </a:lnTo>
                  <a:lnTo>
                    <a:pt x="940" y="2"/>
                  </a:lnTo>
                  <a:lnTo>
                    <a:pt x="940" y="2"/>
                  </a:lnTo>
                  <a:lnTo>
                    <a:pt x="939" y="2"/>
                  </a:lnTo>
                  <a:lnTo>
                    <a:pt x="939" y="2"/>
                  </a:lnTo>
                  <a:lnTo>
                    <a:pt x="934" y="0"/>
                  </a:lnTo>
                  <a:lnTo>
                    <a:pt x="934" y="0"/>
                  </a:lnTo>
                  <a:lnTo>
                    <a:pt x="924" y="2"/>
                  </a:lnTo>
                  <a:lnTo>
                    <a:pt x="924" y="2"/>
                  </a:lnTo>
                  <a:lnTo>
                    <a:pt x="923" y="2"/>
                  </a:lnTo>
                  <a:lnTo>
                    <a:pt x="923" y="2"/>
                  </a:lnTo>
                  <a:lnTo>
                    <a:pt x="923" y="0"/>
                  </a:lnTo>
                  <a:lnTo>
                    <a:pt x="923" y="0"/>
                  </a:lnTo>
                  <a:lnTo>
                    <a:pt x="917" y="0"/>
                  </a:lnTo>
                  <a:lnTo>
                    <a:pt x="917" y="0"/>
                  </a:lnTo>
                  <a:lnTo>
                    <a:pt x="907" y="2"/>
                  </a:lnTo>
                  <a:lnTo>
                    <a:pt x="907" y="2"/>
                  </a:lnTo>
                  <a:lnTo>
                    <a:pt x="913" y="4"/>
                  </a:lnTo>
                  <a:lnTo>
                    <a:pt x="913" y="4"/>
                  </a:lnTo>
                  <a:lnTo>
                    <a:pt x="910" y="4"/>
                  </a:lnTo>
                  <a:lnTo>
                    <a:pt x="910" y="4"/>
                  </a:lnTo>
                  <a:lnTo>
                    <a:pt x="907" y="4"/>
                  </a:lnTo>
                  <a:lnTo>
                    <a:pt x="907" y="4"/>
                  </a:lnTo>
                  <a:lnTo>
                    <a:pt x="902" y="2"/>
                  </a:lnTo>
                  <a:lnTo>
                    <a:pt x="902" y="2"/>
                  </a:lnTo>
                  <a:lnTo>
                    <a:pt x="897" y="2"/>
                  </a:lnTo>
                  <a:lnTo>
                    <a:pt x="897" y="2"/>
                  </a:lnTo>
                  <a:lnTo>
                    <a:pt x="888" y="2"/>
                  </a:lnTo>
                  <a:lnTo>
                    <a:pt x="888" y="2"/>
                  </a:lnTo>
                  <a:lnTo>
                    <a:pt x="882" y="0"/>
                  </a:lnTo>
                  <a:lnTo>
                    <a:pt x="882" y="0"/>
                  </a:lnTo>
                  <a:lnTo>
                    <a:pt x="878" y="2"/>
                  </a:lnTo>
                  <a:lnTo>
                    <a:pt x="878" y="2"/>
                  </a:lnTo>
                  <a:lnTo>
                    <a:pt x="888" y="4"/>
                  </a:lnTo>
                  <a:lnTo>
                    <a:pt x="888" y="4"/>
                  </a:lnTo>
                  <a:lnTo>
                    <a:pt x="885" y="4"/>
                  </a:lnTo>
                  <a:lnTo>
                    <a:pt x="885" y="4"/>
                  </a:lnTo>
                  <a:lnTo>
                    <a:pt x="890" y="4"/>
                  </a:lnTo>
                  <a:lnTo>
                    <a:pt x="890" y="4"/>
                  </a:lnTo>
                  <a:lnTo>
                    <a:pt x="885" y="4"/>
                  </a:lnTo>
                  <a:lnTo>
                    <a:pt x="885" y="4"/>
                  </a:lnTo>
                  <a:lnTo>
                    <a:pt x="882" y="7"/>
                  </a:lnTo>
                  <a:lnTo>
                    <a:pt x="882" y="7"/>
                  </a:lnTo>
                  <a:lnTo>
                    <a:pt x="885" y="4"/>
                  </a:lnTo>
                  <a:lnTo>
                    <a:pt x="885" y="4"/>
                  </a:lnTo>
                  <a:lnTo>
                    <a:pt x="878" y="4"/>
                  </a:lnTo>
                  <a:lnTo>
                    <a:pt x="878" y="4"/>
                  </a:lnTo>
                  <a:lnTo>
                    <a:pt x="875" y="4"/>
                  </a:lnTo>
                  <a:lnTo>
                    <a:pt x="875" y="4"/>
                  </a:lnTo>
                  <a:lnTo>
                    <a:pt x="872" y="2"/>
                  </a:lnTo>
                  <a:lnTo>
                    <a:pt x="872" y="2"/>
                  </a:lnTo>
                  <a:lnTo>
                    <a:pt x="870" y="2"/>
                  </a:lnTo>
                  <a:lnTo>
                    <a:pt x="870" y="2"/>
                  </a:lnTo>
                  <a:lnTo>
                    <a:pt x="866" y="2"/>
                  </a:lnTo>
                  <a:lnTo>
                    <a:pt x="866" y="2"/>
                  </a:lnTo>
                  <a:lnTo>
                    <a:pt x="861" y="2"/>
                  </a:lnTo>
                  <a:lnTo>
                    <a:pt x="861" y="2"/>
                  </a:lnTo>
                  <a:lnTo>
                    <a:pt x="856" y="2"/>
                  </a:lnTo>
                  <a:lnTo>
                    <a:pt x="856" y="2"/>
                  </a:lnTo>
                  <a:lnTo>
                    <a:pt x="859" y="4"/>
                  </a:lnTo>
                  <a:lnTo>
                    <a:pt x="859" y="4"/>
                  </a:lnTo>
                  <a:lnTo>
                    <a:pt x="861" y="4"/>
                  </a:lnTo>
                  <a:lnTo>
                    <a:pt x="861" y="4"/>
                  </a:lnTo>
                  <a:lnTo>
                    <a:pt x="863" y="4"/>
                  </a:lnTo>
                  <a:lnTo>
                    <a:pt x="863" y="4"/>
                  </a:lnTo>
                  <a:lnTo>
                    <a:pt x="856" y="4"/>
                  </a:lnTo>
                  <a:lnTo>
                    <a:pt x="856" y="4"/>
                  </a:lnTo>
                  <a:lnTo>
                    <a:pt x="853" y="4"/>
                  </a:lnTo>
                  <a:lnTo>
                    <a:pt x="853" y="4"/>
                  </a:lnTo>
                  <a:lnTo>
                    <a:pt x="850" y="4"/>
                  </a:lnTo>
                  <a:lnTo>
                    <a:pt x="850" y="4"/>
                  </a:lnTo>
                  <a:lnTo>
                    <a:pt x="847" y="4"/>
                  </a:lnTo>
                  <a:lnTo>
                    <a:pt x="847" y="4"/>
                  </a:lnTo>
                  <a:lnTo>
                    <a:pt x="850" y="4"/>
                  </a:lnTo>
                  <a:lnTo>
                    <a:pt x="850" y="4"/>
                  </a:lnTo>
                  <a:lnTo>
                    <a:pt x="843" y="4"/>
                  </a:lnTo>
                  <a:lnTo>
                    <a:pt x="843" y="4"/>
                  </a:lnTo>
                  <a:lnTo>
                    <a:pt x="842" y="4"/>
                  </a:lnTo>
                  <a:lnTo>
                    <a:pt x="842" y="4"/>
                  </a:lnTo>
                  <a:lnTo>
                    <a:pt x="839" y="4"/>
                  </a:lnTo>
                  <a:lnTo>
                    <a:pt x="839" y="4"/>
                  </a:lnTo>
                  <a:lnTo>
                    <a:pt x="836" y="7"/>
                  </a:lnTo>
                  <a:lnTo>
                    <a:pt x="836" y="7"/>
                  </a:lnTo>
                  <a:lnTo>
                    <a:pt x="834" y="7"/>
                  </a:lnTo>
                  <a:lnTo>
                    <a:pt x="834" y="7"/>
                  </a:lnTo>
                  <a:lnTo>
                    <a:pt x="843" y="10"/>
                  </a:lnTo>
                  <a:lnTo>
                    <a:pt x="843" y="10"/>
                  </a:lnTo>
                  <a:lnTo>
                    <a:pt x="850" y="10"/>
                  </a:lnTo>
                  <a:lnTo>
                    <a:pt x="850" y="10"/>
                  </a:lnTo>
                  <a:lnTo>
                    <a:pt x="853" y="13"/>
                  </a:lnTo>
                  <a:lnTo>
                    <a:pt x="853" y="13"/>
                  </a:lnTo>
                  <a:lnTo>
                    <a:pt x="847" y="10"/>
                  </a:lnTo>
                  <a:lnTo>
                    <a:pt x="847" y="10"/>
                  </a:lnTo>
                  <a:lnTo>
                    <a:pt x="842" y="10"/>
                  </a:lnTo>
                  <a:lnTo>
                    <a:pt x="842" y="10"/>
                  </a:lnTo>
                  <a:lnTo>
                    <a:pt x="836" y="7"/>
                  </a:lnTo>
                  <a:lnTo>
                    <a:pt x="836" y="7"/>
                  </a:lnTo>
                  <a:lnTo>
                    <a:pt x="831" y="7"/>
                  </a:lnTo>
                  <a:lnTo>
                    <a:pt x="831" y="7"/>
                  </a:lnTo>
                  <a:lnTo>
                    <a:pt x="829" y="7"/>
                  </a:lnTo>
                  <a:lnTo>
                    <a:pt x="829" y="7"/>
                  </a:lnTo>
                  <a:lnTo>
                    <a:pt x="831" y="10"/>
                  </a:lnTo>
                  <a:lnTo>
                    <a:pt x="831" y="10"/>
                  </a:lnTo>
                  <a:lnTo>
                    <a:pt x="826" y="10"/>
                  </a:lnTo>
                  <a:lnTo>
                    <a:pt x="826" y="10"/>
                  </a:lnTo>
                  <a:lnTo>
                    <a:pt x="828" y="7"/>
                  </a:lnTo>
                  <a:lnTo>
                    <a:pt x="828" y="7"/>
                  </a:lnTo>
                  <a:lnTo>
                    <a:pt x="824" y="7"/>
                  </a:lnTo>
                  <a:lnTo>
                    <a:pt x="824" y="7"/>
                  </a:lnTo>
                  <a:lnTo>
                    <a:pt x="823" y="7"/>
                  </a:lnTo>
                  <a:lnTo>
                    <a:pt x="823" y="7"/>
                  </a:lnTo>
                  <a:lnTo>
                    <a:pt x="818" y="7"/>
                  </a:lnTo>
                  <a:lnTo>
                    <a:pt x="818" y="7"/>
                  </a:lnTo>
                  <a:lnTo>
                    <a:pt x="818" y="7"/>
                  </a:lnTo>
                  <a:lnTo>
                    <a:pt x="818" y="7"/>
                  </a:lnTo>
                  <a:lnTo>
                    <a:pt x="815" y="7"/>
                  </a:lnTo>
                  <a:lnTo>
                    <a:pt x="815" y="7"/>
                  </a:lnTo>
                  <a:lnTo>
                    <a:pt x="810" y="7"/>
                  </a:lnTo>
                  <a:lnTo>
                    <a:pt x="810" y="7"/>
                  </a:lnTo>
                  <a:lnTo>
                    <a:pt x="812" y="7"/>
                  </a:lnTo>
                  <a:lnTo>
                    <a:pt x="812" y="7"/>
                  </a:lnTo>
                  <a:lnTo>
                    <a:pt x="805" y="7"/>
                  </a:lnTo>
                  <a:lnTo>
                    <a:pt x="805" y="7"/>
                  </a:lnTo>
                  <a:lnTo>
                    <a:pt x="802" y="7"/>
                  </a:lnTo>
                  <a:lnTo>
                    <a:pt x="802" y="7"/>
                  </a:lnTo>
                  <a:lnTo>
                    <a:pt x="799" y="10"/>
                  </a:lnTo>
                  <a:lnTo>
                    <a:pt x="799" y="10"/>
                  </a:lnTo>
                  <a:lnTo>
                    <a:pt x="797" y="10"/>
                  </a:lnTo>
                  <a:lnTo>
                    <a:pt x="797" y="10"/>
                  </a:lnTo>
                  <a:lnTo>
                    <a:pt x="794" y="10"/>
                  </a:lnTo>
                  <a:lnTo>
                    <a:pt x="794" y="10"/>
                  </a:lnTo>
                  <a:lnTo>
                    <a:pt x="794" y="10"/>
                  </a:lnTo>
                  <a:lnTo>
                    <a:pt x="794" y="10"/>
                  </a:lnTo>
                  <a:lnTo>
                    <a:pt x="788" y="10"/>
                  </a:lnTo>
                  <a:lnTo>
                    <a:pt x="788" y="10"/>
                  </a:lnTo>
                  <a:lnTo>
                    <a:pt x="782" y="10"/>
                  </a:lnTo>
                  <a:lnTo>
                    <a:pt x="782" y="10"/>
                  </a:lnTo>
                  <a:lnTo>
                    <a:pt x="777" y="10"/>
                  </a:lnTo>
                  <a:lnTo>
                    <a:pt x="777" y="10"/>
                  </a:lnTo>
                  <a:lnTo>
                    <a:pt x="774" y="10"/>
                  </a:lnTo>
                  <a:lnTo>
                    <a:pt x="774" y="10"/>
                  </a:lnTo>
                  <a:lnTo>
                    <a:pt x="767" y="10"/>
                  </a:lnTo>
                  <a:lnTo>
                    <a:pt x="767" y="10"/>
                  </a:lnTo>
                  <a:lnTo>
                    <a:pt x="753" y="13"/>
                  </a:lnTo>
                  <a:lnTo>
                    <a:pt x="753" y="13"/>
                  </a:lnTo>
                  <a:lnTo>
                    <a:pt x="763" y="13"/>
                  </a:lnTo>
                  <a:lnTo>
                    <a:pt x="763" y="13"/>
                  </a:lnTo>
                  <a:lnTo>
                    <a:pt x="766" y="13"/>
                  </a:lnTo>
                  <a:lnTo>
                    <a:pt x="766" y="13"/>
                  </a:lnTo>
                  <a:lnTo>
                    <a:pt x="759" y="15"/>
                  </a:lnTo>
                  <a:lnTo>
                    <a:pt x="759" y="15"/>
                  </a:lnTo>
                  <a:lnTo>
                    <a:pt x="763" y="15"/>
                  </a:lnTo>
                  <a:lnTo>
                    <a:pt x="763" y="15"/>
                  </a:lnTo>
                  <a:lnTo>
                    <a:pt x="764" y="15"/>
                  </a:lnTo>
                  <a:lnTo>
                    <a:pt x="764" y="15"/>
                  </a:lnTo>
                  <a:lnTo>
                    <a:pt x="769" y="15"/>
                  </a:lnTo>
                  <a:lnTo>
                    <a:pt x="769" y="15"/>
                  </a:lnTo>
                  <a:lnTo>
                    <a:pt x="764" y="16"/>
                  </a:lnTo>
                  <a:lnTo>
                    <a:pt x="764" y="16"/>
                  </a:lnTo>
                  <a:lnTo>
                    <a:pt x="759" y="16"/>
                  </a:lnTo>
                  <a:lnTo>
                    <a:pt x="759" y="16"/>
                  </a:lnTo>
                  <a:lnTo>
                    <a:pt x="763" y="18"/>
                  </a:lnTo>
                  <a:lnTo>
                    <a:pt x="763" y="18"/>
                  </a:lnTo>
                  <a:lnTo>
                    <a:pt x="763" y="18"/>
                  </a:lnTo>
                  <a:lnTo>
                    <a:pt x="763" y="18"/>
                  </a:lnTo>
                  <a:lnTo>
                    <a:pt x="766" y="18"/>
                  </a:lnTo>
                  <a:lnTo>
                    <a:pt x="766" y="18"/>
                  </a:lnTo>
                  <a:lnTo>
                    <a:pt x="774" y="18"/>
                  </a:lnTo>
                  <a:lnTo>
                    <a:pt x="774" y="18"/>
                  </a:lnTo>
                  <a:lnTo>
                    <a:pt x="763" y="19"/>
                  </a:lnTo>
                  <a:lnTo>
                    <a:pt x="763" y="19"/>
                  </a:lnTo>
                  <a:lnTo>
                    <a:pt x="769" y="23"/>
                  </a:lnTo>
                  <a:lnTo>
                    <a:pt x="769" y="23"/>
                  </a:lnTo>
                  <a:lnTo>
                    <a:pt x="777" y="23"/>
                  </a:lnTo>
                  <a:lnTo>
                    <a:pt x="777" y="23"/>
                  </a:lnTo>
                  <a:lnTo>
                    <a:pt x="788" y="19"/>
                  </a:lnTo>
                  <a:lnTo>
                    <a:pt x="788" y="19"/>
                  </a:lnTo>
                  <a:lnTo>
                    <a:pt x="786" y="21"/>
                  </a:lnTo>
                  <a:lnTo>
                    <a:pt x="786" y="21"/>
                  </a:lnTo>
                  <a:lnTo>
                    <a:pt x="782" y="23"/>
                  </a:lnTo>
                  <a:lnTo>
                    <a:pt x="782" y="23"/>
                  </a:lnTo>
                  <a:lnTo>
                    <a:pt x="786" y="23"/>
                  </a:lnTo>
                  <a:lnTo>
                    <a:pt x="786" y="23"/>
                  </a:lnTo>
                  <a:lnTo>
                    <a:pt x="788" y="23"/>
                  </a:lnTo>
                  <a:lnTo>
                    <a:pt x="788" y="23"/>
                  </a:lnTo>
                  <a:lnTo>
                    <a:pt x="788" y="23"/>
                  </a:lnTo>
                  <a:lnTo>
                    <a:pt x="788" y="23"/>
                  </a:lnTo>
                  <a:lnTo>
                    <a:pt x="794" y="23"/>
                  </a:lnTo>
                  <a:lnTo>
                    <a:pt x="794" y="23"/>
                  </a:lnTo>
                  <a:lnTo>
                    <a:pt x="802" y="23"/>
                  </a:lnTo>
                  <a:lnTo>
                    <a:pt x="802" y="23"/>
                  </a:lnTo>
                  <a:lnTo>
                    <a:pt x="807" y="21"/>
                  </a:lnTo>
                  <a:lnTo>
                    <a:pt x="807" y="21"/>
                  </a:lnTo>
                  <a:lnTo>
                    <a:pt x="812" y="21"/>
                  </a:lnTo>
                  <a:lnTo>
                    <a:pt x="812" y="21"/>
                  </a:lnTo>
                  <a:lnTo>
                    <a:pt x="809" y="23"/>
                  </a:lnTo>
                  <a:lnTo>
                    <a:pt x="809" y="23"/>
                  </a:lnTo>
                  <a:lnTo>
                    <a:pt x="828" y="21"/>
                  </a:lnTo>
                  <a:lnTo>
                    <a:pt x="828" y="21"/>
                  </a:lnTo>
                  <a:lnTo>
                    <a:pt x="837" y="19"/>
                  </a:lnTo>
                  <a:lnTo>
                    <a:pt x="837" y="19"/>
                  </a:lnTo>
                  <a:lnTo>
                    <a:pt x="847" y="18"/>
                  </a:lnTo>
                  <a:lnTo>
                    <a:pt x="847" y="18"/>
                  </a:lnTo>
                  <a:lnTo>
                    <a:pt x="843" y="16"/>
                  </a:lnTo>
                  <a:lnTo>
                    <a:pt x="843" y="16"/>
                  </a:lnTo>
                  <a:lnTo>
                    <a:pt x="847" y="18"/>
                  </a:lnTo>
                  <a:lnTo>
                    <a:pt x="847" y="18"/>
                  </a:lnTo>
                  <a:lnTo>
                    <a:pt x="843" y="19"/>
                  </a:lnTo>
                  <a:lnTo>
                    <a:pt x="843" y="19"/>
                  </a:lnTo>
                  <a:lnTo>
                    <a:pt x="847" y="19"/>
                  </a:lnTo>
                  <a:lnTo>
                    <a:pt x="847" y="19"/>
                  </a:lnTo>
                  <a:lnTo>
                    <a:pt x="834" y="23"/>
                  </a:lnTo>
                  <a:lnTo>
                    <a:pt x="834" y="23"/>
                  </a:lnTo>
                  <a:lnTo>
                    <a:pt x="842" y="23"/>
                  </a:lnTo>
                  <a:lnTo>
                    <a:pt x="842" y="23"/>
                  </a:lnTo>
                  <a:lnTo>
                    <a:pt x="850" y="23"/>
                  </a:lnTo>
                  <a:lnTo>
                    <a:pt x="850" y="23"/>
                  </a:lnTo>
                  <a:lnTo>
                    <a:pt x="826" y="24"/>
                  </a:lnTo>
                  <a:lnTo>
                    <a:pt x="826" y="24"/>
                  </a:lnTo>
                  <a:lnTo>
                    <a:pt x="815" y="24"/>
                  </a:lnTo>
                  <a:lnTo>
                    <a:pt x="815" y="24"/>
                  </a:lnTo>
                  <a:lnTo>
                    <a:pt x="810" y="24"/>
                  </a:lnTo>
                  <a:lnTo>
                    <a:pt x="810" y="24"/>
                  </a:lnTo>
                  <a:lnTo>
                    <a:pt x="805" y="26"/>
                  </a:lnTo>
                  <a:lnTo>
                    <a:pt x="805" y="26"/>
                  </a:lnTo>
                  <a:lnTo>
                    <a:pt x="810" y="27"/>
                  </a:lnTo>
                  <a:lnTo>
                    <a:pt x="810" y="27"/>
                  </a:lnTo>
                  <a:lnTo>
                    <a:pt x="815" y="29"/>
                  </a:lnTo>
                  <a:lnTo>
                    <a:pt x="815" y="29"/>
                  </a:lnTo>
                  <a:lnTo>
                    <a:pt x="813" y="29"/>
                  </a:lnTo>
                  <a:lnTo>
                    <a:pt x="813" y="29"/>
                  </a:lnTo>
                  <a:lnTo>
                    <a:pt x="810" y="31"/>
                  </a:lnTo>
                  <a:lnTo>
                    <a:pt x="810" y="31"/>
                  </a:lnTo>
                  <a:lnTo>
                    <a:pt x="815" y="32"/>
                  </a:lnTo>
                  <a:lnTo>
                    <a:pt x="815" y="32"/>
                  </a:lnTo>
                  <a:lnTo>
                    <a:pt x="812" y="32"/>
                  </a:lnTo>
                  <a:lnTo>
                    <a:pt x="812" y="32"/>
                  </a:lnTo>
                  <a:lnTo>
                    <a:pt x="809" y="32"/>
                  </a:lnTo>
                  <a:lnTo>
                    <a:pt x="809" y="32"/>
                  </a:lnTo>
                  <a:lnTo>
                    <a:pt x="809" y="31"/>
                  </a:lnTo>
                  <a:lnTo>
                    <a:pt x="809" y="31"/>
                  </a:lnTo>
                  <a:lnTo>
                    <a:pt x="807" y="29"/>
                  </a:lnTo>
                  <a:lnTo>
                    <a:pt x="807" y="29"/>
                  </a:lnTo>
                  <a:lnTo>
                    <a:pt x="801" y="27"/>
                  </a:lnTo>
                  <a:lnTo>
                    <a:pt x="801" y="27"/>
                  </a:lnTo>
                  <a:lnTo>
                    <a:pt x="797" y="26"/>
                  </a:lnTo>
                  <a:lnTo>
                    <a:pt x="797" y="26"/>
                  </a:lnTo>
                  <a:lnTo>
                    <a:pt x="794" y="26"/>
                  </a:lnTo>
                  <a:lnTo>
                    <a:pt x="794" y="26"/>
                  </a:lnTo>
                  <a:lnTo>
                    <a:pt x="788" y="26"/>
                  </a:lnTo>
                  <a:lnTo>
                    <a:pt x="788" y="26"/>
                  </a:lnTo>
                  <a:lnTo>
                    <a:pt x="782" y="26"/>
                  </a:lnTo>
                  <a:lnTo>
                    <a:pt x="782" y="26"/>
                  </a:lnTo>
                  <a:lnTo>
                    <a:pt x="778" y="26"/>
                  </a:lnTo>
                  <a:lnTo>
                    <a:pt x="778" y="26"/>
                  </a:lnTo>
                  <a:lnTo>
                    <a:pt x="777" y="27"/>
                  </a:lnTo>
                  <a:lnTo>
                    <a:pt x="777" y="27"/>
                  </a:lnTo>
                  <a:lnTo>
                    <a:pt x="778" y="29"/>
                  </a:lnTo>
                  <a:lnTo>
                    <a:pt x="778" y="29"/>
                  </a:lnTo>
                  <a:lnTo>
                    <a:pt x="777" y="29"/>
                  </a:lnTo>
                  <a:lnTo>
                    <a:pt x="777" y="29"/>
                  </a:lnTo>
                  <a:lnTo>
                    <a:pt x="775" y="29"/>
                  </a:lnTo>
                  <a:lnTo>
                    <a:pt x="775" y="29"/>
                  </a:lnTo>
                  <a:lnTo>
                    <a:pt x="774" y="31"/>
                  </a:lnTo>
                  <a:lnTo>
                    <a:pt x="774" y="31"/>
                  </a:lnTo>
                  <a:lnTo>
                    <a:pt x="777" y="31"/>
                  </a:lnTo>
                  <a:lnTo>
                    <a:pt x="777" y="31"/>
                  </a:lnTo>
                  <a:lnTo>
                    <a:pt x="780" y="32"/>
                  </a:lnTo>
                  <a:lnTo>
                    <a:pt x="780" y="32"/>
                  </a:lnTo>
                  <a:lnTo>
                    <a:pt x="782" y="34"/>
                  </a:lnTo>
                  <a:lnTo>
                    <a:pt x="782" y="34"/>
                  </a:lnTo>
                  <a:lnTo>
                    <a:pt x="783" y="34"/>
                  </a:lnTo>
                  <a:lnTo>
                    <a:pt x="783" y="34"/>
                  </a:lnTo>
                  <a:lnTo>
                    <a:pt x="782" y="37"/>
                  </a:lnTo>
                  <a:lnTo>
                    <a:pt x="782" y="37"/>
                  </a:lnTo>
                  <a:lnTo>
                    <a:pt x="785" y="37"/>
                  </a:lnTo>
                  <a:lnTo>
                    <a:pt x="785" y="37"/>
                  </a:lnTo>
                  <a:lnTo>
                    <a:pt x="788" y="38"/>
                  </a:lnTo>
                  <a:lnTo>
                    <a:pt x="788" y="38"/>
                  </a:lnTo>
                  <a:lnTo>
                    <a:pt x="782" y="38"/>
                  </a:lnTo>
                  <a:lnTo>
                    <a:pt x="782" y="38"/>
                  </a:lnTo>
                  <a:lnTo>
                    <a:pt x="778" y="37"/>
                  </a:lnTo>
                  <a:lnTo>
                    <a:pt x="778" y="37"/>
                  </a:lnTo>
                  <a:lnTo>
                    <a:pt x="777" y="38"/>
                  </a:lnTo>
                  <a:lnTo>
                    <a:pt x="777" y="38"/>
                  </a:lnTo>
                  <a:lnTo>
                    <a:pt x="788" y="38"/>
                  </a:lnTo>
                  <a:lnTo>
                    <a:pt x="788" y="38"/>
                  </a:lnTo>
                  <a:lnTo>
                    <a:pt x="791" y="38"/>
                  </a:lnTo>
                  <a:lnTo>
                    <a:pt x="791" y="38"/>
                  </a:lnTo>
                  <a:lnTo>
                    <a:pt x="786" y="42"/>
                  </a:lnTo>
                  <a:lnTo>
                    <a:pt x="786" y="42"/>
                  </a:lnTo>
                  <a:lnTo>
                    <a:pt x="791" y="42"/>
                  </a:lnTo>
                  <a:lnTo>
                    <a:pt x="791" y="42"/>
                  </a:lnTo>
                  <a:lnTo>
                    <a:pt x="788" y="42"/>
                  </a:lnTo>
                  <a:lnTo>
                    <a:pt x="788" y="42"/>
                  </a:lnTo>
                  <a:lnTo>
                    <a:pt x="788" y="42"/>
                  </a:lnTo>
                  <a:lnTo>
                    <a:pt x="788" y="42"/>
                  </a:lnTo>
                  <a:lnTo>
                    <a:pt x="783" y="42"/>
                  </a:lnTo>
                  <a:lnTo>
                    <a:pt x="783" y="42"/>
                  </a:lnTo>
                  <a:lnTo>
                    <a:pt x="777" y="38"/>
                  </a:lnTo>
                  <a:lnTo>
                    <a:pt x="777" y="38"/>
                  </a:lnTo>
                  <a:lnTo>
                    <a:pt x="770" y="38"/>
                  </a:lnTo>
                  <a:lnTo>
                    <a:pt x="770" y="38"/>
                  </a:lnTo>
                  <a:lnTo>
                    <a:pt x="759" y="38"/>
                  </a:lnTo>
                  <a:lnTo>
                    <a:pt x="759" y="38"/>
                  </a:lnTo>
                  <a:lnTo>
                    <a:pt x="756" y="42"/>
                  </a:lnTo>
                  <a:lnTo>
                    <a:pt x="756" y="42"/>
                  </a:lnTo>
                  <a:lnTo>
                    <a:pt x="753" y="42"/>
                  </a:lnTo>
                  <a:lnTo>
                    <a:pt x="753" y="42"/>
                  </a:lnTo>
                  <a:lnTo>
                    <a:pt x="748" y="45"/>
                  </a:lnTo>
                  <a:lnTo>
                    <a:pt x="748" y="45"/>
                  </a:lnTo>
                  <a:lnTo>
                    <a:pt x="745" y="45"/>
                  </a:lnTo>
                  <a:lnTo>
                    <a:pt x="745" y="45"/>
                  </a:lnTo>
                  <a:lnTo>
                    <a:pt x="745" y="48"/>
                  </a:lnTo>
                  <a:lnTo>
                    <a:pt x="745" y="48"/>
                  </a:lnTo>
                  <a:lnTo>
                    <a:pt x="747" y="48"/>
                  </a:lnTo>
                  <a:lnTo>
                    <a:pt x="747" y="48"/>
                  </a:lnTo>
                  <a:lnTo>
                    <a:pt x="751" y="48"/>
                  </a:lnTo>
                  <a:lnTo>
                    <a:pt x="751" y="48"/>
                  </a:lnTo>
                  <a:lnTo>
                    <a:pt x="759" y="45"/>
                  </a:lnTo>
                  <a:lnTo>
                    <a:pt x="759" y="45"/>
                  </a:lnTo>
                  <a:lnTo>
                    <a:pt x="756" y="48"/>
                  </a:lnTo>
                  <a:lnTo>
                    <a:pt x="756" y="48"/>
                  </a:lnTo>
                  <a:lnTo>
                    <a:pt x="753" y="48"/>
                  </a:lnTo>
                  <a:lnTo>
                    <a:pt x="753" y="48"/>
                  </a:lnTo>
                  <a:lnTo>
                    <a:pt x="756" y="48"/>
                  </a:lnTo>
                  <a:lnTo>
                    <a:pt x="756" y="48"/>
                  </a:lnTo>
                  <a:lnTo>
                    <a:pt x="763" y="48"/>
                  </a:lnTo>
                  <a:lnTo>
                    <a:pt x="763" y="48"/>
                  </a:lnTo>
                  <a:lnTo>
                    <a:pt x="766" y="45"/>
                  </a:lnTo>
                  <a:lnTo>
                    <a:pt x="766" y="45"/>
                  </a:lnTo>
                  <a:lnTo>
                    <a:pt x="770" y="42"/>
                  </a:lnTo>
                  <a:lnTo>
                    <a:pt x="770" y="42"/>
                  </a:lnTo>
                  <a:lnTo>
                    <a:pt x="767" y="45"/>
                  </a:lnTo>
                  <a:lnTo>
                    <a:pt x="767" y="45"/>
                  </a:lnTo>
                  <a:lnTo>
                    <a:pt x="767" y="45"/>
                  </a:lnTo>
                  <a:lnTo>
                    <a:pt x="767" y="45"/>
                  </a:lnTo>
                  <a:lnTo>
                    <a:pt x="766" y="45"/>
                  </a:lnTo>
                  <a:lnTo>
                    <a:pt x="766" y="45"/>
                  </a:lnTo>
                  <a:lnTo>
                    <a:pt x="764" y="48"/>
                  </a:lnTo>
                  <a:lnTo>
                    <a:pt x="764" y="48"/>
                  </a:lnTo>
                  <a:lnTo>
                    <a:pt x="763" y="48"/>
                  </a:lnTo>
                  <a:lnTo>
                    <a:pt x="763" y="48"/>
                  </a:lnTo>
                  <a:lnTo>
                    <a:pt x="753" y="50"/>
                  </a:lnTo>
                  <a:lnTo>
                    <a:pt x="753" y="50"/>
                  </a:lnTo>
                  <a:lnTo>
                    <a:pt x="756" y="50"/>
                  </a:lnTo>
                  <a:lnTo>
                    <a:pt x="756" y="50"/>
                  </a:lnTo>
                  <a:lnTo>
                    <a:pt x="759" y="50"/>
                  </a:lnTo>
                  <a:lnTo>
                    <a:pt x="759" y="50"/>
                  </a:lnTo>
                  <a:lnTo>
                    <a:pt x="756" y="51"/>
                  </a:lnTo>
                  <a:lnTo>
                    <a:pt x="756" y="51"/>
                  </a:lnTo>
                  <a:lnTo>
                    <a:pt x="753" y="53"/>
                  </a:lnTo>
                  <a:lnTo>
                    <a:pt x="753" y="53"/>
                  </a:lnTo>
                  <a:lnTo>
                    <a:pt x="763" y="51"/>
                  </a:lnTo>
                  <a:lnTo>
                    <a:pt x="763" y="51"/>
                  </a:lnTo>
                  <a:lnTo>
                    <a:pt x="756" y="54"/>
                  </a:lnTo>
                  <a:lnTo>
                    <a:pt x="756" y="54"/>
                  </a:lnTo>
                  <a:lnTo>
                    <a:pt x="763" y="54"/>
                  </a:lnTo>
                  <a:lnTo>
                    <a:pt x="763" y="54"/>
                  </a:lnTo>
                  <a:lnTo>
                    <a:pt x="756" y="56"/>
                  </a:lnTo>
                  <a:lnTo>
                    <a:pt x="756" y="56"/>
                  </a:lnTo>
                  <a:lnTo>
                    <a:pt x="756" y="56"/>
                  </a:lnTo>
                  <a:lnTo>
                    <a:pt x="756" y="56"/>
                  </a:lnTo>
                  <a:lnTo>
                    <a:pt x="753" y="56"/>
                  </a:lnTo>
                  <a:lnTo>
                    <a:pt x="753" y="56"/>
                  </a:lnTo>
                  <a:lnTo>
                    <a:pt x="747" y="54"/>
                  </a:lnTo>
                  <a:lnTo>
                    <a:pt x="747" y="54"/>
                  </a:lnTo>
                  <a:lnTo>
                    <a:pt x="750" y="53"/>
                  </a:lnTo>
                  <a:lnTo>
                    <a:pt x="750" y="53"/>
                  </a:lnTo>
                  <a:lnTo>
                    <a:pt x="748" y="51"/>
                  </a:lnTo>
                  <a:lnTo>
                    <a:pt x="748" y="51"/>
                  </a:lnTo>
                  <a:lnTo>
                    <a:pt x="743" y="50"/>
                  </a:lnTo>
                  <a:lnTo>
                    <a:pt x="743" y="50"/>
                  </a:lnTo>
                  <a:lnTo>
                    <a:pt x="736" y="50"/>
                  </a:lnTo>
                  <a:lnTo>
                    <a:pt x="736" y="50"/>
                  </a:lnTo>
                  <a:lnTo>
                    <a:pt x="732" y="51"/>
                  </a:lnTo>
                  <a:lnTo>
                    <a:pt x="732" y="51"/>
                  </a:lnTo>
                  <a:lnTo>
                    <a:pt x="729" y="53"/>
                  </a:lnTo>
                  <a:lnTo>
                    <a:pt x="729" y="53"/>
                  </a:lnTo>
                  <a:lnTo>
                    <a:pt x="731" y="54"/>
                  </a:lnTo>
                  <a:lnTo>
                    <a:pt x="731" y="54"/>
                  </a:lnTo>
                  <a:lnTo>
                    <a:pt x="731" y="56"/>
                  </a:lnTo>
                  <a:lnTo>
                    <a:pt x="731" y="56"/>
                  </a:lnTo>
                  <a:lnTo>
                    <a:pt x="732" y="56"/>
                  </a:lnTo>
                  <a:lnTo>
                    <a:pt x="732" y="56"/>
                  </a:lnTo>
                  <a:lnTo>
                    <a:pt x="734" y="56"/>
                  </a:lnTo>
                  <a:lnTo>
                    <a:pt x="734" y="56"/>
                  </a:lnTo>
                  <a:lnTo>
                    <a:pt x="732" y="58"/>
                  </a:lnTo>
                  <a:lnTo>
                    <a:pt x="732" y="58"/>
                  </a:lnTo>
                  <a:lnTo>
                    <a:pt x="728" y="59"/>
                  </a:lnTo>
                  <a:lnTo>
                    <a:pt x="728" y="59"/>
                  </a:lnTo>
                  <a:lnTo>
                    <a:pt x="718" y="59"/>
                  </a:lnTo>
                  <a:lnTo>
                    <a:pt x="718" y="59"/>
                  </a:lnTo>
                  <a:lnTo>
                    <a:pt x="715" y="59"/>
                  </a:lnTo>
                  <a:lnTo>
                    <a:pt x="715" y="59"/>
                  </a:lnTo>
                  <a:lnTo>
                    <a:pt x="710" y="61"/>
                  </a:lnTo>
                  <a:lnTo>
                    <a:pt x="710" y="61"/>
                  </a:lnTo>
                  <a:lnTo>
                    <a:pt x="709" y="62"/>
                  </a:lnTo>
                  <a:lnTo>
                    <a:pt x="709" y="62"/>
                  </a:lnTo>
                  <a:lnTo>
                    <a:pt x="704" y="65"/>
                  </a:lnTo>
                  <a:lnTo>
                    <a:pt x="704" y="65"/>
                  </a:lnTo>
                  <a:lnTo>
                    <a:pt x="705" y="65"/>
                  </a:lnTo>
                  <a:lnTo>
                    <a:pt x="705" y="65"/>
                  </a:lnTo>
                  <a:lnTo>
                    <a:pt x="707" y="67"/>
                  </a:lnTo>
                  <a:lnTo>
                    <a:pt x="707" y="67"/>
                  </a:lnTo>
                  <a:lnTo>
                    <a:pt x="710" y="65"/>
                  </a:lnTo>
                  <a:lnTo>
                    <a:pt x="710" y="65"/>
                  </a:lnTo>
                  <a:lnTo>
                    <a:pt x="712" y="64"/>
                  </a:lnTo>
                  <a:lnTo>
                    <a:pt x="712" y="64"/>
                  </a:lnTo>
                  <a:lnTo>
                    <a:pt x="710" y="67"/>
                  </a:lnTo>
                  <a:lnTo>
                    <a:pt x="710" y="67"/>
                  </a:lnTo>
                  <a:lnTo>
                    <a:pt x="712" y="65"/>
                  </a:lnTo>
                  <a:lnTo>
                    <a:pt x="712" y="65"/>
                  </a:lnTo>
                  <a:lnTo>
                    <a:pt x="713" y="64"/>
                  </a:lnTo>
                  <a:lnTo>
                    <a:pt x="713" y="64"/>
                  </a:lnTo>
                  <a:lnTo>
                    <a:pt x="715" y="62"/>
                  </a:lnTo>
                  <a:lnTo>
                    <a:pt x="715" y="62"/>
                  </a:lnTo>
                  <a:lnTo>
                    <a:pt x="716" y="62"/>
                  </a:lnTo>
                  <a:lnTo>
                    <a:pt x="716" y="62"/>
                  </a:lnTo>
                  <a:lnTo>
                    <a:pt x="715" y="64"/>
                  </a:lnTo>
                  <a:lnTo>
                    <a:pt x="715" y="64"/>
                  </a:lnTo>
                  <a:lnTo>
                    <a:pt x="713" y="67"/>
                  </a:lnTo>
                  <a:lnTo>
                    <a:pt x="713" y="67"/>
                  </a:lnTo>
                  <a:lnTo>
                    <a:pt x="718" y="67"/>
                  </a:lnTo>
                  <a:lnTo>
                    <a:pt x="718" y="67"/>
                  </a:lnTo>
                  <a:lnTo>
                    <a:pt x="721" y="65"/>
                  </a:lnTo>
                  <a:lnTo>
                    <a:pt x="721" y="65"/>
                  </a:lnTo>
                  <a:lnTo>
                    <a:pt x="721" y="64"/>
                  </a:lnTo>
                  <a:lnTo>
                    <a:pt x="721" y="64"/>
                  </a:lnTo>
                  <a:lnTo>
                    <a:pt x="721" y="65"/>
                  </a:lnTo>
                  <a:lnTo>
                    <a:pt x="721" y="65"/>
                  </a:lnTo>
                  <a:lnTo>
                    <a:pt x="724" y="67"/>
                  </a:lnTo>
                  <a:lnTo>
                    <a:pt x="724" y="67"/>
                  </a:lnTo>
                  <a:lnTo>
                    <a:pt x="728" y="67"/>
                  </a:lnTo>
                  <a:lnTo>
                    <a:pt x="728" y="67"/>
                  </a:lnTo>
                  <a:lnTo>
                    <a:pt x="729" y="65"/>
                  </a:lnTo>
                  <a:lnTo>
                    <a:pt x="729" y="65"/>
                  </a:lnTo>
                  <a:lnTo>
                    <a:pt x="731" y="64"/>
                  </a:lnTo>
                  <a:lnTo>
                    <a:pt x="731" y="64"/>
                  </a:lnTo>
                  <a:lnTo>
                    <a:pt x="732" y="65"/>
                  </a:lnTo>
                  <a:lnTo>
                    <a:pt x="732" y="65"/>
                  </a:lnTo>
                  <a:lnTo>
                    <a:pt x="729" y="67"/>
                  </a:lnTo>
                  <a:lnTo>
                    <a:pt x="729" y="67"/>
                  </a:lnTo>
                  <a:lnTo>
                    <a:pt x="737" y="67"/>
                  </a:lnTo>
                  <a:lnTo>
                    <a:pt x="737" y="67"/>
                  </a:lnTo>
                  <a:lnTo>
                    <a:pt x="745" y="67"/>
                  </a:lnTo>
                  <a:lnTo>
                    <a:pt x="745" y="67"/>
                  </a:lnTo>
                  <a:lnTo>
                    <a:pt x="742" y="65"/>
                  </a:lnTo>
                  <a:lnTo>
                    <a:pt x="742" y="65"/>
                  </a:lnTo>
                  <a:lnTo>
                    <a:pt x="743" y="64"/>
                  </a:lnTo>
                  <a:lnTo>
                    <a:pt x="743" y="64"/>
                  </a:lnTo>
                  <a:lnTo>
                    <a:pt x="745" y="65"/>
                  </a:lnTo>
                  <a:lnTo>
                    <a:pt x="745" y="65"/>
                  </a:lnTo>
                  <a:lnTo>
                    <a:pt x="747" y="65"/>
                  </a:lnTo>
                  <a:lnTo>
                    <a:pt x="747" y="65"/>
                  </a:lnTo>
                  <a:lnTo>
                    <a:pt x="751" y="64"/>
                  </a:lnTo>
                  <a:lnTo>
                    <a:pt x="751" y="64"/>
                  </a:lnTo>
                  <a:lnTo>
                    <a:pt x="751" y="65"/>
                  </a:lnTo>
                  <a:lnTo>
                    <a:pt x="751" y="65"/>
                  </a:lnTo>
                  <a:lnTo>
                    <a:pt x="753" y="65"/>
                  </a:lnTo>
                  <a:lnTo>
                    <a:pt x="753" y="65"/>
                  </a:lnTo>
                  <a:lnTo>
                    <a:pt x="756" y="65"/>
                  </a:lnTo>
                  <a:lnTo>
                    <a:pt x="756" y="65"/>
                  </a:lnTo>
                  <a:lnTo>
                    <a:pt x="756" y="65"/>
                  </a:lnTo>
                  <a:lnTo>
                    <a:pt x="756" y="65"/>
                  </a:lnTo>
                  <a:lnTo>
                    <a:pt x="756" y="64"/>
                  </a:lnTo>
                  <a:lnTo>
                    <a:pt x="756" y="64"/>
                  </a:lnTo>
                  <a:lnTo>
                    <a:pt x="759" y="64"/>
                  </a:lnTo>
                  <a:lnTo>
                    <a:pt x="759" y="64"/>
                  </a:lnTo>
                  <a:lnTo>
                    <a:pt x="759" y="65"/>
                  </a:lnTo>
                  <a:lnTo>
                    <a:pt x="759" y="65"/>
                  </a:lnTo>
                  <a:lnTo>
                    <a:pt x="763" y="67"/>
                  </a:lnTo>
                  <a:lnTo>
                    <a:pt x="763" y="67"/>
                  </a:lnTo>
                  <a:lnTo>
                    <a:pt x="764" y="65"/>
                  </a:lnTo>
                  <a:lnTo>
                    <a:pt x="764" y="65"/>
                  </a:lnTo>
                  <a:lnTo>
                    <a:pt x="766" y="64"/>
                  </a:lnTo>
                  <a:lnTo>
                    <a:pt x="766" y="64"/>
                  </a:lnTo>
                  <a:lnTo>
                    <a:pt x="767" y="64"/>
                  </a:lnTo>
                  <a:lnTo>
                    <a:pt x="767" y="64"/>
                  </a:lnTo>
                  <a:lnTo>
                    <a:pt x="769" y="64"/>
                  </a:lnTo>
                  <a:lnTo>
                    <a:pt x="769" y="64"/>
                  </a:lnTo>
                  <a:lnTo>
                    <a:pt x="767" y="65"/>
                  </a:lnTo>
                  <a:lnTo>
                    <a:pt x="767" y="65"/>
                  </a:lnTo>
                  <a:lnTo>
                    <a:pt x="772" y="65"/>
                  </a:lnTo>
                  <a:lnTo>
                    <a:pt x="772" y="65"/>
                  </a:lnTo>
                  <a:lnTo>
                    <a:pt x="775" y="65"/>
                  </a:lnTo>
                  <a:lnTo>
                    <a:pt x="775" y="65"/>
                  </a:lnTo>
                  <a:lnTo>
                    <a:pt x="777" y="67"/>
                  </a:lnTo>
                  <a:lnTo>
                    <a:pt x="777" y="67"/>
                  </a:lnTo>
                  <a:lnTo>
                    <a:pt x="770" y="70"/>
                  </a:lnTo>
                  <a:lnTo>
                    <a:pt x="770" y="70"/>
                  </a:lnTo>
                  <a:lnTo>
                    <a:pt x="786" y="67"/>
                  </a:lnTo>
                  <a:lnTo>
                    <a:pt x="786" y="67"/>
                  </a:lnTo>
                  <a:lnTo>
                    <a:pt x="791" y="65"/>
                  </a:lnTo>
                  <a:lnTo>
                    <a:pt x="791" y="65"/>
                  </a:lnTo>
                  <a:lnTo>
                    <a:pt x="794" y="65"/>
                  </a:lnTo>
                  <a:lnTo>
                    <a:pt x="794" y="65"/>
                  </a:lnTo>
                  <a:lnTo>
                    <a:pt x="797" y="65"/>
                  </a:lnTo>
                  <a:lnTo>
                    <a:pt x="797" y="65"/>
                  </a:lnTo>
                  <a:lnTo>
                    <a:pt x="797" y="65"/>
                  </a:lnTo>
                  <a:lnTo>
                    <a:pt x="797" y="65"/>
                  </a:lnTo>
                  <a:lnTo>
                    <a:pt x="801" y="64"/>
                  </a:lnTo>
                  <a:lnTo>
                    <a:pt x="801" y="64"/>
                  </a:lnTo>
                  <a:lnTo>
                    <a:pt x="807" y="61"/>
                  </a:lnTo>
                  <a:lnTo>
                    <a:pt x="807" y="61"/>
                  </a:lnTo>
                  <a:lnTo>
                    <a:pt x="805" y="61"/>
                  </a:lnTo>
                  <a:lnTo>
                    <a:pt x="805" y="61"/>
                  </a:lnTo>
                  <a:lnTo>
                    <a:pt x="802" y="61"/>
                  </a:lnTo>
                  <a:lnTo>
                    <a:pt x="802" y="61"/>
                  </a:lnTo>
                  <a:lnTo>
                    <a:pt x="797" y="61"/>
                  </a:lnTo>
                  <a:lnTo>
                    <a:pt x="797" y="61"/>
                  </a:lnTo>
                  <a:lnTo>
                    <a:pt x="797" y="61"/>
                  </a:lnTo>
                  <a:lnTo>
                    <a:pt x="797" y="61"/>
                  </a:lnTo>
                  <a:lnTo>
                    <a:pt x="794" y="61"/>
                  </a:lnTo>
                  <a:lnTo>
                    <a:pt x="794" y="61"/>
                  </a:lnTo>
                  <a:lnTo>
                    <a:pt x="799" y="58"/>
                  </a:lnTo>
                  <a:lnTo>
                    <a:pt x="799" y="58"/>
                  </a:lnTo>
                  <a:lnTo>
                    <a:pt x="797" y="58"/>
                  </a:lnTo>
                  <a:lnTo>
                    <a:pt x="797" y="58"/>
                  </a:lnTo>
                  <a:lnTo>
                    <a:pt x="794" y="58"/>
                  </a:lnTo>
                  <a:lnTo>
                    <a:pt x="794" y="58"/>
                  </a:lnTo>
                  <a:lnTo>
                    <a:pt x="788" y="59"/>
                  </a:lnTo>
                  <a:lnTo>
                    <a:pt x="788" y="59"/>
                  </a:lnTo>
                  <a:lnTo>
                    <a:pt x="791" y="58"/>
                  </a:lnTo>
                  <a:lnTo>
                    <a:pt x="791" y="58"/>
                  </a:lnTo>
                  <a:lnTo>
                    <a:pt x="783" y="56"/>
                  </a:lnTo>
                  <a:lnTo>
                    <a:pt x="783" y="56"/>
                  </a:lnTo>
                  <a:lnTo>
                    <a:pt x="782" y="54"/>
                  </a:lnTo>
                  <a:lnTo>
                    <a:pt x="782" y="54"/>
                  </a:lnTo>
                  <a:lnTo>
                    <a:pt x="782" y="53"/>
                  </a:lnTo>
                  <a:lnTo>
                    <a:pt x="782" y="53"/>
                  </a:lnTo>
                  <a:lnTo>
                    <a:pt x="783" y="53"/>
                  </a:lnTo>
                  <a:lnTo>
                    <a:pt x="783" y="53"/>
                  </a:lnTo>
                  <a:lnTo>
                    <a:pt x="786" y="54"/>
                  </a:lnTo>
                  <a:lnTo>
                    <a:pt x="786" y="54"/>
                  </a:lnTo>
                  <a:lnTo>
                    <a:pt x="788" y="56"/>
                  </a:lnTo>
                  <a:lnTo>
                    <a:pt x="788" y="56"/>
                  </a:lnTo>
                  <a:lnTo>
                    <a:pt x="791" y="56"/>
                  </a:lnTo>
                  <a:lnTo>
                    <a:pt x="791" y="56"/>
                  </a:lnTo>
                  <a:lnTo>
                    <a:pt x="797" y="56"/>
                  </a:lnTo>
                  <a:lnTo>
                    <a:pt x="797" y="56"/>
                  </a:lnTo>
                  <a:lnTo>
                    <a:pt x="802" y="56"/>
                  </a:lnTo>
                  <a:lnTo>
                    <a:pt x="802" y="56"/>
                  </a:lnTo>
                  <a:lnTo>
                    <a:pt x="804" y="56"/>
                  </a:lnTo>
                  <a:lnTo>
                    <a:pt x="804" y="56"/>
                  </a:lnTo>
                  <a:lnTo>
                    <a:pt x="810" y="54"/>
                  </a:lnTo>
                  <a:lnTo>
                    <a:pt x="810" y="54"/>
                  </a:lnTo>
                  <a:lnTo>
                    <a:pt x="813" y="54"/>
                  </a:lnTo>
                  <a:lnTo>
                    <a:pt x="813" y="54"/>
                  </a:lnTo>
                  <a:lnTo>
                    <a:pt x="815" y="53"/>
                  </a:lnTo>
                  <a:lnTo>
                    <a:pt x="815" y="53"/>
                  </a:lnTo>
                  <a:lnTo>
                    <a:pt x="815" y="51"/>
                  </a:lnTo>
                  <a:lnTo>
                    <a:pt x="815" y="51"/>
                  </a:lnTo>
                  <a:lnTo>
                    <a:pt x="815" y="50"/>
                  </a:lnTo>
                  <a:lnTo>
                    <a:pt x="815" y="50"/>
                  </a:lnTo>
                  <a:lnTo>
                    <a:pt x="818" y="50"/>
                  </a:lnTo>
                  <a:lnTo>
                    <a:pt x="818" y="50"/>
                  </a:lnTo>
                  <a:lnTo>
                    <a:pt x="826" y="50"/>
                  </a:lnTo>
                  <a:lnTo>
                    <a:pt x="826" y="50"/>
                  </a:lnTo>
                  <a:lnTo>
                    <a:pt x="829" y="48"/>
                  </a:lnTo>
                  <a:lnTo>
                    <a:pt x="829" y="48"/>
                  </a:lnTo>
                  <a:lnTo>
                    <a:pt x="832" y="48"/>
                  </a:lnTo>
                  <a:lnTo>
                    <a:pt x="832" y="48"/>
                  </a:lnTo>
                  <a:lnTo>
                    <a:pt x="836" y="48"/>
                  </a:lnTo>
                  <a:lnTo>
                    <a:pt x="836" y="48"/>
                  </a:lnTo>
                  <a:lnTo>
                    <a:pt x="839" y="48"/>
                  </a:lnTo>
                  <a:lnTo>
                    <a:pt x="839" y="48"/>
                  </a:lnTo>
                  <a:lnTo>
                    <a:pt x="843" y="48"/>
                  </a:lnTo>
                  <a:lnTo>
                    <a:pt x="843" y="48"/>
                  </a:lnTo>
                  <a:lnTo>
                    <a:pt x="847" y="45"/>
                  </a:lnTo>
                  <a:lnTo>
                    <a:pt x="847" y="45"/>
                  </a:lnTo>
                  <a:lnTo>
                    <a:pt x="840" y="45"/>
                  </a:lnTo>
                  <a:lnTo>
                    <a:pt x="840" y="45"/>
                  </a:lnTo>
                  <a:lnTo>
                    <a:pt x="847" y="45"/>
                  </a:lnTo>
                  <a:lnTo>
                    <a:pt x="847" y="45"/>
                  </a:lnTo>
                  <a:lnTo>
                    <a:pt x="850" y="42"/>
                  </a:lnTo>
                  <a:lnTo>
                    <a:pt x="850" y="42"/>
                  </a:lnTo>
                  <a:lnTo>
                    <a:pt x="853" y="42"/>
                  </a:lnTo>
                  <a:lnTo>
                    <a:pt x="853" y="42"/>
                  </a:lnTo>
                  <a:lnTo>
                    <a:pt x="853" y="42"/>
                  </a:lnTo>
                  <a:lnTo>
                    <a:pt x="853" y="42"/>
                  </a:lnTo>
                  <a:lnTo>
                    <a:pt x="847" y="38"/>
                  </a:lnTo>
                  <a:lnTo>
                    <a:pt x="847" y="38"/>
                  </a:lnTo>
                  <a:lnTo>
                    <a:pt x="842" y="38"/>
                  </a:lnTo>
                  <a:lnTo>
                    <a:pt x="842" y="38"/>
                  </a:lnTo>
                  <a:lnTo>
                    <a:pt x="847" y="38"/>
                  </a:lnTo>
                  <a:lnTo>
                    <a:pt x="847" y="38"/>
                  </a:lnTo>
                  <a:lnTo>
                    <a:pt x="839" y="37"/>
                  </a:lnTo>
                  <a:lnTo>
                    <a:pt x="839" y="37"/>
                  </a:lnTo>
                  <a:lnTo>
                    <a:pt x="847" y="37"/>
                  </a:lnTo>
                  <a:lnTo>
                    <a:pt x="847" y="37"/>
                  </a:lnTo>
                  <a:lnTo>
                    <a:pt x="853" y="38"/>
                  </a:lnTo>
                  <a:lnTo>
                    <a:pt x="853" y="38"/>
                  </a:lnTo>
                  <a:lnTo>
                    <a:pt x="856" y="38"/>
                  </a:lnTo>
                  <a:lnTo>
                    <a:pt x="856" y="38"/>
                  </a:lnTo>
                  <a:lnTo>
                    <a:pt x="859" y="38"/>
                  </a:lnTo>
                  <a:lnTo>
                    <a:pt x="859" y="38"/>
                  </a:lnTo>
                  <a:lnTo>
                    <a:pt x="858" y="37"/>
                  </a:lnTo>
                  <a:lnTo>
                    <a:pt x="858" y="37"/>
                  </a:lnTo>
                  <a:lnTo>
                    <a:pt x="861" y="37"/>
                  </a:lnTo>
                  <a:lnTo>
                    <a:pt x="861" y="37"/>
                  </a:lnTo>
                  <a:lnTo>
                    <a:pt x="850" y="35"/>
                  </a:lnTo>
                  <a:lnTo>
                    <a:pt x="850" y="35"/>
                  </a:lnTo>
                  <a:lnTo>
                    <a:pt x="850" y="35"/>
                  </a:lnTo>
                  <a:lnTo>
                    <a:pt x="850" y="35"/>
                  </a:lnTo>
                  <a:lnTo>
                    <a:pt x="853" y="35"/>
                  </a:lnTo>
                  <a:lnTo>
                    <a:pt x="853" y="35"/>
                  </a:lnTo>
                  <a:lnTo>
                    <a:pt x="861" y="34"/>
                  </a:lnTo>
                  <a:lnTo>
                    <a:pt x="861" y="34"/>
                  </a:lnTo>
                  <a:lnTo>
                    <a:pt x="872" y="34"/>
                  </a:lnTo>
                  <a:lnTo>
                    <a:pt x="872" y="34"/>
                  </a:lnTo>
                  <a:lnTo>
                    <a:pt x="875" y="32"/>
                  </a:lnTo>
                  <a:lnTo>
                    <a:pt x="875" y="32"/>
                  </a:lnTo>
                  <a:lnTo>
                    <a:pt x="877" y="32"/>
                  </a:lnTo>
                  <a:lnTo>
                    <a:pt x="877" y="32"/>
                  </a:lnTo>
                  <a:lnTo>
                    <a:pt x="875" y="31"/>
                  </a:lnTo>
                  <a:lnTo>
                    <a:pt x="875" y="31"/>
                  </a:lnTo>
                  <a:lnTo>
                    <a:pt x="866" y="31"/>
                  </a:lnTo>
                  <a:lnTo>
                    <a:pt x="866" y="31"/>
                  </a:lnTo>
                  <a:lnTo>
                    <a:pt x="869" y="29"/>
                  </a:lnTo>
                  <a:lnTo>
                    <a:pt x="869" y="29"/>
                  </a:lnTo>
                  <a:lnTo>
                    <a:pt x="872" y="29"/>
                  </a:lnTo>
                  <a:lnTo>
                    <a:pt x="872" y="29"/>
                  </a:lnTo>
                  <a:lnTo>
                    <a:pt x="878" y="31"/>
                  </a:lnTo>
                  <a:lnTo>
                    <a:pt x="878" y="31"/>
                  </a:lnTo>
                  <a:lnTo>
                    <a:pt x="878" y="32"/>
                  </a:lnTo>
                  <a:lnTo>
                    <a:pt x="878" y="32"/>
                  </a:lnTo>
                  <a:lnTo>
                    <a:pt x="888" y="32"/>
                  </a:lnTo>
                  <a:lnTo>
                    <a:pt x="888" y="32"/>
                  </a:lnTo>
                  <a:lnTo>
                    <a:pt x="896" y="31"/>
                  </a:lnTo>
                  <a:lnTo>
                    <a:pt x="896" y="31"/>
                  </a:lnTo>
                  <a:lnTo>
                    <a:pt x="893" y="29"/>
                  </a:lnTo>
                  <a:lnTo>
                    <a:pt x="893" y="29"/>
                  </a:lnTo>
                  <a:lnTo>
                    <a:pt x="897" y="29"/>
                  </a:lnTo>
                  <a:lnTo>
                    <a:pt x="897" y="29"/>
                  </a:lnTo>
                  <a:lnTo>
                    <a:pt x="901" y="27"/>
                  </a:lnTo>
                  <a:lnTo>
                    <a:pt x="901" y="27"/>
                  </a:lnTo>
                  <a:lnTo>
                    <a:pt x="899" y="27"/>
                  </a:lnTo>
                  <a:lnTo>
                    <a:pt x="899" y="27"/>
                  </a:lnTo>
                  <a:lnTo>
                    <a:pt x="896" y="27"/>
                  </a:lnTo>
                  <a:lnTo>
                    <a:pt x="896" y="27"/>
                  </a:lnTo>
                  <a:lnTo>
                    <a:pt x="891" y="27"/>
                  </a:lnTo>
                  <a:lnTo>
                    <a:pt x="891" y="27"/>
                  </a:lnTo>
                  <a:lnTo>
                    <a:pt x="888" y="26"/>
                  </a:lnTo>
                  <a:lnTo>
                    <a:pt x="888" y="26"/>
                  </a:lnTo>
                  <a:lnTo>
                    <a:pt x="897" y="26"/>
                  </a:lnTo>
                  <a:lnTo>
                    <a:pt x="897" y="26"/>
                  </a:lnTo>
                  <a:lnTo>
                    <a:pt x="902" y="27"/>
                  </a:lnTo>
                  <a:lnTo>
                    <a:pt x="902" y="27"/>
                  </a:lnTo>
                  <a:lnTo>
                    <a:pt x="907" y="26"/>
                  </a:lnTo>
                  <a:lnTo>
                    <a:pt x="907" y="26"/>
                  </a:lnTo>
                  <a:lnTo>
                    <a:pt x="905" y="24"/>
                  </a:lnTo>
                  <a:lnTo>
                    <a:pt x="905" y="24"/>
                  </a:lnTo>
                  <a:lnTo>
                    <a:pt x="905" y="23"/>
                  </a:lnTo>
                  <a:lnTo>
                    <a:pt x="905" y="23"/>
                  </a:lnTo>
                  <a:lnTo>
                    <a:pt x="907" y="24"/>
                  </a:lnTo>
                  <a:lnTo>
                    <a:pt x="907" y="24"/>
                  </a:lnTo>
                  <a:lnTo>
                    <a:pt x="909" y="24"/>
                  </a:lnTo>
                  <a:lnTo>
                    <a:pt x="909" y="24"/>
                  </a:lnTo>
                  <a:lnTo>
                    <a:pt x="912" y="24"/>
                  </a:lnTo>
                  <a:lnTo>
                    <a:pt x="912" y="24"/>
                  </a:lnTo>
                  <a:lnTo>
                    <a:pt x="913" y="24"/>
                  </a:lnTo>
                  <a:lnTo>
                    <a:pt x="913" y="24"/>
                  </a:lnTo>
                  <a:lnTo>
                    <a:pt x="931" y="19"/>
                  </a:lnTo>
                  <a:lnTo>
                    <a:pt x="931" y="19"/>
                  </a:lnTo>
                  <a:lnTo>
                    <a:pt x="947" y="16"/>
                  </a:lnTo>
                  <a:lnTo>
                    <a:pt x="947" y="16"/>
                  </a:lnTo>
                  <a:lnTo>
                    <a:pt x="955" y="16"/>
                  </a:lnTo>
                  <a:lnTo>
                    <a:pt x="955" y="16"/>
                  </a:lnTo>
                  <a:lnTo>
                    <a:pt x="963" y="15"/>
                  </a:lnTo>
                  <a:lnTo>
                    <a:pt x="963" y="15"/>
                  </a:lnTo>
                  <a:lnTo>
                    <a:pt x="959" y="13"/>
                  </a:lnTo>
                  <a:lnTo>
                    <a:pt x="959" y="13"/>
                  </a:lnTo>
                  <a:lnTo>
                    <a:pt x="955" y="13"/>
                  </a:lnTo>
                  <a:lnTo>
                    <a:pt x="955" y="13"/>
                  </a:lnTo>
                  <a:lnTo>
                    <a:pt x="944" y="15"/>
                  </a:lnTo>
                  <a:lnTo>
                    <a:pt x="944" y="15"/>
                  </a:lnTo>
                  <a:lnTo>
                    <a:pt x="917" y="18"/>
                  </a:lnTo>
                  <a:lnTo>
                    <a:pt x="917" y="18"/>
                  </a:lnTo>
                  <a:lnTo>
                    <a:pt x="920" y="16"/>
                  </a:lnTo>
                  <a:lnTo>
                    <a:pt x="920" y="16"/>
                  </a:lnTo>
                  <a:lnTo>
                    <a:pt x="917" y="16"/>
                  </a:lnTo>
                  <a:lnTo>
                    <a:pt x="917" y="16"/>
                  </a:lnTo>
                  <a:lnTo>
                    <a:pt x="947" y="13"/>
                  </a:lnTo>
                  <a:lnTo>
                    <a:pt x="947" y="13"/>
                  </a:lnTo>
                  <a:lnTo>
                    <a:pt x="944" y="13"/>
                  </a:lnTo>
                  <a:lnTo>
                    <a:pt x="944" y="13"/>
                  </a:lnTo>
                  <a:lnTo>
                    <a:pt x="940" y="13"/>
                  </a:lnTo>
                  <a:lnTo>
                    <a:pt x="940" y="13"/>
                  </a:lnTo>
                  <a:lnTo>
                    <a:pt x="958" y="13"/>
                  </a:lnTo>
                  <a:lnTo>
                    <a:pt x="958" y="13"/>
                  </a:lnTo>
                  <a:lnTo>
                    <a:pt x="969" y="13"/>
                  </a:lnTo>
                  <a:lnTo>
                    <a:pt x="969" y="13"/>
                  </a:lnTo>
                  <a:lnTo>
                    <a:pt x="985" y="10"/>
                  </a:lnTo>
                  <a:lnTo>
                    <a:pt x="985" y="10"/>
                  </a:lnTo>
                  <a:lnTo>
                    <a:pt x="991" y="10"/>
                  </a:lnTo>
                  <a:lnTo>
                    <a:pt x="991" y="10"/>
                  </a:lnTo>
                  <a:lnTo>
                    <a:pt x="996" y="7"/>
                  </a:lnTo>
                  <a:lnTo>
                    <a:pt x="996" y="7"/>
                  </a:lnTo>
                  <a:lnTo>
                    <a:pt x="996" y="7"/>
                  </a:lnTo>
                  <a:lnTo>
                    <a:pt x="994" y="7"/>
                  </a:lnTo>
                  <a:lnTo>
                    <a:pt x="994" y="7"/>
                  </a:lnTo>
                  <a:lnTo>
                    <a:pt x="994" y="7"/>
                  </a:lnTo>
                  <a:close/>
                  <a:moveTo>
                    <a:pt x="710" y="58"/>
                  </a:moveTo>
                  <a:lnTo>
                    <a:pt x="710" y="58"/>
                  </a:lnTo>
                  <a:lnTo>
                    <a:pt x="713" y="56"/>
                  </a:lnTo>
                  <a:lnTo>
                    <a:pt x="713" y="56"/>
                  </a:lnTo>
                  <a:lnTo>
                    <a:pt x="715" y="56"/>
                  </a:lnTo>
                  <a:lnTo>
                    <a:pt x="715" y="56"/>
                  </a:lnTo>
                  <a:lnTo>
                    <a:pt x="715" y="54"/>
                  </a:lnTo>
                  <a:lnTo>
                    <a:pt x="715" y="54"/>
                  </a:lnTo>
                  <a:lnTo>
                    <a:pt x="713" y="53"/>
                  </a:lnTo>
                  <a:lnTo>
                    <a:pt x="713" y="53"/>
                  </a:lnTo>
                  <a:lnTo>
                    <a:pt x="712" y="53"/>
                  </a:lnTo>
                  <a:lnTo>
                    <a:pt x="712" y="53"/>
                  </a:lnTo>
                  <a:lnTo>
                    <a:pt x="707" y="53"/>
                  </a:lnTo>
                  <a:lnTo>
                    <a:pt x="707" y="53"/>
                  </a:lnTo>
                  <a:lnTo>
                    <a:pt x="702" y="54"/>
                  </a:lnTo>
                  <a:lnTo>
                    <a:pt x="702" y="54"/>
                  </a:lnTo>
                  <a:lnTo>
                    <a:pt x="702" y="56"/>
                  </a:lnTo>
                  <a:lnTo>
                    <a:pt x="702" y="56"/>
                  </a:lnTo>
                  <a:lnTo>
                    <a:pt x="704" y="56"/>
                  </a:lnTo>
                  <a:lnTo>
                    <a:pt x="710" y="58"/>
                  </a:lnTo>
                  <a:lnTo>
                    <a:pt x="710" y="58"/>
                  </a:lnTo>
                  <a:lnTo>
                    <a:pt x="710" y="58"/>
                  </a:lnTo>
                  <a:close/>
                  <a:moveTo>
                    <a:pt x="775" y="34"/>
                  </a:moveTo>
                  <a:lnTo>
                    <a:pt x="775" y="34"/>
                  </a:lnTo>
                  <a:lnTo>
                    <a:pt x="772" y="34"/>
                  </a:lnTo>
                  <a:lnTo>
                    <a:pt x="772" y="34"/>
                  </a:lnTo>
                  <a:lnTo>
                    <a:pt x="770" y="32"/>
                  </a:lnTo>
                  <a:lnTo>
                    <a:pt x="770" y="32"/>
                  </a:lnTo>
                  <a:lnTo>
                    <a:pt x="767" y="32"/>
                  </a:lnTo>
                  <a:lnTo>
                    <a:pt x="767" y="32"/>
                  </a:lnTo>
                  <a:lnTo>
                    <a:pt x="764" y="34"/>
                  </a:lnTo>
                  <a:lnTo>
                    <a:pt x="764" y="34"/>
                  </a:lnTo>
                  <a:lnTo>
                    <a:pt x="763" y="34"/>
                  </a:lnTo>
                  <a:lnTo>
                    <a:pt x="763" y="34"/>
                  </a:lnTo>
                  <a:lnTo>
                    <a:pt x="770" y="29"/>
                  </a:lnTo>
                  <a:lnTo>
                    <a:pt x="770" y="29"/>
                  </a:lnTo>
                  <a:lnTo>
                    <a:pt x="769" y="27"/>
                  </a:lnTo>
                  <a:lnTo>
                    <a:pt x="769" y="27"/>
                  </a:lnTo>
                  <a:lnTo>
                    <a:pt x="767" y="27"/>
                  </a:lnTo>
                  <a:lnTo>
                    <a:pt x="767" y="27"/>
                  </a:lnTo>
                  <a:lnTo>
                    <a:pt x="764" y="27"/>
                  </a:lnTo>
                  <a:lnTo>
                    <a:pt x="764" y="27"/>
                  </a:lnTo>
                  <a:lnTo>
                    <a:pt x="767" y="26"/>
                  </a:lnTo>
                  <a:lnTo>
                    <a:pt x="767" y="26"/>
                  </a:lnTo>
                  <a:lnTo>
                    <a:pt x="769" y="26"/>
                  </a:lnTo>
                  <a:lnTo>
                    <a:pt x="769" y="26"/>
                  </a:lnTo>
                  <a:lnTo>
                    <a:pt x="769" y="24"/>
                  </a:lnTo>
                  <a:lnTo>
                    <a:pt x="769" y="24"/>
                  </a:lnTo>
                  <a:lnTo>
                    <a:pt x="767" y="24"/>
                  </a:lnTo>
                  <a:lnTo>
                    <a:pt x="767" y="24"/>
                  </a:lnTo>
                  <a:lnTo>
                    <a:pt x="766" y="24"/>
                  </a:lnTo>
                  <a:lnTo>
                    <a:pt x="766" y="24"/>
                  </a:lnTo>
                  <a:lnTo>
                    <a:pt x="763" y="26"/>
                  </a:lnTo>
                  <a:lnTo>
                    <a:pt x="763" y="26"/>
                  </a:lnTo>
                  <a:lnTo>
                    <a:pt x="763" y="26"/>
                  </a:lnTo>
                  <a:lnTo>
                    <a:pt x="763" y="26"/>
                  </a:lnTo>
                  <a:lnTo>
                    <a:pt x="759" y="27"/>
                  </a:lnTo>
                  <a:lnTo>
                    <a:pt x="759" y="27"/>
                  </a:lnTo>
                  <a:lnTo>
                    <a:pt x="756" y="26"/>
                  </a:lnTo>
                  <a:lnTo>
                    <a:pt x="756" y="26"/>
                  </a:lnTo>
                  <a:lnTo>
                    <a:pt x="759" y="24"/>
                  </a:lnTo>
                  <a:lnTo>
                    <a:pt x="759" y="24"/>
                  </a:lnTo>
                  <a:lnTo>
                    <a:pt x="753" y="23"/>
                  </a:lnTo>
                  <a:lnTo>
                    <a:pt x="753" y="23"/>
                  </a:lnTo>
                  <a:lnTo>
                    <a:pt x="753" y="23"/>
                  </a:lnTo>
                  <a:lnTo>
                    <a:pt x="753" y="23"/>
                  </a:lnTo>
                  <a:lnTo>
                    <a:pt x="751" y="23"/>
                  </a:lnTo>
                  <a:lnTo>
                    <a:pt x="751" y="23"/>
                  </a:lnTo>
                  <a:lnTo>
                    <a:pt x="750" y="21"/>
                  </a:lnTo>
                  <a:lnTo>
                    <a:pt x="750" y="21"/>
                  </a:lnTo>
                  <a:lnTo>
                    <a:pt x="748" y="19"/>
                  </a:lnTo>
                  <a:lnTo>
                    <a:pt x="748" y="19"/>
                  </a:lnTo>
                  <a:lnTo>
                    <a:pt x="747" y="18"/>
                  </a:lnTo>
                  <a:lnTo>
                    <a:pt x="747" y="18"/>
                  </a:lnTo>
                  <a:lnTo>
                    <a:pt x="745" y="16"/>
                  </a:lnTo>
                  <a:lnTo>
                    <a:pt x="745" y="16"/>
                  </a:lnTo>
                  <a:lnTo>
                    <a:pt x="740" y="15"/>
                  </a:lnTo>
                  <a:lnTo>
                    <a:pt x="740" y="15"/>
                  </a:lnTo>
                  <a:lnTo>
                    <a:pt x="736" y="15"/>
                  </a:lnTo>
                  <a:lnTo>
                    <a:pt x="736" y="15"/>
                  </a:lnTo>
                  <a:lnTo>
                    <a:pt x="729" y="16"/>
                  </a:lnTo>
                  <a:lnTo>
                    <a:pt x="729" y="16"/>
                  </a:lnTo>
                  <a:lnTo>
                    <a:pt x="731" y="16"/>
                  </a:lnTo>
                  <a:lnTo>
                    <a:pt x="731" y="16"/>
                  </a:lnTo>
                  <a:lnTo>
                    <a:pt x="734" y="16"/>
                  </a:lnTo>
                  <a:lnTo>
                    <a:pt x="734" y="16"/>
                  </a:lnTo>
                  <a:lnTo>
                    <a:pt x="739" y="16"/>
                  </a:lnTo>
                  <a:lnTo>
                    <a:pt x="739" y="16"/>
                  </a:lnTo>
                  <a:lnTo>
                    <a:pt x="732" y="18"/>
                  </a:lnTo>
                  <a:lnTo>
                    <a:pt x="732" y="18"/>
                  </a:lnTo>
                  <a:lnTo>
                    <a:pt x="729" y="18"/>
                  </a:lnTo>
                  <a:lnTo>
                    <a:pt x="729" y="18"/>
                  </a:lnTo>
                  <a:lnTo>
                    <a:pt x="728" y="18"/>
                  </a:lnTo>
                  <a:lnTo>
                    <a:pt x="728" y="18"/>
                  </a:lnTo>
                  <a:lnTo>
                    <a:pt x="728" y="18"/>
                  </a:lnTo>
                  <a:lnTo>
                    <a:pt x="728" y="18"/>
                  </a:lnTo>
                  <a:lnTo>
                    <a:pt x="721" y="18"/>
                  </a:lnTo>
                  <a:lnTo>
                    <a:pt x="721" y="18"/>
                  </a:lnTo>
                  <a:lnTo>
                    <a:pt x="718" y="18"/>
                  </a:lnTo>
                  <a:lnTo>
                    <a:pt x="718" y="18"/>
                  </a:lnTo>
                  <a:lnTo>
                    <a:pt x="718" y="19"/>
                  </a:lnTo>
                  <a:lnTo>
                    <a:pt x="718" y="19"/>
                  </a:lnTo>
                  <a:lnTo>
                    <a:pt x="716" y="19"/>
                  </a:lnTo>
                  <a:lnTo>
                    <a:pt x="716" y="19"/>
                  </a:lnTo>
                  <a:lnTo>
                    <a:pt x="718" y="21"/>
                  </a:lnTo>
                  <a:lnTo>
                    <a:pt x="718" y="21"/>
                  </a:lnTo>
                  <a:lnTo>
                    <a:pt x="721" y="21"/>
                  </a:lnTo>
                  <a:lnTo>
                    <a:pt x="721" y="21"/>
                  </a:lnTo>
                  <a:lnTo>
                    <a:pt x="721" y="23"/>
                  </a:lnTo>
                  <a:lnTo>
                    <a:pt x="721" y="23"/>
                  </a:lnTo>
                  <a:lnTo>
                    <a:pt x="715" y="23"/>
                  </a:lnTo>
                  <a:lnTo>
                    <a:pt x="715" y="23"/>
                  </a:lnTo>
                  <a:lnTo>
                    <a:pt x="705" y="24"/>
                  </a:lnTo>
                  <a:lnTo>
                    <a:pt x="705" y="24"/>
                  </a:lnTo>
                  <a:lnTo>
                    <a:pt x="699" y="24"/>
                  </a:lnTo>
                  <a:lnTo>
                    <a:pt x="699" y="24"/>
                  </a:lnTo>
                  <a:lnTo>
                    <a:pt x="701" y="26"/>
                  </a:lnTo>
                  <a:lnTo>
                    <a:pt x="701" y="26"/>
                  </a:lnTo>
                  <a:lnTo>
                    <a:pt x="704" y="26"/>
                  </a:lnTo>
                  <a:lnTo>
                    <a:pt x="704" y="26"/>
                  </a:lnTo>
                  <a:lnTo>
                    <a:pt x="705" y="26"/>
                  </a:lnTo>
                  <a:lnTo>
                    <a:pt x="705" y="26"/>
                  </a:lnTo>
                  <a:lnTo>
                    <a:pt x="709" y="27"/>
                  </a:lnTo>
                  <a:lnTo>
                    <a:pt x="709" y="27"/>
                  </a:lnTo>
                  <a:lnTo>
                    <a:pt x="712" y="27"/>
                  </a:lnTo>
                  <a:lnTo>
                    <a:pt x="712" y="27"/>
                  </a:lnTo>
                  <a:lnTo>
                    <a:pt x="713" y="29"/>
                  </a:lnTo>
                  <a:lnTo>
                    <a:pt x="713" y="29"/>
                  </a:lnTo>
                  <a:lnTo>
                    <a:pt x="704" y="27"/>
                  </a:lnTo>
                  <a:lnTo>
                    <a:pt x="704" y="27"/>
                  </a:lnTo>
                  <a:lnTo>
                    <a:pt x="699" y="27"/>
                  </a:lnTo>
                  <a:lnTo>
                    <a:pt x="699" y="27"/>
                  </a:lnTo>
                  <a:lnTo>
                    <a:pt x="696" y="27"/>
                  </a:lnTo>
                  <a:lnTo>
                    <a:pt x="696" y="27"/>
                  </a:lnTo>
                  <a:lnTo>
                    <a:pt x="696" y="29"/>
                  </a:lnTo>
                  <a:lnTo>
                    <a:pt x="696" y="29"/>
                  </a:lnTo>
                  <a:lnTo>
                    <a:pt x="696" y="31"/>
                  </a:lnTo>
                  <a:lnTo>
                    <a:pt x="696" y="31"/>
                  </a:lnTo>
                  <a:lnTo>
                    <a:pt x="696" y="32"/>
                  </a:lnTo>
                  <a:lnTo>
                    <a:pt x="696" y="32"/>
                  </a:lnTo>
                  <a:lnTo>
                    <a:pt x="697" y="32"/>
                  </a:lnTo>
                  <a:lnTo>
                    <a:pt x="697" y="32"/>
                  </a:lnTo>
                  <a:lnTo>
                    <a:pt x="693" y="34"/>
                  </a:lnTo>
                  <a:lnTo>
                    <a:pt x="693" y="34"/>
                  </a:lnTo>
                  <a:lnTo>
                    <a:pt x="696" y="35"/>
                  </a:lnTo>
                  <a:lnTo>
                    <a:pt x="696" y="35"/>
                  </a:lnTo>
                  <a:lnTo>
                    <a:pt x="696" y="35"/>
                  </a:lnTo>
                  <a:lnTo>
                    <a:pt x="696" y="35"/>
                  </a:lnTo>
                  <a:lnTo>
                    <a:pt x="701" y="35"/>
                  </a:lnTo>
                  <a:lnTo>
                    <a:pt x="701" y="35"/>
                  </a:lnTo>
                  <a:lnTo>
                    <a:pt x="704" y="35"/>
                  </a:lnTo>
                  <a:lnTo>
                    <a:pt x="704" y="35"/>
                  </a:lnTo>
                  <a:lnTo>
                    <a:pt x="707" y="35"/>
                  </a:lnTo>
                  <a:lnTo>
                    <a:pt x="707" y="35"/>
                  </a:lnTo>
                  <a:lnTo>
                    <a:pt x="709" y="35"/>
                  </a:lnTo>
                  <a:lnTo>
                    <a:pt x="709" y="35"/>
                  </a:lnTo>
                  <a:lnTo>
                    <a:pt x="713" y="34"/>
                  </a:lnTo>
                  <a:lnTo>
                    <a:pt x="713" y="34"/>
                  </a:lnTo>
                  <a:lnTo>
                    <a:pt x="712" y="35"/>
                  </a:lnTo>
                  <a:lnTo>
                    <a:pt x="712" y="35"/>
                  </a:lnTo>
                  <a:lnTo>
                    <a:pt x="713" y="35"/>
                  </a:lnTo>
                  <a:lnTo>
                    <a:pt x="713" y="35"/>
                  </a:lnTo>
                  <a:lnTo>
                    <a:pt x="715" y="34"/>
                  </a:lnTo>
                  <a:lnTo>
                    <a:pt x="715" y="34"/>
                  </a:lnTo>
                  <a:lnTo>
                    <a:pt x="718" y="34"/>
                  </a:lnTo>
                  <a:lnTo>
                    <a:pt x="718" y="34"/>
                  </a:lnTo>
                  <a:lnTo>
                    <a:pt x="721" y="34"/>
                  </a:lnTo>
                  <a:lnTo>
                    <a:pt x="721" y="34"/>
                  </a:lnTo>
                  <a:lnTo>
                    <a:pt x="718" y="35"/>
                  </a:lnTo>
                  <a:lnTo>
                    <a:pt x="718" y="35"/>
                  </a:lnTo>
                  <a:lnTo>
                    <a:pt x="721" y="35"/>
                  </a:lnTo>
                  <a:lnTo>
                    <a:pt x="721" y="35"/>
                  </a:lnTo>
                  <a:lnTo>
                    <a:pt x="716" y="37"/>
                  </a:lnTo>
                  <a:lnTo>
                    <a:pt x="716" y="37"/>
                  </a:lnTo>
                  <a:lnTo>
                    <a:pt x="707" y="37"/>
                  </a:lnTo>
                  <a:lnTo>
                    <a:pt x="707" y="37"/>
                  </a:lnTo>
                  <a:lnTo>
                    <a:pt x="697" y="38"/>
                  </a:lnTo>
                  <a:lnTo>
                    <a:pt x="697" y="38"/>
                  </a:lnTo>
                  <a:lnTo>
                    <a:pt x="699" y="38"/>
                  </a:lnTo>
                  <a:lnTo>
                    <a:pt x="699" y="38"/>
                  </a:lnTo>
                  <a:lnTo>
                    <a:pt x="701" y="42"/>
                  </a:lnTo>
                  <a:lnTo>
                    <a:pt x="701" y="42"/>
                  </a:lnTo>
                  <a:lnTo>
                    <a:pt x="699" y="42"/>
                  </a:lnTo>
                  <a:lnTo>
                    <a:pt x="699" y="42"/>
                  </a:lnTo>
                  <a:lnTo>
                    <a:pt x="702" y="42"/>
                  </a:lnTo>
                  <a:lnTo>
                    <a:pt x="702" y="42"/>
                  </a:lnTo>
                  <a:lnTo>
                    <a:pt x="705" y="42"/>
                  </a:lnTo>
                  <a:lnTo>
                    <a:pt x="705" y="42"/>
                  </a:lnTo>
                  <a:lnTo>
                    <a:pt x="709" y="42"/>
                  </a:lnTo>
                  <a:lnTo>
                    <a:pt x="709" y="42"/>
                  </a:lnTo>
                  <a:lnTo>
                    <a:pt x="713" y="42"/>
                  </a:lnTo>
                  <a:lnTo>
                    <a:pt x="713" y="42"/>
                  </a:lnTo>
                  <a:lnTo>
                    <a:pt x="709" y="45"/>
                  </a:lnTo>
                  <a:lnTo>
                    <a:pt x="709" y="45"/>
                  </a:lnTo>
                  <a:lnTo>
                    <a:pt x="702" y="45"/>
                  </a:lnTo>
                  <a:lnTo>
                    <a:pt x="702" y="45"/>
                  </a:lnTo>
                  <a:lnTo>
                    <a:pt x="705" y="45"/>
                  </a:lnTo>
                  <a:lnTo>
                    <a:pt x="705" y="45"/>
                  </a:lnTo>
                  <a:lnTo>
                    <a:pt x="710" y="48"/>
                  </a:lnTo>
                  <a:lnTo>
                    <a:pt x="710" y="48"/>
                  </a:lnTo>
                  <a:lnTo>
                    <a:pt x="716" y="48"/>
                  </a:lnTo>
                  <a:lnTo>
                    <a:pt x="716" y="48"/>
                  </a:lnTo>
                  <a:lnTo>
                    <a:pt x="718" y="48"/>
                  </a:lnTo>
                  <a:lnTo>
                    <a:pt x="718" y="48"/>
                  </a:lnTo>
                  <a:lnTo>
                    <a:pt x="721" y="48"/>
                  </a:lnTo>
                  <a:lnTo>
                    <a:pt x="721" y="48"/>
                  </a:lnTo>
                  <a:lnTo>
                    <a:pt x="718" y="45"/>
                  </a:lnTo>
                  <a:lnTo>
                    <a:pt x="718" y="45"/>
                  </a:lnTo>
                  <a:lnTo>
                    <a:pt x="721" y="45"/>
                  </a:lnTo>
                  <a:lnTo>
                    <a:pt x="721" y="45"/>
                  </a:lnTo>
                  <a:lnTo>
                    <a:pt x="728" y="48"/>
                  </a:lnTo>
                  <a:lnTo>
                    <a:pt x="728" y="48"/>
                  </a:lnTo>
                  <a:lnTo>
                    <a:pt x="728" y="45"/>
                  </a:lnTo>
                  <a:lnTo>
                    <a:pt x="728" y="45"/>
                  </a:lnTo>
                  <a:lnTo>
                    <a:pt x="728" y="42"/>
                  </a:lnTo>
                  <a:lnTo>
                    <a:pt x="728" y="42"/>
                  </a:lnTo>
                  <a:lnTo>
                    <a:pt x="728" y="42"/>
                  </a:lnTo>
                  <a:lnTo>
                    <a:pt x="728" y="42"/>
                  </a:lnTo>
                  <a:lnTo>
                    <a:pt x="728" y="45"/>
                  </a:lnTo>
                  <a:lnTo>
                    <a:pt x="728" y="45"/>
                  </a:lnTo>
                  <a:lnTo>
                    <a:pt x="731" y="48"/>
                  </a:lnTo>
                  <a:lnTo>
                    <a:pt x="731" y="48"/>
                  </a:lnTo>
                  <a:lnTo>
                    <a:pt x="732" y="48"/>
                  </a:lnTo>
                  <a:lnTo>
                    <a:pt x="732" y="48"/>
                  </a:lnTo>
                  <a:lnTo>
                    <a:pt x="736" y="45"/>
                  </a:lnTo>
                  <a:lnTo>
                    <a:pt x="736" y="45"/>
                  </a:lnTo>
                  <a:lnTo>
                    <a:pt x="737" y="45"/>
                  </a:lnTo>
                  <a:lnTo>
                    <a:pt x="737" y="45"/>
                  </a:lnTo>
                  <a:lnTo>
                    <a:pt x="739" y="42"/>
                  </a:lnTo>
                  <a:lnTo>
                    <a:pt x="739" y="42"/>
                  </a:lnTo>
                  <a:lnTo>
                    <a:pt x="742" y="45"/>
                  </a:lnTo>
                  <a:lnTo>
                    <a:pt x="742" y="45"/>
                  </a:lnTo>
                  <a:lnTo>
                    <a:pt x="745" y="42"/>
                  </a:lnTo>
                  <a:lnTo>
                    <a:pt x="745" y="42"/>
                  </a:lnTo>
                  <a:lnTo>
                    <a:pt x="743" y="42"/>
                  </a:lnTo>
                  <a:lnTo>
                    <a:pt x="743" y="42"/>
                  </a:lnTo>
                  <a:lnTo>
                    <a:pt x="748" y="38"/>
                  </a:lnTo>
                  <a:lnTo>
                    <a:pt x="748" y="38"/>
                  </a:lnTo>
                  <a:lnTo>
                    <a:pt x="753" y="38"/>
                  </a:lnTo>
                  <a:lnTo>
                    <a:pt x="753" y="38"/>
                  </a:lnTo>
                  <a:lnTo>
                    <a:pt x="750" y="38"/>
                  </a:lnTo>
                  <a:lnTo>
                    <a:pt x="750" y="38"/>
                  </a:lnTo>
                  <a:lnTo>
                    <a:pt x="747" y="42"/>
                  </a:lnTo>
                  <a:lnTo>
                    <a:pt x="747" y="42"/>
                  </a:lnTo>
                  <a:lnTo>
                    <a:pt x="750" y="42"/>
                  </a:lnTo>
                  <a:lnTo>
                    <a:pt x="750" y="42"/>
                  </a:lnTo>
                  <a:lnTo>
                    <a:pt x="753" y="42"/>
                  </a:lnTo>
                  <a:lnTo>
                    <a:pt x="753" y="42"/>
                  </a:lnTo>
                  <a:lnTo>
                    <a:pt x="756" y="38"/>
                  </a:lnTo>
                  <a:lnTo>
                    <a:pt x="756" y="38"/>
                  </a:lnTo>
                  <a:lnTo>
                    <a:pt x="759" y="38"/>
                  </a:lnTo>
                  <a:lnTo>
                    <a:pt x="759" y="38"/>
                  </a:lnTo>
                  <a:lnTo>
                    <a:pt x="763" y="38"/>
                  </a:lnTo>
                  <a:lnTo>
                    <a:pt x="763" y="38"/>
                  </a:lnTo>
                  <a:lnTo>
                    <a:pt x="767" y="37"/>
                  </a:lnTo>
                  <a:lnTo>
                    <a:pt x="767" y="37"/>
                  </a:lnTo>
                  <a:lnTo>
                    <a:pt x="778" y="37"/>
                  </a:lnTo>
                  <a:lnTo>
                    <a:pt x="778" y="37"/>
                  </a:lnTo>
                  <a:lnTo>
                    <a:pt x="777" y="34"/>
                  </a:lnTo>
                  <a:lnTo>
                    <a:pt x="775" y="34"/>
                  </a:lnTo>
                  <a:lnTo>
                    <a:pt x="775" y="34"/>
                  </a:lnTo>
                  <a:lnTo>
                    <a:pt x="775" y="34"/>
                  </a:lnTo>
                  <a:close/>
                  <a:moveTo>
                    <a:pt x="745" y="164"/>
                  </a:moveTo>
                  <a:lnTo>
                    <a:pt x="745" y="164"/>
                  </a:lnTo>
                  <a:lnTo>
                    <a:pt x="747" y="167"/>
                  </a:lnTo>
                  <a:lnTo>
                    <a:pt x="747" y="167"/>
                  </a:lnTo>
                  <a:lnTo>
                    <a:pt x="753" y="167"/>
                  </a:lnTo>
                  <a:lnTo>
                    <a:pt x="753" y="167"/>
                  </a:lnTo>
                  <a:lnTo>
                    <a:pt x="756" y="167"/>
                  </a:lnTo>
                  <a:lnTo>
                    <a:pt x="756" y="167"/>
                  </a:lnTo>
                  <a:lnTo>
                    <a:pt x="756" y="164"/>
                  </a:lnTo>
                  <a:lnTo>
                    <a:pt x="756" y="164"/>
                  </a:lnTo>
                  <a:lnTo>
                    <a:pt x="756" y="164"/>
                  </a:lnTo>
                  <a:lnTo>
                    <a:pt x="756" y="164"/>
                  </a:lnTo>
                  <a:lnTo>
                    <a:pt x="753" y="164"/>
                  </a:lnTo>
                  <a:lnTo>
                    <a:pt x="753" y="164"/>
                  </a:lnTo>
                  <a:lnTo>
                    <a:pt x="751" y="164"/>
                  </a:lnTo>
                  <a:lnTo>
                    <a:pt x="751" y="164"/>
                  </a:lnTo>
                  <a:lnTo>
                    <a:pt x="751" y="162"/>
                  </a:lnTo>
                  <a:lnTo>
                    <a:pt x="751" y="162"/>
                  </a:lnTo>
                  <a:lnTo>
                    <a:pt x="748" y="164"/>
                  </a:lnTo>
                  <a:lnTo>
                    <a:pt x="748" y="164"/>
                  </a:lnTo>
                  <a:lnTo>
                    <a:pt x="745" y="164"/>
                  </a:lnTo>
                  <a:lnTo>
                    <a:pt x="745" y="164"/>
                  </a:lnTo>
                  <a:lnTo>
                    <a:pt x="745" y="164"/>
                  </a:lnTo>
                  <a:lnTo>
                    <a:pt x="745" y="164"/>
                  </a:lnTo>
                  <a:close/>
                  <a:moveTo>
                    <a:pt x="739" y="148"/>
                  </a:moveTo>
                  <a:lnTo>
                    <a:pt x="739" y="148"/>
                  </a:lnTo>
                  <a:lnTo>
                    <a:pt x="739" y="146"/>
                  </a:lnTo>
                  <a:lnTo>
                    <a:pt x="739" y="146"/>
                  </a:lnTo>
                  <a:lnTo>
                    <a:pt x="736" y="146"/>
                  </a:lnTo>
                  <a:lnTo>
                    <a:pt x="736" y="146"/>
                  </a:lnTo>
                  <a:lnTo>
                    <a:pt x="734" y="146"/>
                  </a:lnTo>
                  <a:lnTo>
                    <a:pt x="734" y="146"/>
                  </a:lnTo>
                  <a:lnTo>
                    <a:pt x="732" y="148"/>
                  </a:lnTo>
                  <a:lnTo>
                    <a:pt x="732" y="148"/>
                  </a:lnTo>
                  <a:lnTo>
                    <a:pt x="732" y="150"/>
                  </a:lnTo>
                  <a:lnTo>
                    <a:pt x="732" y="150"/>
                  </a:lnTo>
                  <a:lnTo>
                    <a:pt x="736" y="150"/>
                  </a:lnTo>
                  <a:lnTo>
                    <a:pt x="739" y="148"/>
                  </a:lnTo>
                  <a:lnTo>
                    <a:pt x="739" y="148"/>
                  </a:lnTo>
                  <a:lnTo>
                    <a:pt x="739" y="148"/>
                  </a:lnTo>
                  <a:close/>
                  <a:moveTo>
                    <a:pt x="786" y="248"/>
                  </a:moveTo>
                  <a:lnTo>
                    <a:pt x="786" y="248"/>
                  </a:lnTo>
                  <a:lnTo>
                    <a:pt x="788" y="248"/>
                  </a:lnTo>
                  <a:lnTo>
                    <a:pt x="788" y="248"/>
                  </a:lnTo>
                  <a:lnTo>
                    <a:pt x="791" y="245"/>
                  </a:lnTo>
                  <a:lnTo>
                    <a:pt x="791" y="245"/>
                  </a:lnTo>
                  <a:lnTo>
                    <a:pt x="788" y="243"/>
                  </a:lnTo>
                  <a:lnTo>
                    <a:pt x="788" y="243"/>
                  </a:lnTo>
                  <a:lnTo>
                    <a:pt x="785" y="243"/>
                  </a:lnTo>
                  <a:lnTo>
                    <a:pt x="785" y="243"/>
                  </a:lnTo>
                  <a:lnTo>
                    <a:pt x="783" y="245"/>
                  </a:lnTo>
                  <a:lnTo>
                    <a:pt x="783" y="245"/>
                  </a:lnTo>
                  <a:lnTo>
                    <a:pt x="785" y="246"/>
                  </a:lnTo>
                  <a:lnTo>
                    <a:pt x="786" y="248"/>
                  </a:lnTo>
                  <a:lnTo>
                    <a:pt x="786" y="248"/>
                  </a:lnTo>
                  <a:lnTo>
                    <a:pt x="786" y="248"/>
                  </a:lnTo>
                  <a:close/>
                  <a:moveTo>
                    <a:pt x="748" y="158"/>
                  </a:moveTo>
                  <a:lnTo>
                    <a:pt x="748" y="158"/>
                  </a:lnTo>
                  <a:lnTo>
                    <a:pt x="750" y="156"/>
                  </a:lnTo>
                  <a:lnTo>
                    <a:pt x="750" y="156"/>
                  </a:lnTo>
                  <a:lnTo>
                    <a:pt x="748" y="156"/>
                  </a:lnTo>
                  <a:lnTo>
                    <a:pt x="748" y="156"/>
                  </a:lnTo>
                  <a:lnTo>
                    <a:pt x="747" y="156"/>
                  </a:lnTo>
                  <a:lnTo>
                    <a:pt x="747" y="156"/>
                  </a:lnTo>
                  <a:lnTo>
                    <a:pt x="745" y="156"/>
                  </a:lnTo>
                  <a:lnTo>
                    <a:pt x="745" y="156"/>
                  </a:lnTo>
                  <a:lnTo>
                    <a:pt x="745" y="159"/>
                  </a:lnTo>
                  <a:lnTo>
                    <a:pt x="745" y="159"/>
                  </a:lnTo>
                  <a:lnTo>
                    <a:pt x="745" y="161"/>
                  </a:lnTo>
                  <a:lnTo>
                    <a:pt x="745" y="161"/>
                  </a:lnTo>
                  <a:lnTo>
                    <a:pt x="748" y="159"/>
                  </a:lnTo>
                  <a:lnTo>
                    <a:pt x="748" y="158"/>
                  </a:lnTo>
                  <a:lnTo>
                    <a:pt x="748" y="158"/>
                  </a:lnTo>
                  <a:lnTo>
                    <a:pt x="748" y="158"/>
                  </a:lnTo>
                  <a:close/>
                  <a:moveTo>
                    <a:pt x="656" y="138"/>
                  </a:moveTo>
                  <a:lnTo>
                    <a:pt x="656" y="138"/>
                  </a:lnTo>
                  <a:lnTo>
                    <a:pt x="651" y="138"/>
                  </a:lnTo>
                  <a:lnTo>
                    <a:pt x="651" y="138"/>
                  </a:lnTo>
                  <a:lnTo>
                    <a:pt x="650" y="138"/>
                  </a:lnTo>
                  <a:lnTo>
                    <a:pt x="650" y="138"/>
                  </a:lnTo>
                  <a:lnTo>
                    <a:pt x="650" y="138"/>
                  </a:lnTo>
                  <a:lnTo>
                    <a:pt x="650" y="138"/>
                  </a:lnTo>
                  <a:lnTo>
                    <a:pt x="655" y="140"/>
                  </a:lnTo>
                  <a:lnTo>
                    <a:pt x="656" y="138"/>
                  </a:lnTo>
                  <a:lnTo>
                    <a:pt x="656" y="138"/>
                  </a:lnTo>
                  <a:lnTo>
                    <a:pt x="656" y="138"/>
                  </a:lnTo>
                  <a:close/>
                  <a:moveTo>
                    <a:pt x="634" y="162"/>
                  </a:moveTo>
                  <a:lnTo>
                    <a:pt x="634" y="162"/>
                  </a:lnTo>
                  <a:lnTo>
                    <a:pt x="631" y="164"/>
                  </a:lnTo>
                  <a:lnTo>
                    <a:pt x="631" y="164"/>
                  </a:lnTo>
                  <a:lnTo>
                    <a:pt x="631" y="167"/>
                  </a:lnTo>
                  <a:lnTo>
                    <a:pt x="631" y="167"/>
                  </a:lnTo>
                  <a:lnTo>
                    <a:pt x="631" y="167"/>
                  </a:lnTo>
                  <a:lnTo>
                    <a:pt x="631" y="167"/>
                  </a:lnTo>
                  <a:lnTo>
                    <a:pt x="634" y="167"/>
                  </a:lnTo>
                  <a:lnTo>
                    <a:pt x="634" y="167"/>
                  </a:lnTo>
                  <a:lnTo>
                    <a:pt x="634" y="164"/>
                  </a:lnTo>
                  <a:lnTo>
                    <a:pt x="634" y="164"/>
                  </a:lnTo>
                  <a:lnTo>
                    <a:pt x="637" y="162"/>
                  </a:lnTo>
                  <a:lnTo>
                    <a:pt x="637" y="162"/>
                  </a:lnTo>
                  <a:lnTo>
                    <a:pt x="637" y="161"/>
                  </a:lnTo>
                  <a:lnTo>
                    <a:pt x="637" y="161"/>
                  </a:lnTo>
                  <a:lnTo>
                    <a:pt x="634" y="161"/>
                  </a:lnTo>
                  <a:lnTo>
                    <a:pt x="634" y="162"/>
                  </a:lnTo>
                  <a:lnTo>
                    <a:pt x="634" y="162"/>
                  </a:lnTo>
                  <a:lnTo>
                    <a:pt x="634" y="162"/>
                  </a:lnTo>
                  <a:close/>
                  <a:moveTo>
                    <a:pt x="685" y="218"/>
                  </a:moveTo>
                  <a:lnTo>
                    <a:pt x="685" y="218"/>
                  </a:lnTo>
                  <a:lnTo>
                    <a:pt x="682" y="219"/>
                  </a:lnTo>
                  <a:lnTo>
                    <a:pt x="682" y="219"/>
                  </a:lnTo>
                  <a:lnTo>
                    <a:pt x="682" y="219"/>
                  </a:lnTo>
                  <a:lnTo>
                    <a:pt x="682" y="219"/>
                  </a:lnTo>
                  <a:lnTo>
                    <a:pt x="683" y="219"/>
                  </a:lnTo>
                  <a:lnTo>
                    <a:pt x="683" y="219"/>
                  </a:lnTo>
                  <a:lnTo>
                    <a:pt x="686" y="223"/>
                  </a:lnTo>
                  <a:lnTo>
                    <a:pt x="686" y="223"/>
                  </a:lnTo>
                  <a:lnTo>
                    <a:pt x="688" y="219"/>
                  </a:lnTo>
                  <a:lnTo>
                    <a:pt x="688" y="219"/>
                  </a:lnTo>
                  <a:lnTo>
                    <a:pt x="686" y="219"/>
                  </a:lnTo>
                  <a:lnTo>
                    <a:pt x="686" y="219"/>
                  </a:lnTo>
                  <a:lnTo>
                    <a:pt x="686" y="219"/>
                  </a:lnTo>
                  <a:lnTo>
                    <a:pt x="685" y="218"/>
                  </a:lnTo>
                  <a:lnTo>
                    <a:pt x="685" y="218"/>
                  </a:lnTo>
                  <a:lnTo>
                    <a:pt x="685" y="218"/>
                  </a:lnTo>
                  <a:close/>
                  <a:moveTo>
                    <a:pt x="732" y="407"/>
                  </a:moveTo>
                  <a:lnTo>
                    <a:pt x="732" y="407"/>
                  </a:lnTo>
                  <a:lnTo>
                    <a:pt x="728" y="405"/>
                  </a:lnTo>
                  <a:lnTo>
                    <a:pt x="728" y="405"/>
                  </a:lnTo>
                  <a:lnTo>
                    <a:pt x="724" y="404"/>
                  </a:lnTo>
                  <a:lnTo>
                    <a:pt x="724" y="404"/>
                  </a:lnTo>
                  <a:lnTo>
                    <a:pt x="718" y="404"/>
                  </a:lnTo>
                  <a:lnTo>
                    <a:pt x="718" y="404"/>
                  </a:lnTo>
                  <a:lnTo>
                    <a:pt x="718" y="404"/>
                  </a:lnTo>
                  <a:lnTo>
                    <a:pt x="718" y="404"/>
                  </a:lnTo>
                  <a:lnTo>
                    <a:pt x="715" y="404"/>
                  </a:lnTo>
                  <a:lnTo>
                    <a:pt x="715" y="404"/>
                  </a:lnTo>
                  <a:lnTo>
                    <a:pt x="718" y="407"/>
                  </a:lnTo>
                  <a:lnTo>
                    <a:pt x="718" y="407"/>
                  </a:lnTo>
                  <a:lnTo>
                    <a:pt x="724" y="412"/>
                  </a:lnTo>
                  <a:lnTo>
                    <a:pt x="724" y="412"/>
                  </a:lnTo>
                  <a:lnTo>
                    <a:pt x="729" y="415"/>
                  </a:lnTo>
                  <a:lnTo>
                    <a:pt x="729" y="415"/>
                  </a:lnTo>
                  <a:lnTo>
                    <a:pt x="737" y="415"/>
                  </a:lnTo>
                  <a:lnTo>
                    <a:pt x="737" y="415"/>
                  </a:lnTo>
                  <a:lnTo>
                    <a:pt x="740" y="415"/>
                  </a:lnTo>
                  <a:lnTo>
                    <a:pt x="740" y="415"/>
                  </a:lnTo>
                  <a:lnTo>
                    <a:pt x="742" y="415"/>
                  </a:lnTo>
                  <a:lnTo>
                    <a:pt x="742" y="415"/>
                  </a:lnTo>
                  <a:lnTo>
                    <a:pt x="740" y="413"/>
                  </a:lnTo>
                  <a:lnTo>
                    <a:pt x="740" y="413"/>
                  </a:lnTo>
                  <a:lnTo>
                    <a:pt x="739" y="410"/>
                  </a:lnTo>
                  <a:lnTo>
                    <a:pt x="732" y="407"/>
                  </a:lnTo>
                  <a:lnTo>
                    <a:pt x="732" y="407"/>
                  </a:lnTo>
                  <a:lnTo>
                    <a:pt x="732" y="407"/>
                  </a:lnTo>
                  <a:close/>
                  <a:moveTo>
                    <a:pt x="766" y="399"/>
                  </a:moveTo>
                  <a:lnTo>
                    <a:pt x="766" y="399"/>
                  </a:lnTo>
                  <a:lnTo>
                    <a:pt x="767" y="397"/>
                  </a:lnTo>
                  <a:lnTo>
                    <a:pt x="767" y="397"/>
                  </a:lnTo>
                  <a:lnTo>
                    <a:pt x="770" y="396"/>
                  </a:lnTo>
                  <a:lnTo>
                    <a:pt x="770" y="396"/>
                  </a:lnTo>
                  <a:lnTo>
                    <a:pt x="772" y="394"/>
                  </a:lnTo>
                  <a:lnTo>
                    <a:pt x="772" y="394"/>
                  </a:lnTo>
                  <a:lnTo>
                    <a:pt x="777" y="391"/>
                  </a:lnTo>
                  <a:lnTo>
                    <a:pt x="777" y="391"/>
                  </a:lnTo>
                  <a:lnTo>
                    <a:pt x="780" y="389"/>
                  </a:lnTo>
                  <a:lnTo>
                    <a:pt x="780" y="389"/>
                  </a:lnTo>
                  <a:lnTo>
                    <a:pt x="780" y="391"/>
                  </a:lnTo>
                  <a:lnTo>
                    <a:pt x="780" y="391"/>
                  </a:lnTo>
                  <a:lnTo>
                    <a:pt x="782" y="389"/>
                  </a:lnTo>
                  <a:lnTo>
                    <a:pt x="782" y="389"/>
                  </a:lnTo>
                  <a:lnTo>
                    <a:pt x="782" y="389"/>
                  </a:lnTo>
                  <a:lnTo>
                    <a:pt x="782" y="389"/>
                  </a:lnTo>
                  <a:lnTo>
                    <a:pt x="783" y="386"/>
                  </a:lnTo>
                  <a:lnTo>
                    <a:pt x="783" y="386"/>
                  </a:lnTo>
                  <a:lnTo>
                    <a:pt x="786" y="386"/>
                  </a:lnTo>
                  <a:lnTo>
                    <a:pt x="786" y="386"/>
                  </a:lnTo>
                  <a:lnTo>
                    <a:pt x="786" y="383"/>
                  </a:lnTo>
                  <a:lnTo>
                    <a:pt x="786" y="383"/>
                  </a:lnTo>
                  <a:lnTo>
                    <a:pt x="791" y="383"/>
                  </a:lnTo>
                  <a:lnTo>
                    <a:pt x="791" y="383"/>
                  </a:lnTo>
                  <a:lnTo>
                    <a:pt x="794" y="383"/>
                  </a:lnTo>
                  <a:lnTo>
                    <a:pt x="794" y="383"/>
                  </a:lnTo>
                  <a:lnTo>
                    <a:pt x="799" y="380"/>
                  </a:lnTo>
                  <a:lnTo>
                    <a:pt x="799" y="380"/>
                  </a:lnTo>
                  <a:lnTo>
                    <a:pt x="802" y="383"/>
                  </a:lnTo>
                  <a:lnTo>
                    <a:pt x="802" y="383"/>
                  </a:lnTo>
                  <a:lnTo>
                    <a:pt x="807" y="383"/>
                  </a:lnTo>
                  <a:lnTo>
                    <a:pt x="807" y="383"/>
                  </a:lnTo>
                  <a:lnTo>
                    <a:pt x="813" y="378"/>
                  </a:lnTo>
                  <a:lnTo>
                    <a:pt x="813" y="378"/>
                  </a:lnTo>
                  <a:lnTo>
                    <a:pt x="820" y="375"/>
                  </a:lnTo>
                  <a:lnTo>
                    <a:pt x="820" y="375"/>
                  </a:lnTo>
                  <a:lnTo>
                    <a:pt x="823" y="373"/>
                  </a:lnTo>
                  <a:lnTo>
                    <a:pt x="823" y="373"/>
                  </a:lnTo>
                  <a:lnTo>
                    <a:pt x="823" y="370"/>
                  </a:lnTo>
                  <a:lnTo>
                    <a:pt x="823" y="370"/>
                  </a:lnTo>
                  <a:lnTo>
                    <a:pt x="820" y="369"/>
                  </a:lnTo>
                  <a:lnTo>
                    <a:pt x="820" y="369"/>
                  </a:lnTo>
                  <a:lnTo>
                    <a:pt x="824" y="369"/>
                  </a:lnTo>
                  <a:lnTo>
                    <a:pt x="824" y="369"/>
                  </a:lnTo>
                  <a:lnTo>
                    <a:pt x="824" y="367"/>
                  </a:lnTo>
                  <a:lnTo>
                    <a:pt x="824" y="367"/>
                  </a:lnTo>
                  <a:lnTo>
                    <a:pt x="821" y="367"/>
                  </a:lnTo>
                  <a:lnTo>
                    <a:pt x="821" y="367"/>
                  </a:lnTo>
                  <a:lnTo>
                    <a:pt x="818" y="365"/>
                  </a:lnTo>
                  <a:lnTo>
                    <a:pt x="818" y="365"/>
                  </a:lnTo>
                  <a:lnTo>
                    <a:pt x="820" y="365"/>
                  </a:lnTo>
                  <a:lnTo>
                    <a:pt x="820" y="365"/>
                  </a:lnTo>
                  <a:lnTo>
                    <a:pt x="821" y="365"/>
                  </a:lnTo>
                  <a:lnTo>
                    <a:pt x="821" y="365"/>
                  </a:lnTo>
                  <a:lnTo>
                    <a:pt x="824" y="365"/>
                  </a:lnTo>
                  <a:lnTo>
                    <a:pt x="824" y="365"/>
                  </a:lnTo>
                  <a:lnTo>
                    <a:pt x="824" y="364"/>
                  </a:lnTo>
                  <a:lnTo>
                    <a:pt x="824" y="364"/>
                  </a:lnTo>
                  <a:lnTo>
                    <a:pt x="823" y="364"/>
                  </a:lnTo>
                  <a:lnTo>
                    <a:pt x="823" y="364"/>
                  </a:lnTo>
                  <a:lnTo>
                    <a:pt x="823" y="362"/>
                  </a:lnTo>
                  <a:lnTo>
                    <a:pt x="823" y="362"/>
                  </a:lnTo>
                  <a:lnTo>
                    <a:pt x="824" y="362"/>
                  </a:lnTo>
                  <a:lnTo>
                    <a:pt x="824" y="362"/>
                  </a:lnTo>
                  <a:lnTo>
                    <a:pt x="826" y="362"/>
                  </a:lnTo>
                  <a:lnTo>
                    <a:pt x="826" y="362"/>
                  </a:lnTo>
                  <a:lnTo>
                    <a:pt x="824" y="361"/>
                  </a:lnTo>
                  <a:lnTo>
                    <a:pt x="824" y="361"/>
                  </a:lnTo>
                  <a:lnTo>
                    <a:pt x="823" y="359"/>
                  </a:lnTo>
                  <a:lnTo>
                    <a:pt x="823" y="359"/>
                  </a:lnTo>
                  <a:lnTo>
                    <a:pt x="826" y="359"/>
                  </a:lnTo>
                  <a:lnTo>
                    <a:pt x="826" y="359"/>
                  </a:lnTo>
                  <a:lnTo>
                    <a:pt x="828" y="358"/>
                  </a:lnTo>
                  <a:lnTo>
                    <a:pt x="828" y="358"/>
                  </a:lnTo>
                  <a:lnTo>
                    <a:pt x="829" y="354"/>
                  </a:lnTo>
                  <a:lnTo>
                    <a:pt x="829" y="354"/>
                  </a:lnTo>
                  <a:lnTo>
                    <a:pt x="828" y="354"/>
                  </a:lnTo>
                  <a:lnTo>
                    <a:pt x="828" y="354"/>
                  </a:lnTo>
                  <a:lnTo>
                    <a:pt x="826" y="354"/>
                  </a:lnTo>
                  <a:lnTo>
                    <a:pt x="826" y="354"/>
                  </a:lnTo>
                  <a:lnTo>
                    <a:pt x="826" y="354"/>
                  </a:lnTo>
                  <a:lnTo>
                    <a:pt x="826" y="354"/>
                  </a:lnTo>
                  <a:lnTo>
                    <a:pt x="826" y="351"/>
                  </a:lnTo>
                  <a:lnTo>
                    <a:pt x="826" y="351"/>
                  </a:lnTo>
                  <a:lnTo>
                    <a:pt x="824" y="351"/>
                  </a:lnTo>
                  <a:lnTo>
                    <a:pt x="824" y="351"/>
                  </a:lnTo>
                  <a:lnTo>
                    <a:pt x="821" y="351"/>
                  </a:lnTo>
                  <a:lnTo>
                    <a:pt x="821" y="351"/>
                  </a:lnTo>
                  <a:lnTo>
                    <a:pt x="823" y="351"/>
                  </a:lnTo>
                  <a:lnTo>
                    <a:pt x="823" y="351"/>
                  </a:lnTo>
                  <a:lnTo>
                    <a:pt x="823" y="348"/>
                  </a:lnTo>
                  <a:lnTo>
                    <a:pt x="823" y="348"/>
                  </a:lnTo>
                  <a:lnTo>
                    <a:pt x="820" y="351"/>
                  </a:lnTo>
                  <a:lnTo>
                    <a:pt x="820" y="351"/>
                  </a:lnTo>
                  <a:lnTo>
                    <a:pt x="818" y="351"/>
                  </a:lnTo>
                  <a:lnTo>
                    <a:pt x="818" y="351"/>
                  </a:lnTo>
                  <a:lnTo>
                    <a:pt x="815" y="351"/>
                  </a:lnTo>
                  <a:lnTo>
                    <a:pt x="815" y="351"/>
                  </a:lnTo>
                  <a:lnTo>
                    <a:pt x="815" y="354"/>
                  </a:lnTo>
                  <a:lnTo>
                    <a:pt x="815" y="354"/>
                  </a:lnTo>
                  <a:lnTo>
                    <a:pt x="815" y="351"/>
                  </a:lnTo>
                  <a:lnTo>
                    <a:pt x="815" y="351"/>
                  </a:lnTo>
                  <a:lnTo>
                    <a:pt x="812" y="351"/>
                  </a:lnTo>
                  <a:lnTo>
                    <a:pt x="812" y="351"/>
                  </a:lnTo>
                  <a:lnTo>
                    <a:pt x="818" y="348"/>
                  </a:lnTo>
                  <a:lnTo>
                    <a:pt x="818" y="348"/>
                  </a:lnTo>
                  <a:lnTo>
                    <a:pt x="818" y="345"/>
                  </a:lnTo>
                  <a:lnTo>
                    <a:pt x="818" y="345"/>
                  </a:lnTo>
                  <a:lnTo>
                    <a:pt x="815" y="345"/>
                  </a:lnTo>
                  <a:lnTo>
                    <a:pt x="815" y="345"/>
                  </a:lnTo>
                  <a:lnTo>
                    <a:pt x="813" y="345"/>
                  </a:lnTo>
                  <a:lnTo>
                    <a:pt x="813" y="345"/>
                  </a:lnTo>
                  <a:lnTo>
                    <a:pt x="809" y="343"/>
                  </a:lnTo>
                  <a:lnTo>
                    <a:pt x="809" y="343"/>
                  </a:lnTo>
                  <a:lnTo>
                    <a:pt x="807" y="343"/>
                  </a:lnTo>
                  <a:lnTo>
                    <a:pt x="807" y="343"/>
                  </a:lnTo>
                  <a:lnTo>
                    <a:pt x="812" y="342"/>
                  </a:lnTo>
                  <a:lnTo>
                    <a:pt x="812" y="342"/>
                  </a:lnTo>
                  <a:lnTo>
                    <a:pt x="815" y="342"/>
                  </a:lnTo>
                  <a:lnTo>
                    <a:pt x="815" y="342"/>
                  </a:lnTo>
                  <a:lnTo>
                    <a:pt x="818" y="340"/>
                  </a:lnTo>
                  <a:lnTo>
                    <a:pt x="818" y="340"/>
                  </a:lnTo>
                  <a:lnTo>
                    <a:pt x="820" y="339"/>
                  </a:lnTo>
                  <a:lnTo>
                    <a:pt x="820" y="339"/>
                  </a:lnTo>
                  <a:lnTo>
                    <a:pt x="818" y="337"/>
                  </a:lnTo>
                  <a:lnTo>
                    <a:pt x="818" y="337"/>
                  </a:lnTo>
                  <a:lnTo>
                    <a:pt x="815" y="337"/>
                  </a:lnTo>
                  <a:lnTo>
                    <a:pt x="815" y="337"/>
                  </a:lnTo>
                  <a:lnTo>
                    <a:pt x="810" y="335"/>
                  </a:lnTo>
                  <a:lnTo>
                    <a:pt x="810" y="335"/>
                  </a:lnTo>
                  <a:lnTo>
                    <a:pt x="807" y="334"/>
                  </a:lnTo>
                  <a:lnTo>
                    <a:pt x="807" y="334"/>
                  </a:lnTo>
                  <a:lnTo>
                    <a:pt x="805" y="334"/>
                  </a:lnTo>
                  <a:lnTo>
                    <a:pt x="805" y="334"/>
                  </a:lnTo>
                  <a:lnTo>
                    <a:pt x="805" y="332"/>
                  </a:lnTo>
                  <a:lnTo>
                    <a:pt x="805" y="332"/>
                  </a:lnTo>
                  <a:lnTo>
                    <a:pt x="805" y="331"/>
                  </a:lnTo>
                  <a:lnTo>
                    <a:pt x="805" y="331"/>
                  </a:lnTo>
                  <a:lnTo>
                    <a:pt x="801" y="332"/>
                  </a:lnTo>
                  <a:lnTo>
                    <a:pt x="801" y="332"/>
                  </a:lnTo>
                  <a:lnTo>
                    <a:pt x="804" y="329"/>
                  </a:lnTo>
                  <a:lnTo>
                    <a:pt x="804" y="329"/>
                  </a:lnTo>
                  <a:lnTo>
                    <a:pt x="801" y="331"/>
                  </a:lnTo>
                  <a:lnTo>
                    <a:pt x="801" y="331"/>
                  </a:lnTo>
                  <a:lnTo>
                    <a:pt x="801" y="329"/>
                  </a:lnTo>
                  <a:lnTo>
                    <a:pt x="801" y="329"/>
                  </a:lnTo>
                  <a:lnTo>
                    <a:pt x="797" y="331"/>
                  </a:lnTo>
                  <a:lnTo>
                    <a:pt x="797" y="331"/>
                  </a:lnTo>
                  <a:lnTo>
                    <a:pt x="797" y="327"/>
                  </a:lnTo>
                  <a:lnTo>
                    <a:pt x="797" y="327"/>
                  </a:lnTo>
                  <a:lnTo>
                    <a:pt x="791" y="332"/>
                  </a:lnTo>
                  <a:lnTo>
                    <a:pt x="791" y="332"/>
                  </a:lnTo>
                  <a:lnTo>
                    <a:pt x="794" y="331"/>
                  </a:lnTo>
                  <a:lnTo>
                    <a:pt x="794" y="331"/>
                  </a:lnTo>
                  <a:lnTo>
                    <a:pt x="794" y="329"/>
                  </a:lnTo>
                  <a:lnTo>
                    <a:pt x="794" y="329"/>
                  </a:lnTo>
                  <a:lnTo>
                    <a:pt x="794" y="329"/>
                  </a:lnTo>
                  <a:lnTo>
                    <a:pt x="794" y="329"/>
                  </a:lnTo>
                  <a:lnTo>
                    <a:pt x="791" y="331"/>
                  </a:lnTo>
                  <a:lnTo>
                    <a:pt x="791" y="331"/>
                  </a:lnTo>
                  <a:lnTo>
                    <a:pt x="788" y="332"/>
                  </a:lnTo>
                  <a:lnTo>
                    <a:pt x="788" y="332"/>
                  </a:lnTo>
                  <a:lnTo>
                    <a:pt x="788" y="331"/>
                  </a:lnTo>
                  <a:lnTo>
                    <a:pt x="788" y="331"/>
                  </a:lnTo>
                  <a:lnTo>
                    <a:pt x="791" y="327"/>
                  </a:lnTo>
                  <a:lnTo>
                    <a:pt x="791" y="327"/>
                  </a:lnTo>
                  <a:lnTo>
                    <a:pt x="794" y="326"/>
                  </a:lnTo>
                  <a:lnTo>
                    <a:pt x="794" y="326"/>
                  </a:lnTo>
                  <a:lnTo>
                    <a:pt x="794" y="324"/>
                  </a:lnTo>
                  <a:lnTo>
                    <a:pt x="794" y="324"/>
                  </a:lnTo>
                  <a:lnTo>
                    <a:pt x="794" y="323"/>
                  </a:lnTo>
                  <a:lnTo>
                    <a:pt x="794" y="323"/>
                  </a:lnTo>
                  <a:lnTo>
                    <a:pt x="794" y="323"/>
                  </a:lnTo>
                  <a:lnTo>
                    <a:pt x="794" y="323"/>
                  </a:lnTo>
                  <a:lnTo>
                    <a:pt x="791" y="324"/>
                  </a:lnTo>
                  <a:lnTo>
                    <a:pt x="791" y="324"/>
                  </a:lnTo>
                  <a:lnTo>
                    <a:pt x="791" y="323"/>
                  </a:lnTo>
                  <a:lnTo>
                    <a:pt x="791" y="323"/>
                  </a:lnTo>
                  <a:lnTo>
                    <a:pt x="788" y="323"/>
                  </a:lnTo>
                  <a:lnTo>
                    <a:pt x="788" y="323"/>
                  </a:lnTo>
                  <a:lnTo>
                    <a:pt x="791" y="323"/>
                  </a:lnTo>
                  <a:lnTo>
                    <a:pt x="791" y="323"/>
                  </a:lnTo>
                  <a:lnTo>
                    <a:pt x="788" y="319"/>
                  </a:lnTo>
                  <a:lnTo>
                    <a:pt x="788" y="319"/>
                  </a:lnTo>
                  <a:lnTo>
                    <a:pt x="788" y="319"/>
                  </a:lnTo>
                  <a:lnTo>
                    <a:pt x="788" y="319"/>
                  </a:lnTo>
                  <a:lnTo>
                    <a:pt x="786" y="319"/>
                  </a:lnTo>
                  <a:lnTo>
                    <a:pt x="786" y="319"/>
                  </a:lnTo>
                  <a:lnTo>
                    <a:pt x="788" y="316"/>
                  </a:lnTo>
                  <a:lnTo>
                    <a:pt x="788" y="316"/>
                  </a:lnTo>
                  <a:lnTo>
                    <a:pt x="785" y="316"/>
                  </a:lnTo>
                  <a:lnTo>
                    <a:pt x="785" y="316"/>
                  </a:lnTo>
                  <a:lnTo>
                    <a:pt x="782" y="316"/>
                  </a:lnTo>
                  <a:lnTo>
                    <a:pt x="782" y="316"/>
                  </a:lnTo>
                  <a:lnTo>
                    <a:pt x="783" y="316"/>
                  </a:lnTo>
                  <a:lnTo>
                    <a:pt x="783" y="316"/>
                  </a:lnTo>
                  <a:lnTo>
                    <a:pt x="785" y="313"/>
                  </a:lnTo>
                  <a:lnTo>
                    <a:pt x="785" y="313"/>
                  </a:lnTo>
                  <a:lnTo>
                    <a:pt x="782" y="313"/>
                  </a:lnTo>
                  <a:lnTo>
                    <a:pt x="782" y="313"/>
                  </a:lnTo>
                  <a:lnTo>
                    <a:pt x="785" y="313"/>
                  </a:lnTo>
                  <a:lnTo>
                    <a:pt x="785" y="313"/>
                  </a:lnTo>
                  <a:lnTo>
                    <a:pt x="786" y="310"/>
                  </a:lnTo>
                  <a:lnTo>
                    <a:pt x="786" y="310"/>
                  </a:lnTo>
                  <a:lnTo>
                    <a:pt x="785" y="310"/>
                  </a:lnTo>
                  <a:lnTo>
                    <a:pt x="785" y="310"/>
                  </a:lnTo>
                  <a:lnTo>
                    <a:pt x="782" y="310"/>
                  </a:lnTo>
                  <a:lnTo>
                    <a:pt x="782" y="310"/>
                  </a:lnTo>
                  <a:lnTo>
                    <a:pt x="785" y="310"/>
                  </a:lnTo>
                  <a:lnTo>
                    <a:pt x="785" y="310"/>
                  </a:lnTo>
                  <a:lnTo>
                    <a:pt x="786" y="310"/>
                  </a:lnTo>
                  <a:lnTo>
                    <a:pt x="786" y="310"/>
                  </a:lnTo>
                  <a:lnTo>
                    <a:pt x="788" y="307"/>
                  </a:lnTo>
                  <a:lnTo>
                    <a:pt x="788" y="307"/>
                  </a:lnTo>
                  <a:lnTo>
                    <a:pt x="791" y="307"/>
                  </a:lnTo>
                  <a:lnTo>
                    <a:pt x="791" y="307"/>
                  </a:lnTo>
                  <a:lnTo>
                    <a:pt x="794" y="307"/>
                  </a:lnTo>
                  <a:lnTo>
                    <a:pt x="794" y="307"/>
                  </a:lnTo>
                  <a:lnTo>
                    <a:pt x="794" y="305"/>
                  </a:lnTo>
                  <a:lnTo>
                    <a:pt x="794" y="305"/>
                  </a:lnTo>
                  <a:lnTo>
                    <a:pt x="791" y="304"/>
                  </a:lnTo>
                  <a:lnTo>
                    <a:pt x="791" y="304"/>
                  </a:lnTo>
                  <a:lnTo>
                    <a:pt x="791" y="304"/>
                  </a:lnTo>
                  <a:lnTo>
                    <a:pt x="791" y="304"/>
                  </a:lnTo>
                  <a:lnTo>
                    <a:pt x="788" y="302"/>
                  </a:lnTo>
                  <a:lnTo>
                    <a:pt x="788" y="302"/>
                  </a:lnTo>
                  <a:lnTo>
                    <a:pt x="791" y="300"/>
                  </a:lnTo>
                  <a:lnTo>
                    <a:pt x="791" y="300"/>
                  </a:lnTo>
                  <a:lnTo>
                    <a:pt x="788" y="300"/>
                  </a:lnTo>
                  <a:lnTo>
                    <a:pt x="788" y="300"/>
                  </a:lnTo>
                  <a:lnTo>
                    <a:pt x="785" y="299"/>
                  </a:lnTo>
                  <a:lnTo>
                    <a:pt x="785" y="299"/>
                  </a:lnTo>
                  <a:lnTo>
                    <a:pt x="788" y="299"/>
                  </a:lnTo>
                  <a:lnTo>
                    <a:pt x="788" y="299"/>
                  </a:lnTo>
                  <a:lnTo>
                    <a:pt x="791" y="299"/>
                  </a:lnTo>
                  <a:lnTo>
                    <a:pt x="791" y="299"/>
                  </a:lnTo>
                  <a:lnTo>
                    <a:pt x="791" y="296"/>
                  </a:lnTo>
                  <a:lnTo>
                    <a:pt x="791" y="296"/>
                  </a:lnTo>
                  <a:lnTo>
                    <a:pt x="791" y="296"/>
                  </a:lnTo>
                  <a:lnTo>
                    <a:pt x="791" y="296"/>
                  </a:lnTo>
                  <a:lnTo>
                    <a:pt x="791" y="292"/>
                  </a:lnTo>
                  <a:lnTo>
                    <a:pt x="791" y="292"/>
                  </a:lnTo>
                  <a:lnTo>
                    <a:pt x="788" y="292"/>
                  </a:lnTo>
                  <a:lnTo>
                    <a:pt x="788" y="292"/>
                  </a:lnTo>
                  <a:lnTo>
                    <a:pt x="788" y="296"/>
                  </a:lnTo>
                  <a:lnTo>
                    <a:pt x="788" y="296"/>
                  </a:lnTo>
                  <a:lnTo>
                    <a:pt x="788" y="292"/>
                  </a:lnTo>
                  <a:lnTo>
                    <a:pt x="788" y="292"/>
                  </a:lnTo>
                  <a:lnTo>
                    <a:pt x="786" y="292"/>
                  </a:lnTo>
                  <a:lnTo>
                    <a:pt x="786" y="292"/>
                  </a:lnTo>
                  <a:lnTo>
                    <a:pt x="788" y="292"/>
                  </a:lnTo>
                  <a:lnTo>
                    <a:pt x="788" y="292"/>
                  </a:lnTo>
                  <a:lnTo>
                    <a:pt x="788" y="292"/>
                  </a:lnTo>
                  <a:lnTo>
                    <a:pt x="788" y="292"/>
                  </a:lnTo>
                  <a:lnTo>
                    <a:pt x="788" y="289"/>
                  </a:lnTo>
                  <a:lnTo>
                    <a:pt x="788" y="289"/>
                  </a:lnTo>
                  <a:lnTo>
                    <a:pt x="786" y="289"/>
                  </a:lnTo>
                  <a:lnTo>
                    <a:pt x="786" y="289"/>
                  </a:lnTo>
                  <a:lnTo>
                    <a:pt x="788" y="289"/>
                  </a:lnTo>
                  <a:lnTo>
                    <a:pt x="788" y="289"/>
                  </a:lnTo>
                  <a:lnTo>
                    <a:pt x="788" y="289"/>
                  </a:lnTo>
                  <a:lnTo>
                    <a:pt x="788" y="289"/>
                  </a:lnTo>
                  <a:lnTo>
                    <a:pt x="788" y="286"/>
                  </a:lnTo>
                  <a:lnTo>
                    <a:pt x="788" y="286"/>
                  </a:lnTo>
                  <a:lnTo>
                    <a:pt x="786" y="286"/>
                  </a:lnTo>
                  <a:lnTo>
                    <a:pt x="786" y="286"/>
                  </a:lnTo>
                  <a:lnTo>
                    <a:pt x="783" y="288"/>
                  </a:lnTo>
                  <a:lnTo>
                    <a:pt x="783" y="288"/>
                  </a:lnTo>
                  <a:lnTo>
                    <a:pt x="782" y="288"/>
                  </a:lnTo>
                  <a:lnTo>
                    <a:pt x="782" y="288"/>
                  </a:lnTo>
                  <a:lnTo>
                    <a:pt x="782" y="286"/>
                  </a:lnTo>
                  <a:lnTo>
                    <a:pt x="782" y="286"/>
                  </a:lnTo>
                  <a:lnTo>
                    <a:pt x="785" y="286"/>
                  </a:lnTo>
                  <a:lnTo>
                    <a:pt x="785" y="286"/>
                  </a:lnTo>
                  <a:lnTo>
                    <a:pt x="788" y="285"/>
                  </a:lnTo>
                  <a:lnTo>
                    <a:pt x="788" y="285"/>
                  </a:lnTo>
                  <a:lnTo>
                    <a:pt x="788" y="283"/>
                  </a:lnTo>
                  <a:lnTo>
                    <a:pt x="788" y="283"/>
                  </a:lnTo>
                  <a:lnTo>
                    <a:pt x="788" y="283"/>
                  </a:lnTo>
                  <a:lnTo>
                    <a:pt x="788" y="283"/>
                  </a:lnTo>
                  <a:lnTo>
                    <a:pt x="788" y="281"/>
                  </a:lnTo>
                  <a:lnTo>
                    <a:pt x="788" y="281"/>
                  </a:lnTo>
                  <a:lnTo>
                    <a:pt x="785" y="281"/>
                  </a:lnTo>
                  <a:lnTo>
                    <a:pt x="785" y="281"/>
                  </a:lnTo>
                  <a:lnTo>
                    <a:pt x="788" y="280"/>
                  </a:lnTo>
                  <a:lnTo>
                    <a:pt x="788" y="280"/>
                  </a:lnTo>
                  <a:lnTo>
                    <a:pt x="786" y="280"/>
                  </a:lnTo>
                  <a:lnTo>
                    <a:pt x="786" y="280"/>
                  </a:lnTo>
                  <a:lnTo>
                    <a:pt x="788" y="278"/>
                  </a:lnTo>
                  <a:lnTo>
                    <a:pt x="788" y="278"/>
                  </a:lnTo>
                  <a:lnTo>
                    <a:pt x="785" y="278"/>
                  </a:lnTo>
                  <a:lnTo>
                    <a:pt x="785" y="278"/>
                  </a:lnTo>
                  <a:lnTo>
                    <a:pt x="780" y="280"/>
                  </a:lnTo>
                  <a:lnTo>
                    <a:pt x="780" y="280"/>
                  </a:lnTo>
                  <a:lnTo>
                    <a:pt x="780" y="278"/>
                  </a:lnTo>
                  <a:lnTo>
                    <a:pt x="780" y="278"/>
                  </a:lnTo>
                  <a:lnTo>
                    <a:pt x="783" y="278"/>
                  </a:lnTo>
                  <a:lnTo>
                    <a:pt x="783" y="278"/>
                  </a:lnTo>
                  <a:lnTo>
                    <a:pt x="788" y="275"/>
                  </a:lnTo>
                  <a:lnTo>
                    <a:pt x="788" y="275"/>
                  </a:lnTo>
                  <a:lnTo>
                    <a:pt x="785" y="277"/>
                  </a:lnTo>
                  <a:lnTo>
                    <a:pt x="785" y="277"/>
                  </a:lnTo>
                  <a:lnTo>
                    <a:pt x="786" y="275"/>
                  </a:lnTo>
                  <a:lnTo>
                    <a:pt x="786" y="275"/>
                  </a:lnTo>
                  <a:lnTo>
                    <a:pt x="783" y="275"/>
                  </a:lnTo>
                  <a:lnTo>
                    <a:pt x="783" y="275"/>
                  </a:lnTo>
                  <a:lnTo>
                    <a:pt x="783" y="273"/>
                  </a:lnTo>
                  <a:lnTo>
                    <a:pt x="783" y="273"/>
                  </a:lnTo>
                  <a:lnTo>
                    <a:pt x="785" y="273"/>
                  </a:lnTo>
                  <a:lnTo>
                    <a:pt x="785" y="273"/>
                  </a:lnTo>
                  <a:lnTo>
                    <a:pt x="786" y="272"/>
                  </a:lnTo>
                  <a:lnTo>
                    <a:pt x="786" y="272"/>
                  </a:lnTo>
                  <a:lnTo>
                    <a:pt x="785" y="272"/>
                  </a:lnTo>
                  <a:lnTo>
                    <a:pt x="785" y="272"/>
                  </a:lnTo>
                  <a:lnTo>
                    <a:pt x="783" y="272"/>
                  </a:lnTo>
                  <a:lnTo>
                    <a:pt x="783" y="272"/>
                  </a:lnTo>
                  <a:lnTo>
                    <a:pt x="783" y="270"/>
                  </a:lnTo>
                  <a:lnTo>
                    <a:pt x="783" y="270"/>
                  </a:lnTo>
                  <a:lnTo>
                    <a:pt x="783" y="269"/>
                  </a:lnTo>
                  <a:lnTo>
                    <a:pt x="783" y="269"/>
                  </a:lnTo>
                  <a:lnTo>
                    <a:pt x="783" y="267"/>
                  </a:lnTo>
                  <a:lnTo>
                    <a:pt x="783" y="267"/>
                  </a:lnTo>
                  <a:lnTo>
                    <a:pt x="785" y="265"/>
                  </a:lnTo>
                  <a:lnTo>
                    <a:pt x="785" y="265"/>
                  </a:lnTo>
                  <a:lnTo>
                    <a:pt x="780" y="267"/>
                  </a:lnTo>
                  <a:lnTo>
                    <a:pt x="780" y="267"/>
                  </a:lnTo>
                  <a:lnTo>
                    <a:pt x="783" y="264"/>
                  </a:lnTo>
                  <a:lnTo>
                    <a:pt x="783" y="264"/>
                  </a:lnTo>
                  <a:lnTo>
                    <a:pt x="778" y="265"/>
                  </a:lnTo>
                  <a:lnTo>
                    <a:pt x="778" y="265"/>
                  </a:lnTo>
                  <a:lnTo>
                    <a:pt x="782" y="264"/>
                  </a:lnTo>
                  <a:lnTo>
                    <a:pt x="782" y="264"/>
                  </a:lnTo>
                  <a:lnTo>
                    <a:pt x="783" y="264"/>
                  </a:lnTo>
                  <a:lnTo>
                    <a:pt x="783" y="264"/>
                  </a:lnTo>
                  <a:lnTo>
                    <a:pt x="782" y="264"/>
                  </a:lnTo>
                  <a:lnTo>
                    <a:pt x="782" y="264"/>
                  </a:lnTo>
                  <a:lnTo>
                    <a:pt x="780" y="264"/>
                  </a:lnTo>
                  <a:lnTo>
                    <a:pt x="780" y="264"/>
                  </a:lnTo>
                  <a:lnTo>
                    <a:pt x="775" y="264"/>
                  </a:lnTo>
                  <a:lnTo>
                    <a:pt x="775" y="264"/>
                  </a:lnTo>
                  <a:lnTo>
                    <a:pt x="774" y="267"/>
                  </a:lnTo>
                  <a:lnTo>
                    <a:pt x="774" y="267"/>
                  </a:lnTo>
                  <a:lnTo>
                    <a:pt x="772" y="269"/>
                  </a:lnTo>
                  <a:lnTo>
                    <a:pt x="772" y="269"/>
                  </a:lnTo>
                  <a:lnTo>
                    <a:pt x="770" y="269"/>
                  </a:lnTo>
                  <a:lnTo>
                    <a:pt x="770" y="269"/>
                  </a:lnTo>
                  <a:lnTo>
                    <a:pt x="769" y="269"/>
                  </a:lnTo>
                  <a:lnTo>
                    <a:pt x="769" y="269"/>
                  </a:lnTo>
                  <a:lnTo>
                    <a:pt x="767" y="270"/>
                  </a:lnTo>
                  <a:lnTo>
                    <a:pt x="767" y="270"/>
                  </a:lnTo>
                  <a:lnTo>
                    <a:pt x="769" y="272"/>
                  </a:lnTo>
                  <a:lnTo>
                    <a:pt x="769" y="272"/>
                  </a:lnTo>
                  <a:lnTo>
                    <a:pt x="770" y="273"/>
                  </a:lnTo>
                  <a:lnTo>
                    <a:pt x="770" y="273"/>
                  </a:lnTo>
                  <a:lnTo>
                    <a:pt x="766" y="272"/>
                  </a:lnTo>
                  <a:lnTo>
                    <a:pt x="766" y="272"/>
                  </a:lnTo>
                  <a:lnTo>
                    <a:pt x="766" y="275"/>
                  </a:lnTo>
                  <a:lnTo>
                    <a:pt x="766" y="275"/>
                  </a:lnTo>
                  <a:lnTo>
                    <a:pt x="764" y="275"/>
                  </a:lnTo>
                  <a:lnTo>
                    <a:pt x="764" y="275"/>
                  </a:lnTo>
                  <a:lnTo>
                    <a:pt x="764" y="277"/>
                  </a:lnTo>
                  <a:lnTo>
                    <a:pt x="764" y="277"/>
                  </a:lnTo>
                  <a:lnTo>
                    <a:pt x="763" y="277"/>
                  </a:lnTo>
                  <a:lnTo>
                    <a:pt x="763" y="277"/>
                  </a:lnTo>
                  <a:lnTo>
                    <a:pt x="763" y="278"/>
                  </a:lnTo>
                  <a:lnTo>
                    <a:pt x="763" y="278"/>
                  </a:lnTo>
                  <a:lnTo>
                    <a:pt x="764" y="278"/>
                  </a:lnTo>
                  <a:lnTo>
                    <a:pt x="764" y="278"/>
                  </a:lnTo>
                  <a:lnTo>
                    <a:pt x="763" y="280"/>
                  </a:lnTo>
                  <a:lnTo>
                    <a:pt x="763" y="280"/>
                  </a:lnTo>
                  <a:lnTo>
                    <a:pt x="759" y="280"/>
                  </a:lnTo>
                  <a:lnTo>
                    <a:pt x="759" y="280"/>
                  </a:lnTo>
                  <a:lnTo>
                    <a:pt x="759" y="281"/>
                  </a:lnTo>
                  <a:lnTo>
                    <a:pt x="759" y="281"/>
                  </a:lnTo>
                  <a:lnTo>
                    <a:pt x="756" y="281"/>
                  </a:lnTo>
                  <a:lnTo>
                    <a:pt x="756" y="281"/>
                  </a:lnTo>
                  <a:lnTo>
                    <a:pt x="756" y="283"/>
                  </a:lnTo>
                  <a:lnTo>
                    <a:pt x="756" y="283"/>
                  </a:lnTo>
                  <a:lnTo>
                    <a:pt x="753" y="281"/>
                  </a:lnTo>
                  <a:lnTo>
                    <a:pt x="753" y="281"/>
                  </a:lnTo>
                  <a:lnTo>
                    <a:pt x="751" y="283"/>
                  </a:lnTo>
                  <a:lnTo>
                    <a:pt x="751" y="283"/>
                  </a:lnTo>
                  <a:lnTo>
                    <a:pt x="750" y="286"/>
                  </a:lnTo>
                  <a:lnTo>
                    <a:pt x="750" y="286"/>
                  </a:lnTo>
                  <a:lnTo>
                    <a:pt x="748" y="286"/>
                  </a:lnTo>
                  <a:lnTo>
                    <a:pt x="748" y="286"/>
                  </a:lnTo>
                  <a:lnTo>
                    <a:pt x="745" y="286"/>
                  </a:lnTo>
                  <a:lnTo>
                    <a:pt x="745" y="286"/>
                  </a:lnTo>
                  <a:lnTo>
                    <a:pt x="740" y="289"/>
                  </a:lnTo>
                  <a:lnTo>
                    <a:pt x="740" y="289"/>
                  </a:lnTo>
                  <a:lnTo>
                    <a:pt x="736" y="289"/>
                  </a:lnTo>
                  <a:lnTo>
                    <a:pt x="736" y="289"/>
                  </a:lnTo>
                  <a:lnTo>
                    <a:pt x="732" y="292"/>
                  </a:lnTo>
                  <a:lnTo>
                    <a:pt x="732" y="292"/>
                  </a:lnTo>
                  <a:lnTo>
                    <a:pt x="734" y="289"/>
                  </a:lnTo>
                  <a:lnTo>
                    <a:pt x="734" y="289"/>
                  </a:lnTo>
                  <a:lnTo>
                    <a:pt x="736" y="289"/>
                  </a:lnTo>
                  <a:lnTo>
                    <a:pt x="736" y="289"/>
                  </a:lnTo>
                  <a:lnTo>
                    <a:pt x="736" y="288"/>
                  </a:lnTo>
                  <a:lnTo>
                    <a:pt x="736" y="288"/>
                  </a:lnTo>
                  <a:lnTo>
                    <a:pt x="732" y="289"/>
                  </a:lnTo>
                  <a:lnTo>
                    <a:pt x="732" y="289"/>
                  </a:lnTo>
                  <a:lnTo>
                    <a:pt x="734" y="288"/>
                  </a:lnTo>
                  <a:lnTo>
                    <a:pt x="734" y="288"/>
                  </a:lnTo>
                  <a:lnTo>
                    <a:pt x="734" y="286"/>
                  </a:lnTo>
                  <a:lnTo>
                    <a:pt x="734" y="286"/>
                  </a:lnTo>
                  <a:lnTo>
                    <a:pt x="732" y="286"/>
                  </a:lnTo>
                  <a:lnTo>
                    <a:pt x="732" y="286"/>
                  </a:lnTo>
                  <a:lnTo>
                    <a:pt x="731" y="288"/>
                  </a:lnTo>
                  <a:lnTo>
                    <a:pt x="731" y="288"/>
                  </a:lnTo>
                  <a:lnTo>
                    <a:pt x="731" y="285"/>
                  </a:lnTo>
                  <a:lnTo>
                    <a:pt x="731" y="285"/>
                  </a:lnTo>
                  <a:lnTo>
                    <a:pt x="731" y="283"/>
                  </a:lnTo>
                  <a:lnTo>
                    <a:pt x="731" y="283"/>
                  </a:lnTo>
                  <a:lnTo>
                    <a:pt x="729" y="281"/>
                  </a:lnTo>
                  <a:lnTo>
                    <a:pt x="729" y="281"/>
                  </a:lnTo>
                  <a:lnTo>
                    <a:pt x="724" y="281"/>
                  </a:lnTo>
                  <a:lnTo>
                    <a:pt x="724" y="281"/>
                  </a:lnTo>
                  <a:lnTo>
                    <a:pt x="721" y="283"/>
                  </a:lnTo>
                  <a:lnTo>
                    <a:pt x="721" y="283"/>
                  </a:lnTo>
                  <a:lnTo>
                    <a:pt x="716" y="285"/>
                  </a:lnTo>
                  <a:lnTo>
                    <a:pt x="716" y="285"/>
                  </a:lnTo>
                  <a:lnTo>
                    <a:pt x="716" y="283"/>
                  </a:lnTo>
                  <a:lnTo>
                    <a:pt x="716" y="283"/>
                  </a:lnTo>
                  <a:lnTo>
                    <a:pt x="715" y="283"/>
                  </a:lnTo>
                  <a:lnTo>
                    <a:pt x="715" y="283"/>
                  </a:lnTo>
                  <a:lnTo>
                    <a:pt x="713" y="283"/>
                  </a:lnTo>
                  <a:lnTo>
                    <a:pt x="713" y="283"/>
                  </a:lnTo>
                  <a:lnTo>
                    <a:pt x="718" y="281"/>
                  </a:lnTo>
                  <a:lnTo>
                    <a:pt x="718" y="281"/>
                  </a:lnTo>
                  <a:lnTo>
                    <a:pt x="718" y="278"/>
                  </a:lnTo>
                  <a:lnTo>
                    <a:pt x="718" y="278"/>
                  </a:lnTo>
                  <a:lnTo>
                    <a:pt x="718" y="280"/>
                  </a:lnTo>
                  <a:lnTo>
                    <a:pt x="718" y="280"/>
                  </a:lnTo>
                  <a:lnTo>
                    <a:pt x="718" y="283"/>
                  </a:lnTo>
                  <a:lnTo>
                    <a:pt x="718" y="283"/>
                  </a:lnTo>
                  <a:lnTo>
                    <a:pt x="721" y="280"/>
                  </a:lnTo>
                  <a:lnTo>
                    <a:pt x="721" y="280"/>
                  </a:lnTo>
                  <a:lnTo>
                    <a:pt x="724" y="278"/>
                  </a:lnTo>
                  <a:lnTo>
                    <a:pt x="724" y="278"/>
                  </a:lnTo>
                  <a:lnTo>
                    <a:pt x="724" y="277"/>
                  </a:lnTo>
                  <a:lnTo>
                    <a:pt x="724" y="277"/>
                  </a:lnTo>
                  <a:lnTo>
                    <a:pt x="724" y="277"/>
                  </a:lnTo>
                  <a:lnTo>
                    <a:pt x="724" y="277"/>
                  </a:lnTo>
                  <a:lnTo>
                    <a:pt x="728" y="277"/>
                  </a:lnTo>
                  <a:lnTo>
                    <a:pt x="728" y="277"/>
                  </a:lnTo>
                  <a:lnTo>
                    <a:pt x="728" y="275"/>
                  </a:lnTo>
                  <a:lnTo>
                    <a:pt x="728" y="275"/>
                  </a:lnTo>
                  <a:lnTo>
                    <a:pt x="724" y="275"/>
                  </a:lnTo>
                  <a:lnTo>
                    <a:pt x="724" y="275"/>
                  </a:lnTo>
                  <a:lnTo>
                    <a:pt x="721" y="275"/>
                  </a:lnTo>
                  <a:lnTo>
                    <a:pt x="721" y="275"/>
                  </a:lnTo>
                  <a:lnTo>
                    <a:pt x="724" y="273"/>
                  </a:lnTo>
                  <a:lnTo>
                    <a:pt x="724" y="273"/>
                  </a:lnTo>
                  <a:lnTo>
                    <a:pt x="724" y="272"/>
                  </a:lnTo>
                  <a:lnTo>
                    <a:pt x="724" y="272"/>
                  </a:lnTo>
                  <a:lnTo>
                    <a:pt x="724" y="272"/>
                  </a:lnTo>
                  <a:lnTo>
                    <a:pt x="724" y="272"/>
                  </a:lnTo>
                  <a:lnTo>
                    <a:pt x="728" y="267"/>
                  </a:lnTo>
                  <a:lnTo>
                    <a:pt x="728" y="267"/>
                  </a:lnTo>
                  <a:lnTo>
                    <a:pt x="724" y="265"/>
                  </a:lnTo>
                  <a:lnTo>
                    <a:pt x="724" y="265"/>
                  </a:lnTo>
                  <a:lnTo>
                    <a:pt x="728" y="265"/>
                  </a:lnTo>
                  <a:lnTo>
                    <a:pt x="728" y="265"/>
                  </a:lnTo>
                  <a:lnTo>
                    <a:pt x="729" y="264"/>
                  </a:lnTo>
                  <a:lnTo>
                    <a:pt x="729" y="264"/>
                  </a:lnTo>
                  <a:lnTo>
                    <a:pt x="731" y="261"/>
                  </a:lnTo>
                  <a:lnTo>
                    <a:pt x="731" y="261"/>
                  </a:lnTo>
                  <a:lnTo>
                    <a:pt x="732" y="258"/>
                  </a:lnTo>
                  <a:lnTo>
                    <a:pt x="732" y="258"/>
                  </a:lnTo>
                  <a:lnTo>
                    <a:pt x="734" y="258"/>
                  </a:lnTo>
                  <a:lnTo>
                    <a:pt x="734" y="258"/>
                  </a:lnTo>
                  <a:lnTo>
                    <a:pt x="736" y="254"/>
                  </a:lnTo>
                  <a:lnTo>
                    <a:pt x="736" y="254"/>
                  </a:lnTo>
                  <a:lnTo>
                    <a:pt x="737" y="254"/>
                  </a:lnTo>
                  <a:lnTo>
                    <a:pt x="737" y="254"/>
                  </a:lnTo>
                  <a:lnTo>
                    <a:pt x="737" y="253"/>
                  </a:lnTo>
                  <a:lnTo>
                    <a:pt x="737" y="253"/>
                  </a:lnTo>
                  <a:lnTo>
                    <a:pt x="736" y="253"/>
                  </a:lnTo>
                  <a:lnTo>
                    <a:pt x="736" y="253"/>
                  </a:lnTo>
                  <a:lnTo>
                    <a:pt x="732" y="254"/>
                  </a:lnTo>
                  <a:lnTo>
                    <a:pt x="732" y="254"/>
                  </a:lnTo>
                  <a:lnTo>
                    <a:pt x="729" y="254"/>
                  </a:lnTo>
                  <a:lnTo>
                    <a:pt x="729" y="254"/>
                  </a:lnTo>
                  <a:lnTo>
                    <a:pt x="731" y="253"/>
                  </a:lnTo>
                  <a:lnTo>
                    <a:pt x="731" y="253"/>
                  </a:lnTo>
                  <a:lnTo>
                    <a:pt x="729" y="253"/>
                  </a:lnTo>
                  <a:lnTo>
                    <a:pt x="729" y="253"/>
                  </a:lnTo>
                  <a:lnTo>
                    <a:pt x="728" y="253"/>
                  </a:lnTo>
                  <a:lnTo>
                    <a:pt x="728" y="253"/>
                  </a:lnTo>
                  <a:lnTo>
                    <a:pt x="721" y="251"/>
                  </a:lnTo>
                  <a:lnTo>
                    <a:pt x="721" y="251"/>
                  </a:lnTo>
                  <a:lnTo>
                    <a:pt x="721" y="251"/>
                  </a:lnTo>
                  <a:lnTo>
                    <a:pt x="721" y="251"/>
                  </a:lnTo>
                  <a:lnTo>
                    <a:pt x="718" y="250"/>
                  </a:lnTo>
                  <a:lnTo>
                    <a:pt x="718" y="250"/>
                  </a:lnTo>
                  <a:lnTo>
                    <a:pt x="718" y="251"/>
                  </a:lnTo>
                  <a:lnTo>
                    <a:pt x="718" y="251"/>
                  </a:lnTo>
                  <a:lnTo>
                    <a:pt x="718" y="250"/>
                  </a:lnTo>
                  <a:lnTo>
                    <a:pt x="718" y="250"/>
                  </a:lnTo>
                  <a:lnTo>
                    <a:pt x="718" y="248"/>
                  </a:lnTo>
                  <a:lnTo>
                    <a:pt x="718" y="248"/>
                  </a:lnTo>
                  <a:lnTo>
                    <a:pt x="718" y="248"/>
                  </a:lnTo>
                  <a:lnTo>
                    <a:pt x="718" y="248"/>
                  </a:lnTo>
                  <a:lnTo>
                    <a:pt x="718" y="246"/>
                  </a:lnTo>
                  <a:lnTo>
                    <a:pt x="718" y="246"/>
                  </a:lnTo>
                  <a:lnTo>
                    <a:pt x="721" y="245"/>
                  </a:lnTo>
                  <a:lnTo>
                    <a:pt x="721" y="245"/>
                  </a:lnTo>
                  <a:lnTo>
                    <a:pt x="721" y="243"/>
                  </a:lnTo>
                  <a:lnTo>
                    <a:pt x="721" y="243"/>
                  </a:lnTo>
                  <a:lnTo>
                    <a:pt x="718" y="245"/>
                  </a:lnTo>
                  <a:lnTo>
                    <a:pt x="718" y="245"/>
                  </a:lnTo>
                  <a:lnTo>
                    <a:pt x="718" y="245"/>
                  </a:lnTo>
                  <a:lnTo>
                    <a:pt x="718" y="245"/>
                  </a:lnTo>
                  <a:lnTo>
                    <a:pt x="718" y="243"/>
                  </a:lnTo>
                  <a:lnTo>
                    <a:pt x="718" y="243"/>
                  </a:lnTo>
                  <a:lnTo>
                    <a:pt x="716" y="243"/>
                  </a:lnTo>
                  <a:lnTo>
                    <a:pt x="716" y="243"/>
                  </a:lnTo>
                  <a:lnTo>
                    <a:pt x="718" y="242"/>
                  </a:lnTo>
                  <a:lnTo>
                    <a:pt x="718" y="242"/>
                  </a:lnTo>
                  <a:lnTo>
                    <a:pt x="715" y="242"/>
                  </a:lnTo>
                  <a:lnTo>
                    <a:pt x="715" y="242"/>
                  </a:lnTo>
                  <a:lnTo>
                    <a:pt x="712" y="242"/>
                  </a:lnTo>
                  <a:lnTo>
                    <a:pt x="712" y="242"/>
                  </a:lnTo>
                  <a:lnTo>
                    <a:pt x="713" y="240"/>
                  </a:lnTo>
                  <a:lnTo>
                    <a:pt x="713" y="240"/>
                  </a:lnTo>
                  <a:lnTo>
                    <a:pt x="715" y="238"/>
                  </a:lnTo>
                  <a:lnTo>
                    <a:pt x="715" y="238"/>
                  </a:lnTo>
                  <a:lnTo>
                    <a:pt x="713" y="238"/>
                  </a:lnTo>
                  <a:lnTo>
                    <a:pt x="713" y="238"/>
                  </a:lnTo>
                  <a:lnTo>
                    <a:pt x="712" y="237"/>
                  </a:lnTo>
                  <a:lnTo>
                    <a:pt x="712" y="237"/>
                  </a:lnTo>
                  <a:lnTo>
                    <a:pt x="710" y="235"/>
                  </a:lnTo>
                  <a:lnTo>
                    <a:pt x="710" y="235"/>
                  </a:lnTo>
                  <a:lnTo>
                    <a:pt x="707" y="234"/>
                  </a:lnTo>
                  <a:lnTo>
                    <a:pt x="707" y="234"/>
                  </a:lnTo>
                  <a:lnTo>
                    <a:pt x="704" y="234"/>
                  </a:lnTo>
                  <a:lnTo>
                    <a:pt x="704" y="234"/>
                  </a:lnTo>
                  <a:lnTo>
                    <a:pt x="697" y="235"/>
                  </a:lnTo>
                  <a:lnTo>
                    <a:pt x="697" y="235"/>
                  </a:lnTo>
                  <a:lnTo>
                    <a:pt x="696" y="237"/>
                  </a:lnTo>
                  <a:lnTo>
                    <a:pt x="696" y="237"/>
                  </a:lnTo>
                  <a:lnTo>
                    <a:pt x="696" y="238"/>
                  </a:lnTo>
                  <a:lnTo>
                    <a:pt x="696" y="238"/>
                  </a:lnTo>
                  <a:lnTo>
                    <a:pt x="693" y="237"/>
                  </a:lnTo>
                  <a:lnTo>
                    <a:pt x="693" y="237"/>
                  </a:lnTo>
                  <a:lnTo>
                    <a:pt x="689" y="235"/>
                  </a:lnTo>
                  <a:lnTo>
                    <a:pt x="689" y="235"/>
                  </a:lnTo>
                  <a:lnTo>
                    <a:pt x="685" y="237"/>
                  </a:lnTo>
                  <a:lnTo>
                    <a:pt x="685" y="237"/>
                  </a:lnTo>
                  <a:lnTo>
                    <a:pt x="686" y="235"/>
                  </a:lnTo>
                  <a:lnTo>
                    <a:pt x="686" y="235"/>
                  </a:lnTo>
                  <a:lnTo>
                    <a:pt x="682" y="234"/>
                  </a:lnTo>
                  <a:lnTo>
                    <a:pt x="682" y="234"/>
                  </a:lnTo>
                  <a:lnTo>
                    <a:pt x="675" y="232"/>
                  </a:lnTo>
                  <a:lnTo>
                    <a:pt x="675" y="232"/>
                  </a:lnTo>
                  <a:lnTo>
                    <a:pt x="672" y="232"/>
                  </a:lnTo>
                  <a:lnTo>
                    <a:pt x="672" y="232"/>
                  </a:lnTo>
                  <a:lnTo>
                    <a:pt x="666" y="234"/>
                  </a:lnTo>
                  <a:lnTo>
                    <a:pt x="666" y="234"/>
                  </a:lnTo>
                  <a:lnTo>
                    <a:pt x="663" y="235"/>
                  </a:lnTo>
                  <a:lnTo>
                    <a:pt x="663" y="235"/>
                  </a:lnTo>
                  <a:lnTo>
                    <a:pt x="661" y="240"/>
                  </a:lnTo>
                  <a:lnTo>
                    <a:pt x="661" y="240"/>
                  </a:lnTo>
                  <a:lnTo>
                    <a:pt x="659" y="243"/>
                  </a:lnTo>
                  <a:lnTo>
                    <a:pt x="659" y="243"/>
                  </a:lnTo>
                  <a:lnTo>
                    <a:pt x="663" y="246"/>
                  </a:lnTo>
                  <a:lnTo>
                    <a:pt x="663" y="246"/>
                  </a:lnTo>
                  <a:lnTo>
                    <a:pt x="661" y="246"/>
                  </a:lnTo>
                  <a:lnTo>
                    <a:pt x="661" y="246"/>
                  </a:lnTo>
                  <a:lnTo>
                    <a:pt x="659" y="246"/>
                  </a:lnTo>
                  <a:lnTo>
                    <a:pt x="659" y="246"/>
                  </a:lnTo>
                  <a:lnTo>
                    <a:pt x="658" y="250"/>
                  </a:lnTo>
                  <a:lnTo>
                    <a:pt x="658" y="250"/>
                  </a:lnTo>
                  <a:lnTo>
                    <a:pt x="653" y="253"/>
                  </a:lnTo>
                  <a:lnTo>
                    <a:pt x="653" y="253"/>
                  </a:lnTo>
                  <a:lnTo>
                    <a:pt x="651" y="254"/>
                  </a:lnTo>
                  <a:lnTo>
                    <a:pt x="651" y="254"/>
                  </a:lnTo>
                  <a:lnTo>
                    <a:pt x="650" y="254"/>
                  </a:lnTo>
                  <a:lnTo>
                    <a:pt x="650" y="254"/>
                  </a:lnTo>
                  <a:lnTo>
                    <a:pt x="651" y="254"/>
                  </a:lnTo>
                  <a:lnTo>
                    <a:pt x="651" y="254"/>
                  </a:lnTo>
                  <a:lnTo>
                    <a:pt x="655" y="254"/>
                  </a:lnTo>
                  <a:lnTo>
                    <a:pt x="655" y="254"/>
                  </a:lnTo>
                  <a:lnTo>
                    <a:pt x="651" y="258"/>
                  </a:lnTo>
                  <a:lnTo>
                    <a:pt x="651" y="258"/>
                  </a:lnTo>
                  <a:lnTo>
                    <a:pt x="655" y="258"/>
                  </a:lnTo>
                  <a:lnTo>
                    <a:pt x="655" y="258"/>
                  </a:lnTo>
                  <a:lnTo>
                    <a:pt x="651" y="261"/>
                  </a:lnTo>
                  <a:lnTo>
                    <a:pt x="651" y="261"/>
                  </a:lnTo>
                  <a:lnTo>
                    <a:pt x="650" y="261"/>
                  </a:lnTo>
                  <a:lnTo>
                    <a:pt x="650" y="261"/>
                  </a:lnTo>
                  <a:lnTo>
                    <a:pt x="651" y="264"/>
                  </a:lnTo>
                  <a:lnTo>
                    <a:pt x="651" y="264"/>
                  </a:lnTo>
                  <a:lnTo>
                    <a:pt x="650" y="265"/>
                  </a:lnTo>
                  <a:lnTo>
                    <a:pt x="650" y="265"/>
                  </a:lnTo>
                  <a:lnTo>
                    <a:pt x="651" y="265"/>
                  </a:lnTo>
                  <a:lnTo>
                    <a:pt x="651" y="265"/>
                  </a:lnTo>
                  <a:lnTo>
                    <a:pt x="650" y="267"/>
                  </a:lnTo>
                  <a:lnTo>
                    <a:pt x="650" y="267"/>
                  </a:lnTo>
                  <a:lnTo>
                    <a:pt x="648" y="269"/>
                  </a:lnTo>
                  <a:lnTo>
                    <a:pt x="648" y="269"/>
                  </a:lnTo>
                  <a:lnTo>
                    <a:pt x="647" y="269"/>
                  </a:lnTo>
                  <a:lnTo>
                    <a:pt x="647" y="269"/>
                  </a:lnTo>
                  <a:lnTo>
                    <a:pt x="647" y="270"/>
                  </a:lnTo>
                  <a:lnTo>
                    <a:pt x="647" y="270"/>
                  </a:lnTo>
                  <a:lnTo>
                    <a:pt x="643" y="270"/>
                  </a:lnTo>
                  <a:lnTo>
                    <a:pt x="643" y="270"/>
                  </a:lnTo>
                  <a:lnTo>
                    <a:pt x="642" y="272"/>
                  </a:lnTo>
                  <a:lnTo>
                    <a:pt x="642" y="272"/>
                  </a:lnTo>
                  <a:lnTo>
                    <a:pt x="640" y="273"/>
                  </a:lnTo>
                  <a:lnTo>
                    <a:pt x="640" y="273"/>
                  </a:lnTo>
                  <a:lnTo>
                    <a:pt x="642" y="273"/>
                  </a:lnTo>
                  <a:lnTo>
                    <a:pt x="642" y="273"/>
                  </a:lnTo>
                  <a:lnTo>
                    <a:pt x="637" y="277"/>
                  </a:lnTo>
                  <a:lnTo>
                    <a:pt x="637" y="277"/>
                  </a:lnTo>
                  <a:lnTo>
                    <a:pt x="631" y="280"/>
                  </a:lnTo>
                  <a:lnTo>
                    <a:pt x="631" y="280"/>
                  </a:lnTo>
                  <a:lnTo>
                    <a:pt x="628" y="281"/>
                  </a:lnTo>
                  <a:lnTo>
                    <a:pt x="628" y="281"/>
                  </a:lnTo>
                  <a:lnTo>
                    <a:pt x="628" y="285"/>
                  </a:lnTo>
                  <a:lnTo>
                    <a:pt x="628" y="285"/>
                  </a:lnTo>
                  <a:lnTo>
                    <a:pt x="628" y="286"/>
                  </a:lnTo>
                  <a:lnTo>
                    <a:pt x="628" y="286"/>
                  </a:lnTo>
                  <a:lnTo>
                    <a:pt x="631" y="288"/>
                  </a:lnTo>
                  <a:lnTo>
                    <a:pt x="631" y="288"/>
                  </a:lnTo>
                  <a:lnTo>
                    <a:pt x="631" y="289"/>
                  </a:lnTo>
                  <a:lnTo>
                    <a:pt x="631" y="289"/>
                  </a:lnTo>
                  <a:lnTo>
                    <a:pt x="634" y="289"/>
                  </a:lnTo>
                  <a:lnTo>
                    <a:pt x="634" y="289"/>
                  </a:lnTo>
                  <a:lnTo>
                    <a:pt x="637" y="292"/>
                  </a:lnTo>
                  <a:lnTo>
                    <a:pt x="637" y="292"/>
                  </a:lnTo>
                  <a:lnTo>
                    <a:pt x="637" y="299"/>
                  </a:lnTo>
                  <a:lnTo>
                    <a:pt x="637" y="299"/>
                  </a:lnTo>
                  <a:lnTo>
                    <a:pt x="637" y="304"/>
                  </a:lnTo>
                  <a:lnTo>
                    <a:pt x="637" y="304"/>
                  </a:lnTo>
                  <a:lnTo>
                    <a:pt x="634" y="310"/>
                  </a:lnTo>
                  <a:lnTo>
                    <a:pt x="634" y="310"/>
                  </a:lnTo>
                  <a:lnTo>
                    <a:pt x="631" y="313"/>
                  </a:lnTo>
                  <a:lnTo>
                    <a:pt x="631" y="313"/>
                  </a:lnTo>
                  <a:lnTo>
                    <a:pt x="626" y="319"/>
                  </a:lnTo>
                  <a:lnTo>
                    <a:pt x="626" y="319"/>
                  </a:lnTo>
                  <a:lnTo>
                    <a:pt x="615" y="324"/>
                  </a:lnTo>
                  <a:lnTo>
                    <a:pt x="615" y="324"/>
                  </a:lnTo>
                  <a:lnTo>
                    <a:pt x="602" y="331"/>
                  </a:lnTo>
                  <a:lnTo>
                    <a:pt x="602" y="331"/>
                  </a:lnTo>
                  <a:lnTo>
                    <a:pt x="591" y="335"/>
                  </a:lnTo>
                  <a:lnTo>
                    <a:pt x="591" y="335"/>
                  </a:lnTo>
                  <a:lnTo>
                    <a:pt x="586" y="335"/>
                  </a:lnTo>
                  <a:lnTo>
                    <a:pt x="586" y="335"/>
                  </a:lnTo>
                  <a:lnTo>
                    <a:pt x="583" y="337"/>
                  </a:lnTo>
                  <a:lnTo>
                    <a:pt x="583" y="337"/>
                  </a:lnTo>
                  <a:lnTo>
                    <a:pt x="582" y="339"/>
                  </a:lnTo>
                  <a:lnTo>
                    <a:pt x="582" y="339"/>
                  </a:lnTo>
                  <a:lnTo>
                    <a:pt x="583" y="339"/>
                  </a:lnTo>
                  <a:lnTo>
                    <a:pt x="583" y="339"/>
                  </a:lnTo>
                  <a:lnTo>
                    <a:pt x="583" y="342"/>
                  </a:lnTo>
                  <a:lnTo>
                    <a:pt x="583" y="342"/>
                  </a:lnTo>
                  <a:lnTo>
                    <a:pt x="583" y="343"/>
                  </a:lnTo>
                  <a:lnTo>
                    <a:pt x="583" y="343"/>
                  </a:lnTo>
                  <a:lnTo>
                    <a:pt x="582" y="345"/>
                  </a:lnTo>
                  <a:lnTo>
                    <a:pt x="582" y="345"/>
                  </a:lnTo>
                  <a:lnTo>
                    <a:pt x="585" y="345"/>
                  </a:lnTo>
                  <a:lnTo>
                    <a:pt x="585" y="345"/>
                  </a:lnTo>
                  <a:lnTo>
                    <a:pt x="583" y="345"/>
                  </a:lnTo>
                  <a:lnTo>
                    <a:pt x="583" y="345"/>
                  </a:lnTo>
                  <a:lnTo>
                    <a:pt x="585" y="345"/>
                  </a:lnTo>
                  <a:lnTo>
                    <a:pt x="585" y="345"/>
                  </a:lnTo>
                  <a:lnTo>
                    <a:pt x="583" y="348"/>
                  </a:lnTo>
                  <a:lnTo>
                    <a:pt x="583" y="348"/>
                  </a:lnTo>
                  <a:lnTo>
                    <a:pt x="583" y="348"/>
                  </a:lnTo>
                  <a:lnTo>
                    <a:pt x="583" y="348"/>
                  </a:lnTo>
                  <a:lnTo>
                    <a:pt x="582" y="348"/>
                  </a:lnTo>
                  <a:lnTo>
                    <a:pt x="582" y="348"/>
                  </a:lnTo>
                  <a:lnTo>
                    <a:pt x="580" y="351"/>
                  </a:lnTo>
                  <a:lnTo>
                    <a:pt x="580" y="351"/>
                  </a:lnTo>
                  <a:lnTo>
                    <a:pt x="582" y="351"/>
                  </a:lnTo>
                  <a:lnTo>
                    <a:pt x="582" y="351"/>
                  </a:lnTo>
                  <a:lnTo>
                    <a:pt x="580" y="351"/>
                  </a:lnTo>
                  <a:lnTo>
                    <a:pt x="580" y="351"/>
                  </a:lnTo>
                  <a:lnTo>
                    <a:pt x="582" y="351"/>
                  </a:lnTo>
                  <a:lnTo>
                    <a:pt x="582" y="351"/>
                  </a:lnTo>
                  <a:lnTo>
                    <a:pt x="580" y="354"/>
                  </a:lnTo>
                  <a:lnTo>
                    <a:pt x="580" y="354"/>
                  </a:lnTo>
                  <a:lnTo>
                    <a:pt x="578" y="358"/>
                  </a:lnTo>
                  <a:lnTo>
                    <a:pt x="578" y="358"/>
                  </a:lnTo>
                  <a:lnTo>
                    <a:pt x="577" y="359"/>
                  </a:lnTo>
                  <a:lnTo>
                    <a:pt x="577" y="359"/>
                  </a:lnTo>
                  <a:lnTo>
                    <a:pt x="578" y="361"/>
                  </a:lnTo>
                  <a:lnTo>
                    <a:pt x="578" y="361"/>
                  </a:lnTo>
                  <a:lnTo>
                    <a:pt x="577" y="361"/>
                  </a:lnTo>
                  <a:lnTo>
                    <a:pt x="577" y="361"/>
                  </a:lnTo>
                  <a:lnTo>
                    <a:pt x="578" y="362"/>
                  </a:lnTo>
                  <a:lnTo>
                    <a:pt x="578" y="362"/>
                  </a:lnTo>
                  <a:lnTo>
                    <a:pt x="577" y="362"/>
                  </a:lnTo>
                  <a:lnTo>
                    <a:pt x="577" y="362"/>
                  </a:lnTo>
                  <a:lnTo>
                    <a:pt x="577" y="365"/>
                  </a:lnTo>
                  <a:lnTo>
                    <a:pt x="577" y="365"/>
                  </a:lnTo>
                  <a:lnTo>
                    <a:pt x="577" y="367"/>
                  </a:lnTo>
                  <a:lnTo>
                    <a:pt x="577" y="367"/>
                  </a:lnTo>
                  <a:lnTo>
                    <a:pt x="577" y="369"/>
                  </a:lnTo>
                  <a:lnTo>
                    <a:pt x="577" y="369"/>
                  </a:lnTo>
                  <a:lnTo>
                    <a:pt x="577" y="370"/>
                  </a:lnTo>
                  <a:lnTo>
                    <a:pt x="577" y="370"/>
                  </a:lnTo>
                  <a:lnTo>
                    <a:pt x="574" y="372"/>
                  </a:lnTo>
                  <a:lnTo>
                    <a:pt x="574" y="372"/>
                  </a:lnTo>
                  <a:lnTo>
                    <a:pt x="570" y="375"/>
                  </a:lnTo>
                  <a:lnTo>
                    <a:pt x="570" y="375"/>
                  </a:lnTo>
                  <a:lnTo>
                    <a:pt x="570" y="375"/>
                  </a:lnTo>
                  <a:lnTo>
                    <a:pt x="570" y="375"/>
                  </a:lnTo>
                  <a:lnTo>
                    <a:pt x="570" y="377"/>
                  </a:lnTo>
                  <a:lnTo>
                    <a:pt x="570" y="377"/>
                  </a:lnTo>
                  <a:lnTo>
                    <a:pt x="567" y="378"/>
                  </a:lnTo>
                  <a:lnTo>
                    <a:pt x="567" y="378"/>
                  </a:lnTo>
                  <a:lnTo>
                    <a:pt x="567" y="380"/>
                  </a:lnTo>
                  <a:lnTo>
                    <a:pt x="567" y="380"/>
                  </a:lnTo>
                  <a:lnTo>
                    <a:pt x="567" y="380"/>
                  </a:lnTo>
                  <a:lnTo>
                    <a:pt x="567" y="380"/>
                  </a:lnTo>
                  <a:lnTo>
                    <a:pt x="570" y="380"/>
                  </a:lnTo>
                  <a:lnTo>
                    <a:pt x="570" y="380"/>
                  </a:lnTo>
                  <a:lnTo>
                    <a:pt x="567" y="383"/>
                  </a:lnTo>
                  <a:lnTo>
                    <a:pt x="567" y="383"/>
                  </a:lnTo>
                  <a:lnTo>
                    <a:pt x="564" y="383"/>
                  </a:lnTo>
                  <a:lnTo>
                    <a:pt x="564" y="383"/>
                  </a:lnTo>
                  <a:lnTo>
                    <a:pt x="564" y="383"/>
                  </a:lnTo>
                  <a:lnTo>
                    <a:pt x="564" y="383"/>
                  </a:lnTo>
                  <a:lnTo>
                    <a:pt x="564" y="380"/>
                  </a:lnTo>
                  <a:lnTo>
                    <a:pt x="564" y="380"/>
                  </a:lnTo>
                  <a:lnTo>
                    <a:pt x="564" y="380"/>
                  </a:lnTo>
                  <a:lnTo>
                    <a:pt x="564" y="380"/>
                  </a:lnTo>
                  <a:lnTo>
                    <a:pt x="564" y="380"/>
                  </a:lnTo>
                  <a:lnTo>
                    <a:pt x="564" y="380"/>
                  </a:lnTo>
                  <a:lnTo>
                    <a:pt x="562" y="380"/>
                  </a:lnTo>
                  <a:lnTo>
                    <a:pt x="562" y="380"/>
                  </a:lnTo>
                  <a:lnTo>
                    <a:pt x="559" y="380"/>
                  </a:lnTo>
                  <a:lnTo>
                    <a:pt x="559" y="380"/>
                  </a:lnTo>
                  <a:lnTo>
                    <a:pt x="556" y="383"/>
                  </a:lnTo>
                  <a:lnTo>
                    <a:pt x="556" y="383"/>
                  </a:lnTo>
                  <a:lnTo>
                    <a:pt x="556" y="386"/>
                  </a:lnTo>
                  <a:lnTo>
                    <a:pt x="556" y="386"/>
                  </a:lnTo>
                  <a:lnTo>
                    <a:pt x="556" y="389"/>
                  </a:lnTo>
                  <a:lnTo>
                    <a:pt x="556" y="389"/>
                  </a:lnTo>
                  <a:lnTo>
                    <a:pt x="555" y="386"/>
                  </a:lnTo>
                  <a:lnTo>
                    <a:pt x="555" y="386"/>
                  </a:lnTo>
                  <a:lnTo>
                    <a:pt x="551" y="383"/>
                  </a:lnTo>
                  <a:lnTo>
                    <a:pt x="551" y="383"/>
                  </a:lnTo>
                  <a:lnTo>
                    <a:pt x="550" y="383"/>
                  </a:lnTo>
                  <a:lnTo>
                    <a:pt x="550" y="383"/>
                  </a:lnTo>
                  <a:lnTo>
                    <a:pt x="547" y="386"/>
                  </a:lnTo>
                  <a:lnTo>
                    <a:pt x="547" y="386"/>
                  </a:lnTo>
                  <a:lnTo>
                    <a:pt x="543" y="386"/>
                  </a:lnTo>
                  <a:lnTo>
                    <a:pt x="543" y="386"/>
                  </a:lnTo>
                  <a:lnTo>
                    <a:pt x="540" y="386"/>
                  </a:lnTo>
                  <a:lnTo>
                    <a:pt x="540" y="386"/>
                  </a:lnTo>
                  <a:lnTo>
                    <a:pt x="547" y="383"/>
                  </a:lnTo>
                  <a:lnTo>
                    <a:pt x="547" y="383"/>
                  </a:lnTo>
                  <a:lnTo>
                    <a:pt x="550" y="380"/>
                  </a:lnTo>
                  <a:lnTo>
                    <a:pt x="550" y="380"/>
                  </a:lnTo>
                  <a:lnTo>
                    <a:pt x="550" y="378"/>
                  </a:lnTo>
                  <a:lnTo>
                    <a:pt x="550" y="378"/>
                  </a:lnTo>
                  <a:lnTo>
                    <a:pt x="548" y="375"/>
                  </a:lnTo>
                  <a:lnTo>
                    <a:pt x="548" y="375"/>
                  </a:lnTo>
                  <a:lnTo>
                    <a:pt x="547" y="373"/>
                  </a:lnTo>
                  <a:lnTo>
                    <a:pt x="547" y="373"/>
                  </a:lnTo>
                  <a:lnTo>
                    <a:pt x="543" y="370"/>
                  </a:lnTo>
                  <a:lnTo>
                    <a:pt x="543" y="370"/>
                  </a:lnTo>
                  <a:lnTo>
                    <a:pt x="543" y="370"/>
                  </a:lnTo>
                  <a:lnTo>
                    <a:pt x="543" y="370"/>
                  </a:lnTo>
                  <a:lnTo>
                    <a:pt x="543" y="369"/>
                  </a:lnTo>
                  <a:lnTo>
                    <a:pt x="543" y="369"/>
                  </a:lnTo>
                  <a:lnTo>
                    <a:pt x="543" y="367"/>
                  </a:lnTo>
                  <a:lnTo>
                    <a:pt x="543" y="367"/>
                  </a:lnTo>
                  <a:lnTo>
                    <a:pt x="543" y="364"/>
                  </a:lnTo>
                  <a:lnTo>
                    <a:pt x="543" y="364"/>
                  </a:lnTo>
                  <a:lnTo>
                    <a:pt x="540" y="361"/>
                  </a:lnTo>
                  <a:lnTo>
                    <a:pt x="540" y="361"/>
                  </a:lnTo>
                  <a:lnTo>
                    <a:pt x="547" y="354"/>
                  </a:lnTo>
                  <a:lnTo>
                    <a:pt x="547" y="354"/>
                  </a:lnTo>
                  <a:lnTo>
                    <a:pt x="548" y="348"/>
                  </a:lnTo>
                  <a:lnTo>
                    <a:pt x="548" y="348"/>
                  </a:lnTo>
                  <a:lnTo>
                    <a:pt x="550" y="348"/>
                  </a:lnTo>
                  <a:lnTo>
                    <a:pt x="550" y="348"/>
                  </a:lnTo>
                  <a:lnTo>
                    <a:pt x="550" y="345"/>
                  </a:lnTo>
                  <a:lnTo>
                    <a:pt x="550" y="345"/>
                  </a:lnTo>
                  <a:lnTo>
                    <a:pt x="550" y="343"/>
                  </a:lnTo>
                  <a:lnTo>
                    <a:pt x="550" y="343"/>
                  </a:lnTo>
                  <a:lnTo>
                    <a:pt x="553" y="340"/>
                  </a:lnTo>
                  <a:lnTo>
                    <a:pt x="553" y="340"/>
                  </a:lnTo>
                  <a:lnTo>
                    <a:pt x="556" y="337"/>
                  </a:lnTo>
                  <a:lnTo>
                    <a:pt x="556" y="337"/>
                  </a:lnTo>
                  <a:lnTo>
                    <a:pt x="559" y="331"/>
                  </a:lnTo>
                  <a:lnTo>
                    <a:pt x="559" y="331"/>
                  </a:lnTo>
                  <a:lnTo>
                    <a:pt x="558" y="331"/>
                  </a:lnTo>
                  <a:lnTo>
                    <a:pt x="558" y="331"/>
                  </a:lnTo>
                  <a:lnTo>
                    <a:pt x="556" y="331"/>
                  </a:lnTo>
                  <a:lnTo>
                    <a:pt x="556" y="331"/>
                  </a:lnTo>
                  <a:lnTo>
                    <a:pt x="553" y="331"/>
                  </a:lnTo>
                  <a:lnTo>
                    <a:pt x="553" y="331"/>
                  </a:lnTo>
                  <a:lnTo>
                    <a:pt x="550" y="329"/>
                  </a:lnTo>
                  <a:lnTo>
                    <a:pt x="550" y="329"/>
                  </a:lnTo>
                  <a:lnTo>
                    <a:pt x="547" y="329"/>
                  </a:lnTo>
                  <a:lnTo>
                    <a:pt x="547" y="329"/>
                  </a:lnTo>
                  <a:lnTo>
                    <a:pt x="547" y="329"/>
                  </a:lnTo>
                  <a:lnTo>
                    <a:pt x="547" y="329"/>
                  </a:lnTo>
                  <a:lnTo>
                    <a:pt x="547" y="331"/>
                  </a:lnTo>
                  <a:lnTo>
                    <a:pt x="547" y="331"/>
                  </a:lnTo>
                  <a:lnTo>
                    <a:pt x="543" y="329"/>
                  </a:lnTo>
                  <a:lnTo>
                    <a:pt x="543" y="329"/>
                  </a:lnTo>
                  <a:lnTo>
                    <a:pt x="540" y="329"/>
                  </a:lnTo>
                  <a:lnTo>
                    <a:pt x="540" y="329"/>
                  </a:lnTo>
                  <a:lnTo>
                    <a:pt x="535" y="329"/>
                  </a:lnTo>
                  <a:lnTo>
                    <a:pt x="535" y="329"/>
                  </a:lnTo>
                  <a:lnTo>
                    <a:pt x="532" y="329"/>
                  </a:lnTo>
                  <a:lnTo>
                    <a:pt x="532" y="329"/>
                  </a:lnTo>
                  <a:lnTo>
                    <a:pt x="529" y="329"/>
                  </a:lnTo>
                  <a:lnTo>
                    <a:pt x="529" y="329"/>
                  </a:lnTo>
                  <a:lnTo>
                    <a:pt x="531" y="327"/>
                  </a:lnTo>
                  <a:lnTo>
                    <a:pt x="531" y="327"/>
                  </a:lnTo>
                  <a:lnTo>
                    <a:pt x="528" y="326"/>
                  </a:lnTo>
                  <a:lnTo>
                    <a:pt x="528" y="326"/>
                  </a:lnTo>
                  <a:lnTo>
                    <a:pt x="526" y="324"/>
                  </a:lnTo>
                  <a:lnTo>
                    <a:pt x="526" y="324"/>
                  </a:lnTo>
                  <a:lnTo>
                    <a:pt x="524" y="323"/>
                  </a:lnTo>
                  <a:lnTo>
                    <a:pt x="524" y="323"/>
                  </a:lnTo>
                  <a:lnTo>
                    <a:pt x="521" y="323"/>
                  </a:lnTo>
                  <a:lnTo>
                    <a:pt x="521" y="323"/>
                  </a:lnTo>
                  <a:lnTo>
                    <a:pt x="515" y="319"/>
                  </a:lnTo>
                  <a:lnTo>
                    <a:pt x="515" y="319"/>
                  </a:lnTo>
                  <a:lnTo>
                    <a:pt x="512" y="319"/>
                  </a:lnTo>
                  <a:lnTo>
                    <a:pt x="512" y="319"/>
                  </a:lnTo>
                  <a:lnTo>
                    <a:pt x="508" y="319"/>
                  </a:lnTo>
                  <a:lnTo>
                    <a:pt x="508" y="319"/>
                  </a:lnTo>
                  <a:lnTo>
                    <a:pt x="512" y="316"/>
                  </a:lnTo>
                  <a:lnTo>
                    <a:pt x="512" y="316"/>
                  </a:lnTo>
                  <a:lnTo>
                    <a:pt x="508" y="313"/>
                  </a:lnTo>
                  <a:lnTo>
                    <a:pt x="508" y="313"/>
                  </a:lnTo>
                  <a:lnTo>
                    <a:pt x="505" y="310"/>
                  </a:lnTo>
                  <a:lnTo>
                    <a:pt x="505" y="310"/>
                  </a:lnTo>
                  <a:lnTo>
                    <a:pt x="505" y="308"/>
                  </a:lnTo>
                  <a:lnTo>
                    <a:pt x="505" y="308"/>
                  </a:lnTo>
                  <a:lnTo>
                    <a:pt x="502" y="308"/>
                  </a:lnTo>
                  <a:lnTo>
                    <a:pt x="502" y="308"/>
                  </a:lnTo>
                  <a:lnTo>
                    <a:pt x="497" y="307"/>
                  </a:lnTo>
                  <a:lnTo>
                    <a:pt x="497" y="307"/>
                  </a:lnTo>
                  <a:lnTo>
                    <a:pt x="489" y="304"/>
                  </a:lnTo>
                  <a:lnTo>
                    <a:pt x="489" y="304"/>
                  </a:lnTo>
                  <a:lnTo>
                    <a:pt x="486" y="302"/>
                  </a:lnTo>
                  <a:lnTo>
                    <a:pt x="486" y="302"/>
                  </a:lnTo>
                  <a:lnTo>
                    <a:pt x="482" y="302"/>
                  </a:lnTo>
                  <a:lnTo>
                    <a:pt x="482" y="302"/>
                  </a:lnTo>
                  <a:lnTo>
                    <a:pt x="474" y="305"/>
                  </a:lnTo>
                  <a:lnTo>
                    <a:pt x="474" y="305"/>
                  </a:lnTo>
                  <a:lnTo>
                    <a:pt x="467" y="307"/>
                  </a:lnTo>
                  <a:lnTo>
                    <a:pt x="467" y="307"/>
                  </a:lnTo>
                  <a:lnTo>
                    <a:pt x="462" y="307"/>
                  </a:lnTo>
                  <a:lnTo>
                    <a:pt x="462" y="307"/>
                  </a:lnTo>
                  <a:lnTo>
                    <a:pt x="467" y="304"/>
                  </a:lnTo>
                  <a:lnTo>
                    <a:pt x="467" y="304"/>
                  </a:lnTo>
                  <a:lnTo>
                    <a:pt x="470" y="300"/>
                  </a:lnTo>
                  <a:lnTo>
                    <a:pt x="470" y="300"/>
                  </a:lnTo>
                  <a:lnTo>
                    <a:pt x="474" y="299"/>
                  </a:lnTo>
                  <a:lnTo>
                    <a:pt x="474" y="299"/>
                  </a:lnTo>
                  <a:lnTo>
                    <a:pt x="474" y="292"/>
                  </a:lnTo>
                  <a:lnTo>
                    <a:pt x="474" y="292"/>
                  </a:lnTo>
                  <a:lnTo>
                    <a:pt x="477" y="285"/>
                  </a:lnTo>
                  <a:lnTo>
                    <a:pt x="477" y="285"/>
                  </a:lnTo>
                  <a:lnTo>
                    <a:pt x="477" y="283"/>
                  </a:lnTo>
                  <a:lnTo>
                    <a:pt x="477" y="283"/>
                  </a:lnTo>
                  <a:lnTo>
                    <a:pt x="474" y="283"/>
                  </a:lnTo>
                  <a:lnTo>
                    <a:pt x="474" y="283"/>
                  </a:lnTo>
                  <a:lnTo>
                    <a:pt x="470" y="283"/>
                  </a:lnTo>
                  <a:lnTo>
                    <a:pt x="470" y="283"/>
                  </a:lnTo>
                  <a:lnTo>
                    <a:pt x="467" y="283"/>
                  </a:lnTo>
                  <a:lnTo>
                    <a:pt x="467" y="283"/>
                  </a:lnTo>
                  <a:lnTo>
                    <a:pt x="467" y="283"/>
                  </a:lnTo>
                  <a:lnTo>
                    <a:pt x="467" y="283"/>
                  </a:lnTo>
                  <a:lnTo>
                    <a:pt x="466" y="283"/>
                  </a:lnTo>
                  <a:lnTo>
                    <a:pt x="466" y="283"/>
                  </a:lnTo>
                  <a:lnTo>
                    <a:pt x="464" y="281"/>
                  </a:lnTo>
                  <a:lnTo>
                    <a:pt x="464" y="281"/>
                  </a:lnTo>
                  <a:lnTo>
                    <a:pt x="462" y="281"/>
                  </a:lnTo>
                  <a:lnTo>
                    <a:pt x="462" y="281"/>
                  </a:lnTo>
                  <a:lnTo>
                    <a:pt x="464" y="280"/>
                  </a:lnTo>
                  <a:lnTo>
                    <a:pt x="464" y="280"/>
                  </a:lnTo>
                  <a:lnTo>
                    <a:pt x="461" y="278"/>
                  </a:lnTo>
                  <a:lnTo>
                    <a:pt x="461" y="278"/>
                  </a:lnTo>
                  <a:lnTo>
                    <a:pt x="464" y="278"/>
                  </a:lnTo>
                  <a:lnTo>
                    <a:pt x="464" y="278"/>
                  </a:lnTo>
                  <a:lnTo>
                    <a:pt x="467" y="275"/>
                  </a:lnTo>
                  <a:lnTo>
                    <a:pt x="467" y="275"/>
                  </a:lnTo>
                  <a:lnTo>
                    <a:pt x="467" y="272"/>
                  </a:lnTo>
                  <a:lnTo>
                    <a:pt x="467" y="272"/>
                  </a:lnTo>
                  <a:lnTo>
                    <a:pt x="470" y="269"/>
                  </a:lnTo>
                  <a:lnTo>
                    <a:pt x="470" y="269"/>
                  </a:lnTo>
                  <a:lnTo>
                    <a:pt x="477" y="264"/>
                  </a:lnTo>
                  <a:lnTo>
                    <a:pt x="477" y="264"/>
                  </a:lnTo>
                  <a:lnTo>
                    <a:pt x="477" y="261"/>
                  </a:lnTo>
                  <a:lnTo>
                    <a:pt x="477" y="261"/>
                  </a:lnTo>
                  <a:lnTo>
                    <a:pt x="480" y="261"/>
                  </a:lnTo>
                  <a:lnTo>
                    <a:pt x="480" y="261"/>
                  </a:lnTo>
                  <a:lnTo>
                    <a:pt x="480" y="258"/>
                  </a:lnTo>
                  <a:lnTo>
                    <a:pt x="480" y="258"/>
                  </a:lnTo>
                  <a:lnTo>
                    <a:pt x="482" y="258"/>
                  </a:lnTo>
                  <a:lnTo>
                    <a:pt x="482" y="258"/>
                  </a:lnTo>
                  <a:lnTo>
                    <a:pt x="485" y="258"/>
                  </a:lnTo>
                  <a:lnTo>
                    <a:pt x="485" y="258"/>
                  </a:lnTo>
                  <a:lnTo>
                    <a:pt x="488" y="254"/>
                  </a:lnTo>
                  <a:lnTo>
                    <a:pt x="488" y="254"/>
                  </a:lnTo>
                  <a:lnTo>
                    <a:pt x="491" y="253"/>
                  </a:lnTo>
                  <a:lnTo>
                    <a:pt x="491" y="253"/>
                  </a:lnTo>
                  <a:lnTo>
                    <a:pt x="494" y="250"/>
                  </a:lnTo>
                  <a:lnTo>
                    <a:pt x="494" y="250"/>
                  </a:lnTo>
                  <a:lnTo>
                    <a:pt x="496" y="250"/>
                  </a:lnTo>
                  <a:lnTo>
                    <a:pt x="496" y="250"/>
                  </a:lnTo>
                  <a:lnTo>
                    <a:pt x="496" y="248"/>
                  </a:lnTo>
                  <a:lnTo>
                    <a:pt x="496" y="248"/>
                  </a:lnTo>
                  <a:lnTo>
                    <a:pt x="497" y="246"/>
                  </a:lnTo>
                  <a:lnTo>
                    <a:pt x="497" y="246"/>
                  </a:lnTo>
                  <a:lnTo>
                    <a:pt x="501" y="245"/>
                  </a:lnTo>
                  <a:lnTo>
                    <a:pt x="501" y="245"/>
                  </a:lnTo>
                  <a:lnTo>
                    <a:pt x="502" y="243"/>
                  </a:lnTo>
                  <a:lnTo>
                    <a:pt x="502" y="243"/>
                  </a:lnTo>
                  <a:lnTo>
                    <a:pt x="505" y="242"/>
                  </a:lnTo>
                  <a:lnTo>
                    <a:pt x="505" y="242"/>
                  </a:lnTo>
                  <a:lnTo>
                    <a:pt x="505" y="242"/>
                  </a:lnTo>
                  <a:lnTo>
                    <a:pt x="505" y="242"/>
                  </a:lnTo>
                  <a:lnTo>
                    <a:pt x="505" y="240"/>
                  </a:lnTo>
                  <a:lnTo>
                    <a:pt x="505" y="240"/>
                  </a:lnTo>
                  <a:lnTo>
                    <a:pt x="508" y="240"/>
                  </a:lnTo>
                  <a:lnTo>
                    <a:pt x="508" y="240"/>
                  </a:lnTo>
                  <a:lnTo>
                    <a:pt x="508" y="238"/>
                  </a:lnTo>
                  <a:lnTo>
                    <a:pt x="508" y="238"/>
                  </a:lnTo>
                  <a:lnTo>
                    <a:pt x="512" y="240"/>
                  </a:lnTo>
                  <a:lnTo>
                    <a:pt x="512" y="240"/>
                  </a:lnTo>
                  <a:lnTo>
                    <a:pt x="512" y="238"/>
                  </a:lnTo>
                  <a:lnTo>
                    <a:pt x="512" y="238"/>
                  </a:lnTo>
                  <a:lnTo>
                    <a:pt x="513" y="237"/>
                  </a:lnTo>
                  <a:lnTo>
                    <a:pt x="513" y="237"/>
                  </a:lnTo>
                  <a:lnTo>
                    <a:pt x="515" y="237"/>
                  </a:lnTo>
                  <a:lnTo>
                    <a:pt x="515" y="237"/>
                  </a:lnTo>
                  <a:lnTo>
                    <a:pt x="515" y="235"/>
                  </a:lnTo>
                  <a:lnTo>
                    <a:pt x="515" y="235"/>
                  </a:lnTo>
                  <a:lnTo>
                    <a:pt x="516" y="237"/>
                  </a:lnTo>
                  <a:lnTo>
                    <a:pt x="516" y="237"/>
                  </a:lnTo>
                  <a:lnTo>
                    <a:pt x="518" y="235"/>
                  </a:lnTo>
                  <a:lnTo>
                    <a:pt x="518" y="235"/>
                  </a:lnTo>
                  <a:lnTo>
                    <a:pt x="516" y="235"/>
                  </a:lnTo>
                  <a:lnTo>
                    <a:pt x="516" y="235"/>
                  </a:lnTo>
                  <a:lnTo>
                    <a:pt x="520" y="234"/>
                  </a:lnTo>
                  <a:lnTo>
                    <a:pt x="520" y="234"/>
                  </a:lnTo>
                  <a:lnTo>
                    <a:pt x="523" y="232"/>
                  </a:lnTo>
                  <a:lnTo>
                    <a:pt x="523" y="232"/>
                  </a:lnTo>
                  <a:lnTo>
                    <a:pt x="524" y="232"/>
                  </a:lnTo>
                  <a:lnTo>
                    <a:pt x="524" y="232"/>
                  </a:lnTo>
                  <a:lnTo>
                    <a:pt x="526" y="232"/>
                  </a:lnTo>
                  <a:lnTo>
                    <a:pt x="526" y="232"/>
                  </a:lnTo>
                  <a:lnTo>
                    <a:pt x="528" y="232"/>
                  </a:lnTo>
                  <a:lnTo>
                    <a:pt x="528" y="232"/>
                  </a:lnTo>
                  <a:lnTo>
                    <a:pt x="529" y="231"/>
                  </a:lnTo>
                  <a:lnTo>
                    <a:pt x="529" y="231"/>
                  </a:lnTo>
                  <a:lnTo>
                    <a:pt x="526" y="229"/>
                  </a:lnTo>
                  <a:lnTo>
                    <a:pt x="526" y="229"/>
                  </a:lnTo>
                  <a:lnTo>
                    <a:pt x="528" y="229"/>
                  </a:lnTo>
                  <a:lnTo>
                    <a:pt x="528" y="229"/>
                  </a:lnTo>
                  <a:lnTo>
                    <a:pt x="535" y="229"/>
                  </a:lnTo>
                  <a:lnTo>
                    <a:pt x="535" y="229"/>
                  </a:lnTo>
                  <a:lnTo>
                    <a:pt x="537" y="229"/>
                  </a:lnTo>
                  <a:lnTo>
                    <a:pt x="537" y="229"/>
                  </a:lnTo>
                  <a:lnTo>
                    <a:pt x="540" y="229"/>
                  </a:lnTo>
                  <a:lnTo>
                    <a:pt x="540" y="229"/>
                  </a:lnTo>
                  <a:lnTo>
                    <a:pt x="540" y="229"/>
                  </a:lnTo>
                  <a:lnTo>
                    <a:pt x="540" y="229"/>
                  </a:lnTo>
                  <a:lnTo>
                    <a:pt x="543" y="226"/>
                  </a:lnTo>
                  <a:lnTo>
                    <a:pt x="543" y="226"/>
                  </a:lnTo>
                  <a:lnTo>
                    <a:pt x="547" y="223"/>
                  </a:lnTo>
                  <a:lnTo>
                    <a:pt x="547" y="223"/>
                  </a:lnTo>
                  <a:lnTo>
                    <a:pt x="547" y="223"/>
                  </a:lnTo>
                  <a:lnTo>
                    <a:pt x="547" y="223"/>
                  </a:lnTo>
                  <a:lnTo>
                    <a:pt x="547" y="223"/>
                  </a:lnTo>
                  <a:lnTo>
                    <a:pt x="547" y="223"/>
                  </a:lnTo>
                  <a:lnTo>
                    <a:pt x="547" y="219"/>
                  </a:lnTo>
                  <a:lnTo>
                    <a:pt x="547" y="219"/>
                  </a:lnTo>
                  <a:lnTo>
                    <a:pt x="543" y="219"/>
                  </a:lnTo>
                  <a:lnTo>
                    <a:pt x="543" y="219"/>
                  </a:lnTo>
                  <a:lnTo>
                    <a:pt x="540" y="218"/>
                  </a:lnTo>
                  <a:lnTo>
                    <a:pt x="540" y="218"/>
                  </a:lnTo>
                  <a:lnTo>
                    <a:pt x="547" y="219"/>
                  </a:lnTo>
                  <a:lnTo>
                    <a:pt x="547" y="219"/>
                  </a:lnTo>
                  <a:lnTo>
                    <a:pt x="550" y="219"/>
                  </a:lnTo>
                  <a:lnTo>
                    <a:pt x="550" y="219"/>
                  </a:lnTo>
                  <a:lnTo>
                    <a:pt x="551" y="219"/>
                  </a:lnTo>
                  <a:lnTo>
                    <a:pt x="551" y="219"/>
                  </a:lnTo>
                  <a:lnTo>
                    <a:pt x="551" y="218"/>
                  </a:lnTo>
                  <a:lnTo>
                    <a:pt x="551" y="218"/>
                  </a:lnTo>
                  <a:lnTo>
                    <a:pt x="556" y="219"/>
                  </a:lnTo>
                  <a:lnTo>
                    <a:pt x="556" y="219"/>
                  </a:lnTo>
                  <a:lnTo>
                    <a:pt x="559" y="218"/>
                  </a:lnTo>
                  <a:lnTo>
                    <a:pt x="559" y="218"/>
                  </a:lnTo>
                  <a:lnTo>
                    <a:pt x="561" y="215"/>
                  </a:lnTo>
                  <a:lnTo>
                    <a:pt x="561" y="215"/>
                  </a:lnTo>
                  <a:lnTo>
                    <a:pt x="562" y="215"/>
                  </a:lnTo>
                  <a:lnTo>
                    <a:pt x="562" y="215"/>
                  </a:lnTo>
                  <a:lnTo>
                    <a:pt x="562" y="213"/>
                  </a:lnTo>
                  <a:lnTo>
                    <a:pt x="562" y="213"/>
                  </a:lnTo>
                  <a:lnTo>
                    <a:pt x="564" y="212"/>
                  </a:lnTo>
                  <a:lnTo>
                    <a:pt x="564" y="212"/>
                  </a:lnTo>
                  <a:lnTo>
                    <a:pt x="564" y="212"/>
                  </a:lnTo>
                  <a:lnTo>
                    <a:pt x="564" y="212"/>
                  </a:lnTo>
                  <a:lnTo>
                    <a:pt x="564" y="213"/>
                  </a:lnTo>
                  <a:lnTo>
                    <a:pt x="564" y="213"/>
                  </a:lnTo>
                  <a:lnTo>
                    <a:pt x="564" y="215"/>
                  </a:lnTo>
                  <a:lnTo>
                    <a:pt x="564" y="215"/>
                  </a:lnTo>
                  <a:lnTo>
                    <a:pt x="567" y="213"/>
                  </a:lnTo>
                  <a:lnTo>
                    <a:pt x="567" y="213"/>
                  </a:lnTo>
                  <a:lnTo>
                    <a:pt x="570" y="215"/>
                  </a:lnTo>
                  <a:lnTo>
                    <a:pt x="570" y="215"/>
                  </a:lnTo>
                  <a:lnTo>
                    <a:pt x="570" y="212"/>
                  </a:lnTo>
                  <a:lnTo>
                    <a:pt x="570" y="212"/>
                  </a:lnTo>
                  <a:lnTo>
                    <a:pt x="570" y="213"/>
                  </a:lnTo>
                  <a:lnTo>
                    <a:pt x="570" y="213"/>
                  </a:lnTo>
                  <a:lnTo>
                    <a:pt x="572" y="215"/>
                  </a:lnTo>
                  <a:lnTo>
                    <a:pt x="572" y="215"/>
                  </a:lnTo>
                  <a:lnTo>
                    <a:pt x="577" y="213"/>
                  </a:lnTo>
                  <a:lnTo>
                    <a:pt x="577" y="213"/>
                  </a:lnTo>
                  <a:lnTo>
                    <a:pt x="585" y="210"/>
                  </a:lnTo>
                  <a:lnTo>
                    <a:pt x="585" y="210"/>
                  </a:lnTo>
                  <a:lnTo>
                    <a:pt x="589" y="207"/>
                  </a:lnTo>
                  <a:lnTo>
                    <a:pt x="589" y="207"/>
                  </a:lnTo>
                  <a:lnTo>
                    <a:pt x="593" y="204"/>
                  </a:lnTo>
                  <a:lnTo>
                    <a:pt x="593" y="204"/>
                  </a:lnTo>
                  <a:lnTo>
                    <a:pt x="599" y="202"/>
                  </a:lnTo>
                  <a:lnTo>
                    <a:pt x="599" y="202"/>
                  </a:lnTo>
                  <a:lnTo>
                    <a:pt x="602" y="199"/>
                  </a:lnTo>
                  <a:lnTo>
                    <a:pt x="602" y="199"/>
                  </a:lnTo>
                  <a:lnTo>
                    <a:pt x="602" y="197"/>
                  </a:lnTo>
                  <a:lnTo>
                    <a:pt x="602" y="197"/>
                  </a:lnTo>
                  <a:lnTo>
                    <a:pt x="599" y="197"/>
                  </a:lnTo>
                  <a:lnTo>
                    <a:pt x="599" y="197"/>
                  </a:lnTo>
                  <a:lnTo>
                    <a:pt x="596" y="197"/>
                  </a:lnTo>
                  <a:lnTo>
                    <a:pt x="596" y="197"/>
                  </a:lnTo>
                  <a:lnTo>
                    <a:pt x="585" y="197"/>
                  </a:lnTo>
                  <a:lnTo>
                    <a:pt x="585" y="197"/>
                  </a:lnTo>
                  <a:lnTo>
                    <a:pt x="582" y="194"/>
                  </a:lnTo>
                  <a:lnTo>
                    <a:pt x="582" y="194"/>
                  </a:lnTo>
                  <a:lnTo>
                    <a:pt x="580" y="192"/>
                  </a:lnTo>
                  <a:lnTo>
                    <a:pt x="580" y="192"/>
                  </a:lnTo>
                  <a:lnTo>
                    <a:pt x="577" y="191"/>
                  </a:lnTo>
                  <a:lnTo>
                    <a:pt x="577" y="191"/>
                  </a:lnTo>
                  <a:lnTo>
                    <a:pt x="580" y="191"/>
                  </a:lnTo>
                  <a:lnTo>
                    <a:pt x="580" y="191"/>
                  </a:lnTo>
                  <a:lnTo>
                    <a:pt x="583" y="191"/>
                  </a:lnTo>
                  <a:lnTo>
                    <a:pt x="583" y="191"/>
                  </a:lnTo>
                  <a:lnTo>
                    <a:pt x="582" y="189"/>
                  </a:lnTo>
                  <a:lnTo>
                    <a:pt x="582" y="189"/>
                  </a:lnTo>
                  <a:lnTo>
                    <a:pt x="585" y="191"/>
                  </a:lnTo>
                  <a:lnTo>
                    <a:pt x="585" y="191"/>
                  </a:lnTo>
                  <a:lnTo>
                    <a:pt x="586" y="191"/>
                  </a:lnTo>
                  <a:lnTo>
                    <a:pt x="586" y="191"/>
                  </a:lnTo>
                  <a:lnTo>
                    <a:pt x="593" y="194"/>
                  </a:lnTo>
                  <a:lnTo>
                    <a:pt x="593" y="194"/>
                  </a:lnTo>
                  <a:lnTo>
                    <a:pt x="589" y="194"/>
                  </a:lnTo>
                  <a:lnTo>
                    <a:pt x="589" y="194"/>
                  </a:lnTo>
                  <a:lnTo>
                    <a:pt x="593" y="194"/>
                  </a:lnTo>
                  <a:lnTo>
                    <a:pt x="593" y="194"/>
                  </a:lnTo>
                  <a:lnTo>
                    <a:pt x="593" y="197"/>
                  </a:lnTo>
                  <a:lnTo>
                    <a:pt x="593" y="197"/>
                  </a:lnTo>
                  <a:lnTo>
                    <a:pt x="596" y="197"/>
                  </a:lnTo>
                  <a:lnTo>
                    <a:pt x="596" y="197"/>
                  </a:lnTo>
                  <a:lnTo>
                    <a:pt x="602" y="197"/>
                  </a:lnTo>
                  <a:lnTo>
                    <a:pt x="602" y="197"/>
                  </a:lnTo>
                  <a:lnTo>
                    <a:pt x="605" y="194"/>
                  </a:lnTo>
                  <a:lnTo>
                    <a:pt x="605" y="194"/>
                  </a:lnTo>
                  <a:lnTo>
                    <a:pt x="609" y="194"/>
                  </a:lnTo>
                  <a:lnTo>
                    <a:pt x="609" y="194"/>
                  </a:lnTo>
                  <a:lnTo>
                    <a:pt x="613" y="191"/>
                  </a:lnTo>
                  <a:lnTo>
                    <a:pt x="613" y="191"/>
                  </a:lnTo>
                  <a:lnTo>
                    <a:pt x="618" y="189"/>
                  </a:lnTo>
                  <a:lnTo>
                    <a:pt x="618" y="189"/>
                  </a:lnTo>
                  <a:lnTo>
                    <a:pt x="623" y="188"/>
                  </a:lnTo>
                  <a:lnTo>
                    <a:pt x="623" y="188"/>
                  </a:lnTo>
                  <a:lnTo>
                    <a:pt x="621" y="186"/>
                  </a:lnTo>
                  <a:lnTo>
                    <a:pt x="621" y="186"/>
                  </a:lnTo>
                  <a:lnTo>
                    <a:pt x="620" y="186"/>
                  </a:lnTo>
                  <a:lnTo>
                    <a:pt x="620" y="186"/>
                  </a:lnTo>
                  <a:lnTo>
                    <a:pt x="618" y="185"/>
                  </a:lnTo>
                  <a:lnTo>
                    <a:pt x="618" y="185"/>
                  </a:lnTo>
                  <a:lnTo>
                    <a:pt x="616" y="183"/>
                  </a:lnTo>
                  <a:lnTo>
                    <a:pt x="616" y="183"/>
                  </a:lnTo>
                  <a:lnTo>
                    <a:pt x="618" y="183"/>
                  </a:lnTo>
                  <a:lnTo>
                    <a:pt x="618" y="183"/>
                  </a:lnTo>
                  <a:lnTo>
                    <a:pt x="618" y="181"/>
                  </a:lnTo>
                  <a:lnTo>
                    <a:pt x="618" y="181"/>
                  </a:lnTo>
                  <a:lnTo>
                    <a:pt x="623" y="183"/>
                  </a:lnTo>
                  <a:lnTo>
                    <a:pt x="623" y="183"/>
                  </a:lnTo>
                  <a:lnTo>
                    <a:pt x="628" y="181"/>
                  </a:lnTo>
                  <a:lnTo>
                    <a:pt x="628" y="181"/>
                  </a:lnTo>
                  <a:lnTo>
                    <a:pt x="631" y="181"/>
                  </a:lnTo>
                  <a:lnTo>
                    <a:pt x="631" y="181"/>
                  </a:lnTo>
                  <a:lnTo>
                    <a:pt x="631" y="185"/>
                  </a:lnTo>
                  <a:lnTo>
                    <a:pt x="631" y="185"/>
                  </a:lnTo>
                  <a:lnTo>
                    <a:pt x="634" y="186"/>
                  </a:lnTo>
                  <a:lnTo>
                    <a:pt x="634" y="186"/>
                  </a:lnTo>
                  <a:lnTo>
                    <a:pt x="637" y="186"/>
                  </a:lnTo>
                  <a:lnTo>
                    <a:pt x="637" y="186"/>
                  </a:lnTo>
                  <a:lnTo>
                    <a:pt x="637" y="185"/>
                  </a:lnTo>
                  <a:lnTo>
                    <a:pt x="637" y="185"/>
                  </a:lnTo>
                  <a:lnTo>
                    <a:pt x="637" y="185"/>
                  </a:lnTo>
                  <a:lnTo>
                    <a:pt x="637" y="185"/>
                  </a:lnTo>
                  <a:lnTo>
                    <a:pt x="639" y="185"/>
                  </a:lnTo>
                  <a:lnTo>
                    <a:pt x="639" y="185"/>
                  </a:lnTo>
                  <a:lnTo>
                    <a:pt x="639" y="186"/>
                  </a:lnTo>
                  <a:lnTo>
                    <a:pt x="639" y="186"/>
                  </a:lnTo>
                  <a:lnTo>
                    <a:pt x="642" y="186"/>
                  </a:lnTo>
                  <a:lnTo>
                    <a:pt x="642" y="186"/>
                  </a:lnTo>
                  <a:lnTo>
                    <a:pt x="643" y="186"/>
                  </a:lnTo>
                  <a:lnTo>
                    <a:pt x="643" y="186"/>
                  </a:lnTo>
                  <a:lnTo>
                    <a:pt x="643" y="185"/>
                  </a:lnTo>
                  <a:lnTo>
                    <a:pt x="643" y="185"/>
                  </a:lnTo>
                  <a:lnTo>
                    <a:pt x="642" y="181"/>
                  </a:lnTo>
                  <a:lnTo>
                    <a:pt x="642" y="181"/>
                  </a:lnTo>
                  <a:lnTo>
                    <a:pt x="643" y="180"/>
                  </a:lnTo>
                  <a:lnTo>
                    <a:pt x="643" y="180"/>
                  </a:lnTo>
                  <a:lnTo>
                    <a:pt x="642" y="180"/>
                  </a:lnTo>
                  <a:lnTo>
                    <a:pt x="642" y="180"/>
                  </a:lnTo>
                  <a:lnTo>
                    <a:pt x="643" y="178"/>
                  </a:lnTo>
                  <a:lnTo>
                    <a:pt x="643" y="178"/>
                  </a:lnTo>
                  <a:lnTo>
                    <a:pt x="645" y="180"/>
                  </a:lnTo>
                  <a:lnTo>
                    <a:pt x="645" y="180"/>
                  </a:lnTo>
                  <a:lnTo>
                    <a:pt x="648" y="178"/>
                  </a:lnTo>
                  <a:lnTo>
                    <a:pt x="648" y="178"/>
                  </a:lnTo>
                  <a:lnTo>
                    <a:pt x="645" y="181"/>
                  </a:lnTo>
                  <a:lnTo>
                    <a:pt x="645" y="181"/>
                  </a:lnTo>
                  <a:lnTo>
                    <a:pt x="647" y="183"/>
                  </a:lnTo>
                  <a:lnTo>
                    <a:pt x="647" y="183"/>
                  </a:lnTo>
                  <a:lnTo>
                    <a:pt x="647" y="185"/>
                  </a:lnTo>
                  <a:lnTo>
                    <a:pt x="647" y="185"/>
                  </a:lnTo>
                  <a:lnTo>
                    <a:pt x="655" y="183"/>
                  </a:lnTo>
                  <a:lnTo>
                    <a:pt x="655" y="183"/>
                  </a:lnTo>
                  <a:lnTo>
                    <a:pt x="661" y="180"/>
                  </a:lnTo>
                  <a:lnTo>
                    <a:pt x="661" y="180"/>
                  </a:lnTo>
                  <a:lnTo>
                    <a:pt x="666" y="178"/>
                  </a:lnTo>
                  <a:lnTo>
                    <a:pt x="666" y="178"/>
                  </a:lnTo>
                  <a:lnTo>
                    <a:pt x="669" y="177"/>
                  </a:lnTo>
                  <a:lnTo>
                    <a:pt x="669" y="177"/>
                  </a:lnTo>
                  <a:lnTo>
                    <a:pt x="672" y="175"/>
                  </a:lnTo>
                  <a:lnTo>
                    <a:pt x="672" y="175"/>
                  </a:lnTo>
                  <a:lnTo>
                    <a:pt x="677" y="173"/>
                  </a:lnTo>
                  <a:lnTo>
                    <a:pt x="677" y="173"/>
                  </a:lnTo>
                  <a:lnTo>
                    <a:pt x="678" y="170"/>
                  </a:lnTo>
                  <a:lnTo>
                    <a:pt x="678" y="170"/>
                  </a:lnTo>
                  <a:lnTo>
                    <a:pt x="678" y="170"/>
                  </a:lnTo>
                  <a:lnTo>
                    <a:pt x="678" y="170"/>
                  </a:lnTo>
                  <a:lnTo>
                    <a:pt x="675" y="164"/>
                  </a:lnTo>
                  <a:lnTo>
                    <a:pt x="675" y="164"/>
                  </a:lnTo>
                  <a:lnTo>
                    <a:pt x="677" y="164"/>
                  </a:lnTo>
                  <a:lnTo>
                    <a:pt x="677" y="164"/>
                  </a:lnTo>
                  <a:lnTo>
                    <a:pt x="678" y="162"/>
                  </a:lnTo>
                  <a:lnTo>
                    <a:pt x="678" y="162"/>
                  </a:lnTo>
                  <a:lnTo>
                    <a:pt x="677" y="162"/>
                  </a:lnTo>
                  <a:lnTo>
                    <a:pt x="677" y="162"/>
                  </a:lnTo>
                  <a:lnTo>
                    <a:pt x="675" y="161"/>
                  </a:lnTo>
                  <a:lnTo>
                    <a:pt x="675" y="161"/>
                  </a:lnTo>
                  <a:lnTo>
                    <a:pt x="677" y="161"/>
                  </a:lnTo>
                  <a:lnTo>
                    <a:pt x="677" y="161"/>
                  </a:lnTo>
                  <a:lnTo>
                    <a:pt x="675" y="159"/>
                  </a:lnTo>
                  <a:lnTo>
                    <a:pt x="675" y="159"/>
                  </a:lnTo>
                  <a:lnTo>
                    <a:pt x="682" y="158"/>
                  </a:lnTo>
                  <a:lnTo>
                    <a:pt x="682" y="158"/>
                  </a:lnTo>
                  <a:lnTo>
                    <a:pt x="682" y="159"/>
                  </a:lnTo>
                  <a:lnTo>
                    <a:pt x="682" y="159"/>
                  </a:lnTo>
                  <a:lnTo>
                    <a:pt x="685" y="158"/>
                  </a:lnTo>
                  <a:lnTo>
                    <a:pt x="685" y="158"/>
                  </a:lnTo>
                  <a:lnTo>
                    <a:pt x="689" y="158"/>
                  </a:lnTo>
                  <a:lnTo>
                    <a:pt x="689" y="158"/>
                  </a:lnTo>
                  <a:lnTo>
                    <a:pt x="689" y="156"/>
                  </a:lnTo>
                  <a:lnTo>
                    <a:pt x="689" y="156"/>
                  </a:lnTo>
                  <a:lnTo>
                    <a:pt x="693" y="154"/>
                  </a:lnTo>
                  <a:lnTo>
                    <a:pt x="693" y="154"/>
                  </a:lnTo>
                  <a:lnTo>
                    <a:pt x="685" y="153"/>
                  </a:lnTo>
                  <a:lnTo>
                    <a:pt x="685" y="153"/>
                  </a:lnTo>
                  <a:lnTo>
                    <a:pt x="689" y="153"/>
                  </a:lnTo>
                  <a:lnTo>
                    <a:pt x="689" y="153"/>
                  </a:lnTo>
                  <a:lnTo>
                    <a:pt x="693" y="151"/>
                  </a:lnTo>
                  <a:lnTo>
                    <a:pt x="693" y="151"/>
                  </a:lnTo>
                  <a:lnTo>
                    <a:pt x="696" y="150"/>
                  </a:lnTo>
                  <a:lnTo>
                    <a:pt x="696" y="150"/>
                  </a:lnTo>
                  <a:lnTo>
                    <a:pt x="689" y="148"/>
                  </a:lnTo>
                  <a:lnTo>
                    <a:pt x="689" y="148"/>
                  </a:lnTo>
                  <a:lnTo>
                    <a:pt x="689" y="148"/>
                  </a:lnTo>
                  <a:lnTo>
                    <a:pt x="689" y="148"/>
                  </a:lnTo>
                  <a:lnTo>
                    <a:pt x="688" y="146"/>
                  </a:lnTo>
                  <a:lnTo>
                    <a:pt x="688" y="146"/>
                  </a:lnTo>
                  <a:lnTo>
                    <a:pt x="689" y="146"/>
                  </a:lnTo>
                  <a:lnTo>
                    <a:pt x="689" y="146"/>
                  </a:lnTo>
                  <a:lnTo>
                    <a:pt x="682" y="145"/>
                  </a:lnTo>
                  <a:lnTo>
                    <a:pt x="682" y="145"/>
                  </a:lnTo>
                  <a:lnTo>
                    <a:pt x="685" y="145"/>
                  </a:lnTo>
                  <a:lnTo>
                    <a:pt x="685" y="145"/>
                  </a:lnTo>
                  <a:lnTo>
                    <a:pt x="688" y="145"/>
                  </a:lnTo>
                  <a:lnTo>
                    <a:pt x="688" y="145"/>
                  </a:lnTo>
                  <a:lnTo>
                    <a:pt x="689" y="143"/>
                  </a:lnTo>
                  <a:lnTo>
                    <a:pt x="689" y="143"/>
                  </a:lnTo>
                  <a:lnTo>
                    <a:pt x="682" y="143"/>
                  </a:lnTo>
                  <a:lnTo>
                    <a:pt x="682" y="143"/>
                  </a:lnTo>
                  <a:lnTo>
                    <a:pt x="674" y="142"/>
                  </a:lnTo>
                  <a:lnTo>
                    <a:pt x="674" y="142"/>
                  </a:lnTo>
                  <a:lnTo>
                    <a:pt x="672" y="140"/>
                  </a:lnTo>
                  <a:lnTo>
                    <a:pt x="672" y="140"/>
                  </a:lnTo>
                  <a:lnTo>
                    <a:pt x="666" y="142"/>
                  </a:lnTo>
                  <a:lnTo>
                    <a:pt x="666" y="142"/>
                  </a:lnTo>
                  <a:lnTo>
                    <a:pt x="666" y="142"/>
                  </a:lnTo>
                  <a:lnTo>
                    <a:pt x="666" y="142"/>
                  </a:lnTo>
                  <a:lnTo>
                    <a:pt x="663" y="142"/>
                  </a:lnTo>
                  <a:lnTo>
                    <a:pt x="663" y="142"/>
                  </a:lnTo>
                  <a:lnTo>
                    <a:pt x="663" y="142"/>
                  </a:lnTo>
                  <a:lnTo>
                    <a:pt x="663" y="142"/>
                  </a:lnTo>
                  <a:lnTo>
                    <a:pt x="663" y="143"/>
                  </a:lnTo>
                  <a:lnTo>
                    <a:pt x="663" y="143"/>
                  </a:lnTo>
                  <a:lnTo>
                    <a:pt x="663" y="145"/>
                  </a:lnTo>
                  <a:lnTo>
                    <a:pt x="663" y="145"/>
                  </a:lnTo>
                  <a:lnTo>
                    <a:pt x="659" y="145"/>
                  </a:lnTo>
                  <a:lnTo>
                    <a:pt x="659" y="145"/>
                  </a:lnTo>
                  <a:lnTo>
                    <a:pt x="659" y="146"/>
                  </a:lnTo>
                  <a:lnTo>
                    <a:pt x="659" y="146"/>
                  </a:lnTo>
                  <a:lnTo>
                    <a:pt x="659" y="148"/>
                  </a:lnTo>
                  <a:lnTo>
                    <a:pt x="659" y="148"/>
                  </a:lnTo>
                  <a:lnTo>
                    <a:pt x="658" y="148"/>
                  </a:lnTo>
                  <a:lnTo>
                    <a:pt x="658" y="148"/>
                  </a:lnTo>
                  <a:lnTo>
                    <a:pt x="659" y="150"/>
                  </a:lnTo>
                  <a:lnTo>
                    <a:pt x="659" y="150"/>
                  </a:lnTo>
                  <a:lnTo>
                    <a:pt x="661" y="150"/>
                  </a:lnTo>
                  <a:lnTo>
                    <a:pt x="661" y="150"/>
                  </a:lnTo>
                  <a:lnTo>
                    <a:pt x="663" y="151"/>
                  </a:lnTo>
                  <a:lnTo>
                    <a:pt x="663" y="151"/>
                  </a:lnTo>
                  <a:lnTo>
                    <a:pt x="661" y="151"/>
                  </a:lnTo>
                  <a:lnTo>
                    <a:pt x="661" y="151"/>
                  </a:lnTo>
                  <a:lnTo>
                    <a:pt x="659" y="151"/>
                  </a:lnTo>
                  <a:lnTo>
                    <a:pt x="659" y="151"/>
                  </a:lnTo>
                  <a:lnTo>
                    <a:pt x="661" y="153"/>
                  </a:lnTo>
                  <a:lnTo>
                    <a:pt x="661" y="153"/>
                  </a:lnTo>
                  <a:lnTo>
                    <a:pt x="659" y="153"/>
                  </a:lnTo>
                  <a:lnTo>
                    <a:pt x="659" y="153"/>
                  </a:lnTo>
                  <a:lnTo>
                    <a:pt x="658" y="153"/>
                  </a:lnTo>
                  <a:lnTo>
                    <a:pt x="658" y="153"/>
                  </a:lnTo>
                  <a:lnTo>
                    <a:pt x="656" y="153"/>
                  </a:lnTo>
                  <a:lnTo>
                    <a:pt x="656" y="153"/>
                  </a:lnTo>
                  <a:lnTo>
                    <a:pt x="659" y="154"/>
                  </a:lnTo>
                  <a:lnTo>
                    <a:pt x="659" y="154"/>
                  </a:lnTo>
                  <a:lnTo>
                    <a:pt x="656" y="156"/>
                  </a:lnTo>
                  <a:lnTo>
                    <a:pt x="656" y="156"/>
                  </a:lnTo>
                  <a:lnTo>
                    <a:pt x="653" y="154"/>
                  </a:lnTo>
                  <a:lnTo>
                    <a:pt x="653" y="154"/>
                  </a:lnTo>
                  <a:lnTo>
                    <a:pt x="650" y="156"/>
                  </a:lnTo>
                  <a:lnTo>
                    <a:pt x="650" y="156"/>
                  </a:lnTo>
                  <a:lnTo>
                    <a:pt x="648" y="158"/>
                  </a:lnTo>
                  <a:lnTo>
                    <a:pt x="648" y="158"/>
                  </a:lnTo>
                  <a:lnTo>
                    <a:pt x="645" y="161"/>
                  </a:lnTo>
                  <a:lnTo>
                    <a:pt x="645" y="161"/>
                  </a:lnTo>
                  <a:lnTo>
                    <a:pt x="642" y="162"/>
                  </a:lnTo>
                  <a:lnTo>
                    <a:pt x="642" y="162"/>
                  </a:lnTo>
                  <a:lnTo>
                    <a:pt x="634" y="167"/>
                  </a:lnTo>
                  <a:lnTo>
                    <a:pt x="634" y="167"/>
                  </a:lnTo>
                  <a:lnTo>
                    <a:pt x="631" y="170"/>
                  </a:lnTo>
                  <a:lnTo>
                    <a:pt x="631" y="170"/>
                  </a:lnTo>
                  <a:lnTo>
                    <a:pt x="628" y="173"/>
                  </a:lnTo>
                  <a:lnTo>
                    <a:pt x="628" y="173"/>
                  </a:lnTo>
                  <a:lnTo>
                    <a:pt x="626" y="170"/>
                  </a:lnTo>
                  <a:lnTo>
                    <a:pt x="626" y="170"/>
                  </a:lnTo>
                  <a:lnTo>
                    <a:pt x="624" y="173"/>
                  </a:lnTo>
                  <a:lnTo>
                    <a:pt x="624" y="173"/>
                  </a:lnTo>
                  <a:lnTo>
                    <a:pt x="623" y="173"/>
                  </a:lnTo>
                  <a:lnTo>
                    <a:pt x="623" y="173"/>
                  </a:lnTo>
                  <a:lnTo>
                    <a:pt x="620" y="173"/>
                  </a:lnTo>
                  <a:lnTo>
                    <a:pt x="620" y="173"/>
                  </a:lnTo>
                  <a:lnTo>
                    <a:pt x="618" y="173"/>
                  </a:lnTo>
                  <a:lnTo>
                    <a:pt x="618" y="173"/>
                  </a:lnTo>
                  <a:lnTo>
                    <a:pt x="620" y="173"/>
                  </a:lnTo>
                  <a:lnTo>
                    <a:pt x="620" y="173"/>
                  </a:lnTo>
                  <a:lnTo>
                    <a:pt x="618" y="170"/>
                  </a:lnTo>
                  <a:lnTo>
                    <a:pt x="618" y="170"/>
                  </a:lnTo>
                  <a:lnTo>
                    <a:pt x="616" y="167"/>
                  </a:lnTo>
                  <a:lnTo>
                    <a:pt x="616" y="167"/>
                  </a:lnTo>
                  <a:lnTo>
                    <a:pt x="616" y="164"/>
                  </a:lnTo>
                  <a:lnTo>
                    <a:pt x="616" y="164"/>
                  </a:lnTo>
                  <a:lnTo>
                    <a:pt x="618" y="164"/>
                  </a:lnTo>
                  <a:lnTo>
                    <a:pt x="618" y="164"/>
                  </a:lnTo>
                  <a:lnTo>
                    <a:pt x="623" y="161"/>
                  </a:lnTo>
                  <a:lnTo>
                    <a:pt x="623" y="161"/>
                  </a:lnTo>
                  <a:lnTo>
                    <a:pt x="624" y="161"/>
                  </a:lnTo>
                  <a:lnTo>
                    <a:pt x="624" y="161"/>
                  </a:lnTo>
                  <a:lnTo>
                    <a:pt x="626" y="161"/>
                  </a:lnTo>
                  <a:lnTo>
                    <a:pt x="626" y="161"/>
                  </a:lnTo>
                  <a:lnTo>
                    <a:pt x="628" y="156"/>
                  </a:lnTo>
                  <a:lnTo>
                    <a:pt x="628" y="156"/>
                  </a:lnTo>
                  <a:lnTo>
                    <a:pt x="628" y="154"/>
                  </a:lnTo>
                  <a:lnTo>
                    <a:pt x="628" y="154"/>
                  </a:lnTo>
                  <a:lnTo>
                    <a:pt x="628" y="151"/>
                  </a:lnTo>
                  <a:lnTo>
                    <a:pt x="628" y="151"/>
                  </a:lnTo>
                  <a:lnTo>
                    <a:pt x="624" y="150"/>
                  </a:lnTo>
                  <a:lnTo>
                    <a:pt x="624" y="150"/>
                  </a:lnTo>
                  <a:lnTo>
                    <a:pt x="623" y="148"/>
                  </a:lnTo>
                  <a:lnTo>
                    <a:pt x="623" y="148"/>
                  </a:lnTo>
                  <a:lnTo>
                    <a:pt x="621" y="150"/>
                  </a:lnTo>
                  <a:lnTo>
                    <a:pt x="621" y="150"/>
                  </a:lnTo>
                  <a:lnTo>
                    <a:pt x="616" y="151"/>
                  </a:lnTo>
                  <a:lnTo>
                    <a:pt x="616" y="151"/>
                  </a:lnTo>
                  <a:lnTo>
                    <a:pt x="615" y="153"/>
                  </a:lnTo>
                  <a:lnTo>
                    <a:pt x="615" y="153"/>
                  </a:lnTo>
                  <a:lnTo>
                    <a:pt x="613" y="154"/>
                  </a:lnTo>
                  <a:lnTo>
                    <a:pt x="613" y="154"/>
                  </a:lnTo>
                  <a:lnTo>
                    <a:pt x="612" y="156"/>
                  </a:lnTo>
                  <a:lnTo>
                    <a:pt x="612" y="156"/>
                  </a:lnTo>
                  <a:lnTo>
                    <a:pt x="609" y="156"/>
                  </a:lnTo>
                  <a:lnTo>
                    <a:pt x="609" y="156"/>
                  </a:lnTo>
                  <a:lnTo>
                    <a:pt x="609" y="158"/>
                  </a:lnTo>
                  <a:lnTo>
                    <a:pt x="609" y="158"/>
                  </a:lnTo>
                  <a:lnTo>
                    <a:pt x="609" y="159"/>
                  </a:lnTo>
                  <a:lnTo>
                    <a:pt x="609" y="159"/>
                  </a:lnTo>
                  <a:lnTo>
                    <a:pt x="607" y="159"/>
                  </a:lnTo>
                  <a:lnTo>
                    <a:pt x="607" y="159"/>
                  </a:lnTo>
                  <a:lnTo>
                    <a:pt x="602" y="162"/>
                  </a:lnTo>
                  <a:lnTo>
                    <a:pt x="602" y="162"/>
                  </a:lnTo>
                  <a:lnTo>
                    <a:pt x="602" y="161"/>
                  </a:lnTo>
                  <a:lnTo>
                    <a:pt x="602" y="161"/>
                  </a:lnTo>
                  <a:lnTo>
                    <a:pt x="602" y="161"/>
                  </a:lnTo>
                  <a:lnTo>
                    <a:pt x="602" y="161"/>
                  </a:lnTo>
                  <a:lnTo>
                    <a:pt x="602" y="159"/>
                  </a:lnTo>
                  <a:lnTo>
                    <a:pt x="602" y="159"/>
                  </a:lnTo>
                  <a:lnTo>
                    <a:pt x="602" y="159"/>
                  </a:lnTo>
                  <a:lnTo>
                    <a:pt x="602" y="159"/>
                  </a:lnTo>
                  <a:lnTo>
                    <a:pt x="605" y="158"/>
                  </a:lnTo>
                  <a:lnTo>
                    <a:pt x="605" y="158"/>
                  </a:lnTo>
                  <a:lnTo>
                    <a:pt x="605" y="156"/>
                  </a:lnTo>
                  <a:lnTo>
                    <a:pt x="605" y="156"/>
                  </a:lnTo>
                  <a:lnTo>
                    <a:pt x="605" y="154"/>
                  </a:lnTo>
                  <a:lnTo>
                    <a:pt x="605" y="154"/>
                  </a:lnTo>
                  <a:lnTo>
                    <a:pt x="607" y="153"/>
                  </a:lnTo>
                  <a:lnTo>
                    <a:pt x="607" y="153"/>
                  </a:lnTo>
                  <a:lnTo>
                    <a:pt x="607" y="151"/>
                  </a:lnTo>
                  <a:lnTo>
                    <a:pt x="607" y="151"/>
                  </a:lnTo>
                  <a:lnTo>
                    <a:pt x="605" y="148"/>
                  </a:lnTo>
                  <a:lnTo>
                    <a:pt x="605" y="148"/>
                  </a:lnTo>
                  <a:lnTo>
                    <a:pt x="605" y="148"/>
                  </a:lnTo>
                  <a:lnTo>
                    <a:pt x="605" y="148"/>
                  </a:lnTo>
                  <a:lnTo>
                    <a:pt x="607" y="148"/>
                  </a:lnTo>
                  <a:lnTo>
                    <a:pt x="607" y="148"/>
                  </a:lnTo>
                  <a:lnTo>
                    <a:pt x="609" y="148"/>
                  </a:lnTo>
                  <a:lnTo>
                    <a:pt x="609" y="148"/>
                  </a:lnTo>
                  <a:lnTo>
                    <a:pt x="612" y="146"/>
                  </a:lnTo>
                  <a:lnTo>
                    <a:pt x="612" y="146"/>
                  </a:lnTo>
                  <a:lnTo>
                    <a:pt x="615" y="146"/>
                  </a:lnTo>
                  <a:lnTo>
                    <a:pt x="615" y="146"/>
                  </a:lnTo>
                  <a:lnTo>
                    <a:pt x="612" y="145"/>
                  </a:lnTo>
                  <a:lnTo>
                    <a:pt x="612" y="145"/>
                  </a:lnTo>
                  <a:lnTo>
                    <a:pt x="610" y="145"/>
                  </a:lnTo>
                  <a:lnTo>
                    <a:pt x="610" y="145"/>
                  </a:lnTo>
                  <a:lnTo>
                    <a:pt x="605" y="145"/>
                  </a:lnTo>
                  <a:lnTo>
                    <a:pt x="605" y="145"/>
                  </a:lnTo>
                  <a:lnTo>
                    <a:pt x="609" y="143"/>
                  </a:lnTo>
                  <a:lnTo>
                    <a:pt x="609" y="143"/>
                  </a:lnTo>
                  <a:lnTo>
                    <a:pt x="605" y="143"/>
                  </a:lnTo>
                  <a:lnTo>
                    <a:pt x="605" y="143"/>
                  </a:lnTo>
                  <a:lnTo>
                    <a:pt x="605" y="143"/>
                  </a:lnTo>
                  <a:lnTo>
                    <a:pt x="605" y="143"/>
                  </a:lnTo>
                  <a:lnTo>
                    <a:pt x="602" y="145"/>
                  </a:lnTo>
                  <a:lnTo>
                    <a:pt x="602" y="145"/>
                  </a:lnTo>
                  <a:lnTo>
                    <a:pt x="602" y="145"/>
                  </a:lnTo>
                  <a:lnTo>
                    <a:pt x="602" y="145"/>
                  </a:lnTo>
                  <a:lnTo>
                    <a:pt x="599" y="143"/>
                  </a:lnTo>
                  <a:lnTo>
                    <a:pt x="599" y="143"/>
                  </a:lnTo>
                  <a:lnTo>
                    <a:pt x="596" y="143"/>
                  </a:lnTo>
                  <a:lnTo>
                    <a:pt x="596" y="143"/>
                  </a:lnTo>
                  <a:lnTo>
                    <a:pt x="593" y="143"/>
                  </a:lnTo>
                  <a:lnTo>
                    <a:pt x="593" y="143"/>
                  </a:lnTo>
                  <a:lnTo>
                    <a:pt x="599" y="140"/>
                  </a:lnTo>
                  <a:lnTo>
                    <a:pt x="599" y="140"/>
                  </a:lnTo>
                  <a:lnTo>
                    <a:pt x="605" y="138"/>
                  </a:lnTo>
                  <a:lnTo>
                    <a:pt x="605" y="138"/>
                  </a:lnTo>
                  <a:lnTo>
                    <a:pt x="602" y="138"/>
                  </a:lnTo>
                  <a:lnTo>
                    <a:pt x="602" y="138"/>
                  </a:lnTo>
                  <a:lnTo>
                    <a:pt x="602" y="138"/>
                  </a:lnTo>
                  <a:lnTo>
                    <a:pt x="602" y="138"/>
                  </a:lnTo>
                  <a:lnTo>
                    <a:pt x="605" y="138"/>
                  </a:lnTo>
                  <a:lnTo>
                    <a:pt x="605" y="138"/>
                  </a:lnTo>
                  <a:lnTo>
                    <a:pt x="605" y="138"/>
                  </a:lnTo>
                  <a:lnTo>
                    <a:pt x="605" y="138"/>
                  </a:lnTo>
                  <a:lnTo>
                    <a:pt x="612" y="138"/>
                  </a:lnTo>
                  <a:lnTo>
                    <a:pt x="612" y="138"/>
                  </a:lnTo>
                  <a:lnTo>
                    <a:pt x="610" y="135"/>
                  </a:lnTo>
                  <a:lnTo>
                    <a:pt x="610" y="135"/>
                  </a:lnTo>
                  <a:lnTo>
                    <a:pt x="607" y="135"/>
                  </a:lnTo>
                  <a:lnTo>
                    <a:pt x="607" y="135"/>
                  </a:lnTo>
                  <a:lnTo>
                    <a:pt x="609" y="135"/>
                  </a:lnTo>
                  <a:lnTo>
                    <a:pt x="609" y="135"/>
                  </a:lnTo>
                  <a:lnTo>
                    <a:pt x="609" y="132"/>
                  </a:lnTo>
                  <a:lnTo>
                    <a:pt x="609" y="132"/>
                  </a:lnTo>
                  <a:lnTo>
                    <a:pt x="609" y="132"/>
                  </a:lnTo>
                  <a:lnTo>
                    <a:pt x="609" y="132"/>
                  </a:lnTo>
                  <a:lnTo>
                    <a:pt x="607" y="132"/>
                  </a:lnTo>
                  <a:lnTo>
                    <a:pt x="607" y="132"/>
                  </a:lnTo>
                  <a:lnTo>
                    <a:pt x="607" y="129"/>
                  </a:lnTo>
                  <a:lnTo>
                    <a:pt x="607" y="129"/>
                  </a:lnTo>
                  <a:lnTo>
                    <a:pt x="605" y="129"/>
                  </a:lnTo>
                  <a:lnTo>
                    <a:pt x="605" y="129"/>
                  </a:lnTo>
                  <a:lnTo>
                    <a:pt x="609" y="129"/>
                  </a:lnTo>
                  <a:lnTo>
                    <a:pt x="609" y="129"/>
                  </a:lnTo>
                  <a:lnTo>
                    <a:pt x="610" y="126"/>
                  </a:lnTo>
                  <a:lnTo>
                    <a:pt x="610" y="126"/>
                  </a:lnTo>
                  <a:lnTo>
                    <a:pt x="612" y="124"/>
                  </a:lnTo>
                  <a:lnTo>
                    <a:pt x="612" y="124"/>
                  </a:lnTo>
                  <a:lnTo>
                    <a:pt x="610" y="123"/>
                  </a:lnTo>
                  <a:lnTo>
                    <a:pt x="610" y="123"/>
                  </a:lnTo>
                  <a:lnTo>
                    <a:pt x="609" y="121"/>
                  </a:lnTo>
                  <a:lnTo>
                    <a:pt x="609" y="121"/>
                  </a:lnTo>
                  <a:lnTo>
                    <a:pt x="609" y="119"/>
                  </a:lnTo>
                  <a:lnTo>
                    <a:pt x="609" y="119"/>
                  </a:lnTo>
                  <a:lnTo>
                    <a:pt x="605" y="119"/>
                  </a:lnTo>
                  <a:lnTo>
                    <a:pt x="605" y="119"/>
                  </a:lnTo>
                  <a:lnTo>
                    <a:pt x="602" y="119"/>
                  </a:lnTo>
                  <a:lnTo>
                    <a:pt x="602" y="119"/>
                  </a:lnTo>
                  <a:lnTo>
                    <a:pt x="605" y="118"/>
                  </a:lnTo>
                  <a:lnTo>
                    <a:pt x="605" y="118"/>
                  </a:lnTo>
                  <a:lnTo>
                    <a:pt x="602" y="118"/>
                  </a:lnTo>
                  <a:lnTo>
                    <a:pt x="602" y="118"/>
                  </a:lnTo>
                  <a:lnTo>
                    <a:pt x="605" y="116"/>
                  </a:lnTo>
                  <a:lnTo>
                    <a:pt x="605" y="116"/>
                  </a:lnTo>
                  <a:lnTo>
                    <a:pt x="609" y="116"/>
                  </a:lnTo>
                  <a:lnTo>
                    <a:pt x="609" y="116"/>
                  </a:lnTo>
                  <a:lnTo>
                    <a:pt x="609" y="115"/>
                  </a:lnTo>
                  <a:lnTo>
                    <a:pt x="609" y="115"/>
                  </a:lnTo>
                  <a:lnTo>
                    <a:pt x="620" y="111"/>
                  </a:lnTo>
                  <a:lnTo>
                    <a:pt x="620" y="111"/>
                  </a:lnTo>
                  <a:lnTo>
                    <a:pt x="621" y="110"/>
                  </a:lnTo>
                  <a:lnTo>
                    <a:pt x="621" y="110"/>
                  </a:lnTo>
                  <a:lnTo>
                    <a:pt x="621" y="108"/>
                  </a:lnTo>
                  <a:lnTo>
                    <a:pt x="621" y="108"/>
                  </a:lnTo>
                  <a:lnTo>
                    <a:pt x="616" y="107"/>
                  </a:lnTo>
                  <a:lnTo>
                    <a:pt x="616" y="107"/>
                  </a:lnTo>
                  <a:lnTo>
                    <a:pt x="621" y="107"/>
                  </a:lnTo>
                  <a:lnTo>
                    <a:pt x="621" y="107"/>
                  </a:lnTo>
                  <a:lnTo>
                    <a:pt x="626" y="107"/>
                  </a:lnTo>
                  <a:lnTo>
                    <a:pt x="626" y="107"/>
                  </a:lnTo>
                  <a:lnTo>
                    <a:pt x="634" y="107"/>
                  </a:lnTo>
                  <a:lnTo>
                    <a:pt x="634" y="107"/>
                  </a:lnTo>
                  <a:lnTo>
                    <a:pt x="637" y="107"/>
                  </a:lnTo>
                  <a:lnTo>
                    <a:pt x="637" y="107"/>
                  </a:lnTo>
                  <a:lnTo>
                    <a:pt x="640" y="107"/>
                  </a:lnTo>
                  <a:lnTo>
                    <a:pt x="640" y="107"/>
                  </a:lnTo>
                  <a:lnTo>
                    <a:pt x="645" y="104"/>
                  </a:lnTo>
                  <a:lnTo>
                    <a:pt x="645" y="104"/>
                  </a:lnTo>
                  <a:lnTo>
                    <a:pt x="647" y="104"/>
                  </a:lnTo>
                  <a:lnTo>
                    <a:pt x="647" y="104"/>
                  </a:lnTo>
                  <a:lnTo>
                    <a:pt x="647" y="100"/>
                  </a:lnTo>
                  <a:lnTo>
                    <a:pt x="647" y="100"/>
                  </a:lnTo>
                  <a:lnTo>
                    <a:pt x="651" y="100"/>
                  </a:lnTo>
                  <a:lnTo>
                    <a:pt x="651" y="100"/>
                  </a:lnTo>
                  <a:lnTo>
                    <a:pt x="656" y="97"/>
                  </a:lnTo>
                  <a:lnTo>
                    <a:pt x="656" y="97"/>
                  </a:lnTo>
                  <a:lnTo>
                    <a:pt x="659" y="97"/>
                  </a:lnTo>
                  <a:lnTo>
                    <a:pt x="659" y="97"/>
                  </a:lnTo>
                  <a:lnTo>
                    <a:pt x="661" y="94"/>
                  </a:lnTo>
                  <a:lnTo>
                    <a:pt x="661" y="94"/>
                  </a:lnTo>
                  <a:lnTo>
                    <a:pt x="663" y="94"/>
                  </a:lnTo>
                  <a:lnTo>
                    <a:pt x="663" y="94"/>
                  </a:lnTo>
                  <a:lnTo>
                    <a:pt x="666" y="94"/>
                  </a:lnTo>
                  <a:lnTo>
                    <a:pt x="666" y="94"/>
                  </a:lnTo>
                  <a:lnTo>
                    <a:pt x="661" y="92"/>
                  </a:lnTo>
                  <a:lnTo>
                    <a:pt x="661" y="92"/>
                  </a:lnTo>
                  <a:lnTo>
                    <a:pt x="653" y="92"/>
                  </a:lnTo>
                  <a:lnTo>
                    <a:pt x="653" y="92"/>
                  </a:lnTo>
                  <a:lnTo>
                    <a:pt x="651" y="94"/>
                  </a:lnTo>
                  <a:lnTo>
                    <a:pt x="651" y="94"/>
                  </a:lnTo>
                  <a:lnTo>
                    <a:pt x="648" y="92"/>
                  </a:lnTo>
                  <a:lnTo>
                    <a:pt x="648" y="92"/>
                  </a:lnTo>
                  <a:lnTo>
                    <a:pt x="645" y="91"/>
                  </a:lnTo>
                  <a:lnTo>
                    <a:pt x="645" y="91"/>
                  </a:lnTo>
                  <a:lnTo>
                    <a:pt x="639" y="91"/>
                  </a:lnTo>
                  <a:lnTo>
                    <a:pt x="639" y="91"/>
                  </a:lnTo>
                  <a:lnTo>
                    <a:pt x="634" y="91"/>
                  </a:lnTo>
                  <a:lnTo>
                    <a:pt x="634" y="91"/>
                  </a:lnTo>
                  <a:lnTo>
                    <a:pt x="628" y="92"/>
                  </a:lnTo>
                  <a:lnTo>
                    <a:pt x="628" y="92"/>
                  </a:lnTo>
                  <a:lnTo>
                    <a:pt x="624" y="92"/>
                  </a:lnTo>
                  <a:lnTo>
                    <a:pt x="624" y="92"/>
                  </a:lnTo>
                  <a:lnTo>
                    <a:pt x="623" y="94"/>
                  </a:lnTo>
                  <a:lnTo>
                    <a:pt x="623" y="94"/>
                  </a:lnTo>
                  <a:lnTo>
                    <a:pt x="624" y="94"/>
                  </a:lnTo>
                  <a:lnTo>
                    <a:pt x="624" y="94"/>
                  </a:lnTo>
                  <a:lnTo>
                    <a:pt x="623" y="94"/>
                  </a:lnTo>
                  <a:lnTo>
                    <a:pt x="623" y="94"/>
                  </a:lnTo>
                  <a:lnTo>
                    <a:pt x="624" y="97"/>
                  </a:lnTo>
                  <a:lnTo>
                    <a:pt x="624" y="97"/>
                  </a:lnTo>
                  <a:lnTo>
                    <a:pt x="623" y="97"/>
                  </a:lnTo>
                  <a:lnTo>
                    <a:pt x="623" y="97"/>
                  </a:lnTo>
                  <a:lnTo>
                    <a:pt x="621" y="94"/>
                  </a:lnTo>
                  <a:lnTo>
                    <a:pt x="621" y="94"/>
                  </a:lnTo>
                  <a:lnTo>
                    <a:pt x="618" y="94"/>
                  </a:lnTo>
                  <a:lnTo>
                    <a:pt x="618" y="94"/>
                  </a:lnTo>
                  <a:lnTo>
                    <a:pt x="616" y="94"/>
                  </a:lnTo>
                  <a:lnTo>
                    <a:pt x="616" y="94"/>
                  </a:lnTo>
                  <a:lnTo>
                    <a:pt x="613" y="100"/>
                  </a:lnTo>
                  <a:lnTo>
                    <a:pt x="613" y="100"/>
                  </a:lnTo>
                  <a:lnTo>
                    <a:pt x="610" y="104"/>
                  </a:lnTo>
                  <a:lnTo>
                    <a:pt x="610" y="104"/>
                  </a:lnTo>
                  <a:lnTo>
                    <a:pt x="607" y="104"/>
                  </a:lnTo>
                  <a:lnTo>
                    <a:pt x="607" y="104"/>
                  </a:lnTo>
                  <a:lnTo>
                    <a:pt x="605" y="107"/>
                  </a:lnTo>
                  <a:lnTo>
                    <a:pt x="605" y="107"/>
                  </a:lnTo>
                  <a:lnTo>
                    <a:pt x="605" y="107"/>
                  </a:lnTo>
                  <a:lnTo>
                    <a:pt x="605" y="107"/>
                  </a:lnTo>
                  <a:lnTo>
                    <a:pt x="605" y="108"/>
                  </a:lnTo>
                  <a:lnTo>
                    <a:pt x="605" y="108"/>
                  </a:lnTo>
                  <a:lnTo>
                    <a:pt x="605" y="110"/>
                  </a:lnTo>
                  <a:lnTo>
                    <a:pt x="605" y="110"/>
                  </a:lnTo>
                  <a:lnTo>
                    <a:pt x="602" y="113"/>
                  </a:lnTo>
                  <a:lnTo>
                    <a:pt x="602" y="113"/>
                  </a:lnTo>
                  <a:lnTo>
                    <a:pt x="605" y="113"/>
                  </a:lnTo>
                  <a:lnTo>
                    <a:pt x="605" y="113"/>
                  </a:lnTo>
                  <a:lnTo>
                    <a:pt x="599" y="115"/>
                  </a:lnTo>
                  <a:lnTo>
                    <a:pt x="599" y="115"/>
                  </a:lnTo>
                  <a:lnTo>
                    <a:pt x="602" y="116"/>
                  </a:lnTo>
                  <a:lnTo>
                    <a:pt x="602" y="116"/>
                  </a:lnTo>
                  <a:lnTo>
                    <a:pt x="602" y="116"/>
                  </a:lnTo>
                  <a:lnTo>
                    <a:pt x="602" y="116"/>
                  </a:lnTo>
                  <a:lnTo>
                    <a:pt x="599" y="116"/>
                  </a:lnTo>
                  <a:lnTo>
                    <a:pt x="599" y="116"/>
                  </a:lnTo>
                  <a:lnTo>
                    <a:pt x="599" y="118"/>
                  </a:lnTo>
                  <a:lnTo>
                    <a:pt x="599" y="118"/>
                  </a:lnTo>
                  <a:lnTo>
                    <a:pt x="599" y="118"/>
                  </a:lnTo>
                  <a:lnTo>
                    <a:pt x="599" y="118"/>
                  </a:lnTo>
                  <a:lnTo>
                    <a:pt x="596" y="119"/>
                  </a:lnTo>
                  <a:lnTo>
                    <a:pt x="596" y="119"/>
                  </a:lnTo>
                  <a:lnTo>
                    <a:pt x="591" y="119"/>
                  </a:lnTo>
                  <a:lnTo>
                    <a:pt x="591" y="119"/>
                  </a:lnTo>
                  <a:lnTo>
                    <a:pt x="588" y="121"/>
                  </a:lnTo>
                  <a:lnTo>
                    <a:pt x="588" y="121"/>
                  </a:lnTo>
                  <a:lnTo>
                    <a:pt x="589" y="121"/>
                  </a:lnTo>
                  <a:lnTo>
                    <a:pt x="589" y="121"/>
                  </a:lnTo>
                  <a:lnTo>
                    <a:pt x="593" y="121"/>
                  </a:lnTo>
                  <a:lnTo>
                    <a:pt x="593" y="121"/>
                  </a:lnTo>
                  <a:lnTo>
                    <a:pt x="589" y="123"/>
                  </a:lnTo>
                  <a:lnTo>
                    <a:pt x="589" y="123"/>
                  </a:lnTo>
                  <a:lnTo>
                    <a:pt x="588" y="124"/>
                  </a:lnTo>
                  <a:lnTo>
                    <a:pt x="588" y="124"/>
                  </a:lnTo>
                  <a:lnTo>
                    <a:pt x="586" y="124"/>
                  </a:lnTo>
                  <a:lnTo>
                    <a:pt x="586" y="124"/>
                  </a:lnTo>
                  <a:lnTo>
                    <a:pt x="585" y="123"/>
                  </a:lnTo>
                  <a:lnTo>
                    <a:pt x="585" y="123"/>
                  </a:lnTo>
                  <a:lnTo>
                    <a:pt x="580" y="124"/>
                  </a:lnTo>
                  <a:lnTo>
                    <a:pt x="580" y="124"/>
                  </a:lnTo>
                  <a:lnTo>
                    <a:pt x="578" y="126"/>
                  </a:lnTo>
                  <a:lnTo>
                    <a:pt x="578" y="126"/>
                  </a:lnTo>
                  <a:lnTo>
                    <a:pt x="575" y="129"/>
                  </a:lnTo>
                  <a:lnTo>
                    <a:pt x="575" y="129"/>
                  </a:lnTo>
                  <a:lnTo>
                    <a:pt x="574" y="129"/>
                  </a:lnTo>
                  <a:lnTo>
                    <a:pt x="574" y="129"/>
                  </a:lnTo>
                  <a:lnTo>
                    <a:pt x="572" y="129"/>
                  </a:lnTo>
                  <a:lnTo>
                    <a:pt x="572" y="129"/>
                  </a:lnTo>
                  <a:lnTo>
                    <a:pt x="574" y="132"/>
                  </a:lnTo>
                  <a:lnTo>
                    <a:pt x="574" y="132"/>
                  </a:lnTo>
                  <a:lnTo>
                    <a:pt x="575" y="132"/>
                  </a:lnTo>
                  <a:lnTo>
                    <a:pt x="575" y="132"/>
                  </a:lnTo>
                  <a:lnTo>
                    <a:pt x="577" y="132"/>
                  </a:lnTo>
                  <a:lnTo>
                    <a:pt x="577" y="132"/>
                  </a:lnTo>
                  <a:lnTo>
                    <a:pt x="572" y="132"/>
                  </a:lnTo>
                  <a:lnTo>
                    <a:pt x="572" y="132"/>
                  </a:lnTo>
                  <a:lnTo>
                    <a:pt x="567" y="135"/>
                  </a:lnTo>
                  <a:lnTo>
                    <a:pt x="567" y="135"/>
                  </a:lnTo>
                  <a:lnTo>
                    <a:pt x="564" y="138"/>
                  </a:lnTo>
                  <a:lnTo>
                    <a:pt x="564" y="138"/>
                  </a:lnTo>
                  <a:lnTo>
                    <a:pt x="564" y="138"/>
                  </a:lnTo>
                  <a:lnTo>
                    <a:pt x="564" y="138"/>
                  </a:lnTo>
                  <a:lnTo>
                    <a:pt x="567" y="140"/>
                  </a:lnTo>
                  <a:lnTo>
                    <a:pt x="567" y="140"/>
                  </a:lnTo>
                  <a:lnTo>
                    <a:pt x="564" y="140"/>
                  </a:lnTo>
                  <a:lnTo>
                    <a:pt x="564" y="140"/>
                  </a:lnTo>
                  <a:lnTo>
                    <a:pt x="567" y="142"/>
                  </a:lnTo>
                  <a:lnTo>
                    <a:pt x="567" y="142"/>
                  </a:lnTo>
                  <a:lnTo>
                    <a:pt x="570" y="142"/>
                  </a:lnTo>
                  <a:lnTo>
                    <a:pt x="570" y="142"/>
                  </a:lnTo>
                  <a:lnTo>
                    <a:pt x="570" y="143"/>
                  </a:lnTo>
                  <a:lnTo>
                    <a:pt x="570" y="143"/>
                  </a:lnTo>
                  <a:lnTo>
                    <a:pt x="574" y="145"/>
                  </a:lnTo>
                  <a:lnTo>
                    <a:pt x="574" y="145"/>
                  </a:lnTo>
                  <a:lnTo>
                    <a:pt x="575" y="145"/>
                  </a:lnTo>
                  <a:lnTo>
                    <a:pt x="575" y="145"/>
                  </a:lnTo>
                  <a:lnTo>
                    <a:pt x="577" y="143"/>
                  </a:lnTo>
                  <a:lnTo>
                    <a:pt x="577" y="143"/>
                  </a:lnTo>
                  <a:lnTo>
                    <a:pt x="577" y="145"/>
                  </a:lnTo>
                  <a:lnTo>
                    <a:pt x="577" y="145"/>
                  </a:lnTo>
                  <a:lnTo>
                    <a:pt x="580" y="146"/>
                  </a:lnTo>
                  <a:lnTo>
                    <a:pt x="580" y="146"/>
                  </a:lnTo>
                  <a:lnTo>
                    <a:pt x="577" y="148"/>
                  </a:lnTo>
                  <a:lnTo>
                    <a:pt x="577" y="148"/>
                  </a:lnTo>
                  <a:lnTo>
                    <a:pt x="575" y="150"/>
                  </a:lnTo>
                  <a:lnTo>
                    <a:pt x="575" y="150"/>
                  </a:lnTo>
                  <a:lnTo>
                    <a:pt x="577" y="150"/>
                  </a:lnTo>
                  <a:lnTo>
                    <a:pt x="577" y="150"/>
                  </a:lnTo>
                  <a:lnTo>
                    <a:pt x="574" y="151"/>
                  </a:lnTo>
                  <a:lnTo>
                    <a:pt x="574" y="151"/>
                  </a:lnTo>
                  <a:lnTo>
                    <a:pt x="570" y="151"/>
                  </a:lnTo>
                  <a:lnTo>
                    <a:pt x="570" y="151"/>
                  </a:lnTo>
                  <a:lnTo>
                    <a:pt x="570" y="153"/>
                  </a:lnTo>
                  <a:lnTo>
                    <a:pt x="570" y="153"/>
                  </a:lnTo>
                  <a:lnTo>
                    <a:pt x="567" y="154"/>
                  </a:lnTo>
                  <a:lnTo>
                    <a:pt x="567" y="154"/>
                  </a:lnTo>
                  <a:lnTo>
                    <a:pt x="570" y="154"/>
                  </a:lnTo>
                  <a:lnTo>
                    <a:pt x="570" y="154"/>
                  </a:lnTo>
                  <a:lnTo>
                    <a:pt x="572" y="154"/>
                  </a:lnTo>
                  <a:lnTo>
                    <a:pt x="572" y="154"/>
                  </a:lnTo>
                  <a:lnTo>
                    <a:pt x="574" y="154"/>
                  </a:lnTo>
                  <a:lnTo>
                    <a:pt x="574" y="154"/>
                  </a:lnTo>
                  <a:lnTo>
                    <a:pt x="575" y="151"/>
                  </a:lnTo>
                  <a:lnTo>
                    <a:pt x="575" y="151"/>
                  </a:lnTo>
                  <a:lnTo>
                    <a:pt x="577" y="151"/>
                  </a:lnTo>
                  <a:lnTo>
                    <a:pt x="577" y="151"/>
                  </a:lnTo>
                  <a:lnTo>
                    <a:pt x="578" y="151"/>
                  </a:lnTo>
                  <a:lnTo>
                    <a:pt x="578" y="151"/>
                  </a:lnTo>
                  <a:lnTo>
                    <a:pt x="578" y="153"/>
                  </a:lnTo>
                  <a:lnTo>
                    <a:pt x="578" y="153"/>
                  </a:lnTo>
                  <a:lnTo>
                    <a:pt x="577" y="154"/>
                  </a:lnTo>
                  <a:lnTo>
                    <a:pt x="577" y="154"/>
                  </a:lnTo>
                  <a:lnTo>
                    <a:pt x="574" y="156"/>
                  </a:lnTo>
                  <a:lnTo>
                    <a:pt x="574" y="156"/>
                  </a:lnTo>
                  <a:lnTo>
                    <a:pt x="577" y="156"/>
                  </a:lnTo>
                  <a:lnTo>
                    <a:pt x="577" y="156"/>
                  </a:lnTo>
                  <a:lnTo>
                    <a:pt x="570" y="159"/>
                  </a:lnTo>
                  <a:lnTo>
                    <a:pt x="570" y="159"/>
                  </a:lnTo>
                  <a:lnTo>
                    <a:pt x="564" y="161"/>
                  </a:lnTo>
                  <a:lnTo>
                    <a:pt x="564" y="161"/>
                  </a:lnTo>
                  <a:lnTo>
                    <a:pt x="559" y="164"/>
                  </a:lnTo>
                  <a:lnTo>
                    <a:pt x="559" y="164"/>
                  </a:lnTo>
                  <a:lnTo>
                    <a:pt x="553" y="164"/>
                  </a:lnTo>
                  <a:lnTo>
                    <a:pt x="553" y="164"/>
                  </a:lnTo>
                  <a:lnTo>
                    <a:pt x="550" y="164"/>
                  </a:lnTo>
                  <a:lnTo>
                    <a:pt x="550" y="164"/>
                  </a:lnTo>
                  <a:lnTo>
                    <a:pt x="547" y="167"/>
                  </a:lnTo>
                  <a:lnTo>
                    <a:pt x="547" y="167"/>
                  </a:lnTo>
                  <a:lnTo>
                    <a:pt x="547" y="170"/>
                  </a:lnTo>
                  <a:lnTo>
                    <a:pt x="547" y="170"/>
                  </a:lnTo>
                  <a:lnTo>
                    <a:pt x="547" y="170"/>
                  </a:lnTo>
                  <a:lnTo>
                    <a:pt x="547" y="170"/>
                  </a:lnTo>
                  <a:lnTo>
                    <a:pt x="547" y="170"/>
                  </a:lnTo>
                  <a:lnTo>
                    <a:pt x="547" y="170"/>
                  </a:lnTo>
                  <a:lnTo>
                    <a:pt x="547" y="173"/>
                  </a:lnTo>
                  <a:lnTo>
                    <a:pt x="547" y="173"/>
                  </a:lnTo>
                  <a:lnTo>
                    <a:pt x="543" y="173"/>
                  </a:lnTo>
                  <a:lnTo>
                    <a:pt x="543" y="173"/>
                  </a:lnTo>
                  <a:lnTo>
                    <a:pt x="543" y="175"/>
                  </a:lnTo>
                  <a:lnTo>
                    <a:pt x="543" y="175"/>
                  </a:lnTo>
                  <a:lnTo>
                    <a:pt x="540" y="177"/>
                  </a:lnTo>
                  <a:lnTo>
                    <a:pt x="540" y="177"/>
                  </a:lnTo>
                  <a:lnTo>
                    <a:pt x="540" y="177"/>
                  </a:lnTo>
                  <a:lnTo>
                    <a:pt x="540" y="177"/>
                  </a:lnTo>
                  <a:lnTo>
                    <a:pt x="540" y="175"/>
                  </a:lnTo>
                  <a:lnTo>
                    <a:pt x="540" y="175"/>
                  </a:lnTo>
                  <a:lnTo>
                    <a:pt x="543" y="173"/>
                  </a:lnTo>
                  <a:lnTo>
                    <a:pt x="543" y="173"/>
                  </a:lnTo>
                  <a:lnTo>
                    <a:pt x="540" y="173"/>
                  </a:lnTo>
                  <a:lnTo>
                    <a:pt x="540" y="173"/>
                  </a:lnTo>
                  <a:lnTo>
                    <a:pt x="543" y="173"/>
                  </a:lnTo>
                  <a:lnTo>
                    <a:pt x="543" y="173"/>
                  </a:lnTo>
                  <a:lnTo>
                    <a:pt x="540" y="173"/>
                  </a:lnTo>
                  <a:lnTo>
                    <a:pt x="540" y="173"/>
                  </a:lnTo>
                  <a:lnTo>
                    <a:pt x="540" y="173"/>
                  </a:lnTo>
                  <a:lnTo>
                    <a:pt x="540" y="173"/>
                  </a:lnTo>
                  <a:lnTo>
                    <a:pt x="537" y="173"/>
                  </a:lnTo>
                  <a:lnTo>
                    <a:pt x="537" y="173"/>
                  </a:lnTo>
                  <a:lnTo>
                    <a:pt x="537" y="173"/>
                  </a:lnTo>
                  <a:lnTo>
                    <a:pt x="537" y="173"/>
                  </a:lnTo>
                  <a:lnTo>
                    <a:pt x="540" y="170"/>
                  </a:lnTo>
                  <a:lnTo>
                    <a:pt x="540" y="170"/>
                  </a:lnTo>
                  <a:lnTo>
                    <a:pt x="537" y="170"/>
                  </a:lnTo>
                  <a:lnTo>
                    <a:pt x="537" y="170"/>
                  </a:lnTo>
                  <a:lnTo>
                    <a:pt x="543" y="167"/>
                  </a:lnTo>
                  <a:lnTo>
                    <a:pt x="543" y="167"/>
                  </a:lnTo>
                  <a:lnTo>
                    <a:pt x="547" y="164"/>
                  </a:lnTo>
                  <a:lnTo>
                    <a:pt x="547" y="164"/>
                  </a:lnTo>
                  <a:lnTo>
                    <a:pt x="550" y="161"/>
                  </a:lnTo>
                  <a:lnTo>
                    <a:pt x="550" y="161"/>
                  </a:lnTo>
                  <a:lnTo>
                    <a:pt x="543" y="162"/>
                  </a:lnTo>
                  <a:lnTo>
                    <a:pt x="543" y="162"/>
                  </a:lnTo>
                  <a:lnTo>
                    <a:pt x="540" y="164"/>
                  </a:lnTo>
                  <a:lnTo>
                    <a:pt x="540" y="164"/>
                  </a:lnTo>
                  <a:lnTo>
                    <a:pt x="547" y="161"/>
                  </a:lnTo>
                  <a:lnTo>
                    <a:pt x="547" y="161"/>
                  </a:lnTo>
                  <a:lnTo>
                    <a:pt x="543" y="161"/>
                  </a:lnTo>
                  <a:lnTo>
                    <a:pt x="543" y="161"/>
                  </a:lnTo>
                  <a:lnTo>
                    <a:pt x="540" y="161"/>
                  </a:lnTo>
                  <a:lnTo>
                    <a:pt x="540" y="161"/>
                  </a:lnTo>
                  <a:lnTo>
                    <a:pt x="540" y="159"/>
                  </a:lnTo>
                  <a:lnTo>
                    <a:pt x="540" y="159"/>
                  </a:lnTo>
                  <a:lnTo>
                    <a:pt x="537" y="158"/>
                  </a:lnTo>
                  <a:lnTo>
                    <a:pt x="537" y="158"/>
                  </a:lnTo>
                  <a:lnTo>
                    <a:pt x="535" y="158"/>
                  </a:lnTo>
                  <a:lnTo>
                    <a:pt x="535" y="158"/>
                  </a:lnTo>
                  <a:lnTo>
                    <a:pt x="534" y="159"/>
                  </a:lnTo>
                  <a:lnTo>
                    <a:pt x="534" y="159"/>
                  </a:lnTo>
                  <a:lnTo>
                    <a:pt x="531" y="161"/>
                  </a:lnTo>
                  <a:lnTo>
                    <a:pt x="531" y="161"/>
                  </a:lnTo>
                  <a:lnTo>
                    <a:pt x="526" y="159"/>
                  </a:lnTo>
                  <a:lnTo>
                    <a:pt x="526" y="159"/>
                  </a:lnTo>
                  <a:lnTo>
                    <a:pt x="526" y="162"/>
                  </a:lnTo>
                  <a:lnTo>
                    <a:pt x="526" y="162"/>
                  </a:lnTo>
                  <a:lnTo>
                    <a:pt x="524" y="162"/>
                  </a:lnTo>
                  <a:lnTo>
                    <a:pt x="524" y="162"/>
                  </a:lnTo>
                  <a:lnTo>
                    <a:pt x="524" y="164"/>
                  </a:lnTo>
                  <a:lnTo>
                    <a:pt x="524" y="164"/>
                  </a:lnTo>
                  <a:lnTo>
                    <a:pt x="524" y="167"/>
                  </a:lnTo>
                  <a:lnTo>
                    <a:pt x="524" y="167"/>
                  </a:lnTo>
                  <a:lnTo>
                    <a:pt x="523" y="164"/>
                  </a:lnTo>
                  <a:lnTo>
                    <a:pt x="523" y="164"/>
                  </a:lnTo>
                  <a:lnTo>
                    <a:pt x="521" y="164"/>
                  </a:lnTo>
                  <a:lnTo>
                    <a:pt x="521" y="164"/>
                  </a:lnTo>
                  <a:lnTo>
                    <a:pt x="521" y="164"/>
                  </a:lnTo>
                  <a:lnTo>
                    <a:pt x="521" y="164"/>
                  </a:lnTo>
                  <a:lnTo>
                    <a:pt x="521" y="167"/>
                  </a:lnTo>
                  <a:lnTo>
                    <a:pt x="521" y="167"/>
                  </a:lnTo>
                  <a:lnTo>
                    <a:pt x="518" y="167"/>
                  </a:lnTo>
                  <a:lnTo>
                    <a:pt x="518" y="167"/>
                  </a:lnTo>
                  <a:lnTo>
                    <a:pt x="513" y="167"/>
                  </a:lnTo>
                  <a:lnTo>
                    <a:pt x="513" y="167"/>
                  </a:lnTo>
                  <a:lnTo>
                    <a:pt x="508" y="167"/>
                  </a:lnTo>
                  <a:lnTo>
                    <a:pt x="508" y="167"/>
                  </a:lnTo>
                  <a:lnTo>
                    <a:pt x="501" y="167"/>
                  </a:lnTo>
                  <a:lnTo>
                    <a:pt x="501" y="167"/>
                  </a:lnTo>
                  <a:lnTo>
                    <a:pt x="494" y="167"/>
                  </a:lnTo>
                  <a:lnTo>
                    <a:pt x="494" y="167"/>
                  </a:lnTo>
                  <a:lnTo>
                    <a:pt x="489" y="167"/>
                  </a:lnTo>
                  <a:lnTo>
                    <a:pt x="489" y="167"/>
                  </a:lnTo>
                  <a:lnTo>
                    <a:pt x="485" y="167"/>
                  </a:lnTo>
                  <a:lnTo>
                    <a:pt x="485" y="167"/>
                  </a:lnTo>
                  <a:lnTo>
                    <a:pt x="483" y="167"/>
                  </a:lnTo>
                  <a:lnTo>
                    <a:pt x="483" y="167"/>
                  </a:lnTo>
                  <a:lnTo>
                    <a:pt x="482" y="167"/>
                  </a:lnTo>
                  <a:lnTo>
                    <a:pt x="482" y="167"/>
                  </a:lnTo>
                  <a:lnTo>
                    <a:pt x="480" y="164"/>
                  </a:lnTo>
                  <a:lnTo>
                    <a:pt x="480" y="164"/>
                  </a:lnTo>
                  <a:lnTo>
                    <a:pt x="480" y="164"/>
                  </a:lnTo>
                  <a:lnTo>
                    <a:pt x="480" y="164"/>
                  </a:lnTo>
                  <a:lnTo>
                    <a:pt x="480" y="162"/>
                  </a:lnTo>
                  <a:lnTo>
                    <a:pt x="480" y="162"/>
                  </a:lnTo>
                  <a:lnTo>
                    <a:pt x="470" y="164"/>
                  </a:lnTo>
                  <a:lnTo>
                    <a:pt x="470" y="164"/>
                  </a:lnTo>
                  <a:lnTo>
                    <a:pt x="467" y="164"/>
                  </a:lnTo>
                  <a:lnTo>
                    <a:pt x="467" y="164"/>
                  </a:lnTo>
                  <a:lnTo>
                    <a:pt x="467" y="162"/>
                  </a:lnTo>
                  <a:lnTo>
                    <a:pt x="467" y="162"/>
                  </a:lnTo>
                  <a:lnTo>
                    <a:pt x="467" y="161"/>
                  </a:lnTo>
                  <a:lnTo>
                    <a:pt x="467" y="161"/>
                  </a:lnTo>
                  <a:lnTo>
                    <a:pt x="466" y="162"/>
                  </a:lnTo>
                  <a:lnTo>
                    <a:pt x="466" y="162"/>
                  </a:lnTo>
                  <a:lnTo>
                    <a:pt x="467" y="161"/>
                  </a:lnTo>
                  <a:lnTo>
                    <a:pt x="467" y="161"/>
                  </a:lnTo>
                  <a:lnTo>
                    <a:pt x="466" y="161"/>
                  </a:lnTo>
                  <a:lnTo>
                    <a:pt x="466" y="161"/>
                  </a:lnTo>
                  <a:lnTo>
                    <a:pt x="462" y="159"/>
                  </a:lnTo>
                  <a:lnTo>
                    <a:pt x="462" y="159"/>
                  </a:lnTo>
                  <a:lnTo>
                    <a:pt x="464" y="159"/>
                  </a:lnTo>
                  <a:lnTo>
                    <a:pt x="464" y="159"/>
                  </a:lnTo>
                  <a:lnTo>
                    <a:pt x="466" y="156"/>
                  </a:lnTo>
                  <a:lnTo>
                    <a:pt x="466" y="156"/>
                  </a:lnTo>
                  <a:lnTo>
                    <a:pt x="466" y="154"/>
                  </a:lnTo>
                  <a:lnTo>
                    <a:pt x="466" y="154"/>
                  </a:lnTo>
                  <a:lnTo>
                    <a:pt x="466" y="153"/>
                  </a:lnTo>
                  <a:lnTo>
                    <a:pt x="466" y="153"/>
                  </a:lnTo>
                  <a:lnTo>
                    <a:pt x="462" y="153"/>
                  </a:lnTo>
                  <a:lnTo>
                    <a:pt x="462" y="153"/>
                  </a:lnTo>
                  <a:lnTo>
                    <a:pt x="459" y="153"/>
                  </a:lnTo>
                  <a:lnTo>
                    <a:pt x="459" y="153"/>
                  </a:lnTo>
                  <a:lnTo>
                    <a:pt x="455" y="154"/>
                  </a:lnTo>
                  <a:lnTo>
                    <a:pt x="455" y="154"/>
                  </a:lnTo>
                  <a:lnTo>
                    <a:pt x="442" y="156"/>
                  </a:lnTo>
                  <a:lnTo>
                    <a:pt x="442" y="156"/>
                  </a:lnTo>
                  <a:lnTo>
                    <a:pt x="437" y="158"/>
                  </a:lnTo>
                  <a:lnTo>
                    <a:pt x="437" y="158"/>
                  </a:lnTo>
                  <a:lnTo>
                    <a:pt x="431" y="161"/>
                  </a:lnTo>
                  <a:lnTo>
                    <a:pt x="431" y="161"/>
                  </a:lnTo>
                  <a:lnTo>
                    <a:pt x="432" y="161"/>
                  </a:lnTo>
                  <a:lnTo>
                    <a:pt x="432" y="161"/>
                  </a:lnTo>
                  <a:lnTo>
                    <a:pt x="432" y="162"/>
                  </a:lnTo>
                  <a:lnTo>
                    <a:pt x="432" y="162"/>
                  </a:lnTo>
                  <a:lnTo>
                    <a:pt x="434" y="162"/>
                  </a:lnTo>
                  <a:lnTo>
                    <a:pt x="434" y="162"/>
                  </a:lnTo>
                  <a:lnTo>
                    <a:pt x="435" y="162"/>
                  </a:lnTo>
                  <a:lnTo>
                    <a:pt x="435" y="162"/>
                  </a:lnTo>
                  <a:lnTo>
                    <a:pt x="439" y="162"/>
                  </a:lnTo>
                  <a:lnTo>
                    <a:pt x="439" y="162"/>
                  </a:lnTo>
                  <a:lnTo>
                    <a:pt x="439" y="161"/>
                  </a:lnTo>
                  <a:lnTo>
                    <a:pt x="439" y="161"/>
                  </a:lnTo>
                  <a:lnTo>
                    <a:pt x="439" y="161"/>
                  </a:lnTo>
                  <a:lnTo>
                    <a:pt x="439" y="161"/>
                  </a:lnTo>
                  <a:lnTo>
                    <a:pt x="442" y="161"/>
                  </a:lnTo>
                  <a:lnTo>
                    <a:pt x="442" y="161"/>
                  </a:lnTo>
                  <a:lnTo>
                    <a:pt x="445" y="161"/>
                  </a:lnTo>
                  <a:lnTo>
                    <a:pt x="445" y="161"/>
                  </a:lnTo>
                  <a:lnTo>
                    <a:pt x="448" y="159"/>
                  </a:lnTo>
                  <a:lnTo>
                    <a:pt x="448" y="159"/>
                  </a:lnTo>
                  <a:lnTo>
                    <a:pt x="450" y="161"/>
                  </a:lnTo>
                  <a:lnTo>
                    <a:pt x="450" y="161"/>
                  </a:lnTo>
                  <a:lnTo>
                    <a:pt x="451" y="159"/>
                  </a:lnTo>
                  <a:lnTo>
                    <a:pt x="451" y="159"/>
                  </a:lnTo>
                  <a:lnTo>
                    <a:pt x="455" y="158"/>
                  </a:lnTo>
                  <a:lnTo>
                    <a:pt x="455" y="158"/>
                  </a:lnTo>
                  <a:lnTo>
                    <a:pt x="458" y="158"/>
                  </a:lnTo>
                  <a:lnTo>
                    <a:pt x="458" y="158"/>
                  </a:lnTo>
                  <a:lnTo>
                    <a:pt x="464" y="156"/>
                  </a:lnTo>
                  <a:lnTo>
                    <a:pt x="464" y="156"/>
                  </a:lnTo>
                  <a:lnTo>
                    <a:pt x="461" y="158"/>
                  </a:lnTo>
                  <a:lnTo>
                    <a:pt x="461" y="158"/>
                  </a:lnTo>
                  <a:lnTo>
                    <a:pt x="458" y="159"/>
                  </a:lnTo>
                  <a:lnTo>
                    <a:pt x="458" y="159"/>
                  </a:lnTo>
                  <a:lnTo>
                    <a:pt x="453" y="161"/>
                  </a:lnTo>
                  <a:lnTo>
                    <a:pt x="453" y="161"/>
                  </a:lnTo>
                  <a:lnTo>
                    <a:pt x="450" y="162"/>
                  </a:lnTo>
                  <a:lnTo>
                    <a:pt x="450" y="162"/>
                  </a:lnTo>
                  <a:lnTo>
                    <a:pt x="445" y="162"/>
                  </a:lnTo>
                  <a:lnTo>
                    <a:pt x="445" y="162"/>
                  </a:lnTo>
                  <a:lnTo>
                    <a:pt x="442" y="164"/>
                  </a:lnTo>
                  <a:lnTo>
                    <a:pt x="442" y="164"/>
                  </a:lnTo>
                  <a:lnTo>
                    <a:pt x="437" y="164"/>
                  </a:lnTo>
                  <a:lnTo>
                    <a:pt x="437" y="164"/>
                  </a:lnTo>
                  <a:lnTo>
                    <a:pt x="435" y="164"/>
                  </a:lnTo>
                  <a:lnTo>
                    <a:pt x="435" y="164"/>
                  </a:lnTo>
                  <a:lnTo>
                    <a:pt x="435" y="164"/>
                  </a:lnTo>
                  <a:lnTo>
                    <a:pt x="435" y="164"/>
                  </a:lnTo>
                  <a:lnTo>
                    <a:pt x="434" y="164"/>
                  </a:lnTo>
                  <a:lnTo>
                    <a:pt x="434" y="164"/>
                  </a:lnTo>
                  <a:lnTo>
                    <a:pt x="432" y="167"/>
                  </a:lnTo>
                  <a:lnTo>
                    <a:pt x="432" y="167"/>
                  </a:lnTo>
                  <a:lnTo>
                    <a:pt x="431" y="167"/>
                  </a:lnTo>
                  <a:lnTo>
                    <a:pt x="431" y="167"/>
                  </a:lnTo>
                  <a:lnTo>
                    <a:pt x="431" y="170"/>
                  </a:lnTo>
                  <a:lnTo>
                    <a:pt x="431" y="170"/>
                  </a:lnTo>
                  <a:lnTo>
                    <a:pt x="431" y="170"/>
                  </a:lnTo>
                  <a:lnTo>
                    <a:pt x="431" y="170"/>
                  </a:lnTo>
                  <a:lnTo>
                    <a:pt x="429" y="173"/>
                  </a:lnTo>
                  <a:lnTo>
                    <a:pt x="429" y="173"/>
                  </a:lnTo>
                  <a:lnTo>
                    <a:pt x="429" y="175"/>
                  </a:lnTo>
                  <a:lnTo>
                    <a:pt x="429" y="175"/>
                  </a:lnTo>
                  <a:lnTo>
                    <a:pt x="429" y="177"/>
                  </a:lnTo>
                  <a:lnTo>
                    <a:pt x="429" y="177"/>
                  </a:lnTo>
                  <a:lnTo>
                    <a:pt x="428" y="178"/>
                  </a:lnTo>
                  <a:lnTo>
                    <a:pt x="428" y="178"/>
                  </a:lnTo>
                  <a:lnTo>
                    <a:pt x="428" y="177"/>
                  </a:lnTo>
                  <a:lnTo>
                    <a:pt x="428" y="177"/>
                  </a:lnTo>
                  <a:lnTo>
                    <a:pt x="426" y="178"/>
                  </a:lnTo>
                  <a:lnTo>
                    <a:pt x="426" y="178"/>
                  </a:lnTo>
                  <a:lnTo>
                    <a:pt x="424" y="178"/>
                  </a:lnTo>
                  <a:lnTo>
                    <a:pt x="424" y="178"/>
                  </a:lnTo>
                  <a:lnTo>
                    <a:pt x="424" y="177"/>
                  </a:lnTo>
                  <a:lnTo>
                    <a:pt x="424" y="177"/>
                  </a:lnTo>
                  <a:lnTo>
                    <a:pt x="426" y="175"/>
                  </a:lnTo>
                  <a:lnTo>
                    <a:pt x="426" y="175"/>
                  </a:lnTo>
                  <a:lnTo>
                    <a:pt x="423" y="177"/>
                  </a:lnTo>
                  <a:lnTo>
                    <a:pt x="423" y="177"/>
                  </a:lnTo>
                  <a:lnTo>
                    <a:pt x="421" y="178"/>
                  </a:lnTo>
                  <a:lnTo>
                    <a:pt x="421" y="178"/>
                  </a:lnTo>
                  <a:lnTo>
                    <a:pt x="421" y="180"/>
                  </a:lnTo>
                  <a:lnTo>
                    <a:pt x="421" y="180"/>
                  </a:lnTo>
                  <a:lnTo>
                    <a:pt x="421" y="181"/>
                  </a:lnTo>
                  <a:lnTo>
                    <a:pt x="421" y="181"/>
                  </a:lnTo>
                  <a:lnTo>
                    <a:pt x="421" y="185"/>
                  </a:lnTo>
                  <a:lnTo>
                    <a:pt x="421" y="185"/>
                  </a:lnTo>
                  <a:lnTo>
                    <a:pt x="421" y="181"/>
                  </a:lnTo>
                  <a:lnTo>
                    <a:pt x="421" y="181"/>
                  </a:lnTo>
                  <a:lnTo>
                    <a:pt x="421" y="180"/>
                  </a:lnTo>
                  <a:lnTo>
                    <a:pt x="421" y="180"/>
                  </a:lnTo>
                  <a:lnTo>
                    <a:pt x="418" y="180"/>
                  </a:lnTo>
                  <a:lnTo>
                    <a:pt x="418" y="180"/>
                  </a:lnTo>
                  <a:lnTo>
                    <a:pt x="418" y="178"/>
                  </a:lnTo>
                  <a:lnTo>
                    <a:pt x="418" y="178"/>
                  </a:lnTo>
                  <a:lnTo>
                    <a:pt x="421" y="177"/>
                  </a:lnTo>
                  <a:lnTo>
                    <a:pt x="421" y="177"/>
                  </a:lnTo>
                  <a:lnTo>
                    <a:pt x="418" y="175"/>
                  </a:lnTo>
                  <a:lnTo>
                    <a:pt x="418" y="175"/>
                  </a:lnTo>
                  <a:lnTo>
                    <a:pt x="418" y="175"/>
                  </a:lnTo>
                  <a:lnTo>
                    <a:pt x="418" y="175"/>
                  </a:lnTo>
                  <a:lnTo>
                    <a:pt x="418" y="173"/>
                  </a:lnTo>
                  <a:lnTo>
                    <a:pt x="418" y="173"/>
                  </a:lnTo>
                  <a:lnTo>
                    <a:pt x="421" y="175"/>
                  </a:lnTo>
                  <a:lnTo>
                    <a:pt x="421" y="175"/>
                  </a:lnTo>
                  <a:lnTo>
                    <a:pt x="424" y="175"/>
                  </a:lnTo>
                  <a:lnTo>
                    <a:pt x="424" y="175"/>
                  </a:lnTo>
                  <a:lnTo>
                    <a:pt x="424" y="173"/>
                  </a:lnTo>
                  <a:lnTo>
                    <a:pt x="424" y="173"/>
                  </a:lnTo>
                  <a:lnTo>
                    <a:pt x="424" y="173"/>
                  </a:lnTo>
                  <a:lnTo>
                    <a:pt x="424" y="173"/>
                  </a:lnTo>
                  <a:lnTo>
                    <a:pt x="423" y="170"/>
                  </a:lnTo>
                  <a:lnTo>
                    <a:pt x="423" y="170"/>
                  </a:lnTo>
                  <a:lnTo>
                    <a:pt x="421" y="173"/>
                  </a:lnTo>
                  <a:lnTo>
                    <a:pt x="421" y="173"/>
                  </a:lnTo>
                  <a:lnTo>
                    <a:pt x="423" y="170"/>
                  </a:lnTo>
                  <a:lnTo>
                    <a:pt x="423" y="170"/>
                  </a:lnTo>
                  <a:lnTo>
                    <a:pt x="421" y="170"/>
                  </a:lnTo>
                  <a:lnTo>
                    <a:pt x="421" y="170"/>
                  </a:lnTo>
                  <a:lnTo>
                    <a:pt x="421" y="170"/>
                  </a:lnTo>
                  <a:lnTo>
                    <a:pt x="421" y="170"/>
                  </a:lnTo>
                  <a:lnTo>
                    <a:pt x="418" y="173"/>
                  </a:lnTo>
                  <a:lnTo>
                    <a:pt x="418" y="173"/>
                  </a:lnTo>
                  <a:lnTo>
                    <a:pt x="418" y="170"/>
                  </a:lnTo>
                  <a:lnTo>
                    <a:pt x="418" y="170"/>
                  </a:lnTo>
                  <a:lnTo>
                    <a:pt x="418" y="170"/>
                  </a:lnTo>
                  <a:lnTo>
                    <a:pt x="418" y="170"/>
                  </a:lnTo>
                  <a:lnTo>
                    <a:pt x="421" y="167"/>
                  </a:lnTo>
                  <a:lnTo>
                    <a:pt x="421" y="167"/>
                  </a:lnTo>
                  <a:lnTo>
                    <a:pt x="415" y="167"/>
                  </a:lnTo>
                  <a:lnTo>
                    <a:pt x="415" y="167"/>
                  </a:lnTo>
                  <a:lnTo>
                    <a:pt x="415" y="167"/>
                  </a:lnTo>
                  <a:lnTo>
                    <a:pt x="415" y="167"/>
                  </a:lnTo>
                  <a:lnTo>
                    <a:pt x="415" y="167"/>
                  </a:lnTo>
                  <a:lnTo>
                    <a:pt x="415" y="167"/>
                  </a:lnTo>
                  <a:lnTo>
                    <a:pt x="415" y="164"/>
                  </a:lnTo>
                  <a:lnTo>
                    <a:pt x="415" y="164"/>
                  </a:lnTo>
                  <a:lnTo>
                    <a:pt x="412" y="164"/>
                  </a:lnTo>
                  <a:lnTo>
                    <a:pt x="412" y="164"/>
                  </a:lnTo>
                  <a:lnTo>
                    <a:pt x="410" y="164"/>
                  </a:lnTo>
                  <a:lnTo>
                    <a:pt x="410" y="164"/>
                  </a:lnTo>
                  <a:lnTo>
                    <a:pt x="402" y="167"/>
                  </a:lnTo>
                  <a:lnTo>
                    <a:pt x="402" y="167"/>
                  </a:lnTo>
                  <a:lnTo>
                    <a:pt x="401" y="167"/>
                  </a:lnTo>
                  <a:lnTo>
                    <a:pt x="401" y="167"/>
                  </a:lnTo>
                  <a:lnTo>
                    <a:pt x="397" y="167"/>
                  </a:lnTo>
                  <a:lnTo>
                    <a:pt x="397" y="167"/>
                  </a:lnTo>
                  <a:lnTo>
                    <a:pt x="394" y="167"/>
                  </a:lnTo>
                  <a:lnTo>
                    <a:pt x="394" y="167"/>
                  </a:lnTo>
                  <a:lnTo>
                    <a:pt x="389" y="167"/>
                  </a:lnTo>
                  <a:lnTo>
                    <a:pt x="389" y="167"/>
                  </a:lnTo>
                  <a:lnTo>
                    <a:pt x="386" y="167"/>
                  </a:lnTo>
                  <a:lnTo>
                    <a:pt x="386" y="167"/>
                  </a:lnTo>
                  <a:lnTo>
                    <a:pt x="374" y="167"/>
                  </a:lnTo>
                  <a:lnTo>
                    <a:pt x="374" y="167"/>
                  </a:lnTo>
                  <a:lnTo>
                    <a:pt x="367" y="167"/>
                  </a:lnTo>
                  <a:lnTo>
                    <a:pt x="367" y="167"/>
                  </a:lnTo>
                  <a:lnTo>
                    <a:pt x="362" y="164"/>
                  </a:lnTo>
                  <a:lnTo>
                    <a:pt x="362" y="164"/>
                  </a:lnTo>
                  <a:lnTo>
                    <a:pt x="367" y="164"/>
                  </a:lnTo>
                  <a:lnTo>
                    <a:pt x="367" y="164"/>
                  </a:lnTo>
                  <a:lnTo>
                    <a:pt x="369" y="164"/>
                  </a:lnTo>
                  <a:lnTo>
                    <a:pt x="369" y="164"/>
                  </a:lnTo>
                  <a:lnTo>
                    <a:pt x="372" y="162"/>
                  </a:lnTo>
                  <a:lnTo>
                    <a:pt x="372" y="162"/>
                  </a:lnTo>
                  <a:lnTo>
                    <a:pt x="375" y="162"/>
                  </a:lnTo>
                  <a:lnTo>
                    <a:pt x="375" y="162"/>
                  </a:lnTo>
                  <a:lnTo>
                    <a:pt x="377" y="161"/>
                  </a:lnTo>
                  <a:lnTo>
                    <a:pt x="377" y="161"/>
                  </a:lnTo>
                  <a:lnTo>
                    <a:pt x="380" y="161"/>
                  </a:lnTo>
                  <a:lnTo>
                    <a:pt x="380" y="161"/>
                  </a:lnTo>
                  <a:lnTo>
                    <a:pt x="383" y="159"/>
                  </a:lnTo>
                  <a:lnTo>
                    <a:pt x="383" y="159"/>
                  </a:lnTo>
                  <a:lnTo>
                    <a:pt x="383" y="158"/>
                  </a:lnTo>
                  <a:lnTo>
                    <a:pt x="383" y="158"/>
                  </a:lnTo>
                  <a:lnTo>
                    <a:pt x="383" y="156"/>
                  </a:lnTo>
                  <a:lnTo>
                    <a:pt x="383" y="156"/>
                  </a:lnTo>
                  <a:lnTo>
                    <a:pt x="380" y="154"/>
                  </a:lnTo>
                  <a:lnTo>
                    <a:pt x="380" y="154"/>
                  </a:lnTo>
                  <a:lnTo>
                    <a:pt x="377" y="153"/>
                  </a:lnTo>
                  <a:lnTo>
                    <a:pt x="377" y="153"/>
                  </a:lnTo>
                  <a:lnTo>
                    <a:pt x="374" y="151"/>
                  </a:lnTo>
                  <a:lnTo>
                    <a:pt x="374" y="151"/>
                  </a:lnTo>
                  <a:lnTo>
                    <a:pt x="369" y="153"/>
                  </a:lnTo>
                  <a:lnTo>
                    <a:pt x="369" y="153"/>
                  </a:lnTo>
                  <a:lnTo>
                    <a:pt x="370" y="153"/>
                  </a:lnTo>
                  <a:lnTo>
                    <a:pt x="370" y="153"/>
                  </a:lnTo>
                  <a:lnTo>
                    <a:pt x="364" y="154"/>
                  </a:lnTo>
                  <a:lnTo>
                    <a:pt x="364" y="154"/>
                  </a:lnTo>
                  <a:lnTo>
                    <a:pt x="359" y="153"/>
                  </a:lnTo>
                  <a:lnTo>
                    <a:pt x="359" y="153"/>
                  </a:lnTo>
                  <a:lnTo>
                    <a:pt x="356" y="153"/>
                  </a:lnTo>
                  <a:lnTo>
                    <a:pt x="356" y="153"/>
                  </a:lnTo>
                  <a:lnTo>
                    <a:pt x="351" y="151"/>
                  </a:lnTo>
                  <a:lnTo>
                    <a:pt x="351" y="151"/>
                  </a:lnTo>
                  <a:lnTo>
                    <a:pt x="348" y="148"/>
                  </a:lnTo>
                  <a:lnTo>
                    <a:pt x="348" y="148"/>
                  </a:lnTo>
                  <a:lnTo>
                    <a:pt x="345" y="148"/>
                  </a:lnTo>
                  <a:lnTo>
                    <a:pt x="345" y="148"/>
                  </a:lnTo>
                  <a:lnTo>
                    <a:pt x="340" y="146"/>
                  </a:lnTo>
                  <a:lnTo>
                    <a:pt x="340" y="146"/>
                  </a:lnTo>
                  <a:lnTo>
                    <a:pt x="337" y="145"/>
                  </a:lnTo>
                  <a:lnTo>
                    <a:pt x="337" y="145"/>
                  </a:lnTo>
                  <a:lnTo>
                    <a:pt x="334" y="142"/>
                  </a:lnTo>
                  <a:lnTo>
                    <a:pt x="334" y="142"/>
                  </a:lnTo>
                  <a:lnTo>
                    <a:pt x="329" y="142"/>
                  </a:lnTo>
                  <a:lnTo>
                    <a:pt x="329" y="142"/>
                  </a:lnTo>
                  <a:lnTo>
                    <a:pt x="323" y="142"/>
                  </a:lnTo>
                  <a:lnTo>
                    <a:pt x="323" y="142"/>
                  </a:lnTo>
                  <a:lnTo>
                    <a:pt x="320" y="142"/>
                  </a:lnTo>
                  <a:lnTo>
                    <a:pt x="320" y="142"/>
                  </a:lnTo>
                  <a:lnTo>
                    <a:pt x="310" y="146"/>
                  </a:lnTo>
                  <a:lnTo>
                    <a:pt x="310" y="146"/>
                  </a:lnTo>
                  <a:lnTo>
                    <a:pt x="305" y="148"/>
                  </a:lnTo>
                  <a:lnTo>
                    <a:pt x="305" y="148"/>
                  </a:lnTo>
                  <a:lnTo>
                    <a:pt x="299" y="146"/>
                  </a:lnTo>
                  <a:lnTo>
                    <a:pt x="299" y="146"/>
                  </a:lnTo>
                  <a:lnTo>
                    <a:pt x="304" y="145"/>
                  </a:lnTo>
                  <a:lnTo>
                    <a:pt x="304" y="145"/>
                  </a:lnTo>
                  <a:lnTo>
                    <a:pt x="308" y="143"/>
                  </a:lnTo>
                  <a:lnTo>
                    <a:pt x="308" y="143"/>
                  </a:lnTo>
                  <a:lnTo>
                    <a:pt x="305" y="143"/>
                  </a:lnTo>
                  <a:lnTo>
                    <a:pt x="305" y="143"/>
                  </a:lnTo>
                  <a:lnTo>
                    <a:pt x="307" y="140"/>
                  </a:lnTo>
                  <a:lnTo>
                    <a:pt x="307" y="140"/>
                  </a:lnTo>
                  <a:lnTo>
                    <a:pt x="310" y="138"/>
                  </a:lnTo>
                  <a:lnTo>
                    <a:pt x="310" y="138"/>
                  </a:lnTo>
                  <a:lnTo>
                    <a:pt x="307" y="138"/>
                  </a:lnTo>
                  <a:lnTo>
                    <a:pt x="307" y="138"/>
                  </a:lnTo>
                  <a:lnTo>
                    <a:pt x="302" y="140"/>
                  </a:lnTo>
                  <a:lnTo>
                    <a:pt x="302" y="140"/>
                  </a:lnTo>
                  <a:lnTo>
                    <a:pt x="297" y="142"/>
                  </a:lnTo>
                  <a:lnTo>
                    <a:pt x="297" y="142"/>
                  </a:lnTo>
                  <a:lnTo>
                    <a:pt x="296" y="143"/>
                  </a:lnTo>
                  <a:lnTo>
                    <a:pt x="296" y="143"/>
                  </a:lnTo>
                  <a:lnTo>
                    <a:pt x="296" y="145"/>
                  </a:lnTo>
                  <a:lnTo>
                    <a:pt x="296" y="145"/>
                  </a:lnTo>
                  <a:lnTo>
                    <a:pt x="293" y="145"/>
                  </a:lnTo>
                  <a:lnTo>
                    <a:pt x="293" y="145"/>
                  </a:lnTo>
                  <a:lnTo>
                    <a:pt x="289" y="146"/>
                  </a:lnTo>
                  <a:lnTo>
                    <a:pt x="289" y="146"/>
                  </a:lnTo>
                  <a:lnTo>
                    <a:pt x="286" y="146"/>
                  </a:lnTo>
                  <a:lnTo>
                    <a:pt x="286" y="146"/>
                  </a:lnTo>
                  <a:lnTo>
                    <a:pt x="286" y="145"/>
                  </a:lnTo>
                  <a:lnTo>
                    <a:pt x="286" y="145"/>
                  </a:lnTo>
                  <a:lnTo>
                    <a:pt x="286" y="143"/>
                  </a:lnTo>
                  <a:lnTo>
                    <a:pt x="286" y="143"/>
                  </a:lnTo>
                  <a:lnTo>
                    <a:pt x="286" y="142"/>
                  </a:lnTo>
                  <a:lnTo>
                    <a:pt x="286" y="142"/>
                  </a:lnTo>
                  <a:lnTo>
                    <a:pt x="286" y="138"/>
                  </a:lnTo>
                  <a:lnTo>
                    <a:pt x="286" y="138"/>
                  </a:lnTo>
                  <a:lnTo>
                    <a:pt x="286" y="135"/>
                  </a:lnTo>
                  <a:lnTo>
                    <a:pt x="286" y="135"/>
                  </a:lnTo>
                  <a:lnTo>
                    <a:pt x="286" y="132"/>
                  </a:lnTo>
                  <a:lnTo>
                    <a:pt x="286" y="132"/>
                  </a:lnTo>
                  <a:lnTo>
                    <a:pt x="283" y="135"/>
                  </a:lnTo>
                  <a:lnTo>
                    <a:pt x="283" y="135"/>
                  </a:lnTo>
                  <a:lnTo>
                    <a:pt x="281" y="135"/>
                  </a:lnTo>
                  <a:lnTo>
                    <a:pt x="281" y="135"/>
                  </a:lnTo>
                  <a:lnTo>
                    <a:pt x="285" y="135"/>
                  </a:lnTo>
                  <a:lnTo>
                    <a:pt x="285" y="135"/>
                  </a:lnTo>
                  <a:lnTo>
                    <a:pt x="280" y="138"/>
                  </a:lnTo>
                  <a:lnTo>
                    <a:pt x="280" y="138"/>
                  </a:lnTo>
                  <a:lnTo>
                    <a:pt x="277" y="138"/>
                  </a:lnTo>
                  <a:lnTo>
                    <a:pt x="277" y="138"/>
                  </a:lnTo>
                  <a:lnTo>
                    <a:pt x="270" y="140"/>
                  </a:lnTo>
                  <a:lnTo>
                    <a:pt x="270" y="140"/>
                  </a:lnTo>
                  <a:lnTo>
                    <a:pt x="266" y="142"/>
                  </a:lnTo>
                  <a:lnTo>
                    <a:pt x="266" y="142"/>
                  </a:lnTo>
                  <a:lnTo>
                    <a:pt x="264" y="143"/>
                  </a:lnTo>
                  <a:lnTo>
                    <a:pt x="264" y="143"/>
                  </a:lnTo>
                  <a:lnTo>
                    <a:pt x="261" y="142"/>
                  </a:lnTo>
                  <a:lnTo>
                    <a:pt x="261" y="142"/>
                  </a:lnTo>
                  <a:lnTo>
                    <a:pt x="264" y="142"/>
                  </a:lnTo>
                  <a:lnTo>
                    <a:pt x="264" y="142"/>
                  </a:lnTo>
                  <a:lnTo>
                    <a:pt x="258" y="142"/>
                  </a:lnTo>
                  <a:lnTo>
                    <a:pt x="258" y="142"/>
                  </a:lnTo>
                  <a:lnTo>
                    <a:pt x="250" y="143"/>
                  </a:lnTo>
                  <a:lnTo>
                    <a:pt x="250" y="143"/>
                  </a:lnTo>
                  <a:lnTo>
                    <a:pt x="243" y="146"/>
                  </a:lnTo>
                  <a:lnTo>
                    <a:pt x="243" y="146"/>
                  </a:lnTo>
                  <a:lnTo>
                    <a:pt x="239" y="148"/>
                  </a:lnTo>
                  <a:lnTo>
                    <a:pt x="239" y="148"/>
                  </a:lnTo>
                  <a:lnTo>
                    <a:pt x="240" y="146"/>
                  </a:lnTo>
                  <a:lnTo>
                    <a:pt x="240" y="146"/>
                  </a:lnTo>
                  <a:lnTo>
                    <a:pt x="242" y="145"/>
                  </a:lnTo>
                  <a:lnTo>
                    <a:pt x="242" y="145"/>
                  </a:lnTo>
                  <a:lnTo>
                    <a:pt x="239" y="146"/>
                  </a:lnTo>
                  <a:lnTo>
                    <a:pt x="239" y="146"/>
                  </a:lnTo>
                  <a:lnTo>
                    <a:pt x="242" y="143"/>
                  </a:lnTo>
                  <a:lnTo>
                    <a:pt x="242" y="143"/>
                  </a:lnTo>
                  <a:lnTo>
                    <a:pt x="245" y="143"/>
                  </a:lnTo>
                  <a:lnTo>
                    <a:pt x="245" y="143"/>
                  </a:lnTo>
                  <a:lnTo>
                    <a:pt x="251" y="142"/>
                  </a:lnTo>
                  <a:lnTo>
                    <a:pt x="251" y="142"/>
                  </a:lnTo>
                  <a:lnTo>
                    <a:pt x="261" y="140"/>
                  </a:lnTo>
                  <a:lnTo>
                    <a:pt x="261" y="140"/>
                  </a:lnTo>
                  <a:lnTo>
                    <a:pt x="264" y="138"/>
                  </a:lnTo>
                  <a:lnTo>
                    <a:pt x="264" y="138"/>
                  </a:lnTo>
                  <a:lnTo>
                    <a:pt x="266" y="138"/>
                  </a:lnTo>
                  <a:lnTo>
                    <a:pt x="266" y="138"/>
                  </a:lnTo>
                  <a:lnTo>
                    <a:pt x="264" y="138"/>
                  </a:lnTo>
                  <a:lnTo>
                    <a:pt x="264" y="138"/>
                  </a:lnTo>
                  <a:lnTo>
                    <a:pt x="264" y="135"/>
                  </a:lnTo>
                  <a:lnTo>
                    <a:pt x="264" y="135"/>
                  </a:lnTo>
                  <a:lnTo>
                    <a:pt x="264" y="138"/>
                  </a:lnTo>
                  <a:lnTo>
                    <a:pt x="264" y="138"/>
                  </a:lnTo>
                  <a:lnTo>
                    <a:pt x="258" y="138"/>
                  </a:lnTo>
                  <a:lnTo>
                    <a:pt x="258" y="138"/>
                  </a:lnTo>
                  <a:lnTo>
                    <a:pt x="258" y="138"/>
                  </a:lnTo>
                  <a:lnTo>
                    <a:pt x="258" y="138"/>
                  </a:lnTo>
                  <a:lnTo>
                    <a:pt x="250" y="138"/>
                  </a:lnTo>
                  <a:lnTo>
                    <a:pt x="250" y="138"/>
                  </a:lnTo>
                  <a:lnTo>
                    <a:pt x="247" y="140"/>
                  </a:lnTo>
                  <a:lnTo>
                    <a:pt x="247" y="140"/>
                  </a:lnTo>
                  <a:lnTo>
                    <a:pt x="245" y="140"/>
                  </a:lnTo>
                  <a:lnTo>
                    <a:pt x="245" y="140"/>
                  </a:lnTo>
                  <a:lnTo>
                    <a:pt x="237" y="142"/>
                  </a:lnTo>
                  <a:lnTo>
                    <a:pt x="237" y="142"/>
                  </a:lnTo>
                  <a:lnTo>
                    <a:pt x="234" y="143"/>
                  </a:lnTo>
                  <a:lnTo>
                    <a:pt x="234" y="143"/>
                  </a:lnTo>
                  <a:lnTo>
                    <a:pt x="232" y="142"/>
                  </a:lnTo>
                  <a:lnTo>
                    <a:pt x="232" y="142"/>
                  </a:lnTo>
                  <a:lnTo>
                    <a:pt x="229" y="143"/>
                  </a:lnTo>
                  <a:lnTo>
                    <a:pt x="229" y="143"/>
                  </a:lnTo>
                  <a:lnTo>
                    <a:pt x="229" y="143"/>
                  </a:lnTo>
                  <a:lnTo>
                    <a:pt x="229" y="143"/>
                  </a:lnTo>
                  <a:lnTo>
                    <a:pt x="223" y="145"/>
                  </a:lnTo>
                  <a:lnTo>
                    <a:pt x="223" y="145"/>
                  </a:lnTo>
                  <a:lnTo>
                    <a:pt x="220" y="146"/>
                  </a:lnTo>
                  <a:lnTo>
                    <a:pt x="220" y="146"/>
                  </a:lnTo>
                  <a:lnTo>
                    <a:pt x="207" y="150"/>
                  </a:lnTo>
                  <a:lnTo>
                    <a:pt x="207" y="150"/>
                  </a:lnTo>
                  <a:lnTo>
                    <a:pt x="200" y="151"/>
                  </a:lnTo>
                  <a:lnTo>
                    <a:pt x="200" y="151"/>
                  </a:lnTo>
                  <a:lnTo>
                    <a:pt x="200" y="153"/>
                  </a:lnTo>
                  <a:lnTo>
                    <a:pt x="200" y="153"/>
                  </a:lnTo>
                  <a:lnTo>
                    <a:pt x="199" y="154"/>
                  </a:lnTo>
                  <a:lnTo>
                    <a:pt x="199" y="154"/>
                  </a:lnTo>
                  <a:lnTo>
                    <a:pt x="199" y="156"/>
                  </a:lnTo>
                  <a:lnTo>
                    <a:pt x="199" y="156"/>
                  </a:lnTo>
                  <a:lnTo>
                    <a:pt x="197" y="156"/>
                  </a:lnTo>
                  <a:lnTo>
                    <a:pt x="197" y="156"/>
                  </a:lnTo>
                  <a:lnTo>
                    <a:pt x="197" y="153"/>
                  </a:lnTo>
                  <a:lnTo>
                    <a:pt x="197" y="153"/>
                  </a:lnTo>
                  <a:lnTo>
                    <a:pt x="194" y="153"/>
                  </a:lnTo>
                  <a:lnTo>
                    <a:pt x="194" y="153"/>
                  </a:lnTo>
                  <a:lnTo>
                    <a:pt x="191" y="153"/>
                  </a:lnTo>
                  <a:lnTo>
                    <a:pt x="191" y="153"/>
                  </a:lnTo>
                  <a:lnTo>
                    <a:pt x="191" y="154"/>
                  </a:lnTo>
                  <a:lnTo>
                    <a:pt x="191" y="154"/>
                  </a:lnTo>
                  <a:lnTo>
                    <a:pt x="191" y="156"/>
                  </a:lnTo>
                  <a:lnTo>
                    <a:pt x="191" y="156"/>
                  </a:lnTo>
                  <a:lnTo>
                    <a:pt x="188" y="154"/>
                  </a:lnTo>
                  <a:lnTo>
                    <a:pt x="188" y="154"/>
                  </a:lnTo>
                  <a:lnTo>
                    <a:pt x="185" y="154"/>
                  </a:lnTo>
                  <a:lnTo>
                    <a:pt x="185" y="154"/>
                  </a:lnTo>
                  <a:lnTo>
                    <a:pt x="183" y="153"/>
                  </a:lnTo>
                  <a:lnTo>
                    <a:pt x="183" y="153"/>
                  </a:lnTo>
                  <a:lnTo>
                    <a:pt x="178" y="153"/>
                  </a:lnTo>
                  <a:lnTo>
                    <a:pt x="178" y="153"/>
                  </a:lnTo>
                  <a:lnTo>
                    <a:pt x="174" y="151"/>
                  </a:lnTo>
                  <a:lnTo>
                    <a:pt x="174" y="151"/>
                  </a:lnTo>
                  <a:lnTo>
                    <a:pt x="170" y="150"/>
                  </a:lnTo>
                  <a:lnTo>
                    <a:pt x="170" y="150"/>
                  </a:lnTo>
                  <a:lnTo>
                    <a:pt x="170" y="148"/>
                  </a:lnTo>
                  <a:lnTo>
                    <a:pt x="170" y="148"/>
                  </a:lnTo>
                  <a:lnTo>
                    <a:pt x="167" y="148"/>
                  </a:lnTo>
                  <a:lnTo>
                    <a:pt x="167" y="148"/>
                  </a:lnTo>
                  <a:lnTo>
                    <a:pt x="167" y="146"/>
                  </a:lnTo>
                  <a:lnTo>
                    <a:pt x="167" y="146"/>
                  </a:lnTo>
                  <a:lnTo>
                    <a:pt x="164" y="145"/>
                  </a:lnTo>
                  <a:lnTo>
                    <a:pt x="164" y="145"/>
                  </a:lnTo>
                  <a:lnTo>
                    <a:pt x="164" y="145"/>
                  </a:lnTo>
                  <a:lnTo>
                    <a:pt x="164" y="145"/>
                  </a:lnTo>
                  <a:lnTo>
                    <a:pt x="158" y="145"/>
                  </a:lnTo>
                  <a:lnTo>
                    <a:pt x="158" y="145"/>
                  </a:lnTo>
                  <a:lnTo>
                    <a:pt x="140" y="138"/>
                  </a:lnTo>
                  <a:lnTo>
                    <a:pt x="140" y="138"/>
                  </a:lnTo>
                  <a:lnTo>
                    <a:pt x="143" y="140"/>
                  </a:lnTo>
                  <a:lnTo>
                    <a:pt x="143" y="140"/>
                  </a:lnTo>
                  <a:lnTo>
                    <a:pt x="145" y="142"/>
                  </a:lnTo>
                  <a:lnTo>
                    <a:pt x="145" y="142"/>
                  </a:lnTo>
                  <a:lnTo>
                    <a:pt x="148" y="143"/>
                  </a:lnTo>
                  <a:lnTo>
                    <a:pt x="148" y="143"/>
                  </a:lnTo>
                  <a:lnTo>
                    <a:pt x="150" y="143"/>
                  </a:lnTo>
                  <a:lnTo>
                    <a:pt x="150" y="143"/>
                  </a:lnTo>
                  <a:lnTo>
                    <a:pt x="151" y="143"/>
                  </a:lnTo>
                  <a:lnTo>
                    <a:pt x="151" y="143"/>
                  </a:lnTo>
                  <a:lnTo>
                    <a:pt x="10" y="261"/>
                  </a:lnTo>
                  <a:lnTo>
                    <a:pt x="10" y="261"/>
                  </a:lnTo>
                  <a:lnTo>
                    <a:pt x="13" y="264"/>
                  </a:lnTo>
                  <a:lnTo>
                    <a:pt x="13" y="264"/>
                  </a:lnTo>
                  <a:lnTo>
                    <a:pt x="15" y="264"/>
                  </a:lnTo>
                  <a:lnTo>
                    <a:pt x="15" y="264"/>
                  </a:lnTo>
                  <a:lnTo>
                    <a:pt x="16" y="264"/>
                  </a:lnTo>
                  <a:lnTo>
                    <a:pt x="16" y="264"/>
                  </a:lnTo>
                  <a:lnTo>
                    <a:pt x="20" y="264"/>
                  </a:lnTo>
                  <a:lnTo>
                    <a:pt x="20" y="264"/>
                  </a:lnTo>
                  <a:lnTo>
                    <a:pt x="23" y="261"/>
                  </a:lnTo>
                  <a:lnTo>
                    <a:pt x="23" y="261"/>
                  </a:lnTo>
                  <a:lnTo>
                    <a:pt x="29" y="261"/>
                  </a:lnTo>
                  <a:lnTo>
                    <a:pt x="29" y="261"/>
                  </a:lnTo>
                  <a:lnTo>
                    <a:pt x="26" y="264"/>
                  </a:lnTo>
                  <a:lnTo>
                    <a:pt x="26" y="264"/>
                  </a:lnTo>
                  <a:lnTo>
                    <a:pt x="24" y="264"/>
                  </a:lnTo>
                  <a:lnTo>
                    <a:pt x="24" y="264"/>
                  </a:lnTo>
                  <a:lnTo>
                    <a:pt x="24" y="265"/>
                  </a:lnTo>
                  <a:lnTo>
                    <a:pt x="24" y="265"/>
                  </a:lnTo>
                  <a:lnTo>
                    <a:pt x="26" y="269"/>
                  </a:lnTo>
                  <a:lnTo>
                    <a:pt x="26" y="269"/>
                  </a:lnTo>
                  <a:lnTo>
                    <a:pt x="26" y="272"/>
                  </a:lnTo>
                  <a:lnTo>
                    <a:pt x="26" y="272"/>
                  </a:lnTo>
                  <a:lnTo>
                    <a:pt x="27" y="275"/>
                  </a:lnTo>
                  <a:lnTo>
                    <a:pt x="27" y="275"/>
                  </a:lnTo>
                  <a:lnTo>
                    <a:pt x="27" y="278"/>
                  </a:lnTo>
                  <a:lnTo>
                    <a:pt x="27" y="278"/>
                  </a:lnTo>
                  <a:lnTo>
                    <a:pt x="24" y="280"/>
                  </a:lnTo>
                  <a:lnTo>
                    <a:pt x="24" y="280"/>
                  </a:lnTo>
                  <a:lnTo>
                    <a:pt x="39" y="277"/>
                  </a:lnTo>
                  <a:lnTo>
                    <a:pt x="39" y="277"/>
                  </a:lnTo>
                  <a:lnTo>
                    <a:pt x="40" y="275"/>
                  </a:lnTo>
                  <a:lnTo>
                    <a:pt x="40" y="275"/>
                  </a:lnTo>
                  <a:lnTo>
                    <a:pt x="42" y="273"/>
                  </a:lnTo>
                  <a:lnTo>
                    <a:pt x="42" y="273"/>
                  </a:lnTo>
                  <a:lnTo>
                    <a:pt x="42" y="273"/>
                  </a:lnTo>
                  <a:lnTo>
                    <a:pt x="42" y="273"/>
                  </a:lnTo>
                  <a:lnTo>
                    <a:pt x="45" y="273"/>
                  </a:lnTo>
                  <a:lnTo>
                    <a:pt x="45" y="273"/>
                  </a:lnTo>
                  <a:lnTo>
                    <a:pt x="45" y="270"/>
                  </a:lnTo>
                  <a:lnTo>
                    <a:pt x="45" y="270"/>
                  </a:lnTo>
                  <a:lnTo>
                    <a:pt x="48" y="270"/>
                  </a:lnTo>
                  <a:lnTo>
                    <a:pt x="48" y="270"/>
                  </a:lnTo>
                  <a:lnTo>
                    <a:pt x="50" y="270"/>
                  </a:lnTo>
                  <a:lnTo>
                    <a:pt x="50" y="270"/>
                  </a:lnTo>
                  <a:lnTo>
                    <a:pt x="51" y="270"/>
                  </a:lnTo>
                  <a:lnTo>
                    <a:pt x="51" y="270"/>
                  </a:lnTo>
                  <a:lnTo>
                    <a:pt x="53" y="269"/>
                  </a:lnTo>
                  <a:lnTo>
                    <a:pt x="53" y="269"/>
                  </a:lnTo>
                  <a:lnTo>
                    <a:pt x="58" y="269"/>
                  </a:lnTo>
                  <a:lnTo>
                    <a:pt x="58" y="269"/>
                  </a:lnTo>
                  <a:lnTo>
                    <a:pt x="59" y="270"/>
                  </a:lnTo>
                  <a:lnTo>
                    <a:pt x="59" y="270"/>
                  </a:lnTo>
                  <a:lnTo>
                    <a:pt x="58" y="272"/>
                  </a:lnTo>
                  <a:lnTo>
                    <a:pt x="58" y="272"/>
                  </a:lnTo>
                  <a:lnTo>
                    <a:pt x="56" y="273"/>
                  </a:lnTo>
                  <a:lnTo>
                    <a:pt x="56" y="273"/>
                  </a:lnTo>
                  <a:lnTo>
                    <a:pt x="56" y="275"/>
                  </a:lnTo>
                  <a:lnTo>
                    <a:pt x="56" y="275"/>
                  </a:lnTo>
                  <a:lnTo>
                    <a:pt x="58" y="277"/>
                  </a:lnTo>
                  <a:lnTo>
                    <a:pt x="58" y="277"/>
                  </a:lnTo>
                  <a:lnTo>
                    <a:pt x="58" y="278"/>
                  </a:lnTo>
                  <a:lnTo>
                    <a:pt x="58" y="278"/>
                  </a:lnTo>
                  <a:lnTo>
                    <a:pt x="58" y="280"/>
                  </a:lnTo>
                  <a:lnTo>
                    <a:pt x="58" y="280"/>
                  </a:lnTo>
                  <a:lnTo>
                    <a:pt x="58" y="281"/>
                  </a:lnTo>
                  <a:lnTo>
                    <a:pt x="58" y="281"/>
                  </a:lnTo>
                  <a:lnTo>
                    <a:pt x="59" y="285"/>
                  </a:lnTo>
                  <a:lnTo>
                    <a:pt x="59" y="285"/>
                  </a:lnTo>
                  <a:lnTo>
                    <a:pt x="59" y="286"/>
                  </a:lnTo>
                  <a:lnTo>
                    <a:pt x="59" y="286"/>
                  </a:lnTo>
                  <a:lnTo>
                    <a:pt x="58" y="289"/>
                  </a:lnTo>
                  <a:lnTo>
                    <a:pt x="58" y="289"/>
                  </a:lnTo>
                  <a:lnTo>
                    <a:pt x="56" y="299"/>
                  </a:lnTo>
                  <a:lnTo>
                    <a:pt x="56" y="299"/>
                  </a:lnTo>
                  <a:lnTo>
                    <a:pt x="56" y="300"/>
                  </a:lnTo>
                  <a:lnTo>
                    <a:pt x="56" y="300"/>
                  </a:lnTo>
                  <a:lnTo>
                    <a:pt x="56" y="302"/>
                  </a:lnTo>
                  <a:lnTo>
                    <a:pt x="56" y="302"/>
                  </a:lnTo>
                  <a:lnTo>
                    <a:pt x="54" y="304"/>
                  </a:lnTo>
                  <a:lnTo>
                    <a:pt x="54" y="304"/>
                  </a:lnTo>
                  <a:lnTo>
                    <a:pt x="54" y="305"/>
                  </a:lnTo>
                  <a:lnTo>
                    <a:pt x="54" y="305"/>
                  </a:lnTo>
                  <a:lnTo>
                    <a:pt x="53" y="308"/>
                  </a:lnTo>
                  <a:lnTo>
                    <a:pt x="53" y="308"/>
                  </a:lnTo>
                  <a:lnTo>
                    <a:pt x="53" y="310"/>
                  </a:lnTo>
                  <a:lnTo>
                    <a:pt x="53" y="310"/>
                  </a:lnTo>
                  <a:lnTo>
                    <a:pt x="54" y="312"/>
                  </a:lnTo>
                  <a:lnTo>
                    <a:pt x="54" y="312"/>
                  </a:lnTo>
                  <a:lnTo>
                    <a:pt x="56" y="313"/>
                  </a:lnTo>
                  <a:lnTo>
                    <a:pt x="56" y="313"/>
                  </a:lnTo>
                  <a:lnTo>
                    <a:pt x="59" y="313"/>
                  </a:lnTo>
                  <a:lnTo>
                    <a:pt x="59" y="313"/>
                  </a:lnTo>
                  <a:lnTo>
                    <a:pt x="62" y="316"/>
                  </a:lnTo>
                  <a:lnTo>
                    <a:pt x="62" y="316"/>
                  </a:lnTo>
                  <a:lnTo>
                    <a:pt x="62" y="316"/>
                  </a:lnTo>
                  <a:lnTo>
                    <a:pt x="62" y="316"/>
                  </a:lnTo>
                  <a:lnTo>
                    <a:pt x="62" y="319"/>
                  </a:lnTo>
                  <a:lnTo>
                    <a:pt x="62" y="319"/>
                  </a:lnTo>
                  <a:lnTo>
                    <a:pt x="59" y="323"/>
                  </a:lnTo>
                  <a:lnTo>
                    <a:pt x="59" y="323"/>
                  </a:lnTo>
                  <a:lnTo>
                    <a:pt x="58" y="324"/>
                  </a:lnTo>
                  <a:lnTo>
                    <a:pt x="58" y="324"/>
                  </a:lnTo>
                  <a:lnTo>
                    <a:pt x="54" y="327"/>
                  </a:lnTo>
                  <a:lnTo>
                    <a:pt x="54" y="327"/>
                  </a:lnTo>
                  <a:lnTo>
                    <a:pt x="54" y="329"/>
                  </a:lnTo>
                  <a:lnTo>
                    <a:pt x="54" y="329"/>
                  </a:lnTo>
                  <a:lnTo>
                    <a:pt x="53" y="329"/>
                  </a:lnTo>
                  <a:lnTo>
                    <a:pt x="53" y="329"/>
                  </a:lnTo>
                  <a:lnTo>
                    <a:pt x="51" y="331"/>
                  </a:lnTo>
                  <a:lnTo>
                    <a:pt x="51" y="331"/>
                  </a:lnTo>
                  <a:lnTo>
                    <a:pt x="50" y="332"/>
                  </a:lnTo>
                  <a:lnTo>
                    <a:pt x="50" y="332"/>
                  </a:lnTo>
                  <a:lnTo>
                    <a:pt x="54" y="329"/>
                  </a:lnTo>
                  <a:lnTo>
                    <a:pt x="54" y="329"/>
                  </a:lnTo>
                  <a:lnTo>
                    <a:pt x="54" y="331"/>
                  </a:lnTo>
                  <a:lnTo>
                    <a:pt x="54" y="331"/>
                  </a:lnTo>
                  <a:lnTo>
                    <a:pt x="51" y="332"/>
                  </a:lnTo>
                  <a:lnTo>
                    <a:pt x="51" y="332"/>
                  </a:lnTo>
                  <a:lnTo>
                    <a:pt x="54" y="332"/>
                  </a:lnTo>
                  <a:lnTo>
                    <a:pt x="54" y="332"/>
                  </a:lnTo>
                  <a:lnTo>
                    <a:pt x="51" y="334"/>
                  </a:lnTo>
                  <a:lnTo>
                    <a:pt x="51" y="334"/>
                  </a:lnTo>
                  <a:lnTo>
                    <a:pt x="48" y="335"/>
                  </a:lnTo>
                  <a:lnTo>
                    <a:pt x="48" y="335"/>
                  </a:lnTo>
                  <a:lnTo>
                    <a:pt x="45" y="337"/>
                  </a:lnTo>
                  <a:lnTo>
                    <a:pt x="45" y="337"/>
                  </a:lnTo>
                  <a:lnTo>
                    <a:pt x="42" y="337"/>
                  </a:lnTo>
                  <a:lnTo>
                    <a:pt x="42" y="337"/>
                  </a:lnTo>
                  <a:lnTo>
                    <a:pt x="42" y="339"/>
                  </a:lnTo>
                  <a:lnTo>
                    <a:pt x="42" y="339"/>
                  </a:lnTo>
                  <a:lnTo>
                    <a:pt x="45" y="340"/>
                  </a:lnTo>
                  <a:lnTo>
                    <a:pt x="45" y="340"/>
                  </a:lnTo>
                  <a:lnTo>
                    <a:pt x="42" y="343"/>
                  </a:lnTo>
                  <a:lnTo>
                    <a:pt x="42" y="343"/>
                  </a:lnTo>
                  <a:lnTo>
                    <a:pt x="42" y="339"/>
                  </a:lnTo>
                  <a:lnTo>
                    <a:pt x="42" y="339"/>
                  </a:lnTo>
                  <a:lnTo>
                    <a:pt x="39" y="340"/>
                  </a:lnTo>
                  <a:lnTo>
                    <a:pt x="39" y="340"/>
                  </a:lnTo>
                  <a:lnTo>
                    <a:pt x="39" y="342"/>
                  </a:lnTo>
                  <a:lnTo>
                    <a:pt x="39" y="342"/>
                  </a:lnTo>
                  <a:lnTo>
                    <a:pt x="39" y="343"/>
                  </a:lnTo>
                  <a:lnTo>
                    <a:pt x="39" y="343"/>
                  </a:lnTo>
                  <a:lnTo>
                    <a:pt x="42" y="345"/>
                  </a:lnTo>
                  <a:lnTo>
                    <a:pt x="42" y="345"/>
                  </a:lnTo>
                  <a:lnTo>
                    <a:pt x="42" y="345"/>
                  </a:lnTo>
                  <a:lnTo>
                    <a:pt x="42" y="345"/>
                  </a:lnTo>
                  <a:lnTo>
                    <a:pt x="42" y="345"/>
                  </a:lnTo>
                  <a:lnTo>
                    <a:pt x="42" y="345"/>
                  </a:lnTo>
                  <a:lnTo>
                    <a:pt x="39" y="345"/>
                  </a:lnTo>
                  <a:lnTo>
                    <a:pt x="39" y="345"/>
                  </a:lnTo>
                  <a:lnTo>
                    <a:pt x="39" y="345"/>
                  </a:lnTo>
                  <a:lnTo>
                    <a:pt x="39" y="345"/>
                  </a:lnTo>
                  <a:lnTo>
                    <a:pt x="39" y="351"/>
                  </a:lnTo>
                  <a:lnTo>
                    <a:pt x="39" y="351"/>
                  </a:lnTo>
                  <a:lnTo>
                    <a:pt x="39" y="354"/>
                  </a:lnTo>
                  <a:lnTo>
                    <a:pt x="39" y="354"/>
                  </a:lnTo>
                  <a:lnTo>
                    <a:pt x="45" y="351"/>
                  </a:lnTo>
                  <a:lnTo>
                    <a:pt x="45" y="351"/>
                  </a:lnTo>
                  <a:lnTo>
                    <a:pt x="48" y="348"/>
                  </a:lnTo>
                  <a:lnTo>
                    <a:pt x="48" y="348"/>
                  </a:lnTo>
                  <a:lnTo>
                    <a:pt x="48" y="348"/>
                  </a:lnTo>
                  <a:lnTo>
                    <a:pt x="48" y="348"/>
                  </a:lnTo>
                  <a:lnTo>
                    <a:pt x="48" y="348"/>
                  </a:lnTo>
                  <a:lnTo>
                    <a:pt x="48" y="348"/>
                  </a:lnTo>
                  <a:lnTo>
                    <a:pt x="50" y="348"/>
                  </a:lnTo>
                  <a:lnTo>
                    <a:pt x="50" y="348"/>
                  </a:lnTo>
                  <a:lnTo>
                    <a:pt x="51" y="348"/>
                  </a:lnTo>
                  <a:lnTo>
                    <a:pt x="51" y="348"/>
                  </a:lnTo>
                  <a:lnTo>
                    <a:pt x="51" y="348"/>
                  </a:lnTo>
                  <a:lnTo>
                    <a:pt x="51" y="348"/>
                  </a:lnTo>
                  <a:lnTo>
                    <a:pt x="48" y="351"/>
                  </a:lnTo>
                  <a:lnTo>
                    <a:pt x="48" y="351"/>
                  </a:lnTo>
                  <a:lnTo>
                    <a:pt x="48" y="351"/>
                  </a:lnTo>
                  <a:lnTo>
                    <a:pt x="48" y="351"/>
                  </a:lnTo>
                  <a:lnTo>
                    <a:pt x="48" y="354"/>
                  </a:lnTo>
                  <a:lnTo>
                    <a:pt x="48" y="354"/>
                  </a:lnTo>
                  <a:lnTo>
                    <a:pt x="48" y="354"/>
                  </a:lnTo>
                  <a:lnTo>
                    <a:pt x="48" y="354"/>
                  </a:lnTo>
                  <a:lnTo>
                    <a:pt x="48" y="354"/>
                  </a:lnTo>
                  <a:lnTo>
                    <a:pt x="48" y="354"/>
                  </a:lnTo>
                  <a:lnTo>
                    <a:pt x="45" y="354"/>
                  </a:lnTo>
                  <a:lnTo>
                    <a:pt x="45" y="354"/>
                  </a:lnTo>
                  <a:lnTo>
                    <a:pt x="45" y="351"/>
                  </a:lnTo>
                  <a:lnTo>
                    <a:pt x="45" y="351"/>
                  </a:lnTo>
                  <a:lnTo>
                    <a:pt x="45" y="354"/>
                  </a:lnTo>
                  <a:lnTo>
                    <a:pt x="45" y="354"/>
                  </a:lnTo>
                  <a:lnTo>
                    <a:pt x="42" y="356"/>
                  </a:lnTo>
                  <a:lnTo>
                    <a:pt x="42" y="356"/>
                  </a:lnTo>
                  <a:lnTo>
                    <a:pt x="39" y="356"/>
                  </a:lnTo>
                  <a:lnTo>
                    <a:pt x="39" y="356"/>
                  </a:lnTo>
                  <a:lnTo>
                    <a:pt x="39" y="358"/>
                  </a:lnTo>
                  <a:lnTo>
                    <a:pt x="39" y="358"/>
                  </a:lnTo>
                  <a:lnTo>
                    <a:pt x="35" y="361"/>
                  </a:lnTo>
                  <a:lnTo>
                    <a:pt x="35" y="361"/>
                  </a:lnTo>
                  <a:lnTo>
                    <a:pt x="34" y="362"/>
                  </a:lnTo>
                  <a:lnTo>
                    <a:pt x="34" y="362"/>
                  </a:lnTo>
                  <a:lnTo>
                    <a:pt x="35" y="364"/>
                  </a:lnTo>
                  <a:lnTo>
                    <a:pt x="35" y="364"/>
                  </a:lnTo>
                  <a:lnTo>
                    <a:pt x="37" y="364"/>
                  </a:lnTo>
                  <a:lnTo>
                    <a:pt x="37" y="364"/>
                  </a:lnTo>
                  <a:lnTo>
                    <a:pt x="39" y="362"/>
                  </a:lnTo>
                  <a:lnTo>
                    <a:pt x="39" y="362"/>
                  </a:lnTo>
                  <a:lnTo>
                    <a:pt x="42" y="361"/>
                  </a:lnTo>
                  <a:lnTo>
                    <a:pt x="42" y="361"/>
                  </a:lnTo>
                  <a:lnTo>
                    <a:pt x="42" y="362"/>
                  </a:lnTo>
                  <a:lnTo>
                    <a:pt x="42" y="362"/>
                  </a:lnTo>
                  <a:lnTo>
                    <a:pt x="45" y="362"/>
                  </a:lnTo>
                  <a:lnTo>
                    <a:pt x="45" y="362"/>
                  </a:lnTo>
                  <a:lnTo>
                    <a:pt x="42" y="365"/>
                  </a:lnTo>
                  <a:lnTo>
                    <a:pt x="42" y="365"/>
                  </a:lnTo>
                  <a:lnTo>
                    <a:pt x="37" y="370"/>
                  </a:lnTo>
                  <a:lnTo>
                    <a:pt x="37" y="370"/>
                  </a:lnTo>
                  <a:lnTo>
                    <a:pt x="39" y="370"/>
                  </a:lnTo>
                  <a:lnTo>
                    <a:pt x="39" y="370"/>
                  </a:lnTo>
                  <a:lnTo>
                    <a:pt x="42" y="369"/>
                  </a:lnTo>
                  <a:lnTo>
                    <a:pt x="42" y="369"/>
                  </a:lnTo>
                  <a:lnTo>
                    <a:pt x="42" y="370"/>
                  </a:lnTo>
                  <a:lnTo>
                    <a:pt x="42" y="370"/>
                  </a:lnTo>
                  <a:lnTo>
                    <a:pt x="42" y="372"/>
                  </a:lnTo>
                  <a:lnTo>
                    <a:pt x="42" y="372"/>
                  </a:lnTo>
                  <a:lnTo>
                    <a:pt x="50" y="367"/>
                  </a:lnTo>
                  <a:lnTo>
                    <a:pt x="50" y="367"/>
                  </a:lnTo>
                  <a:lnTo>
                    <a:pt x="50" y="369"/>
                  </a:lnTo>
                  <a:lnTo>
                    <a:pt x="50" y="369"/>
                  </a:lnTo>
                  <a:lnTo>
                    <a:pt x="54" y="369"/>
                  </a:lnTo>
                  <a:lnTo>
                    <a:pt x="54" y="369"/>
                  </a:lnTo>
                  <a:lnTo>
                    <a:pt x="51" y="370"/>
                  </a:lnTo>
                  <a:lnTo>
                    <a:pt x="51" y="370"/>
                  </a:lnTo>
                  <a:lnTo>
                    <a:pt x="51" y="372"/>
                  </a:lnTo>
                  <a:lnTo>
                    <a:pt x="51" y="372"/>
                  </a:lnTo>
                  <a:lnTo>
                    <a:pt x="50" y="370"/>
                  </a:lnTo>
                  <a:lnTo>
                    <a:pt x="50" y="370"/>
                  </a:lnTo>
                  <a:lnTo>
                    <a:pt x="48" y="370"/>
                  </a:lnTo>
                  <a:lnTo>
                    <a:pt x="48" y="370"/>
                  </a:lnTo>
                  <a:lnTo>
                    <a:pt x="42" y="372"/>
                  </a:lnTo>
                  <a:lnTo>
                    <a:pt x="42" y="372"/>
                  </a:lnTo>
                  <a:lnTo>
                    <a:pt x="39" y="375"/>
                  </a:lnTo>
                  <a:lnTo>
                    <a:pt x="39" y="375"/>
                  </a:lnTo>
                  <a:lnTo>
                    <a:pt x="37" y="377"/>
                  </a:lnTo>
                  <a:lnTo>
                    <a:pt x="37" y="377"/>
                  </a:lnTo>
                  <a:lnTo>
                    <a:pt x="35" y="378"/>
                  </a:lnTo>
                  <a:lnTo>
                    <a:pt x="35" y="378"/>
                  </a:lnTo>
                  <a:lnTo>
                    <a:pt x="34" y="383"/>
                  </a:lnTo>
                  <a:lnTo>
                    <a:pt x="34" y="383"/>
                  </a:lnTo>
                  <a:lnTo>
                    <a:pt x="32" y="383"/>
                  </a:lnTo>
                  <a:lnTo>
                    <a:pt x="32" y="383"/>
                  </a:lnTo>
                  <a:lnTo>
                    <a:pt x="34" y="383"/>
                  </a:lnTo>
                  <a:lnTo>
                    <a:pt x="34" y="383"/>
                  </a:lnTo>
                  <a:lnTo>
                    <a:pt x="31" y="386"/>
                  </a:lnTo>
                  <a:lnTo>
                    <a:pt x="31" y="386"/>
                  </a:lnTo>
                  <a:lnTo>
                    <a:pt x="31" y="386"/>
                  </a:lnTo>
                  <a:lnTo>
                    <a:pt x="31" y="386"/>
                  </a:lnTo>
                  <a:lnTo>
                    <a:pt x="32" y="386"/>
                  </a:lnTo>
                  <a:lnTo>
                    <a:pt x="32" y="386"/>
                  </a:lnTo>
                  <a:lnTo>
                    <a:pt x="31" y="389"/>
                  </a:lnTo>
                  <a:lnTo>
                    <a:pt x="31" y="389"/>
                  </a:lnTo>
                  <a:lnTo>
                    <a:pt x="32" y="389"/>
                  </a:lnTo>
                  <a:lnTo>
                    <a:pt x="32" y="389"/>
                  </a:lnTo>
                  <a:lnTo>
                    <a:pt x="35" y="389"/>
                  </a:lnTo>
                  <a:lnTo>
                    <a:pt x="35" y="389"/>
                  </a:lnTo>
                  <a:lnTo>
                    <a:pt x="34" y="389"/>
                  </a:lnTo>
                  <a:lnTo>
                    <a:pt x="34" y="389"/>
                  </a:lnTo>
                  <a:lnTo>
                    <a:pt x="39" y="389"/>
                  </a:lnTo>
                  <a:lnTo>
                    <a:pt x="39" y="389"/>
                  </a:lnTo>
                  <a:lnTo>
                    <a:pt x="42" y="389"/>
                  </a:lnTo>
                  <a:lnTo>
                    <a:pt x="42" y="389"/>
                  </a:lnTo>
                  <a:lnTo>
                    <a:pt x="42" y="386"/>
                  </a:lnTo>
                  <a:lnTo>
                    <a:pt x="42" y="386"/>
                  </a:lnTo>
                  <a:lnTo>
                    <a:pt x="42" y="389"/>
                  </a:lnTo>
                  <a:lnTo>
                    <a:pt x="42" y="389"/>
                  </a:lnTo>
                  <a:lnTo>
                    <a:pt x="42" y="389"/>
                  </a:lnTo>
                  <a:lnTo>
                    <a:pt x="42" y="389"/>
                  </a:lnTo>
                  <a:lnTo>
                    <a:pt x="42" y="389"/>
                  </a:lnTo>
                  <a:lnTo>
                    <a:pt x="42" y="389"/>
                  </a:lnTo>
                  <a:lnTo>
                    <a:pt x="45" y="389"/>
                  </a:lnTo>
                  <a:lnTo>
                    <a:pt x="45" y="389"/>
                  </a:lnTo>
                  <a:lnTo>
                    <a:pt x="45" y="391"/>
                  </a:lnTo>
                  <a:lnTo>
                    <a:pt x="45" y="391"/>
                  </a:lnTo>
                  <a:lnTo>
                    <a:pt x="42" y="392"/>
                  </a:lnTo>
                  <a:lnTo>
                    <a:pt x="42" y="392"/>
                  </a:lnTo>
                  <a:lnTo>
                    <a:pt x="45" y="392"/>
                  </a:lnTo>
                  <a:lnTo>
                    <a:pt x="45" y="392"/>
                  </a:lnTo>
                  <a:lnTo>
                    <a:pt x="42" y="394"/>
                  </a:lnTo>
                  <a:lnTo>
                    <a:pt x="42" y="394"/>
                  </a:lnTo>
                  <a:lnTo>
                    <a:pt x="42" y="394"/>
                  </a:lnTo>
                  <a:lnTo>
                    <a:pt x="42" y="394"/>
                  </a:lnTo>
                  <a:lnTo>
                    <a:pt x="45" y="394"/>
                  </a:lnTo>
                  <a:lnTo>
                    <a:pt x="45" y="394"/>
                  </a:lnTo>
                  <a:lnTo>
                    <a:pt x="45" y="396"/>
                  </a:lnTo>
                  <a:lnTo>
                    <a:pt x="45" y="396"/>
                  </a:lnTo>
                  <a:lnTo>
                    <a:pt x="48" y="392"/>
                  </a:lnTo>
                  <a:lnTo>
                    <a:pt x="48" y="392"/>
                  </a:lnTo>
                  <a:lnTo>
                    <a:pt x="48" y="392"/>
                  </a:lnTo>
                  <a:lnTo>
                    <a:pt x="48" y="392"/>
                  </a:lnTo>
                  <a:lnTo>
                    <a:pt x="48" y="396"/>
                  </a:lnTo>
                  <a:lnTo>
                    <a:pt x="48" y="396"/>
                  </a:lnTo>
                  <a:lnTo>
                    <a:pt x="48" y="396"/>
                  </a:lnTo>
                  <a:lnTo>
                    <a:pt x="48" y="396"/>
                  </a:lnTo>
                  <a:lnTo>
                    <a:pt x="51" y="396"/>
                  </a:lnTo>
                  <a:lnTo>
                    <a:pt x="51" y="396"/>
                  </a:lnTo>
                  <a:lnTo>
                    <a:pt x="51" y="397"/>
                  </a:lnTo>
                  <a:lnTo>
                    <a:pt x="51" y="397"/>
                  </a:lnTo>
                  <a:lnTo>
                    <a:pt x="53" y="397"/>
                  </a:lnTo>
                  <a:lnTo>
                    <a:pt x="53" y="397"/>
                  </a:lnTo>
                  <a:lnTo>
                    <a:pt x="54" y="396"/>
                  </a:lnTo>
                  <a:lnTo>
                    <a:pt x="54" y="396"/>
                  </a:lnTo>
                  <a:lnTo>
                    <a:pt x="56" y="396"/>
                  </a:lnTo>
                  <a:lnTo>
                    <a:pt x="56" y="396"/>
                  </a:lnTo>
                  <a:lnTo>
                    <a:pt x="54" y="397"/>
                  </a:lnTo>
                  <a:lnTo>
                    <a:pt x="54" y="397"/>
                  </a:lnTo>
                  <a:lnTo>
                    <a:pt x="53" y="400"/>
                  </a:lnTo>
                  <a:lnTo>
                    <a:pt x="53" y="400"/>
                  </a:lnTo>
                  <a:lnTo>
                    <a:pt x="50" y="402"/>
                  </a:lnTo>
                  <a:lnTo>
                    <a:pt x="50" y="402"/>
                  </a:lnTo>
                  <a:lnTo>
                    <a:pt x="50" y="404"/>
                  </a:lnTo>
                  <a:lnTo>
                    <a:pt x="50" y="404"/>
                  </a:lnTo>
                  <a:lnTo>
                    <a:pt x="51" y="405"/>
                  </a:lnTo>
                  <a:lnTo>
                    <a:pt x="51" y="405"/>
                  </a:lnTo>
                  <a:lnTo>
                    <a:pt x="56" y="405"/>
                  </a:lnTo>
                  <a:lnTo>
                    <a:pt x="56" y="405"/>
                  </a:lnTo>
                  <a:lnTo>
                    <a:pt x="58" y="404"/>
                  </a:lnTo>
                  <a:lnTo>
                    <a:pt x="58" y="404"/>
                  </a:lnTo>
                  <a:lnTo>
                    <a:pt x="58" y="402"/>
                  </a:lnTo>
                  <a:lnTo>
                    <a:pt x="58" y="402"/>
                  </a:lnTo>
                  <a:lnTo>
                    <a:pt x="59" y="402"/>
                  </a:lnTo>
                  <a:lnTo>
                    <a:pt x="59" y="402"/>
                  </a:lnTo>
                  <a:lnTo>
                    <a:pt x="58" y="405"/>
                  </a:lnTo>
                  <a:lnTo>
                    <a:pt x="58" y="405"/>
                  </a:lnTo>
                  <a:lnTo>
                    <a:pt x="58" y="407"/>
                  </a:lnTo>
                  <a:lnTo>
                    <a:pt x="58" y="407"/>
                  </a:lnTo>
                  <a:lnTo>
                    <a:pt x="56" y="408"/>
                  </a:lnTo>
                  <a:lnTo>
                    <a:pt x="56" y="408"/>
                  </a:lnTo>
                  <a:lnTo>
                    <a:pt x="56" y="407"/>
                  </a:lnTo>
                  <a:lnTo>
                    <a:pt x="56" y="407"/>
                  </a:lnTo>
                  <a:lnTo>
                    <a:pt x="54" y="407"/>
                  </a:lnTo>
                  <a:lnTo>
                    <a:pt x="54" y="407"/>
                  </a:lnTo>
                  <a:lnTo>
                    <a:pt x="54" y="408"/>
                  </a:lnTo>
                  <a:lnTo>
                    <a:pt x="54" y="408"/>
                  </a:lnTo>
                  <a:lnTo>
                    <a:pt x="56" y="410"/>
                  </a:lnTo>
                  <a:lnTo>
                    <a:pt x="56" y="410"/>
                  </a:lnTo>
                  <a:lnTo>
                    <a:pt x="59" y="410"/>
                  </a:lnTo>
                  <a:lnTo>
                    <a:pt x="59" y="410"/>
                  </a:lnTo>
                  <a:lnTo>
                    <a:pt x="62" y="408"/>
                  </a:lnTo>
                  <a:lnTo>
                    <a:pt x="62" y="408"/>
                  </a:lnTo>
                  <a:lnTo>
                    <a:pt x="62" y="412"/>
                  </a:lnTo>
                  <a:lnTo>
                    <a:pt x="62" y="412"/>
                  </a:lnTo>
                  <a:lnTo>
                    <a:pt x="66" y="412"/>
                  </a:lnTo>
                  <a:lnTo>
                    <a:pt x="66" y="412"/>
                  </a:lnTo>
                  <a:lnTo>
                    <a:pt x="62" y="413"/>
                  </a:lnTo>
                  <a:lnTo>
                    <a:pt x="62" y="413"/>
                  </a:lnTo>
                  <a:lnTo>
                    <a:pt x="59" y="413"/>
                  </a:lnTo>
                  <a:lnTo>
                    <a:pt x="59" y="413"/>
                  </a:lnTo>
                  <a:lnTo>
                    <a:pt x="59" y="415"/>
                  </a:lnTo>
                  <a:lnTo>
                    <a:pt x="59" y="415"/>
                  </a:lnTo>
                  <a:lnTo>
                    <a:pt x="59" y="415"/>
                  </a:lnTo>
                  <a:lnTo>
                    <a:pt x="59" y="415"/>
                  </a:lnTo>
                  <a:lnTo>
                    <a:pt x="59" y="415"/>
                  </a:lnTo>
                  <a:lnTo>
                    <a:pt x="59" y="415"/>
                  </a:lnTo>
                  <a:lnTo>
                    <a:pt x="59" y="415"/>
                  </a:lnTo>
                  <a:lnTo>
                    <a:pt x="59" y="415"/>
                  </a:lnTo>
                  <a:lnTo>
                    <a:pt x="62" y="418"/>
                  </a:lnTo>
                  <a:lnTo>
                    <a:pt x="62" y="418"/>
                  </a:lnTo>
                  <a:lnTo>
                    <a:pt x="62" y="415"/>
                  </a:lnTo>
                  <a:lnTo>
                    <a:pt x="62" y="415"/>
                  </a:lnTo>
                  <a:lnTo>
                    <a:pt x="370" y="415"/>
                  </a:lnTo>
                  <a:lnTo>
                    <a:pt x="370" y="415"/>
                  </a:lnTo>
                  <a:lnTo>
                    <a:pt x="372" y="412"/>
                  </a:lnTo>
                  <a:lnTo>
                    <a:pt x="372" y="412"/>
                  </a:lnTo>
                  <a:lnTo>
                    <a:pt x="374" y="410"/>
                  </a:lnTo>
                  <a:lnTo>
                    <a:pt x="374" y="410"/>
                  </a:lnTo>
                  <a:lnTo>
                    <a:pt x="375" y="413"/>
                  </a:lnTo>
                  <a:lnTo>
                    <a:pt x="375" y="413"/>
                  </a:lnTo>
                  <a:lnTo>
                    <a:pt x="374" y="418"/>
                  </a:lnTo>
                  <a:lnTo>
                    <a:pt x="374" y="418"/>
                  </a:lnTo>
                  <a:lnTo>
                    <a:pt x="374" y="418"/>
                  </a:lnTo>
                  <a:lnTo>
                    <a:pt x="374" y="418"/>
                  </a:lnTo>
                  <a:lnTo>
                    <a:pt x="375" y="419"/>
                  </a:lnTo>
                  <a:lnTo>
                    <a:pt x="375" y="419"/>
                  </a:lnTo>
                  <a:lnTo>
                    <a:pt x="377" y="419"/>
                  </a:lnTo>
                  <a:lnTo>
                    <a:pt x="377" y="419"/>
                  </a:lnTo>
                  <a:lnTo>
                    <a:pt x="380" y="419"/>
                  </a:lnTo>
                  <a:lnTo>
                    <a:pt x="380" y="419"/>
                  </a:lnTo>
                  <a:lnTo>
                    <a:pt x="380" y="421"/>
                  </a:lnTo>
                  <a:lnTo>
                    <a:pt x="380" y="421"/>
                  </a:lnTo>
                  <a:lnTo>
                    <a:pt x="380" y="423"/>
                  </a:lnTo>
                  <a:lnTo>
                    <a:pt x="380" y="423"/>
                  </a:lnTo>
                  <a:lnTo>
                    <a:pt x="383" y="421"/>
                  </a:lnTo>
                  <a:lnTo>
                    <a:pt x="383" y="421"/>
                  </a:lnTo>
                  <a:lnTo>
                    <a:pt x="386" y="419"/>
                  </a:lnTo>
                  <a:lnTo>
                    <a:pt x="386" y="419"/>
                  </a:lnTo>
                  <a:lnTo>
                    <a:pt x="389" y="421"/>
                  </a:lnTo>
                  <a:lnTo>
                    <a:pt x="389" y="421"/>
                  </a:lnTo>
                  <a:lnTo>
                    <a:pt x="393" y="421"/>
                  </a:lnTo>
                  <a:lnTo>
                    <a:pt x="393" y="421"/>
                  </a:lnTo>
                  <a:lnTo>
                    <a:pt x="393" y="423"/>
                  </a:lnTo>
                  <a:lnTo>
                    <a:pt x="393" y="423"/>
                  </a:lnTo>
                  <a:lnTo>
                    <a:pt x="394" y="424"/>
                  </a:lnTo>
                  <a:lnTo>
                    <a:pt x="394" y="424"/>
                  </a:lnTo>
                  <a:lnTo>
                    <a:pt x="394" y="426"/>
                  </a:lnTo>
                  <a:lnTo>
                    <a:pt x="394" y="426"/>
                  </a:lnTo>
                  <a:lnTo>
                    <a:pt x="396" y="424"/>
                  </a:lnTo>
                  <a:lnTo>
                    <a:pt x="396" y="424"/>
                  </a:lnTo>
                  <a:lnTo>
                    <a:pt x="397" y="426"/>
                  </a:lnTo>
                  <a:lnTo>
                    <a:pt x="397" y="426"/>
                  </a:lnTo>
                  <a:lnTo>
                    <a:pt x="399" y="426"/>
                  </a:lnTo>
                  <a:lnTo>
                    <a:pt x="399" y="426"/>
                  </a:lnTo>
                  <a:lnTo>
                    <a:pt x="401" y="427"/>
                  </a:lnTo>
                  <a:lnTo>
                    <a:pt x="401" y="427"/>
                  </a:lnTo>
                  <a:lnTo>
                    <a:pt x="402" y="429"/>
                  </a:lnTo>
                  <a:lnTo>
                    <a:pt x="402" y="429"/>
                  </a:lnTo>
                  <a:lnTo>
                    <a:pt x="407" y="427"/>
                  </a:lnTo>
                  <a:lnTo>
                    <a:pt x="407" y="427"/>
                  </a:lnTo>
                  <a:lnTo>
                    <a:pt x="412" y="426"/>
                  </a:lnTo>
                  <a:lnTo>
                    <a:pt x="412" y="426"/>
                  </a:lnTo>
                  <a:lnTo>
                    <a:pt x="412" y="427"/>
                  </a:lnTo>
                  <a:lnTo>
                    <a:pt x="412" y="427"/>
                  </a:lnTo>
                  <a:lnTo>
                    <a:pt x="412" y="427"/>
                  </a:lnTo>
                  <a:lnTo>
                    <a:pt x="412" y="427"/>
                  </a:lnTo>
                  <a:lnTo>
                    <a:pt x="415" y="427"/>
                  </a:lnTo>
                  <a:lnTo>
                    <a:pt x="415" y="427"/>
                  </a:lnTo>
                  <a:lnTo>
                    <a:pt x="416" y="427"/>
                  </a:lnTo>
                  <a:lnTo>
                    <a:pt x="416" y="427"/>
                  </a:lnTo>
                  <a:lnTo>
                    <a:pt x="418" y="429"/>
                  </a:lnTo>
                  <a:lnTo>
                    <a:pt x="418" y="429"/>
                  </a:lnTo>
                  <a:lnTo>
                    <a:pt x="421" y="429"/>
                  </a:lnTo>
                  <a:lnTo>
                    <a:pt x="421" y="429"/>
                  </a:lnTo>
                  <a:lnTo>
                    <a:pt x="426" y="427"/>
                  </a:lnTo>
                  <a:lnTo>
                    <a:pt x="426" y="427"/>
                  </a:lnTo>
                  <a:lnTo>
                    <a:pt x="429" y="426"/>
                  </a:lnTo>
                  <a:lnTo>
                    <a:pt x="429" y="426"/>
                  </a:lnTo>
                  <a:lnTo>
                    <a:pt x="432" y="423"/>
                  </a:lnTo>
                  <a:lnTo>
                    <a:pt x="432" y="423"/>
                  </a:lnTo>
                  <a:lnTo>
                    <a:pt x="437" y="421"/>
                  </a:lnTo>
                  <a:lnTo>
                    <a:pt x="437" y="421"/>
                  </a:lnTo>
                  <a:lnTo>
                    <a:pt x="434" y="424"/>
                  </a:lnTo>
                  <a:lnTo>
                    <a:pt x="434" y="424"/>
                  </a:lnTo>
                  <a:lnTo>
                    <a:pt x="435" y="424"/>
                  </a:lnTo>
                  <a:lnTo>
                    <a:pt x="435" y="424"/>
                  </a:lnTo>
                  <a:lnTo>
                    <a:pt x="437" y="423"/>
                  </a:lnTo>
                  <a:lnTo>
                    <a:pt x="437" y="423"/>
                  </a:lnTo>
                  <a:lnTo>
                    <a:pt x="442" y="418"/>
                  </a:lnTo>
                  <a:lnTo>
                    <a:pt x="442" y="418"/>
                  </a:lnTo>
                  <a:lnTo>
                    <a:pt x="442" y="418"/>
                  </a:lnTo>
                  <a:lnTo>
                    <a:pt x="442" y="418"/>
                  </a:lnTo>
                  <a:lnTo>
                    <a:pt x="442" y="419"/>
                  </a:lnTo>
                  <a:lnTo>
                    <a:pt x="442" y="419"/>
                  </a:lnTo>
                  <a:lnTo>
                    <a:pt x="439" y="421"/>
                  </a:lnTo>
                  <a:lnTo>
                    <a:pt x="439" y="421"/>
                  </a:lnTo>
                  <a:lnTo>
                    <a:pt x="439" y="423"/>
                  </a:lnTo>
                  <a:lnTo>
                    <a:pt x="439" y="423"/>
                  </a:lnTo>
                  <a:lnTo>
                    <a:pt x="442" y="421"/>
                  </a:lnTo>
                  <a:lnTo>
                    <a:pt x="442" y="421"/>
                  </a:lnTo>
                  <a:lnTo>
                    <a:pt x="445" y="421"/>
                  </a:lnTo>
                  <a:lnTo>
                    <a:pt x="445" y="421"/>
                  </a:lnTo>
                  <a:lnTo>
                    <a:pt x="445" y="419"/>
                  </a:lnTo>
                  <a:lnTo>
                    <a:pt x="445" y="419"/>
                  </a:lnTo>
                  <a:lnTo>
                    <a:pt x="445" y="418"/>
                  </a:lnTo>
                  <a:lnTo>
                    <a:pt x="445" y="418"/>
                  </a:lnTo>
                  <a:lnTo>
                    <a:pt x="445" y="415"/>
                  </a:lnTo>
                  <a:lnTo>
                    <a:pt x="445" y="415"/>
                  </a:lnTo>
                  <a:lnTo>
                    <a:pt x="447" y="415"/>
                  </a:lnTo>
                  <a:lnTo>
                    <a:pt x="447" y="415"/>
                  </a:lnTo>
                  <a:lnTo>
                    <a:pt x="453" y="418"/>
                  </a:lnTo>
                  <a:lnTo>
                    <a:pt x="453" y="418"/>
                  </a:lnTo>
                  <a:lnTo>
                    <a:pt x="455" y="418"/>
                  </a:lnTo>
                  <a:lnTo>
                    <a:pt x="455" y="418"/>
                  </a:lnTo>
                  <a:lnTo>
                    <a:pt x="458" y="418"/>
                  </a:lnTo>
                  <a:lnTo>
                    <a:pt x="458" y="418"/>
                  </a:lnTo>
                  <a:lnTo>
                    <a:pt x="461" y="418"/>
                  </a:lnTo>
                  <a:lnTo>
                    <a:pt x="461" y="418"/>
                  </a:lnTo>
                  <a:lnTo>
                    <a:pt x="464" y="419"/>
                  </a:lnTo>
                  <a:lnTo>
                    <a:pt x="464" y="419"/>
                  </a:lnTo>
                  <a:lnTo>
                    <a:pt x="466" y="419"/>
                  </a:lnTo>
                  <a:lnTo>
                    <a:pt x="466" y="419"/>
                  </a:lnTo>
                  <a:lnTo>
                    <a:pt x="466" y="423"/>
                  </a:lnTo>
                  <a:lnTo>
                    <a:pt x="466" y="423"/>
                  </a:lnTo>
                  <a:lnTo>
                    <a:pt x="464" y="426"/>
                  </a:lnTo>
                  <a:lnTo>
                    <a:pt x="464" y="426"/>
                  </a:lnTo>
                  <a:lnTo>
                    <a:pt x="464" y="427"/>
                  </a:lnTo>
                  <a:lnTo>
                    <a:pt x="464" y="427"/>
                  </a:lnTo>
                  <a:lnTo>
                    <a:pt x="466" y="429"/>
                  </a:lnTo>
                  <a:lnTo>
                    <a:pt x="466" y="429"/>
                  </a:lnTo>
                  <a:lnTo>
                    <a:pt x="467" y="431"/>
                  </a:lnTo>
                  <a:lnTo>
                    <a:pt x="467" y="431"/>
                  </a:lnTo>
                  <a:lnTo>
                    <a:pt x="470" y="431"/>
                  </a:lnTo>
                  <a:lnTo>
                    <a:pt x="470" y="431"/>
                  </a:lnTo>
                  <a:lnTo>
                    <a:pt x="477" y="431"/>
                  </a:lnTo>
                  <a:lnTo>
                    <a:pt x="477" y="431"/>
                  </a:lnTo>
                  <a:lnTo>
                    <a:pt x="474" y="434"/>
                  </a:lnTo>
                  <a:lnTo>
                    <a:pt x="474" y="434"/>
                  </a:lnTo>
                  <a:lnTo>
                    <a:pt x="474" y="435"/>
                  </a:lnTo>
                  <a:lnTo>
                    <a:pt x="474" y="435"/>
                  </a:lnTo>
                  <a:lnTo>
                    <a:pt x="474" y="435"/>
                  </a:lnTo>
                  <a:lnTo>
                    <a:pt x="474" y="435"/>
                  </a:lnTo>
                  <a:lnTo>
                    <a:pt x="474" y="439"/>
                  </a:lnTo>
                  <a:lnTo>
                    <a:pt x="474" y="439"/>
                  </a:lnTo>
                  <a:lnTo>
                    <a:pt x="474" y="442"/>
                  </a:lnTo>
                  <a:lnTo>
                    <a:pt x="474" y="442"/>
                  </a:lnTo>
                  <a:lnTo>
                    <a:pt x="470" y="442"/>
                  </a:lnTo>
                  <a:lnTo>
                    <a:pt x="470" y="442"/>
                  </a:lnTo>
                  <a:lnTo>
                    <a:pt x="470" y="445"/>
                  </a:lnTo>
                  <a:lnTo>
                    <a:pt x="470" y="445"/>
                  </a:lnTo>
                  <a:lnTo>
                    <a:pt x="474" y="445"/>
                  </a:lnTo>
                  <a:lnTo>
                    <a:pt x="474" y="445"/>
                  </a:lnTo>
                  <a:lnTo>
                    <a:pt x="474" y="445"/>
                  </a:lnTo>
                  <a:lnTo>
                    <a:pt x="474" y="445"/>
                  </a:lnTo>
                  <a:lnTo>
                    <a:pt x="474" y="445"/>
                  </a:lnTo>
                  <a:lnTo>
                    <a:pt x="474" y="445"/>
                  </a:lnTo>
                  <a:lnTo>
                    <a:pt x="470" y="446"/>
                  </a:lnTo>
                  <a:lnTo>
                    <a:pt x="470" y="446"/>
                  </a:lnTo>
                  <a:lnTo>
                    <a:pt x="474" y="446"/>
                  </a:lnTo>
                  <a:lnTo>
                    <a:pt x="474" y="446"/>
                  </a:lnTo>
                  <a:lnTo>
                    <a:pt x="470" y="450"/>
                  </a:lnTo>
                  <a:lnTo>
                    <a:pt x="470" y="450"/>
                  </a:lnTo>
                  <a:lnTo>
                    <a:pt x="470" y="450"/>
                  </a:lnTo>
                  <a:lnTo>
                    <a:pt x="470" y="450"/>
                  </a:lnTo>
                  <a:lnTo>
                    <a:pt x="474" y="450"/>
                  </a:lnTo>
                  <a:lnTo>
                    <a:pt x="474" y="450"/>
                  </a:lnTo>
                  <a:lnTo>
                    <a:pt x="474" y="451"/>
                  </a:lnTo>
                  <a:lnTo>
                    <a:pt x="474" y="451"/>
                  </a:lnTo>
                  <a:lnTo>
                    <a:pt x="474" y="453"/>
                  </a:lnTo>
                  <a:lnTo>
                    <a:pt x="474" y="453"/>
                  </a:lnTo>
                  <a:lnTo>
                    <a:pt x="477" y="453"/>
                  </a:lnTo>
                  <a:lnTo>
                    <a:pt x="477" y="453"/>
                  </a:lnTo>
                  <a:lnTo>
                    <a:pt x="480" y="453"/>
                  </a:lnTo>
                  <a:lnTo>
                    <a:pt x="480" y="453"/>
                  </a:lnTo>
                  <a:lnTo>
                    <a:pt x="486" y="454"/>
                  </a:lnTo>
                  <a:lnTo>
                    <a:pt x="486" y="454"/>
                  </a:lnTo>
                  <a:lnTo>
                    <a:pt x="489" y="454"/>
                  </a:lnTo>
                  <a:lnTo>
                    <a:pt x="489" y="454"/>
                  </a:lnTo>
                  <a:lnTo>
                    <a:pt x="494" y="454"/>
                  </a:lnTo>
                  <a:lnTo>
                    <a:pt x="494" y="454"/>
                  </a:lnTo>
                  <a:lnTo>
                    <a:pt x="497" y="456"/>
                  </a:lnTo>
                  <a:lnTo>
                    <a:pt x="497" y="456"/>
                  </a:lnTo>
                  <a:lnTo>
                    <a:pt x="499" y="456"/>
                  </a:lnTo>
                  <a:lnTo>
                    <a:pt x="499" y="456"/>
                  </a:lnTo>
                  <a:lnTo>
                    <a:pt x="499" y="458"/>
                  </a:lnTo>
                  <a:lnTo>
                    <a:pt x="499" y="458"/>
                  </a:lnTo>
                  <a:lnTo>
                    <a:pt x="501" y="458"/>
                  </a:lnTo>
                  <a:lnTo>
                    <a:pt x="501" y="458"/>
                  </a:lnTo>
                  <a:lnTo>
                    <a:pt x="502" y="458"/>
                  </a:lnTo>
                  <a:lnTo>
                    <a:pt x="502" y="458"/>
                  </a:lnTo>
                  <a:lnTo>
                    <a:pt x="502" y="458"/>
                  </a:lnTo>
                  <a:lnTo>
                    <a:pt x="502" y="458"/>
                  </a:lnTo>
                  <a:lnTo>
                    <a:pt x="505" y="458"/>
                  </a:lnTo>
                  <a:lnTo>
                    <a:pt x="505" y="458"/>
                  </a:lnTo>
                  <a:lnTo>
                    <a:pt x="505" y="459"/>
                  </a:lnTo>
                  <a:lnTo>
                    <a:pt x="505" y="459"/>
                  </a:lnTo>
                  <a:lnTo>
                    <a:pt x="508" y="459"/>
                  </a:lnTo>
                  <a:lnTo>
                    <a:pt x="508" y="459"/>
                  </a:lnTo>
                  <a:lnTo>
                    <a:pt x="508" y="461"/>
                  </a:lnTo>
                  <a:lnTo>
                    <a:pt x="508" y="461"/>
                  </a:lnTo>
                  <a:lnTo>
                    <a:pt x="508" y="462"/>
                  </a:lnTo>
                  <a:lnTo>
                    <a:pt x="508" y="462"/>
                  </a:lnTo>
                  <a:lnTo>
                    <a:pt x="508" y="464"/>
                  </a:lnTo>
                  <a:lnTo>
                    <a:pt x="508" y="464"/>
                  </a:lnTo>
                  <a:lnTo>
                    <a:pt x="512" y="464"/>
                  </a:lnTo>
                  <a:lnTo>
                    <a:pt x="512" y="464"/>
                  </a:lnTo>
                  <a:lnTo>
                    <a:pt x="512" y="466"/>
                  </a:lnTo>
                  <a:lnTo>
                    <a:pt x="512" y="466"/>
                  </a:lnTo>
                  <a:lnTo>
                    <a:pt x="512" y="467"/>
                  </a:lnTo>
                  <a:lnTo>
                    <a:pt x="512" y="467"/>
                  </a:lnTo>
                  <a:lnTo>
                    <a:pt x="512" y="467"/>
                  </a:lnTo>
                  <a:lnTo>
                    <a:pt x="512" y="467"/>
                  </a:lnTo>
                  <a:lnTo>
                    <a:pt x="512" y="469"/>
                  </a:lnTo>
                  <a:lnTo>
                    <a:pt x="512" y="469"/>
                  </a:lnTo>
                  <a:lnTo>
                    <a:pt x="512" y="470"/>
                  </a:lnTo>
                  <a:lnTo>
                    <a:pt x="512" y="470"/>
                  </a:lnTo>
                  <a:lnTo>
                    <a:pt x="512" y="470"/>
                  </a:lnTo>
                  <a:lnTo>
                    <a:pt x="512" y="470"/>
                  </a:lnTo>
                  <a:lnTo>
                    <a:pt x="512" y="470"/>
                  </a:lnTo>
                  <a:lnTo>
                    <a:pt x="512" y="470"/>
                  </a:lnTo>
                  <a:lnTo>
                    <a:pt x="513" y="473"/>
                  </a:lnTo>
                  <a:lnTo>
                    <a:pt x="513" y="473"/>
                  </a:lnTo>
                  <a:lnTo>
                    <a:pt x="512" y="473"/>
                  </a:lnTo>
                  <a:lnTo>
                    <a:pt x="512" y="473"/>
                  </a:lnTo>
                  <a:lnTo>
                    <a:pt x="512" y="473"/>
                  </a:lnTo>
                  <a:lnTo>
                    <a:pt x="512" y="473"/>
                  </a:lnTo>
                  <a:lnTo>
                    <a:pt x="508" y="473"/>
                  </a:lnTo>
                  <a:lnTo>
                    <a:pt x="508" y="473"/>
                  </a:lnTo>
                  <a:lnTo>
                    <a:pt x="508" y="477"/>
                  </a:lnTo>
                  <a:lnTo>
                    <a:pt x="508" y="477"/>
                  </a:lnTo>
                  <a:lnTo>
                    <a:pt x="508" y="480"/>
                  </a:lnTo>
                  <a:lnTo>
                    <a:pt x="508" y="480"/>
                  </a:lnTo>
                  <a:lnTo>
                    <a:pt x="508" y="480"/>
                  </a:lnTo>
                  <a:lnTo>
                    <a:pt x="508" y="480"/>
                  </a:lnTo>
                  <a:lnTo>
                    <a:pt x="505" y="480"/>
                  </a:lnTo>
                  <a:lnTo>
                    <a:pt x="505" y="480"/>
                  </a:lnTo>
                  <a:lnTo>
                    <a:pt x="502" y="477"/>
                  </a:lnTo>
                  <a:lnTo>
                    <a:pt x="502" y="477"/>
                  </a:lnTo>
                  <a:lnTo>
                    <a:pt x="502" y="477"/>
                  </a:lnTo>
                  <a:lnTo>
                    <a:pt x="502" y="477"/>
                  </a:lnTo>
                  <a:lnTo>
                    <a:pt x="499" y="477"/>
                  </a:lnTo>
                  <a:lnTo>
                    <a:pt x="499" y="477"/>
                  </a:lnTo>
                  <a:lnTo>
                    <a:pt x="501" y="473"/>
                  </a:lnTo>
                  <a:lnTo>
                    <a:pt x="501" y="473"/>
                  </a:lnTo>
                  <a:lnTo>
                    <a:pt x="497" y="477"/>
                  </a:lnTo>
                  <a:lnTo>
                    <a:pt x="497" y="477"/>
                  </a:lnTo>
                  <a:lnTo>
                    <a:pt x="501" y="473"/>
                  </a:lnTo>
                  <a:lnTo>
                    <a:pt x="501" y="473"/>
                  </a:lnTo>
                  <a:lnTo>
                    <a:pt x="499" y="473"/>
                  </a:lnTo>
                  <a:lnTo>
                    <a:pt x="499" y="473"/>
                  </a:lnTo>
                  <a:lnTo>
                    <a:pt x="497" y="470"/>
                  </a:lnTo>
                  <a:lnTo>
                    <a:pt x="497" y="470"/>
                  </a:lnTo>
                  <a:lnTo>
                    <a:pt x="496" y="469"/>
                  </a:lnTo>
                  <a:lnTo>
                    <a:pt x="496" y="469"/>
                  </a:lnTo>
                  <a:lnTo>
                    <a:pt x="494" y="469"/>
                  </a:lnTo>
                  <a:lnTo>
                    <a:pt x="494" y="469"/>
                  </a:lnTo>
                  <a:lnTo>
                    <a:pt x="496" y="470"/>
                  </a:lnTo>
                  <a:lnTo>
                    <a:pt x="496" y="470"/>
                  </a:lnTo>
                  <a:lnTo>
                    <a:pt x="496" y="473"/>
                  </a:lnTo>
                  <a:lnTo>
                    <a:pt x="496" y="473"/>
                  </a:lnTo>
                  <a:lnTo>
                    <a:pt x="494" y="477"/>
                  </a:lnTo>
                  <a:lnTo>
                    <a:pt x="494" y="477"/>
                  </a:lnTo>
                  <a:lnTo>
                    <a:pt x="491" y="480"/>
                  </a:lnTo>
                  <a:lnTo>
                    <a:pt x="491" y="480"/>
                  </a:lnTo>
                  <a:lnTo>
                    <a:pt x="486" y="485"/>
                  </a:lnTo>
                  <a:lnTo>
                    <a:pt x="486" y="485"/>
                  </a:lnTo>
                  <a:lnTo>
                    <a:pt x="483" y="491"/>
                  </a:lnTo>
                  <a:lnTo>
                    <a:pt x="483" y="491"/>
                  </a:lnTo>
                  <a:lnTo>
                    <a:pt x="482" y="494"/>
                  </a:lnTo>
                  <a:lnTo>
                    <a:pt x="482" y="494"/>
                  </a:lnTo>
                  <a:lnTo>
                    <a:pt x="480" y="496"/>
                  </a:lnTo>
                  <a:lnTo>
                    <a:pt x="480" y="496"/>
                  </a:lnTo>
                  <a:lnTo>
                    <a:pt x="474" y="500"/>
                  </a:lnTo>
                  <a:lnTo>
                    <a:pt x="474" y="500"/>
                  </a:lnTo>
                  <a:lnTo>
                    <a:pt x="470" y="502"/>
                  </a:lnTo>
                  <a:lnTo>
                    <a:pt x="470" y="502"/>
                  </a:lnTo>
                  <a:lnTo>
                    <a:pt x="470" y="504"/>
                  </a:lnTo>
                  <a:lnTo>
                    <a:pt x="470" y="504"/>
                  </a:lnTo>
                  <a:lnTo>
                    <a:pt x="467" y="505"/>
                  </a:lnTo>
                  <a:lnTo>
                    <a:pt x="467" y="505"/>
                  </a:lnTo>
                  <a:lnTo>
                    <a:pt x="467" y="505"/>
                  </a:lnTo>
                  <a:lnTo>
                    <a:pt x="467" y="505"/>
                  </a:lnTo>
                  <a:lnTo>
                    <a:pt x="467" y="508"/>
                  </a:lnTo>
                  <a:lnTo>
                    <a:pt x="467" y="508"/>
                  </a:lnTo>
                  <a:lnTo>
                    <a:pt x="467" y="508"/>
                  </a:lnTo>
                  <a:lnTo>
                    <a:pt x="467" y="508"/>
                  </a:lnTo>
                  <a:lnTo>
                    <a:pt x="462" y="508"/>
                  </a:lnTo>
                  <a:lnTo>
                    <a:pt x="462" y="508"/>
                  </a:lnTo>
                  <a:lnTo>
                    <a:pt x="459" y="512"/>
                  </a:lnTo>
                  <a:lnTo>
                    <a:pt x="459" y="512"/>
                  </a:lnTo>
                  <a:lnTo>
                    <a:pt x="458" y="515"/>
                  </a:lnTo>
                  <a:lnTo>
                    <a:pt x="458" y="515"/>
                  </a:lnTo>
                  <a:lnTo>
                    <a:pt x="459" y="515"/>
                  </a:lnTo>
                  <a:lnTo>
                    <a:pt x="459" y="515"/>
                  </a:lnTo>
                  <a:lnTo>
                    <a:pt x="462" y="515"/>
                  </a:lnTo>
                  <a:lnTo>
                    <a:pt x="462" y="515"/>
                  </a:lnTo>
                  <a:lnTo>
                    <a:pt x="464" y="515"/>
                  </a:lnTo>
                  <a:lnTo>
                    <a:pt x="464" y="515"/>
                  </a:lnTo>
                  <a:lnTo>
                    <a:pt x="467" y="512"/>
                  </a:lnTo>
                  <a:lnTo>
                    <a:pt x="467" y="512"/>
                  </a:lnTo>
                  <a:lnTo>
                    <a:pt x="470" y="512"/>
                  </a:lnTo>
                  <a:lnTo>
                    <a:pt x="470" y="512"/>
                  </a:lnTo>
                  <a:lnTo>
                    <a:pt x="477" y="508"/>
                  </a:lnTo>
                  <a:lnTo>
                    <a:pt x="477" y="508"/>
                  </a:lnTo>
                  <a:lnTo>
                    <a:pt x="480" y="505"/>
                  </a:lnTo>
                  <a:lnTo>
                    <a:pt x="480" y="505"/>
                  </a:lnTo>
                  <a:lnTo>
                    <a:pt x="483" y="505"/>
                  </a:lnTo>
                  <a:lnTo>
                    <a:pt x="483" y="505"/>
                  </a:lnTo>
                  <a:lnTo>
                    <a:pt x="488" y="505"/>
                  </a:lnTo>
                  <a:lnTo>
                    <a:pt x="488" y="505"/>
                  </a:lnTo>
                  <a:lnTo>
                    <a:pt x="493" y="505"/>
                  </a:lnTo>
                  <a:lnTo>
                    <a:pt x="493" y="505"/>
                  </a:lnTo>
                  <a:lnTo>
                    <a:pt x="497" y="504"/>
                  </a:lnTo>
                  <a:lnTo>
                    <a:pt x="497" y="504"/>
                  </a:lnTo>
                  <a:lnTo>
                    <a:pt x="502" y="502"/>
                  </a:lnTo>
                  <a:lnTo>
                    <a:pt x="502" y="502"/>
                  </a:lnTo>
                  <a:lnTo>
                    <a:pt x="505" y="502"/>
                  </a:lnTo>
                  <a:lnTo>
                    <a:pt x="505" y="502"/>
                  </a:lnTo>
                  <a:lnTo>
                    <a:pt x="512" y="502"/>
                  </a:lnTo>
                  <a:lnTo>
                    <a:pt x="512" y="502"/>
                  </a:lnTo>
                  <a:lnTo>
                    <a:pt x="512" y="500"/>
                  </a:lnTo>
                  <a:lnTo>
                    <a:pt x="512" y="500"/>
                  </a:lnTo>
                  <a:lnTo>
                    <a:pt x="512" y="499"/>
                  </a:lnTo>
                  <a:lnTo>
                    <a:pt x="512" y="499"/>
                  </a:lnTo>
                  <a:lnTo>
                    <a:pt x="512" y="497"/>
                  </a:lnTo>
                  <a:lnTo>
                    <a:pt x="512" y="497"/>
                  </a:lnTo>
                  <a:lnTo>
                    <a:pt x="505" y="497"/>
                  </a:lnTo>
                  <a:lnTo>
                    <a:pt x="505" y="497"/>
                  </a:lnTo>
                  <a:lnTo>
                    <a:pt x="505" y="497"/>
                  </a:lnTo>
                  <a:lnTo>
                    <a:pt x="505" y="497"/>
                  </a:lnTo>
                  <a:lnTo>
                    <a:pt x="505" y="494"/>
                  </a:lnTo>
                  <a:lnTo>
                    <a:pt x="505" y="494"/>
                  </a:lnTo>
                  <a:lnTo>
                    <a:pt x="512" y="491"/>
                  </a:lnTo>
                  <a:lnTo>
                    <a:pt x="512" y="491"/>
                  </a:lnTo>
                  <a:lnTo>
                    <a:pt x="515" y="488"/>
                  </a:lnTo>
                  <a:lnTo>
                    <a:pt x="515" y="488"/>
                  </a:lnTo>
                  <a:lnTo>
                    <a:pt x="531" y="486"/>
                  </a:lnTo>
                  <a:lnTo>
                    <a:pt x="531" y="486"/>
                  </a:lnTo>
                  <a:lnTo>
                    <a:pt x="535" y="486"/>
                  </a:lnTo>
                  <a:lnTo>
                    <a:pt x="535" y="486"/>
                  </a:lnTo>
                  <a:lnTo>
                    <a:pt x="537" y="486"/>
                  </a:lnTo>
                  <a:lnTo>
                    <a:pt x="537" y="486"/>
                  </a:lnTo>
                  <a:lnTo>
                    <a:pt x="537" y="488"/>
                  </a:lnTo>
                  <a:lnTo>
                    <a:pt x="537" y="488"/>
                  </a:lnTo>
                  <a:lnTo>
                    <a:pt x="540" y="486"/>
                  </a:lnTo>
                  <a:lnTo>
                    <a:pt x="540" y="486"/>
                  </a:lnTo>
                  <a:lnTo>
                    <a:pt x="540" y="486"/>
                  </a:lnTo>
                  <a:lnTo>
                    <a:pt x="540" y="486"/>
                  </a:lnTo>
                  <a:lnTo>
                    <a:pt x="543" y="485"/>
                  </a:lnTo>
                  <a:lnTo>
                    <a:pt x="543" y="485"/>
                  </a:lnTo>
                  <a:lnTo>
                    <a:pt x="540" y="485"/>
                  </a:lnTo>
                  <a:lnTo>
                    <a:pt x="540" y="485"/>
                  </a:lnTo>
                  <a:lnTo>
                    <a:pt x="543" y="483"/>
                  </a:lnTo>
                  <a:lnTo>
                    <a:pt x="543" y="483"/>
                  </a:lnTo>
                  <a:lnTo>
                    <a:pt x="547" y="483"/>
                  </a:lnTo>
                  <a:lnTo>
                    <a:pt x="547" y="483"/>
                  </a:lnTo>
                  <a:lnTo>
                    <a:pt x="550" y="481"/>
                  </a:lnTo>
                  <a:lnTo>
                    <a:pt x="550" y="481"/>
                  </a:lnTo>
                  <a:lnTo>
                    <a:pt x="555" y="480"/>
                  </a:lnTo>
                  <a:lnTo>
                    <a:pt x="555" y="480"/>
                  </a:lnTo>
                  <a:lnTo>
                    <a:pt x="556" y="480"/>
                  </a:lnTo>
                  <a:lnTo>
                    <a:pt x="556" y="480"/>
                  </a:lnTo>
                  <a:lnTo>
                    <a:pt x="561" y="477"/>
                  </a:lnTo>
                  <a:lnTo>
                    <a:pt x="561" y="477"/>
                  </a:lnTo>
                  <a:lnTo>
                    <a:pt x="570" y="470"/>
                  </a:lnTo>
                  <a:lnTo>
                    <a:pt x="570" y="470"/>
                  </a:lnTo>
                  <a:lnTo>
                    <a:pt x="609" y="470"/>
                  </a:lnTo>
                  <a:lnTo>
                    <a:pt x="609" y="470"/>
                  </a:lnTo>
                  <a:lnTo>
                    <a:pt x="612" y="469"/>
                  </a:lnTo>
                  <a:lnTo>
                    <a:pt x="612" y="469"/>
                  </a:lnTo>
                  <a:lnTo>
                    <a:pt x="616" y="467"/>
                  </a:lnTo>
                  <a:lnTo>
                    <a:pt x="616" y="467"/>
                  </a:lnTo>
                  <a:lnTo>
                    <a:pt x="616" y="469"/>
                  </a:lnTo>
                  <a:lnTo>
                    <a:pt x="616" y="469"/>
                  </a:lnTo>
                  <a:lnTo>
                    <a:pt x="618" y="467"/>
                  </a:lnTo>
                  <a:lnTo>
                    <a:pt x="618" y="467"/>
                  </a:lnTo>
                  <a:lnTo>
                    <a:pt x="620" y="467"/>
                  </a:lnTo>
                  <a:lnTo>
                    <a:pt x="620" y="467"/>
                  </a:lnTo>
                  <a:lnTo>
                    <a:pt x="621" y="464"/>
                  </a:lnTo>
                  <a:lnTo>
                    <a:pt x="621" y="464"/>
                  </a:lnTo>
                  <a:lnTo>
                    <a:pt x="624" y="461"/>
                  </a:lnTo>
                  <a:lnTo>
                    <a:pt x="624" y="461"/>
                  </a:lnTo>
                  <a:lnTo>
                    <a:pt x="628" y="459"/>
                  </a:lnTo>
                  <a:lnTo>
                    <a:pt x="628" y="459"/>
                  </a:lnTo>
                  <a:lnTo>
                    <a:pt x="628" y="456"/>
                  </a:lnTo>
                  <a:lnTo>
                    <a:pt x="628" y="456"/>
                  </a:lnTo>
                  <a:lnTo>
                    <a:pt x="631" y="453"/>
                  </a:lnTo>
                  <a:lnTo>
                    <a:pt x="631" y="453"/>
                  </a:lnTo>
                  <a:lnTo>
                    <a:pt x="634" y="450"/>
                  </a:lnTo>
                  <a:lnTo>
                    <a:pt x="634" y="450"/>
                  </a:lnTo>
                  <a:lnTo>
                    <a:pt x="634" y="446"/>
                  </a:lnTo>
                  <a:lnTo>
                    <a:pt x="634" y="446"/>
                  </a:lnTo>
                  <a:lnTo>
                    <a:pt x="642" y="442"/>
                  </a:lnTo>
                  <a:lnTo>
                    <a:pt x="642" y="442"/>
                  </a:lnTo>
                  <a:lnTo>
                    <a:pt x="647" y="439"/>
                  </a:lnTo>
                  <a:lnTo>
                    <a:pt x="647" y="439"/>
                  </a:lnTo>
                  <a:lnTo>
                    <a:pt x="648" y="435"/>
                  </a:lnTo>
                  <a:lnTo>
                    <a:pt x="648" y="435"/>
                  </a:lnTo>
                  <a:lnTo>
                    <a:pt x="650" y="439"/>
                  </a:lnTo>
                  <a:lnTo>
                    <a:pt x="650" y="439"/>
                  </a:lnTo>
                  <a:lnTo>
                    <a:pt x="650" y="442"/>
                  </a:lnTo>
                  <a:lnTo>
                    <a:pt x="650" y="442"/>
                  </a:lnTo>
                  <a:lnTo>
                    <a:pt x="653" y="439"/>
                  </a:lnTo>
                  <a:lnTo>
                    <a:pt x="653" y="439"/>
                  </a:lnTo>
                  <a:lnTo>
                    <a:pt x="658" y="439"/>
                  </a:lnTo>
                  <a:lnTo>
                    <a:pt x="658" y="439"/>
                  </a:lnTo>
                  <a:lnTo>
                    <a:pt x="661" y="439"/>
                  </a:lnTo>
                  <a:lnTo>
                    <a:pt x="661" y="439"/>
                  </a:lnTo>
                  <a:lnTo>
                    <a:pt x="663" y="442"/>
                  </a:lnTo>
                  <a:lnTo>
                    <a:pt x="663" y="442"/>
                  </a:lnTo>
                  <a:lnTo>
                    <a:pt x="661" y="446"/>
                  </a:lnTo>
                  <a:lnTo>
                    <a:pt x="661" y="446"/>
                  </a:lnTo>
                  <a:lnTo>
                    <a:pt x="658" y="454"/>
                  </a:lnTo>
                  <a:lnTo>
                    <a:pt x="658" y="454"/>
                  </a:lnTo>
                  <a:lnTo>
                    <a:pt x="656" y="459"/>
                  </a:lnTo>
                  <a:lnTo>
                    <a:pt x="656" y="459"/>
                  </a:lnTo>
                  <a:lnTo>
                    <a:pt x="656" y="462"/>
                  </a:lnTo>
                  <a:lnTo>
                    <a:pt x="656" y="462"/>
                  </a:lnTo>
                  <a:lnTo>
                    <a:pt x="658" y="464"/>
                  </a:lnTo>
                  <a:lnTo>
                    <a:pt x="658" y="464"/>
                  </a:lnTo>
                  <a:lnTo>
                    <a:pt x="658" y="466"/>
                  </a:lnTo>
                  <a:lnTo>
                    <a:pt x="658" y="466"/>
                  </a:lnTo>
                  <a:lnTo>
                    <a:pt x="656" y="467"/>
                  </a:lnTo>
                  <a:lnTo>
                    <a:pt x="656" y="467"/>
                  </a:lnTo>
                  <a:lnTo>
                    <a:pt x="658" y="470"/>
                  </a:lnTo>
                  <a:lnTo>
                    <a:pt x="658" y="470"/>
                  </a:lnTo>
                  <a:lnTo>
                    <a:pt x="659" y="470"/>
                  </a:lnTo>
                  <a:lnTo>
                    <a:pt x="659" y="470"/>
                  </a:lnTo>
                  <a:lnTo>
                    <a:pt x="663" y="470"/>
                  </a:lnTo>
                  <a:lnTo>
                    <a:pt x="663" y="470"/>
                  </a:lnTo>
                  <a:lnTo>
                    <a:pt x="663" y="470"/>
                  </a:lnTo>
                  <a:lnTo>
                    <a:pt x="663" y="470"/>
                  </a:lnTo>
                  <a:lnTo>
                    <a:pt x="666" y="470"/>
                  </a:lnTo>
                  <a:lnTo>
                    <a:pt x="666" y="470"/>
                  </a:lnTo>
                  <a:lnTo>
                    <a:pt x="666" y="470"/>
                  </a:lnTo>
                  <a:lnTo>
                    <a:pt x="666" y="470"/>
                  </a:lnTo>
                  <a:lnTo>
                    <a:pt x="669" y="470"/>
                  </a:lnTo>
                  <a:lnTo>
                    <a:pt x="669" y="470"/>
                  </a:lnTo>
                  <a:lnTo>
                    <a:pt x="672" y="469"/>
                  </a:lnTo>
                  <a:lnTo>
                    <a:pt x="672" y="469"/>
                  </a:lnTo>
                  <a:lnTo>
                    <a:pt x="672" y="467"/>
                  </a:lnTo>
                  <a:lnTo>
                    <a:pt x="672" y="467"/>
                  </a:lnTo>
                  <a:lnTo>
                    <a:pt x="674" y="466"/>
                  </a:lnTo>
                  <a:lnTo>
                    <a:pt x="674" y="466"/>
                  </a:lnTo>
                  <a:lnTo>
                    <a:pt x="672" y="469"/>
                  </a:lnTo>
                  <a:lnTo>
                    <a:pt x="672" y="469"/>
                  </a:lnTo>
                  <a:lnTo>
                    <a:pt x="674" y="469"/>
                  </a:lnTo>
                  <a:lnTo>
                    <a:pt x="674" y="469"/>
                  </a:lnTo>
                  <a:lnTo>
                    <a:pt x="677" y="469"/>
                  </a:lnTo>
                  <a:lnTo>
                    <a:pt x="677" y="469"/>
                  </a:lnTo>
                  <a:lnTo>
                    <a:pt x="682" y="466"/>
                  </a:lnTo>
                  <a:lnTo>
                    <a:pt x="682" y="466"/>
                  </a:lnTo>
                  <a:lnTo>
                    <a:pt x="686" y="464"/>
                  </a:lnTo>
                  <a:lnTo>
                    <a:pt x="686" y="464"/>
                  </a:lnTo>
                  <a:lnTo>
                    <a:pt x="689" y="462"/>
                  </a:lnTo>
                  <a:lnTo>
                    <a:pt x="689" y="462"/>
                  </a:lnTo>
                  <a:lnTo>
                    <a:pt x="689" y="461"/>
                  </a:lnTo>
                  <a:lnTo>
                    <a:pt x="689" y="461"/>
                  </a:lnTo>
                  <a:lnTo>
                    <a:pt x="693" y="458"/>
                  </a:lnTo>
                  <a:lnTo>
                    <a:pt x="693" y="458"/>
                  </a:lnTo>
                  <a:lnTo>
                    <a:pt x="693" y="461"/>
                  </a:lnTo>
                  <a:lnTo>
                    <a:pt x="693" y="461"/>
                  </a:lnTo>
                  <a:lnTo>
                    <a:pt x="696" y="461"/>
                  </a:lnTo>
                  <a:lnTo>
                    <a:pt x="696" y="461"/>
                  </a:lnTo>
                  <a:lnTo>
                    <a:pt x="688" y="466"/>
                  </a:lnTo>
                  <a:lnTo>
                    <a:pt x="688" y="466"/>
                  </a:lnTo>
                  <a:lnTo>
                    <a:pt x="686" y="467"/>
                  </a:lnTo>
                  <a:lnTo>
                    <a:pt x="686" y="467"/>
                  </a:lnTo>
                  <a:lnTo>
                    <a:pt x="688" y="467"/>
                  </a:lnTo>
                  <a:lnTo>
                    <a:pt x="688" y="467"/>
                  </a:lnTo>
                  <a:lnTo>
                    <a:pt x="689" y="467"/>
                  </a:lnTo>
                  <a:lnTo>
                    <a:pt x="689" y="467"/>
                  </a:lnTo>
                  <a:lnTo>
                    <a:pt x="696" y="467"/>
                  </a:lnTo>
                  <a:lnTo>
                    <a:pt x="696" y="467"/>
                  </a:lnTo>
                  <a:lnTo>
                    <a:pt x="702" y="467"/>
                  </a:lnTo>
                  <a:lnTo>
                    <a:pt x="702" y="467"/>
                  </a:lnTo>
                  <a:lnTo>
                    <a:pt x="696" y="469"/>
                  </a:lnTo>
                  <a:lnTo>
                    <a:pt x="696" y="469"/>
                  </a:lnTo>
                  <a:lnTo>
                    <a:pt x="693" y="470"/>
                  </a:lnTo>
                  <a:lnTo>
                    <a:pt x="693" y="470"/>
                  </a:lnTo>
                  <a:lnTo>
                    <a:pt x="693" y="470"/>
                  </a:lnTo>
                  <a:lnTo>
                    <a:pt x="693" y="470"/>
                  </a:lnTo>
                  <a:lnTo>
                    <a:pt x="693" y="470"/>
                  </a:lnTo>
                  <a:lnTo>
                    <a:pt x="693" y="470"/>
                  </a:lnTo>
                  <a:lnTo>
                    <a:pt x="693" y="470"/>
                  </a:lnTo>
                  <a:lnTo>
                    <a:pt x="693" y="470"/>
                  </a:lnTo>
                  <a:lnTo>
                    <a:pt x="689" y="470"/>
                  </a:lnTo>
                  <a:lnTo>
                    <a:pt x="689" y="470"/>
                  </a:lnTo>
                  <a:lnTo>
                    <a:pt x="689" y="469"/>
                  </a:lnTo>
                  <a:lnTo>
                    <a:pt x="689" y="469"/>
                  </a:lnTo>
                  <a:lnTo>
                    <a:pt x="682" y="470"/>
                  </a:lnTo>
                  <a:lnTo>
                    <a:pt x="682" y="470"/>
                  </a:lnTo>
                  <a:lnTo>
                    <a:pt x="677" y="473"/>
                  </a:lnTo>
                  <a:lnTo>
                    <a:pt x="677" y="473"/>
                  </a:lnTo>
                  <a:lnTo>
                    <a:pt x="674" y="477"/>
                  </a:lnTo>
                  <a:lnTo>
                    <a:pt x="674" y="477"/>
                  </a:lnTo>
                  <a:lnTo>
                    <a:pt x="675" y="477"/>
                  </a:lnTo>
                  <a:lnTo>
                    <a:pt x="675" y="477"/>
                  </a:lnTo>
                  <a:lnTo>
                    <a:pt x="674" y="477"/>
                  </a:lnTo>
                  <a:lnTo>
                    <a:pt x="674" y="477"/>
                  </a:lnTo>
                  <a:lnTo>
                    <a:pt x="672" y="477"/>
                  </a:lnTo>
                  <a:lnTo>
                    <a:pt x="672" y="477"/>
                  </a:lnTo>
                  <a:lnTo>
                    <a:pt x="672" y="477"/>
                  </a:lnTo>
                  <a:lnTo>
                    <a:pt x="672" y="477"/>
                  </a:lnTo>
                  <a:lnTo>
                    <a:pt x="672" y="477"/>
                  </a:lnTo>
                  <a:lnTo>
                    <a:pt x="672" y="477"/>
                  </a:lnTo>
                  <a:lnTo>
                    <a:pt x="669" y="480"/>
                  </a:lnTo>
                  <a:lnTo>
                    <a:pt x="669" y="480"/>
                  </a:lnTo>
                  <a:lnTo>
                    <a:pt x="666" y="480"/>
                  </a:lnTo>
                  <a:lnTo>
                    <a:pt x="666" y="480"/>
                  </a:lnTo>
                  <a:lnTo>
                    <a:pt x="669" y="480"/>
                  </a:lnTo>
                  <a:lnTo>
                    <a:pt x="669" y="480"/>
                  </a:lnTo>
                  <a:lnTo>
                    <a:pt x="666" y="483"/>
                  </a:lnTo>
                  <a:lnTo>
                    <a:pt x="666" y="483"/>
                  </a:lnTo>
                  <a:lnTo>
                    <a:pt x="663" y="486"/>
                  </a:lnTo>
                  <a:lnTo>
                    <a:pt x="663" y="486"/>
                  </a:lnTo>
                  <a:lnTo>
                    <a:pt x="666" y="491"/>
                  </a:lnTo>
                  <a:lnTo>
                    <a:pt x="666" y="491"/>
                  </a:lnTo>
                  <a:lnTo>
                    <a:pt x="666" y="489"/>
                  </a:lnTo>
                  <a:lnTo>
                    <a:pt x="666" y="489"/>
                  </a:lnTo>
                  <a:lnTo>
                    <a:pt x="666" y="493"/>
                  </a:lnTo>
                  <a:lnTo>
                    <a:pt x="666" y="493"/>
                  </a:lnTo>
                  <a:lnTo>
                    <a:pt x="669" y="493"/>
                  </a:lnTo>
                  <a:lnTo>
                    <a:pt x="669" y="493"/>
                  </a:lnTo>
                  <a:lnTo>
                    <a:pt x="669" y="494"/>
                  </a:lnTo>
                  <a:lnTo>
                    <a:pt x="669" y="494"/>
                  </a:lnTo>
                  <a:lnTo>
                    <a:pt x="672" y="493"/>
                  </a:lnTo>
                  <a:lnTo>
                    <a:pt x="672" y="493"/>
                  </a:lnTo>
                  <a:lnTo>
                    <a:pt x="672" y="489"/>
                  </a:lnTo>
                  <a:lnTo>
                    <a:pt x="672" y="489"/>
                  </a:lnTo>
                  <a:lnTo>
                    <a:pt x="674" y="491"/>
                  </a:lnTo>
                  <a:lnTo>
                    <a:pt x="674" y="491"/>
                  </a:lnTo>
                  <a:lnTo>
                    <a:pt x="674" y="489"/>
                  </a:lnTo>
                  <a:lnTo>
                    <a:pt x="674" y="489"/>
                  </a:lnTo>
                  <a:lnTo>
                    <a:pt x="675" y="491"/>
                  </a:lnTo>
                  <a:lnTo>
                    <a:pt x="675" y="491"/>
                  </a:lnTo>
                  <a:lnTo>
                    <a:pt x="677" y="489"/>
                  </a:lnTo>
                  <a:lnTo>
                    <a:pt x="677" y="489"/>
                  </a:lnTo>
                  <a:lnTo>
                    <a:pt x="680" y="486"/>
                  </a:lnTo>
                  <a:lnTo>
                    <a:pt x="680" y="486"/>
                  </a:lnTo>
                  <a:lnTo>
                    <a:pt x="683" y="485"/>
                  </a:lnTo>
                  <a:lnTo>
                    <a:pt x="683" y="485"/>
                  </a:lnTo>
                  <a:lnTo>
                    <a:pt x="685" y="483"/>
                  </a:lnTo>
                  <a:lnTo>
                    <a:pt x="685" y="483"/>
                  </a:lnTo>
                  <a:lnTo>
                    <a:pt x="686" y="481"/>
                  </a:lnTo>
                  <a:lnTo>
                    <a:pt x="686" y="481"/>
                  </a:lnTo>
                  <a:lnTo>
                    <a:pt x="688" y="481"/>
                  </a:lnTo>
                  <a:lnTo>
                    <a:pt x="688" y="481"/>
                  </a:lnTo>
                  <a:lnTo>
                    <a:pt x="689" y="480"/>
                  </a:lnTo>
                  <a:lnTo>
                    <a:pt x="689" y="480"/>
                  </a:lnTo>
                  <a:lnTo>
                    <a:pt x="689" y="480"/>
                  </a:lnTo>
                  <a:lnTo>
                    <a:pt x="689" y="480"/>
                  </a:lnTo>
                  <a:lnTo>
                    <a:pt x="689" y="477"/>
                  </a:lnTo>
                  <a:lnTo>
                    <a:pt x="689" y="477"/>
                  </a:lnTo>
                  <a:lnTo>
                    <a:pt x="693" y="477"/>
                  </a:lnTo>
                  <a:lnTo>
                    <a:pt x="693" y="477"/>
                  </a:lnTo>
                  <a:lnTo>
                    <a:pt x="693" y="477"/>
                  </a:lnTo>
                  <a:lnTo>
                    <a:pt x="693" y="477"/>
                  </a:lnTo>
                  <a:lnTo>
                    <a:pt x="693" y="477"/>
                  </a:lnTo>
                  <a:lnTo>
                    <a:pt x="693" y="477"/>
                  </a:lnTo>
                  <a:lnTo>
                    <a:pt x="696" y="480"/>
                  </a:lnTo>
                  <a:lnTo>
                    <a:pt x="696" y="480"/>
                  </a:lnTo>
                  <a:lnTo>
                    <a:pt x="696" y="480"/>
                  </a:lnTo>
                  <a:lnTo>
                    <a:pt x="696" y="480"/>
                  </a:lnTo>
                  <a:lnTo>
                    <a:pt x="696" y="477"/>
                  </a:lnTo>
                  <a:lnTo>
                    <a:pt x="696" y="477"/>
                  </a:lnTo>
                  <a:lnTo>
                    <a:pt x="697" y="477"/>
                  </a:lnTo>
                  <a:lnTo>
                    <a:pt x="697" y="477"/>
                  </a:lnTo>
                  <a:lnTo>
                    <a:pt x="699" y="477"/>
                  </a:lnTo>
                  <a:lnTo>
                    <a:pt x="699" y="477"/>
                  </a:lnTo>
                  <a:lnTo>
                    <a:pt x="704" y="477"/>
                  </a:lnTo>
                  <a:lnTo>
                    <a:pt x="704" y="477"/>
                  </a:lnTo>
                  <a:lnTo>
                    <a:pt x="709" y="473"/>
                  </a:lnTo>
                  <a:lnTo>
                    <a:pt x="709" y="473"/>
                  </a:lnTo>
                  <a:lnTo>
                    <a:pt x="713" y="473"/>
                  </a:lnTo>
                  <a:lnTo>
                    <a:pt x="713" y="473"/>
                  </a:lnTo>
                  <a:lnTo>
                    <a:pt x="718" y="470"/>
                  </a:lnTo>
                  <a:lnTo>
                    <a:pt x="718" y="470"/>
                  </a:lnTo>
                  <a:lnTo>
                    <a:pt x="724" y="470"/>
                  </a:lnTo>
                  <a:lnTo>
                    <a:pt x="724" y="470"/>
                  </a:lnTo>
                  <a:lnTo>
                    <a:pt x="728" y="470"/>
                  </a:lnTo>
                  <a:lnTo>
                    <a:pt x="728" y="470"/>
                  </a:lnTo>
                  <a:lnTo>
                    <a:pt x="728" y="469"/>
                  </a:lnTo>
                  <a:lnTo>
                    <a:pt x="728" y="469"/>
                  </a:lnTo>
                  <a:lnTo>
                    <a:pt x="729" y="467"/>
                  </a:lnTo>
                  <a:lnTo>
                    <a:pt x="729" y="467"/>
                  </a:lnTo>
                  <a:lnTo>
                    <a:pt x="728" y="467"/>
                  </a:lnTo>
                  <a:lnTo>
                    <a:pt x="728" y="467"/>
                  </a:lnTo>
                  <a:lnTo>
                    <a:pt x="724" y="467"/>
                  </a:lnTo>
                  <a:lnTo>
                    <a:pt x="724" y="467"/>
                  </a:lnTo>
                  <a:lnTo>
                    <a:pt x="728" y="466"/>
                  </a:lnTo>
                  <a:lnTo>
                    <a:pt x="728" y="466"/>
                  </a:lnTo>
                  <a:lnTo>
                    <a:pt x="728" y="464"/>
                  </a:lnTo>
                  <a:lnTo>
                    <a:pt x="728" y="464"/>
                  </a:lnTo>
                  <a:lnTo>
                    <a:pt x="734" y="464"/>
                  </a:lnTo>
                  <a:lnTo>
                    <a:pt x="734" y="464"/>
                  </a:lnTo>
                  <a:lnTo>
                    <a:pt x="739" y="462"/>
                  </a:lnTo>
                  <a:lnTo>
                    <a:pt x="739" y="462"/>
                  </a:lnTo>
                  <a:lnTo>
                    <a:pt x="742" y="461"/>
                  </a:lnTo>
                  <a:lnTo>
                    <a:pt x="742" y="461"/>
                  </a:lnTo>
                  <a:lnTo>
                    <a:pt x="745" y="459"/>
                  </a:lnTo>
                  <a:lnTo>
                    <a:pt x="745" y="459"/>
                  </a:lnTo>
                  <a:lnTo>
                    <a:pt x="747" y="459"/>
                  </a:lnTo>
                  <a:lnTo>
                    <a:pt x="747" y="459"/>
                  </a:lnTo>
                  <a:lnTo>
                    <a:pt x="745" y="458"/>
                  </a:lnTo>
                  <a:lnTo>
                    <a:pt x="745" y="458"/>
                  </a:lnTo>
                  <a:lnTo>
                    <a:pt x="747" y="456"/>
                  </a:lnTo>
                  <a:lnTo>
                    <a:pt x="747" y="456"/>
                  </a:lnTo>
                  <a:lnTo>
                    <a:pt x="745" y="454"/>
                  </a:lnTo>
                  <a:lnTo>
                    <a:pt x="745" y="454"/>
                  </a:lnTo>
                  <a:lnTo>
                    <a:pt x="743" y="454"/>
                  </a:lnTo>
                  <a:lnTo>
                    <a:pt x="743" y="454"/>
                  </a:lnTo>
                  <a:lnTo>
                    <a:pt x="743" y="453"/>
                  </a:lnTo>
                  <a:lnTo>
                    <a:pt x="743" y="453"/>
                  </a:lnTo>
                  <a:lnTo>
                    <a:pt x="742" y="454"/>
                  </a:lnTo>
                  <a:lnTo>
                    <a:pt x="742" y="454"/>
                  </a:lnTo>
                  <a:lnTo>
                    <a:pt x="736" y="459"/>
                  </a:lnTo>
                  <a:lnTo>
                    <a:pt x="736" y="459"/>
                  </a:lnTo>
                  <a:lnTo>
                    <a:pt x="737" y="459"/>
                  </a:lnTo>
                  <a:lnTo>
                    <a:pt x="737" y="459"/>
                  </a:lnTo>
                  <a:lnTo>
                    <a:pt x="732" y="462"/>
                  </a:lnTo>
                  <a:lnTo>
                    <a:pt x="732" y="462"/>
                  </a:lnTo>
                  <a:lnTo>
                    <a:pt x="732" y="461"/>
                  </a:lnTo>
                  <a:lnTo>
                    <a:pt x="732" y="461"/>
                  </a:lnTo>
                  <a:lnTo>
                    <a:pt x="731" y="462"/>
                  </a:lnTo>
                  <a:lnTo>
                    <a:pt x="731" y="462"/>
                  </a:lnTo>
                  <a:lnTo>
                    <a:pt x="731" y="461"/>
                  </a:lnTo>
                  <a:lnTo>
                    <a:pt x="731" y="461"/>
                  </a:lnTo>
                  <a:lnTo>
                    <a:pt x="732" y="459"/>
                  </a:lnTo>
                  <a:lnTo>
                    <a:pt x="732" y="459"/>
                  </a:lnTo>
                  <a:lnTo>
                    <a:pt x="736" y="458"/>
                  </a:lnTo>
                  <a:lnTo>
                    <a:pt x="736" y="458"/>
                  </a:lnTo>
                  <a:lnTo>
                    <a:pt x="737" y="456"/>
                  </a:lnTo>
                  <a:lnTo>
                    <a:pt x="737" y="456"/>
                  </a:lnTo>
                  <a:lnTo>
                    <a:pt x="739" y="454"/>
                  </a:lnTo>
                  <a:lnTo>
                    <a:pt x="739" y="454"/>
                  </a:lnTo>
                  <a:lnTo>
                    <a:pt x="742" y="450"/>
                  </a:lnTo>
                  <a:lnTo>
                    <a:pt x="742" y="450"/>
                  </a:lnTo>
                  <a:lnTo>
                    <a:pt x="745" y="445"/>
                  </a:lnTo>
                  <a:lnTo>
                    <a:pt x="745" y="445"/>
                  </a:lnTo>
                  <a:lnTo>
                    <a:pt x="743" y="445"/>
                  </a:lnTo>
                  <a:lnTo>
                    <a:pt x="743" y="445"/>
                  </a:lnTo>
                  <a:lnTo>
                    <a:pt x="743" y="445"/>
                  </a:lnTo>
                  <a:lnTo>
                    <a:pt x="743" y="445"/>
                  </a:lnTo>
                  <a:lnTo>
                    <a:pt x="742" y="445"/>
                  </a:lnTo>
                  <a:lnTo>
                    <a:pt x="742" y="445"/>
                  </a:lnTo>
                  <a:lnTo>
                    <a:pt x="740" y="445"/>
                  </a:lnTo>
                  <a:lnTo>
                    <a:pt x="740" y="445"/>
                  </a:lnTo>
                  <a:lnTo>
                    <a:pt x="734" y="451"/>
                  </a:lnTo>
                  <a:lnTo>
                    <a:pt x="734" y="451"/>
                  </a:lnTo>
                  <a:lnTo>
                    <a:pt x="728" y="456"/>
                  </a:lnTo>
                  <a:lnTo>
                    <a:pt x="728" y="456"/>
                  </a:lnTo>
                  <a:lnTo>
                    <a:pt x="728" y="459"/>
                  </a:lnTo>
                  <a:lnTo>
                    <a:pt x="728" y="459"/>
                  </a:lnTo>
                  <a:lnTo>
                    <a:pt x="728" y="462"/>
                  </a:lnTo>
                  <a:lnTo>
                    <a:pt x="728" y="462"/>
                  </a:lnTo>
                  <a:lnTo>
                    <a:pt x="724" y="462"/>
                  </a:lnTo>
                  <a:lnTo>
                    <a:pt x="724" y="462"/>
                  </a:lnTo>
                  <a:lnTo>
                    <a:pt x="724" y="462"/>
                  </a:lnTo>
                  <a:lnTo>
                    <a:pt x="724" y="462"/>
                  </a:lnTo>
                  <a:lnTo>
                    <a:pt x="721" y="462"/>
                  </a:lnTo>
                  <a:lnTo>
                    <a:pt x="721" y="462"/>
                  </a:lnTo>
                  <a:lnTo>
                    <a:pt x="721" y="459"/>
                  </a:lnTo>
                  <a:lnTo>
                    <a:pt x="721" y="459"/>
                  </a:lnTo>
                  <a:lnTo>
                    <a:pt x="716" y="462"/>
                  </a:lnTo>
                  <a:lnTo>
                    <a:pt x="716" y="462"/>
                  </a:lnTo>
                  <a:lnTo>
                    <a:pt x="712" y="464"/>
                  </a:lnTo>
                  <a:lnTo>
                    <a:pt x="712" y="464"/>
                  </a:lnTo>
                  <a:lnTo>
                    <a:pt x="713" y="462"/>
                  </a:lnTo>
                  <a:lnTo>
                    <a:pt x="713" y="462"/>
                  </a:lnTo>
                  <a:lnTo>
                    <a:pt x="710" y="461"/>
                  </a:lnTo>
                  <a:lnTo>
                    <a:pt x="710" y="461"/>
                  </a:lnTo>
                  <a:lnTo>
                    <a:pt x="707" y="461"/>
                  </a:lnTo>
                  <a:lnTo>
                    <a:pt x="707" y="461"/>
                  </a:lnTo>
                  <a:lnTo>
                    <a:pt x="704" y="459"/>
                  </a:lnTo>
                  <a:lnTo>
                    <a:pt x="704" y="459"/>
                  </a:lnTo>
                  <a:lnTo>
                    <a:pt x="701" y="459"/>
                  </a:lnTo>
                  <a:lnTo>
                    <a:pt x="701" y="459"/>
                  </a:lnTo>
                  <a:lnTo>
                    <a:pt x="697" y="458"/>
                  </a:lnTo>
                  <a:lnTo>
                    <a:pt x="697" y="458"/>
                  </a:lnTo>
                  <a:lnTo>
                    <a:pt x="701" y="456"/>
                  </a:lnTo>
                  <a:lnTo>
                    <a:pt x="701" y="456"/>
                  </a:lnTo>
                  <a:lnTo>
                    <a:pt x="702" y="456"/>
                  </a:lnTo>
                  <a:lnTo>
                    <a:pt x="702" y="456"/>
                  </a:lnTo>
                  <a:lnTo>
                    <a:pt x="696" y="454"/>
                  </a:lnTo>
                  <a:lnTo>
                    <a:pt x="696" y="454"/>
                  </a:lnTo>
                  <a:lnTo>
                    <a:pt x="693" y="453"/>
                  </a:lnTo>
                  <a:lnTo>
                    <a:pt x="693" y="453"/>
                  </a:lnTo>
                  <a:lnTo>
                    <a:pt x="693" y="451"/>
                  </a:lnTo>
                  <a:lnTo>
                    <a:pt x="693" y="451"/>
                  </a:lnTo>
                  <a:lnTo>
                    <a:pt x="693" y="448"/>
                  </a:lnTo>
                  <a:lnTo>
                    <a:pt x="693" y="448"/>
                  </a:lnTo>
                  <a:lnTo>
                    <a:pt x="693" y="445"/>
                  </a:lnTo>
                  <a:lnTo>
                    <a:pt x="693" y="445"/>
                  </a:lnTo>
                  <a:lnTo>
                    <a:pt x="696" y="442"/>
                  </a:lnTo>
                  <a:lnTo>
                    <a:pt x="696" y="442"/>
                  </a:lnTo>
                  <a:lnTo>
                    <a:pt x="693" y="442"/>
                  </a:lnTo>
                  <a:lnTo>
                    <a:pt x="693" y="442"/>
                  </a:lnTo>
                  <a:lnTo>
                    <a:pt x="689" y="442"/>
                  </a:lnTo>
                  <a:lnTo>
                    <a:pt x="689" y="442"/>
                  </a:lnTo>
                  <a:lnTo>
                    <a:pt x="693" y="442"/>
                  </a:lnTo>
                  <a:lnTo>
                    <a:pt x="693" y="442"/>
                  </a:lnTo>
                  <a:lnTo>
                    <a:pt x="696" y="439"/>
                  </a:lnTo>
                  <a:lnTo>
                    <a:pt x="696" y="439"/>
                  </a:lnTo>
                  <a:lnTo>
                    <a:pt x="701" y="434"/>
                  </a:lnTo>
                  <a:lnTo>
                    <a:pt x="701" y="434"/>
                  </a:lnTo>
                  <a:lnTo>
                    <a:pt x="699" y="434"/>
                  </a:lnTo>
                  <a:lnTo>
                    <a:pt x="699" y="434"/>
                  </a:lnTo>
                  <a:lnTo>
                    <a:pt x="697" y="432"/>
                  </a:lnTo>
                  <a:lnTo>
                    <a:pt x="697" y="432"/>
                  </a:lnTo>
                  <a:lnTo>
                    <a:pt x="696" y="432"/>
                  </a:lnTo>
                  <a:lnTo>
                    <a:pt x="696" y="432"/>
                  </a:lnTo>
                  <a:lnTo>
                    <a:pt x="689" y="435"/>
                  </a:lnTo>
                  <a:lnTo>
                    <a:pt x="689" y="435"/>
                  </a:lnTo>
                  <a:lnTo>
                    <a:pt x="689" y="432"/>
                  </a:lnTo>
                  <a:lnTo>
                    <a:pt x="689" y="432"/>
                  </a:lnTo>
                  <a:lnTo>
                    <a:pt x="685" y="431"/>
                  </a:lnTo>
                  <a:lnTo>
                    <a:pt x="685" y="431"/>
                  </a:lnTo>
                  <a:lnTo>
                    <a:pt x="682" y="429"/>
                  </a:lnTo>
                  <a:lnTo>
                    <a:pt x="682" y="429"/>
                  </a:lnTo>
                  <a:lnTo>
                    <a:pt x="685" y="427"/>
                  </a:lnTo>
                  <a:lnTo>
                    <a:pt x="685" y="427"/>
                  </a:lnTo>
                  <a:lnTo>
                    <a:pt x="689" y="427"/>
                  </a:lnTo>
                  <a:lnTo>
                    <a:pt x="689" y="427"/>
                  </a:lnTo>
                  <a:lnTo>
                    <a:pt x="693" y="429"/>
                  </a:lnTo>
                  <a:lnTo>
                    <a:pt x="693" y="429"/>
                  </a:lnTo>
                  <a:lnTo>
                    <a:pt x="696" y="429"/>
                  </a:lnTo>
                  <a:lnTo>
                    <a:pt x="696" y="429"/>
                  </a:lnTo>
                  <a:lnTo>
                    <a:pt x="696" y="429"/>
                  </a:lnTo>
                  <a:lnTo>
                    <a:pt x="696" y="429"/>
                  </a:lnTo>
                  <a:lnTo>
                    <a:pt x="709" y="423"/>
                  </a:lnTo>
                  <a:lnTo>
                    <a:pt x="709" y="423"/>
                  </a:lnTo>
                  <a:lnTo>
                    <a:pt x="710" y="421"/>
                  </a:lnTo>
                  <a:lnTo>
                    <a:pt x="710" y="421"/>
                  </a:lnTo>
                  <a:lnTo>
                    <a:pt x="710" y="419"/>
                  </a:lnTo>
                  <a:lnTo>
                    <a:pt x="710" y="419"/>
                  </a:lnTo>
                  <a:lnTo>
                    <a:pt x="709" y="418"/>
                  </a:lnTo>
                  <a:lnTo>
                    <a:pt x="709" y="418"/>
                  </a:lnTo>
                  <a:lnTo>
                    <a:pt x="710" y="418"/>
                  </a:lnTo>
                  <a:lnTo>
                    <a:pt x="710" y="418"/>
                  </a:lnTo>
                  <a:lnTo>
                    <a:pt x="712" y="418"/>
                  </a:lnTo>
                  <a:lnTo>
                    <a:pt x="712" y="418"/>
                  </a:lnTo>
                  <a:lnTo>
                    <a:pt x="712" y="415"/>
                  </a:lnTo>
                  <a:lnTo>
                    <a:pt x="712" y="415"/>
                  </a:lnTo>
                  <a:lnTo>
                    <a:pt x="709" y="415"/>
                  </a:lnTo>
                  <a:lnTo>
                    <a:pt x="709" y="415"/>
                  </a:lnTo>
                  <a:lnTo>
                    <a:pt x="702" y="413"/>
                  </a:lnTo>
                  <a:lnTo>
                    <a:pt x="702" y="413"/>
                  </a:lnTo>
                  <a:lnTo>
                    <a:pt x="697" y="413"/>
                  </a:lnTo>
                  <a:lnTo>
                    <a:pt x="697" y="413"/>
                  </a:lnTo>
                  <a:lnTo>
                    <a:pt x="693" y="413"/>
                  </a:lnTo>
                  <a:lnTo>
                    <a:pt x="693" y="413"/>
                  </a:lnTo>
                  <a:lnTo>
                    <a:pt x="680" y="418"/>
                  </a:lnTo>
                  <a:lnTo>
                    <a:pt x="680" y="418"/>
                  </a:lnTo>
                  <a:lnTo>
                    <a:pt x="669" y="419"/>
                  </a:lnTo>
                  <a:lnTo>
                    <a:pt x="669" y="419"/>
                  </a:lnTo>
                  <a:lnTo>
                    <a:pt x="656" y="426"/>
                  </a:lnTo>
                  <a:lnTo>
                    <a:pt x="656" y="426"/>
                  </a:lnTo>
                  <a:lnTo>
                    <a:pt x="650" y="429"/>
                  </a:lnTo>
                  <a:lnTo>
                    <a:pt x="650" y="429"/>
                  </a:lnTo>
                  <a:lnTo>
                    <a:pt x="645" y="434"/>
                  </a:lnTo>
                  <a:lnTo>
                    <a:pt x="645" y="434"/>
                  </a:lnTo>
                  <a:lnTo>
                    <a:pt x="634" y="442"/>
                  </a:lnTo>
                  <a:lnTo>
                    <a:pt x="634" y="442"/>
                  </a:lnTo>
                  <a:lnTo>
                    <a:pt x="628" y="445"/>
                  </a:lnTo>
                  <a:lnTo>
                    <a:pt x="628" y="445"/>
                  </a:lnTo>
                  <a:lnTo>
                    <a:pt x="621" y="446"/>
                  </a:lnTo>
                  <a:lnTo>
                    <a:pt x="621" y="446"/>
                  </a:lnTo>
                  <a:lnTo>
                    <a:pt x="628" y="442"/>
                  </a:lnTo>
                  <a:lnTo>
                    <a:pt x="628" y="442"/>
                  </a:lnTo>
                  <a:lnTo>
                    <a:pt x="631" y="439"/>
                  </a:lnTo>
                  <a:lnTo>
                    <a:pt x="631" y="439"/>
                  </a:lnTo>
                  <a:lnTo>
                    <a:pt x="634" y="439"/>
                  </a:lnTo>
                  <a:lnTo>
                    <a:pt x="634" y="439"/>
                  </a:lnTo>
                  <a:lnTo>
                    <a:pt x="640" y="434"/>
                  </a:lnTo>
                  <a:lnTo>
                    <a:pt x="640" y="434"/>
                  </a:lnTo>
                  <a:lnTo>
                    <a:pt x="647" y="427"/>
                  </a:lnTo>
                  <a:lnTo>
                    <a:pt x="647" y="427"/>
                  </a:lnTo>
                  <a:lnTo>
                    <a:pt x="648" y="427"/>
                  </a:lnTo>
                  <a:lnTo>
                    <a:pt x="648" y="427"/>
                  </a:lnTo>
                  <a:lnTo>
                    <a:pt x="651" y="426"/>
                  </a:lnTo>
                  <a:lnTo>
                    <a:pt x="651" y="426"/>
                  </a:lnTo>
                  <a:lnTo>
                    <a:pt x="656" y="421"/>
                  </a:lnTo>
                  <a:lnTo>
                    <a:pt x="656" y="421"/>
                  </a:lnTo>
                  <a:lnTo>
                    <a:pt x="661" y="418"/>
                  </a:lnTo>
                  <a:lnTo>
                    <a:pt x="661" y="418"/>
                  </a:lnTo>
                  <a:lnTo>
                    <a:pt x="663" y="415"/>
                  </a:lnTo>
                  <a:lnTo>
                    <a:pt x="663" y="415"/>
                  </a:lnTo>
                  <a:lnTo>
                    <a:pt x="666" y="415"/>
                  </a:lnTo>
                  <a:lnTo>
                    <a:pt x="666" y="415"/>
                  </a:lnTo>
                  <a:lnTo>
                    <a:pt x="666" y="415"/>
                  </a:lnTo>
                  <a:lnTo>
                    <a:pt x="666" y="415"/>
                  </a:lnTo>
                  <a:lnTo>
                    <a:pt x="669" y="415"/>
                  </a:lnTo>
                  <a:lnTo>
                    <a:pt x="669" y="415"/>
                  </a:lnTo>
                  <a:lnTo>
                    <a:pt x="669" y="413"/>
                  </a:lnTo>
                  <a:lnTo>
                    <a:pt x="669" y="413"/>
                  </a:lnTo>
                  <a:lnTo>
                    <a:pt x="672" y="413"/>
                  </a:lnTo>
                  <a:lnTo>
                    <a:pt x="672" y="413"/>
                  </a:lnTo>
                  <a:lnTo>
                    <a:pt x="675" y="412"/>
                  </a:lnTo>
                  <a:lnTo>
                    <a:pt x="675" y="412"/>
                  </a:lnTo>
                  <a:lnTo>
                    <a:pt x="680" y="412"/>
                  </a:lnTo>
                  <a:lnTo>
                    <a:pt x="680" y="412"/>
                  </a:lnTo>
                  <a:lnTo>
                    <a:pt x="682" y="408"/>
                  </a:lnTo>
                  <a:lnTo>
                    <a:pt x="682" y="408"/>
                  </a:lnTo>
                  <a:lnTo>
                    <a:pt x="688" y="402"/>
                  </a:lnTo>
                  <a:lnTo>
                    <a:pt x="688" y="402"/>
                  </a:lnTo>
                  <a:lnTo>
                    <a:pt x="689" y="400"/>
                  </a:lnTo>
                  <a:lnTo>
                    <a:pt x="689" y="400"/>
                  </a:lnTo>
                  <a:lnTo>
                    <a:pt x="696" y="400"/>
                  </a:lnTo>
                  <a:lnTo>
                    <a:pt x="696" y="400"/>
                  </a:lnTo>
                  <a:lnTo>
                    <a:pt x="693" y="399"/>
                  </a:lnTo>
                  <a:lnTo>
                    <a:pt x="693" y="399"/>
                  </a:lnTo>
                  <a:lnTo>
                    <a:pt x="696" y="399"/>
                  </a:lnTo>
                  <a:lnTo>
                    <a:pt x="696" y="399"/>
                  </a:lnTo>
                  <a:lnTo>
                    <a:pt x="697" y="399"/>
                  </a:lnTo>
                  <a:lnTo>
                    <a:pt x="697" y="399"/>
                  </a:lnTo>
                  <a:lnTo>
                    <a:pt x="702" y="397"/>
                  </a:lnTo>
                  <a:lnTo>
                    <a:pt x="702" y="397"/>
                  </a:lnTo>
                  <a:lnTo>
                    <a:pt x="707" y="397"/>
                  </a:lnTo>
                  <a:lnTo>
                    <a:pt x="707" y="397"/>
                  </a:lnTo>
                  <a:lnTo>
                    <a:pt x="715" y="397"/>
                  </a:lnTo>
                  <a:lnTo>
                    <a:pt x="715" y="397"/>
                  </a:lnTo>
                  <a:lnTo>
                    <a:pt x="721" y="397"/>
                  </a:lnTo>
                  <a:lnTo>
                    <a:pt x="721" y="397"/>
                  </a:lnTo>
                  <a:lnTo>
                    <a:pt x="724" y="399"/>
                  </a:lnTo>
                  <a:lnTo>
                    <a:pt x="724" y="399"/>
                  </a:lnTo>
                  <a:lnTo>
                    <a:pt x="729" y="399"/>
                  </a:lnTo>
                  <a:lnTo>
                    <a:pt x="729" y="399"/>
                  </a:lnTo>
                  <a:lnTo>
                    <a:pt x="737" y="397"/>
                  </a:lnTo>
                  <a:lnTo>
                    <a:pt x="737" y="397"/>
                  </a:lnTo>
                  <a:lnTo>
                    <a:pt x="745" y="399"/>
                  </a:lnTo>
                  <a:lnTo>
                    <a:pt x="745" y="399"/>
                  </a:lnTo>
                  <a:lnTo>
                    <a:pt x="747" y="400"/>
                  </a:lnTo>
                  <a:lnTo>
                    <a:pt x="747" y="400"/>
                  </a:lnTo>
                  <a:lnTo>
                    <a:pt x="753" y="399"/>
                  </a:lnTo>
                  <a:lnTo>
                    <a:pt x="753" y="399"/>
                  </a:lnTo>
                  <a:lnTo>
                    <a:pt x="759" y="399"/>
                  </a:lnTo>
                  <a:lnTo>
                    <a:pt x="759" y="399"/>
                  </a:lnTo>
                  <a:lnTo>
                    <a:pt x="763" y="399"/>
                  </a:lnTo>
                  <a:lnTo>
                    <a:pt x="766" y="399"/>
                  </a:lnTo>
                  <a:lnTo>
                    <a:pt x="766" y="399"/>
                  </a:lnTo>
                  <a:lnTo>
                    <a:pt x="766" y="399"/>
                  </a:lnTo>
                  <a:close/>
                  <a:moveTo>
                    <a:pt x="232" y="205"/>
                  </a:moveTo>
                  <a:lnTo>
                    <a:pt x="232" y="205"/>
                  </a:lnTo>
                  <a:lnTo>
                    <a:pt x="231" y="205"/>
                  </a:lnTo>
                  <a:lnTo>
                    <a:pt x="231" y="205"/>
                  </a:lnTo>
                  <a:lnTo>
                    <a:pt x="231" y="207"/>
                  </a:lnTo>
                  <a:lnTo>
                    <a:pt x="231" y="207"/>
                  </a:lnTo>
                  <a:lnTo>
                    <a:pt x="231" y="207"/>
                  </a:lnTo>
                  <a:lnTo>
                    <a:pt x="231" y="207"/>
                  </a:lnTo>
                  <a:lnTo>
                    <a:pt x="229" y="208"/>
                  </a:lnTo>
                  <a:lnTo>
                    <a:pt x="229" y="208"/>
                  </a:lnTo>
                  <a:lnTo>
                    <a:pt x="229" y="210"/>
                  </a:lnTo>
                  <a:lnTo>
                    <a:pt x="229" y="210"/>
                  </a:lnTo>
                  <a:lnTo>
                    <a:pt x="232" y="212"/>
                  </a:lnTo>
                  <a:lnTo>
                    <a:pt x="232" y="212"/>
                  </a:lnTo>
                  <a:lnTo>
                    <a:pt x="232" y="213"/>
                  </a:lnTo>
                  <a:lnTo>
                    <a:pt x="232" y="213"/>
                  </a:lnTo>
                  <a:lnTo>
                    <a:pt x="229" y="213"/>
                  </a:lnTo>
                  <a:lnTo>
                    <a:pt x="229" y="213"/>
                  </a:lnTo>
                  <a:lnTo>
                    <a:pt x="229" y="215"/>
                  </a:lnTo>
                  <a:lnTo>
                    <a:pt x="229" y="215"/>
                  </a:lnTo>
                  <a:lnTo>
                    <a:pt x="226" y="216"/>
                  </a:lnTo>
                  <a:lnTo>
                    <a:pt x="226" y="216"/>
                  </a:lnTo>
                  <a:lnTo>
                    <a:pt x="226" y="216"/>
                  </a:lnTo>
                  <a:lnTo>
                    <a:pt x="226" y="216"/>
                  </a:lnTo>
                  <a:lnTo>
                    <a:pt x="223" y="218"/>
                  </a:lnTo>
                  <a:lnTo>
                    <a:pt x="223" y="218"/>
                  </a:lnTo>
                  <a:lnTo>
                    <a:pt x="221" y="219"/>
                  </a:lnTo>
                  <a:lnTo>
                    <a:pt x="221" y="219"/>
                  </a:lnTo>
                  <a:lnTo>
                    <a:pt x="220" y="219"/>
                  </a:lnTo>
                  <a:lnTo>
                    <a:pt x="220" y="219"/>
                  </a:lnTo>
                  <a:lnTo>
                    <a:pt x="220" y="219"/>
                  </a:lnTo>
                  <a:lnTo>
                    <a:pt x="220" y="219"/>
                  </a:lnTo>
                  <a:lnTo>
                    <a:pt x="220" y="216"/>
                  </a:lnTo>
                  <a:lnTo>
                    <a:pt x="220" y="216"/>
                  </a:lnTo>
                  <a:lnTo>
                    <a:pt x="221" y="216"/>
                  </a:lnTo>
                  <a:lnTo>
                    <a:pt x="221" y="216"/>
                  </a:lnTo>
                  <a:lnTo>
                    <a:pt x="223" y="216"/>
                  </a:lnTo>
                  <a:lnTo>
                    <a:pt x="223" y="216"/>
                  </a:lnTo>
                  <a:lnTo>
                    <a:pt x="223" y="216"/>
                  </a:lnTo>
                  <a:lnTo>
                    <a:pt x="223" y="216"/>
                  </a:lnTo>
                  <a:lnTo>
                    <a:pt x="223" y="215"/>
                  </a:lnTo>
                  <a:lnTo>
                    <a:pt x="223" y="215"/>
                  </a:lnTo>
                  <a:lnTo>
                    <a:pt x="226" y="213"/>
                  </a:lnTo>
                  <a:lnTo>
                    <a:pt x="226" y="213"/>
                  </a:lnTo>
                  <a:lnTo>
                    <a:pt x="226" y="212"/>
                  </a:lnTo>
                  <a:lnTo>
                    <a:pt x="226" y="212"/>
                  </a:lnTo>
                  <a:lnTo>
                    <a:pt x="226" y="210"/>
                  </a:lnTo>
                  <a:lnTo>
                    <a:pt x="226" y="210"/>
                  </a:lnTo>
                  <a:lnTo>
                    <a:pt x="226" y="208"/>
                  </a:lnTo>
                  <a:lnTo>
                    <a:pt x="226" y="208"/>
                  </a:lnTo>
                  <a:lnTo>
                    <a:pt x="223" y="208"/>
                  </a:lnTo>
                  <a:lnTo>
                    <a:pt x="223" y="208"/>
                  </a:lnTo>
                  <a:lnTo>
                    <a:pt x="223" y="208"/>
                  </a:lnTo>
                  <a:lnTo>
                    <a:pt x="223" y="208"/>
                  </a:lnTo>
                  <a:lnTo>
                    <a:pt x="220" y="212"/>
                  </a:lnTo>
                  <a:lnTo>
                    <a:pt x="220" y="212"/>
                  </a:lnTo>
                  <a:lnTo>
                    <a:pt x="220" y="213"/>
                  </a:lnTo>
                  <a:lnTo>
                    <a:pt x="220" y="213"/>
                  </a:lnTo>
                  <a:lnTo>
                    <a:pt x="220" y="213"/>
                  </a:lnTo>
                  <a:lnTo>
                    <a:pt x="220" y="213"/>
                  </a:lnTo>
                  <a:lnTo>
                    <a:pt x="220" y="216"/>
                  </a:lnTo>
                  <a:lnTo>
                    <a:pt x="220" y="216"/>
                  </a:lnTo>
                  <a:lnTo>
                    <a:pt x="216" y="218"/>
                  </a:lnTo>
                  <a:lnTo>
                    <a:pt x="216" y="218"/>
                  </a:lnTo>
                  <a:lnTo>
                    <a:pt x="215" y="218"/>
                  </a:lnTo>
                  <a:lnTo>
                    <a:pt x="215" y="218"/>
                  </a:lnTo>
                  <a:lnTo>
                    <a:pt x="215" y="216"/>
                  </a:lnTo>
                  <a:lnTo>
                    <a:pt x="215" y="216"/>
                  </a:lnTo>
                  <a:lnTo>
                    <a:pt x="210" y="216"/>
                  </a:lnTo>
                  <a:lnTo>
                    <a:pt x="210" y="216"/>
                  </a:lnTo>
                  <a:lnTo>
                    <a:pt x="210" y="216"/>
                  </a:lnTo>
                  <a:lnTo>
                    <a:pt x="210" y="216"/>
                  </a:lnTo>
                  <a:lnTo>
                    <a:pt x="208" y="216"/>
                  </a:lnTo>
                  <a:lnTo>
                    <a:pt x="208" y="216"/>
                  </a:lnTo>
                  <a:lnTo>
                    <a:pt x="208" y="215"/>
                  </a:lnTo>
                  <a:lnTo>
                    <a:pt x="208" y="215"/>
                  </a:lnTo>
                  <a:lnTo>
                    <a:pt x="210" y="215"/>
                  </a:lnTo>
                  <a:lnTo>
                    <a:pt x="210" y="215"/>
                  </a:lnTo>
                  <a:lnTo>
                    <a:pt x="212" y="213"/>
                  </a:lnTo>
                  <a:lnTo>
                    <a:pt x="212" y="213"/>
                  </a:lnTo>
                  <a:lnTo>
                    <a:pt x="212" y="213"/>
                  </a:lnTo>
                  <a:lnTo>
                    <a:pt x="212" y="213"/>
                  </a:lnTo>
                  <a:lnTo>
                    <a:pt x="212" y="210"/>
                  </a:lnTo>
                  <a:lnTo>
                    <a:pt x="212" y="210"/>
                  </a:lnTo>
                  <a:lnTo>
                    <a:pt x="212" y="210"/>
                  </a:lnTo>
                  <a:lnTo>
                    <a:pt x="212" y="210"/>
                  </a:lnTo>
                  <a:lnTo>
                    <a:pt x="213" y="208"/>
                  </a:lnTo>
                  <a:lnTo>
                    <a:pt x="213" y="208"/>
                  </a:lnTo>
                  <a:lnTo>
                    <a:pt x="213" y="208"/>
                  </a:lnTo>
                  <a:lnTo>
                    <a:pt x="213" y="208"/>
                  </a:lnTo>
                  <a:lnTo>
                    <a:pt x="215" y="207"/>
                  </a:lnTo>
                  <a:lnTo>
                    <a:pt x="215" y="207"/>
                  </a:lnTo>
                  <a:lnTo>
                    <a:pt x="215" y="205"/>
                  </a:lnTo>
                  <a:lnTo>
                    <a:pt x="215" y="205"/>
                  </a:lnTo>
                  <a:lnTo>
                    <a:pt x="215" y="204"/>
                  </a:lnTo>
                  <a:lnTo>
                    <a:pt x="215" y="204"/>
                  </a:lnTo>
                  <a:lnTo>
                    <a:pt x="213" y="204"/>
                  </a:lnTo>
                  <a:lnTo>
                    <a:pt x="213" y="204"/>
                  </a:lnTo>
                  <a:lnTo>
                    <a:pt x="213" y="202"/>
                  </a:lnTo>
                  <a:lnTo>
                    <a:pt x="213" y="202"/>
                  </a:lnTo>
                  <a:lnTo>
                    <a:pt x="213" y="202"/>
                  </a:lnTo>
                  <a:lnTo>
                    <a:pt x="213" y="202"/>
                  </a:lnTo>
                  <a:lnTo>
                    <a:pt x="215" y="202"/>
                  </a:lnTo>
                  <a:lnTo>
                    <a:pt x="215" y="202"/>
                  </a:lnTo>
                  <a:lnTo>
                    <a:pt x="216" y="204"/>
                  </a:lnTo>
                  <a:lnTo>
                    <a:pt x="216" y="204"/>
                  </a:lnTo>
                  <a:lnTo>
                    <a:pt x="218" y="204"/>
                  </a:lnTo>
                  <a:lnTo>
                    <a:pt x="218" y="204"/>
                  </a:lnTo>
                  <a:lnTo>
                    <a:pt x="220" y="204"/>
                  </a:lnTo>
                  <a:lnTo>
                    <a:pt x="220" y="204"/>
                  </a:lnTo>
                  <a:lnTo>
                    <a:pt x="221" y="204"/>
                  </a:lnTo>
                  <a:lnTo>
                    <a:pt x="221" y="204"/>
                  </a:lnTo>
                  <a:lnTo>
                    <a:pt x="221" y="202"/>
                  </a:lnTo>
                  <a:lnTo>
                    <a:pt x="221" y="202"/>
                  </a:lnTo>
                  <a:lnTo>
                    <a:pt x="221" y="200"/>
                  </a:lnTo>
                  <a:lnTo>
                    <a:pt x="221" y="200"/>
                  </a:lnTo>
                  <a:lnTo>
                    <a:pt x="220" y="200"/>
                  </a:lnTo>
                  <a:lnTo>
                    <a:pt x="220" y="200"/>
                  </a:lnTo>
                  <a:lnTo>
                    <a:pt x="218" y="200"/>
                  </a:lnTo>
                  <a:lnTo>
                    <a:pt x="218" y="200"/>
                  </a:lnTo>
                  <a:lnTo>
                    <a:pt x="218" y="200"/>
                  </a:lnTo>
                  <a:lnTo>
                    <a:pt x="218" y="200"/>
                  </a:lnTo>
                  <a:lnTo>
                    <a:pt x="216" y="199"/>
                  </a:lnTo>
                  <a:lnTo>
                    <a:pt x="216" y="199"/>
                  </a:lnTo>
                  <a:lnTo>
                    <a:pt x="215" y="199"/>
                  </a:lnTo>
                  <a:lnTo>
                    <a:pt x="215" y="199"/>
                  </a:lnTo>
                  <a:lnTo>
                    <a:pt x="213" y="199"/>
                  </a:lnTo>
                  <a:lnTo>
                    <a:pt x="213" y="199"/>
                  </a:lnTo>
                  <a:lnTo>
                    <a:pt x="210" y="197"/>
                  </a:lnTo>
                  <a:lnTo>
                    <a:pt x="210" y="197"/>
                  </a:lnTo>
                  <a:lnTo>
                    <a:pt x="210" y="199"/>
                  </a:lnTo>
                  <a:lnTo>
                    <a:pt x="210" y="199"/>
                  </a:lnTo>
                  <a:lnTo>
                    <a:pt x="210" y="200"/>
                  </a:lnTo>
                  <a:lnTo>
                    <a:pt x="210" y="200"/>
                  </a:lnTo>
                  <a:lnTo>
                    <a:pt x="210" y="200"/>
                  </a:lnTo>
                  <a:lnTo>
                    <a:pt x="210" y="200"/>
                  </a:lnTo>
                  <a:lnTo>
                    <a:pt x="210" y="200"/>
                  </a:lnTo>
                  <a:lnTo>
                    <a:pt x="210" y="200"/>
                  </a:lnTo>
                  <a:lnTo>
                    <a:pt x="208" y="199"/>
                  </a:lnTo>
                  <a:lnTo>
                    <a:pt x="208" y="199"/>
                  </a:lnTo>
                  <a:lnTo>
                    <a:pt x="205" y="200"/>
                  </a:lnTo>
                  <a:lnTo>
                    <a:pt x="205" y="200"/>
                  </a:lnTo>
                  <a:lnTo>
                    <a:pt x="204" y="200"/>
                  </a:lnTo>
                  <a:lnTo>
                    <a:pt x="204" y="200"/>
                  </a:lnTo>
                  <a:lnTo>
                    <a:pt x="204" y="200"/>
                  </a:lnTo>
                  <a:lnTo>
                    <a:pt x="204" y="200"/>
                  </a:lnTo>
                  <a:lnTo>
                    <a:pt x="204" y="199"/>
                  </a:lnTo>
                  <a:lnTo>
                    <a:pt x="204" y="199"/>
                  </a:lnTo>
                  <a:lnTo>
                    <a:pt x="200" y="199"/>
                  </a:lnTo>
                  <a:lnTo>
                    <a:pt x="200" y="199"/>
                  </a:lnTo>
                  <a:lnTo>
                    <a:pt x="200" y="200"/>
                  </a:lnTo>
                  <a:lnTo>
                    <a:pt x="200" y="200"/>
                  </a:lnTo>
                  <a:lnTo>
                    <a:pt x="200" y="200"/>
                  </a:lnTo>
                  <a:lnTo>
                    <a:pt x="200" y="200"/>
                  </a:lnTo>
                  <a:lnTo>
                    <a:pt x="200" y="202"/>
                  </a:lnTo>
                  <a:lnTo>
                    <a:pt x="200" y="202"/>
                  </a:lnTo>
                  <a:lnTo>
                    <a:pt x="199" y="204"/>
                  </a:lnTo>
                  <a:lnTo>
                    <a:pt x="199" y="204"/>
                  </a:lnTo>
                  <a:lnTo>
                    <a:pt x="197" y="200"/>
                  </a:lnTo>
                  <a:lnTo>
                    <a:pt x="197" y="200"/>
                  </a:lnTo>
                  <a:lnTo>
                    <a:pt x="197" y="200"/>
                  </a:lnTo>
                  <a:lnTo>
                    <a:pt x="197" y="200"/>
                  </a:lnTo>
                  <a:lnTo>
                    <a:pt x="197" y="197"/>
                  </a:lnTo>
                  <a:lnTo>
                    <a:pt x="197" y="197"/>
                  </a:lnTo>
                  <a:lnTo>
                    <a:pt x="199" y="197"/>
                  </a:lnTo>
                  <a:lnTo>
                    <a:pt x="199" y="197"/>
                  </a:lnTo>
                  <a:lnTo>
                    <a:pt x="200" y="197"/>
                  </a:lnTo>
                  <a:lnTo>
                    <a:pt x="200" y="197"/>
                  </a:lnTo>
                  <a:lnTo>
                    <a:pt x="202" y="197"/>
                  </a:lnTo>
                  <a:lnTo>
                    <a:pt x="202" y="197"/>
                  </a:lnTo>
                  <a:lnTo>
                    <a:pt x="204" y="196"/>
                  </a:lnTo>
                  <a:lnTo>
                    <a:pt x="204" y="196"/>
                  </a:lnTo>
                  <a:lnTo>
                    <a:pt x="204" y="197"/>
                  </a:lnTo>
                  <a:lnTo>
                    <a:pt x="204" y="197"/>
                  </a:lnTo>
                  <a:lnTo>
                    <a:pt x="207" y="196"/>
                  </a:lnTo>
                  <a:lnTo>
                    <a:pt x="207" y="196"/>
                  </a:lnTo>
                  <a:lnTo>
                    <a:pt x="208" y="194"/>
                  </a:lnTo>
                  <a:lnTo>
                    <a:pt x="208" y="194"/>
                  </a:lnTo>
                  <a:lnTo>
                    <a:pt x="210" y="194"/>
                  </a:lnTo>
                  <a:lnTo>
                    <a:pt x="210" y="194"/>
                  </a:lnTo>
                  <a:lnTo>
                    <a:pt x="210" y="194"/>
                  </a:lnTo>
                  <a:lnTo>
                    <a:pt x="210" y="194"/>
                  </a:lnTo>
                  <a:lnTo>
                    <a:pt x="210" y="194"/>
                  </a:lnTo>
                  <a:lnTo>
                    <a:pt x="210" y="194"/>
                  </a:lnTo>
                  <a:lnTo>
                    <a:pt x="212" y="194"/>
                  </a:lnTo>
                  <a:lnTo>
                    <a:pt x="212" y="194"/>
                  </a:lnTo>
                  <a:lnTo>
                    <a:pt x="212" y="194"/>
                  </a:lnTo>
                  <a:lnTo>
                    <a:pt x="212" y="194"/>
                  </a:lnTo>
                  <a:lnTo>
                    <a:pt x="213" y="194"/>
                  </a:lnTo>
                  <a:lnTo>
                    <a:pt x="213" y="194"/>
                  </a:lnTo>
                  <a:lnTo>
                    <a:pt x="215" y="194"/>
                  </a:lnTo>
                  <a:lnTo>
                    <a:pt x="215" y="194"/>
                  </a:lnTo>
                  <a:lnTo>
                    <a:pt x="216" y="194"/>
                  </a:lnTo>
                  <a:lnTo>
                    <a:pt x="216" y="194"/>
                  </a:lnTo>
                  <a:lnTo>
                    <a:pt x="218" y="192"/>
                  </a:lnTo>
                  <a:lnTo>
                    <a:pt x="218" y="192"/>
                  </a:lnTo>
                  <a:lnTo>
                    <a:pt x="220" y="192"/>
                  </a:lnTo>
                  <a:lnTo>
                    <a:pt x="220" y="192"/>
                  </a:lnTo>
                  <a:lnTo>
                    <a:pt x="221" y="192"/>
                  </a:lnTo>
                  <a:lnTo>
                    <a:pt x="221" y="192"/>
                  </a:lnTo>
                  <a:lnTo>
                    <a:pt x="221" y="191"/>
                  </a:lnTo>
                  <a:lnTo>
                    <a:pt x="221" y="191"/>
                  </a:lnTo>
                  <a:lnTo>
                    <a:pt x="223" y="191"/>
                  </a:lnTo>
                  <a:lnTo>
                    <a:pt x="223" y="191"/>
                  </a:lnTo>
                  <a:lnTo>
                    <a:pt x="223" y="189"/>
                  </a:lnTo>
                  <a:lnTo>
                    <a:pt x="223" y="189"/>
                  </a:lnTo>
                  <a:lnTo>
                    <a:pt x="226" y="189"/>
                  </a:lnTo>
                  <a:lnTo>
                    <a:pt x="226" y="189"/>
                  </a:lnTo>
                  <a:lnTo>
                    <a:pt x="226" y="188"/>
                  </a:lnTo>
                  <a:lnTo>
                    <a:pt x="226" y="188"/>
                  </a:lnTo>
                  <a:lnTo>
                    <a:pt x="227" y="186"/>
                  </a:lnTo>
                  <a:lnTo>
                    <a:pt x="227" y="186"/>
                  </a:lnTo>
                  <a:lnTo>
                    <a:pt x="229" y="186"/>
                  </a:lnTo>
                  <a:lnTo>
                    <a:pt x="229" y="186"/>
                  </a:lnTo>
                  <a:lnTo>
                    <a:pt x="229" y="186"/>
                  </a:lnTo>
                  <a:lnTo>
                    <a:pt x="229" y="186"/>
                  </a:lnTo>
                  <a:lnTo>
                    <a:pt x="229" y="188"/>
                  </a:lnTo>
                  <a:lnTo>
                    <a:pt x="229" y="188"/>
                  </a:lnTo>
                  <a:lnTo>
                    <a:pt x="231" y="188"/>
                  </a:lnTo>
                  <a:lnTo>
                    <a:pt x="231" y="188"/>
                  </a:lnTo>
                  <a:lnTo>
                    <a:pt x="231" y="186"/>
                  </a:lnTo>
                  <a:lnTo>
                    <a:pt x="231" y="186"/>
                  </a:lnTo>
                  <a:lnTo>
                    <a:pt x="232" y="186"/>
                  </a:lnTo>
                  <a:lnTo>
                    <a:pt x="232" y="186"/>
                  </a:lnTo>
                  <a:lnTo>
                    <a:pt x="232" y="188"/>
                  </a:lnTo>
                  <a:lnTo>
                    <a:pt x="232" y="188"/>
                  </a:lnTo>
                  <a:lnTo>
                    <a:pt x="232" y="188"/>
                  </a:lnTo>
                  <a:lnTo>
                    <a:pt x="232" y="188"/>
                  </a:lnTo>
                  <a:lnTo>
                    <a:pt x="234" y="188"/>
                  </a:lnTo>
                  <a:lnTo>
                    <a:pt x="234" y="188"/>
                  </a:lnTo>
                  <a:lnTo>
                    <a:pt x="234" y="189"/>
                  </a:lnTo>
                  <a:lnTo>
                    <a:pt x="234" y="189"/>
                  </a:lnTo>
                  <a:lnTo>
                    <a:pt x="232" y="189"/>
                  </a:lnTo>
                  <a:lnTo>
                    <a:pt x="232" y="189"/>
                  </a:lnTo>
                  <a:lnTo>
                    <a:pt x="232" y="189"/>
                  </a:lnTo>
                  <a:lnTo>
                    <a:pt x="232" y="189"/>
                  </a:lnTo>
                  <a:lnTo>
                    <a:pt x="231" y="192"/>
                  </a:lnTo>
                  <a:lnTo>
                    <a:pt x="231" y="192"/>
                  </a:lnTo>
                  <a:lnTo>
                    <a:pt x="227" y="192"/>
                  </a:lnTo>
                  <a:lnTo>
                    <a:pt x="227" y="192"/>
                  </a:lnTo>
                  <a:lnTo>
                    <a:pt x="227" y="192"/>
                  </a:lnTo>
                  <a:lnTo>
                    <a:pt x="227" y="192"/>
                  </a:lnTo>
                  <a:lnTo>
                    <a:pt x="226" y="194"/>
                  </a:lnTo>
                  <a:lnTo>
                    <a:pt x="226" y="194"/>
                  </a:lnTo>
                  <a:lnTo>
                    <a:pt x="226" y="194"/>
                  </a:lnTo>
                  <a:lnTo>
                    <a:pt x="226" y="194"/>
                  </a:lnTo>
                  <a:lnTo>
                    <a:pt x="226" y="196"/>
                  </a:lnTo>
                  <a:lnTo>
                    <a:pt x="226" y="196"/>
                  </a:lnTo>
                  <a:lnTo>
                    <a:pt x="229" y="196"/>
                  </a:lnTo>
                  <a:lnTo>
                    <a:pt x="229" y="196"/>
                  </a:lnTo>
                  <a:lnTo>
                    <a:pt x="229" y="196"/>
                  </a:lnTo>
                  <a:lnTo>
                    <a:pt x="229" y="196"/>
                  </a:lnTo>
                  <a:lnTo>
                    <a:pt x="231" y="196"/>
                  </a:lnTo>
                  <a:lnTo>
                    <a:pt x="231" y="196"/>
                  </a:lnTo>
                  <a:lnTo>
                    <a:pt x="231" y="197"/>
                  </a:lnTo>
                  <a:lnTo>
                    <a:pt x="231" y="197"/>
                  </a:lnTo>
                  <a:lnTo>
                    <a:pt x="232" y="197"/>
                  </a:lnTo>
                  <a:lnTo>
                    <a:pt x="232" y="197"/>
                  </a:lnTo>
                  <a:lnTo>
                    <a:pt x="234" y="197"/>
                  </a:lnTo>
                  <a:lnTo>
                    <a:pt x="234" y="197"/>
                  </a:lnTo>
                  <a:lnTo>
                    <a:pt x="237" y="197"/>
                  </a:lnTo>
                  <a:lnTo>
                    <a:pt x="237" y="197"/>
                  </a:lnTo>
                  <a:lnTo>
                    <a:pt x="239" y="196"/>
                  </a:lnTo>
                  <a:lnTo>
                    <a:pt x="239" y="196"/>
                  </a:lnTo>
                  <a:lnTo>
                    <a:pt x="239" y="194"/>
                  </a:lnTo>
                  <a:lnTo>
                    <a:pt x="239" y="194"/>
                  </a:lnTo>
                  <a:lnTo>
                    <a:pt x="239" y="194"/>
                  </a:lnTo>
                  <a:lnTo>
                    <a:pt x="239" y="194"/>
                  </a:lnTo>
                  <a:lnTo>
                    <a:pt x="242" y="192"/>
                  </a:lnTo>
                  <a:lnTo>
                    <a:pt x="242" y="192"/>
                  </a:lnTo>
                  <a:lnTo>
                    <a:pt x="242" y="192"/>
                  </a:lnTo>
                  <a:lnTo>
                    <a:pt x="242" y="192"/>
                  </a:lnTo>
                  <a:lnTo>
                    <a:pt x="242" y="192"/>
                  </a:lnTo>
                  <a:lnTo>
                    <a:pt x="242" y="192"/>
                  </a:lnTo>
                  <a:lnTo>
                    <a:pt x="242" y="194"/>
                  </a:lnTo>
                  <a:lnTo>
                    <a:pt x="242" y="194"/>
                  </a:lnTo>
                  <a:lnTo>
                    <a:pt x="242" y="194"/>
                  </a:lnTo>
                  <a:lnTo>
                    <a:pt x="242" y="194"/>
                  </a:lnTo>
                  <a:lnTo>
                    <a:pt x="243" y="194"/>
                  </a:lnTo>
                  <a:lnTo>
                    <a:pt x="243" y="194"/>
                  </a:lnTo>
                  <a:lnTo>
                    <a:pt x="243" y="196"/>
                  </a:lnTo>
                  <a:lnTo>
                    <a:pt x="243" y="196"/>
                  </a:lnTo>
                  <a:lnTo>
                    <a:pt x="242" y="196"/>
                  </a:lnTo>
                  <a:lnTo>
                    <a:pt x="242" y="196"/>
                  </a:lnTo>
                  <a:lnTo>
                    <a:pt x="242" y="197"/>
                  </a:lnTo>
                  <a:lnTo>
                    <a:pt x="242" y="197"/>
                  </a:lnTo>
                  <a:lnTo>
                    <a:pt x="242" y="197"/>
                  </a:lnTo>
                  <a:lnTo>
                    <a:pt x="242" y="197"/>
                  </a:lnTo>
                  <a:lnTo>
                    <a:pt x="242" y="197"/>
                  </a:lnTo>
                  <a:lnTo>
                    <a:pt x="242" y="197"/>
                  </a:lnTo>
                  <a:lnTo>
                    <a:pt x="242" y="199"/>
                  </a:lnTo>
                  <a:lnTo>
                    <a:pt x="242" y="199"/>
                  </a:lnTo>
                  <a:lnTo>
                    <a:pt x="242" y="200"/>
                  </a:lnTo>
                  <a:lnTo>
                    <a:pt x="242" y="200"/>
                  </a:lnTo>
                  <a:lnTo>
                    <a:pt x="242" y="202"/>
                  </a:lnTo>
                  <a:lnTo>
                    <a:pt x="242" y="202"/>
                  </a:lnTo>
                  <a:lnTo>
                    <a:pt x="240" y="202"/>
                  </a:lnTo>
                  <a:lnTo>
                    <a:pt x="240" y="202"/>
                  </a:lnTo>
                  <a:lnTo>
                    <a:pt x="239" y="204"/>
                  </a:lnTo>
                  <a:lnTo>
                    <a:pt x="239" y="204"/>
                  </a:lnTo>
                  <a:lnTo>
                    <a:pt x="240" y="204"/>
                  </a:lnTo>
                  <a:lnTo>
                    <a:pt x="240" y="204"/>
                  </a:lnTo>
                  <a:lnTo>
                    <a:pt x="237" y="207"/>
                  </a:lnTo>
                  <a:lnTo>
                    <a:pt x="237" y="207"/>
                  </a:lnTo>
                  <a:lnTo>
                    <a:pt x="239" y="207"/>
                  </a:lnTo>
                  <a:lnTo>
                    <a:pt x="239" y="207"/>
                  </a:lnTo>
                  <a:lnTo>
                    <a:pt x="240" y="205"/>
                  </a:lnTo>
                  <a:lnTo>
                    <a:pt x="240" y="205"/>
                  </a:lnTo>
                  <a:lnTo>
                    <a:pt x="242" y="207"/>
                  </a:lnTo>
                  <a:lnTo>
                    <a:pt x="242" y="207"/>
                  </a:lnTo>
                  <a:lnTo>
                    <a:pt x="237" y="208"/>
                  </a:lnTo>
                  <a:lnTo>
                    <a:pt x="237" y="208"/>
                  </a:lnTo>
                  <a:lnTo>
                    <a:pt x="235" y="207"/>
                  </a:lnTo>
                  <a:lnTo>
                    <a:pt x="235" y="207"/>
                  </a:lnTo>
                  <a:lnTo>
                    <a:pt x="235" y="207"/>
                  </a:lnTo>
                  <a:lnTo>
                    <a:pt x="235" y="207"/>
                  </a:lnTo>
                  <a:lnTo>
                    <a:pt x="234" y="205"/>
                  </a:lnTo>
                  <a:lnTo>
                    <a:pt x="234" y="205"/>
                  </a:lnTo>
                  <a:lnTo>
                    <a:pt x="232" y="205"/>
                  </a:lnTo>
                  <a:lnTo>
                    <a:pt x="232" y="205"/>
                  </a:lnTo>
                  <a:close/>
                  <a:moveTo>
                    <a:pt x="277" y="256"/>
                  </a:moveTo>
                  <a:lnTo>
                    <a:pt x="277" y="256"/>
                  </a:lnTo>
                  <a:lnTo>
                    <a:pt x="277" y="259"/>
                  </a:lnTo>
                  <a:lnTo>
                    <a:pt x="277" y="259"/>
                  </a:lnTo>
                  <a:lnTo>
                    <a:pt x="274" y="264"/>
                  </a:lnTo>
                  <a:lnTo>
                    <a:pt x="274" y="264"/>
                  </a:lnTo>
                  <a:lnTo>
                    <a:pt x="272" y="264"/>
                  </a:lnTo>
                  <a:lnTo>
                    <a:pt x="272" y="264"/>
                  </a:lnTo>
                  <a:lnTo>
                    <a:pt x="270" y="264"/>
                  </a:lnTo>
                  <a:lnTo>
                    <a:pt x="270" y="264"/>
                  </a:lnTo>
                  <a:lnTo>
                    <a:pt x="270" y="264"/>
                  </a:lnTo>
                  <a:lnTo>
                    <a:pt x="270" y="264"/>
                  </a:lnTo>
                  <a:lnTo>
                    <a:pt x="269" y="264"/>
                  </a:lnTo>
                  <a:lnTo>
                    <a:pt x="269" y="264"/>
                  </a:lnTo>
                  <a:lnTo>
                    <a:pt x="267" y="264"/>
                  </a:lnTo>
                  <a:lnTo>
                    <a:pt x="267" y="264"/>
                  </a:lnTo>
                  <a:lnTo>
                    <a:pt x="267" y="265"/>
                  </a:lnTo>
                  <a:lnTo>
                    <a:pt x="267" y="265"/>
                  </a:lnTo>
                  <a:lnTo>
                    <a:pt x="267" y="267"/>
                  </a:lnTo>
                  <a:lnTo>
                    <a:pt x="267" y="267"/>
                  </a:lnTo>
                  <a:lnTo>
                    <a:pt x="266" y="267"/>
                  </a:lnTo>
                  <a:lnTo>
                    <a:pt x="266" y="267"/>
                  </a:lnTo>
                  <a:lnTo>
                    <a:pt x="264" y="270"/>
                  </a:lnTo>
                  <a:lnTo>
                    <a:pt x="264" y="270"/>
                  </a:lnTo>
                  <a:lnTo>
                    <a:pt x="264" y="270"/>
                  </a:lnTo>
                  <a:lnTo>
                    <a:pt x="264" y="270"/>
                  </a:lnTo>
                  <a:lnTo>
                    <a:pt x="262" y="270"/>
                  </a:lnTo>
                  <a:lnTo>
                    <a:pt x="262" y="270"/>
                  </a:lnTo>
                  <a:lnTo>
                    <a:pt x="261" y="270"/>
                  </a:lnTo>
                  <a:lnTo>
                    <a:pt x="261" y="270"/>
                  </a:lnTo>
                  <a:lnTo>
                    <a:pt x="254" y="273"/>
                  </a:lnTo>
                  <a:lnTo>
                    <a:pt x="254" y="273"/>
                  </a:lnTo>
                  <a:lnTo>
                    <a:pt x="254" y="273"/>
                  </a:lnTo>
                  <a:lnTo>
                    <a:pt x="254" y="273"/>
                  </a:lnTo>
                  <a:lnTo>
                    <a:pt x="253" y="273"/>
                  </a:lnTo>
                  <a:lnTo>
                    <a:pt x="253" y="273"/>
                  </a:lnTo>
                  <a:lnTo>
                    <a:pt x="251" y="273"/>
                  </a:lnTo>
                  <a:lnTo>
                    <a:pt x="251" y="273"/>
                  </a:lnTo>
                  <a:lnTo>
                    <a:pt x="250" y="273"/>
                  </a:lnTo>
                  <a:lnTo>
                    <a:pt x="250" y="273"/>
                  </a:lnTo>
                  <a:lnTo>
                    <a:pt x="250" y="272"/>
                  </a:lnTo>
                  <a:lnTo>
                    <a:pt x="250" y="272"/>
                  </a:lnTo>
                  <a:lnTo>
                    <a:pt x="245" y="270"/>
                  </a:lnTo>
                  <a:lnTo>
                    <a:pt x="245" y="270"/>
                  </a:lnTo>
                  <a:lnTo>
                    <a:pt x="245" y="269"/>
                  </a:lnTo>
                  <a:lnTo>
                    <a:pt x="245" y="269"/>
                  </a:lnTo>
                  <a:lnTo>
                    <a:pt x="245" y="269"/>
                  </a:lnTo>
                  <a:lnTo>
                    <a:pt x="245" y="269"/>
                  </a:lnTo>
                  <a:lnTo>
                    <a:pt x="242" y="267"/>
                  </a:lnTo>
                  <a:lnTo>
                    <a:pt x="242" y="267"/>
                  </a:lnTo>
                  <a:lnTo>
                    <a:pt x="242" y="265"/>
                  </a:lnTo>
                  <a:lnTo>
                    <a:pt x="242" y="265"/>
                  </a:lnTo>
                  <a:lnTo>
                    <a:pt x="240" y="265"/>
                  </a:lnTo>
                  <a:lnTo>
                    <a:pt x="240" y="265"/>
                  </a:lnTo>
                  <a:lnTo>
                    <a:pt x="239" y="265"/>
                  </a:lnTo>
                  <a:lnTo>
                    <a:pt x="239" y="265"/>
                  </a:lnTo>
                  <a:lnTo>
                    <a:pt x="239" y="265"/>
                  </a:lnTo>
                  <a:lnTo>
                    <a:pt x="239" y="265"/>
                  </a:lnTo>
                  <a:lnTo>
                    <a:pt x="239" y="267"/>
                  </a:lnTo>
                  <a:lnTo>
                    <a:pt x="239" y="267"/>
                  </a:lnTo>
                  <a:lnTo>
                    <a:pt x="235" y="267"/>
                  </a:lnTo>
                  <a:lnTo>
                    <a:pt x="235" y="267"/>
                  </a:lnTo>
                  <a:lnTo>
                    <a:pt x="235" y="265"/>
                  </a:lnTo>
                  <a:lnTo>
                    <a:pt x="235" y="265"/>
                  </a:lnTo>
                  <a:lnTo>
                    <a:pt x="239" y="264"/>
                  </a:lnTo>
                  <a:lnTo>
                    <a:pt x="239" y="264"/>
                  </a:lnTo>
                  <a:lnTo>
                    <a:pt x="239" y="264"/>
                  </a:lnTo>
                  <a:lnTo>
                    <a:pt x="239" y="264"/>
                  </a:lnTo>
                  <a:lnTo>
                    <a:pt x="245" y="267"/>
                  </a:lnTo>
                  <a:lnTo>
                    <a:pt x="245" y="267"/>
                  </a:lnTo>
                  <a:lnTo>
                    <a:pt x="248" y="267"/>
                  </a:lnTo>
                  <a:lnTo>
                    <a:pt x="248" y="267"/>
                  </a:lnTo>
                  <a:lnTo>
                    <a:pt x="248" y="267"/>
                  </a:lnTo>
                  <a:lnTo>
                    <a:pt x="248" y="267"/>
                  </a:lnTo>
                  <a:lnTo>
                    <a:pt x="248" y="265"/>
                  </a:lnTo>
                  <a:lnTo>
                    <a:pt x="248" y="265"/>
                  </a:lnTo>
                  <a:lnTo>
                    <a:pt x="251" y="267"/>
                  </a:lnTo>
                  <a:lnTo>
                    <a:pt x="251" y="267"/>
                  </a:lnTo>
                  <a:lnTo>
                    <a:pt x="251" y="267"/>
                  </a:lnTo>
                  <a:lnTo>
                    <a:pt x="251" y="267"/>
                  </a:lnTo>
                  <a:lnTo>
                    <a:pt x="253" y="267"/>
                  </a:lnTo>
                  <a:lnTo>
                    <a:pt x="253" y="267"/>
                  </a:lnTo>
                  <a:lnTo>
                    <a:pt x="253" y="267"/>
                  </a:lnTo>
                  <a:lnTo>
                    <a:pt x="253" y="267"/>
                  </a:lnTo>
                  <a:lnTo>
                    <a:pt x="254" y="267"/>
                  </a:lnTo>
                  <a:lnTo>
                    <a:pt x="254" y="267"/>
                  </a:lnTo>
                  <a:lnTo>
                    <a:pt x="254" y="265"/>
                  </a:lnTo>
                  <a:lnTo>
                    <a:pt x="254" y="265"/>
                  </a:lnTo>
                  <a:lnTo>
                    <a:pt x="253" y="265"/>
                  </a:lnTo>
                  <a:lnTo>
                    <a:pt x="253" y="265"/>
                  </a:lnTo>
                  <a:lnTo>
                    <a:pt x="253" y="264"/>
                  </a:lnTo>
                  <a:lnTo>
                    <a:pt x="253" y="264"/>
                  </a:lnTo>
                  <a:lnTo>
                    <a:pt x="254" y="265"/>
                  </a:lnTo>
                  <a:lnTo>
                    <a:pt x="254" y="265"/>
                  </a:lnTo>
                  <a:lnTo>
                    <a:pt x="254" y="264"/>
                  </a:lnTo>
                  <a:lnTo>
                    <a:pt x="254" y="264"/>
                  </a:lnTo>
                  <a:lnTo>
                    <a:pt x="254" y="265"/>
                  </a:lnTo>
                  <a:lnTo>
                    <a:pt x="254" y="265"/>
                  </a:lnTo>
                  <a:lnTo>
                    <a:pt x="256" y="264"/>
                  </a:lnTo>
                  <a:lnTo>
                    <a:pt x="256" y="264"/>
                  </a:lnTo>
                  <a:lnTo>
                    <a:pt x="254" y="264"/>
                  </a:lnTo>
                  <a:lnTo>
                    <a:pt x="254" y="264"/>
                  </a:lnTo>
                  <a:lnTo>
                    <a:pt x="256" y="262"/>
                  </a:lnTo>
                  <a:lnTo>
                    <a:pt x="256" y="262"/>
                  </a:lnTo>
                  <a:lnTo>
                    <a:pt x="256" y="261"/>
                  </a:lnTo>
                  <a:lnTo>
                    <a:pt x="256" y="261"/>
                  </a:lnTo>
                  <a:lnTo>
                    <a:pt x="256" y="261"/>
                  </a:lnTo>
                  <a:lnTo>
                    <a:pt x="256" y="261"/>
                  </a:lnTo>
                  <a:lnTo>
                    <a:pt x="256" y="259"/>
                  </a:lnTo>
                  <a:lnTo>
                    <a:pt x="256" y="259"/>
                  </a:lnTo>
                  <a:lnTo>
                    <a:pt x="259" y="261"/>
                  </a:lnTo>
                  <a:lnTo>
                    <a:pt x="259" y="261"/>
                  </a:lnTo>
                  <a:lnTo>
                    <a:pt x="261" y="261"/>
                  </a:lnTo>
                  <a:lnTo>
                    <a:pt x="261" y="261"/>
                  </a:lnTo>
                  <a:lnTo>
                    <a:pt x="261" y="259"/>
                  </a:lnTo>
                  <a:lnTo>
                    <a:pt x="261" y="259"/>
                  </a:lnTo>
                  <a:lnTo>
                    <a:pt x="261" y="258"/>
                  </a:lnTo>
                  <a:lnTo>
                    <a:pt x="261" y="258"/>
                  </a:lnTo>
                  <a:lnTo>
                    <a:pt x="261" y="258"/>
                  </a:lnTo>
                  <a:lnTo>
                    <a:pt x="261" y="258"/>
                  </a:lnTo>
                  <a:lnTo>
                    <a:pt x="258" y="256"/>
                  </a:lnTo>
                  <a:lnTo>
                    <a:pt x="258" y="256"/>
                  </a:lnTo>
                  <a:lnTo>
                    <a:pt x="258" y="256"/>
                  </a:lnTo>
                  <a:lnTo>
                    <a:pt x="258" y="256"/>
                  </a:lnTo>
                  <a:lnTo>
                    <a:pt x="258" y="254"/>
                  </a:lnTo>
                  <a:lnTo>
                    <a:pt x="258" y="254"/>
                  </a:lnTo>
                  <a:lnTo>
                    <a:pt x="258" y="254"/>
                  </a:lnTo>
                  <a:lnTo>
                    <a:pt x="258" y="254"/>
                  </a:lnTo>
                  <a:lnTo>
                    <a:pt x="256" y="254"/>
                  </a:lnTo>
                  <a:lnTo>
                    <a:pt x="256" y="254"/>
                  </a:lnTo>
                  <a:lnTo>
                    <a:pt x="256" y="253"/>
                  </a:lnTo>
                  <a:lnTo>
                    <a:pt x="256" y="253"/>
                  </a:lnTo>
                  <a:lnTo>
                    <a:pt x="254" y="251"/>
                  </a:lnTo>
                  <a:lnTo>
                    <a:pt x="254" y="251"/>
                  </a:lnTo>
                  <a:lnTo>
                    <a:pt x="254" y="251"/>
                  </a:lnTo>
                  <a:lnTo>
                    <a:pt x="254" y="251"/>
                  </a:lnTo>
                  <a:lnTo>
                    <a:pt x="253" y="248"/>
                  </a:lnTo>
                  <a:lnTo>
                    <a:pt x="253" y="248"/>
                  </a:lnTo>
                  <a:lnTo>
                    <a:pt x="251" y="248"/>
                  </a:lnTo>
                  <a:lnTo>
                    <a:pt x="251" y="248"/>
                  </a:lnTo>
                  <a:lnTo>
                    <a:pt x="251" y="246"/>
                  </a:lnTo>
                  <a:lnTo>
                    <a:pt x="251" y="246"/>
                  </a:lnTo>
                  <a:lnTo>
                    <a:pt x="251" y="245"/>
                  </a:lnTo>
                  <a:lnTo>
                    <a:pt x="251" y="245"/>
                  </a:lnTo>
                  <a:lnTo>
                    <a:pt x="250" y="245"/>
                  </a:lnTo>
                  <a:lnTo>
                    <a:pt x="250" y="245"/>
                  </a:lnTo>
                  <a:lnTo>
                    <a:pt x="251" y="245"/>
                  </a:lnTo>
                  <a:lnTo>
                    <a:pt x="251" y="245"/>
                  </a:lnTo>
                  <a:lnTo>
                    <a:pt x="251" y="245"/>
                  </a:lnTo>
                  <a:lnTo>
                    <a:pt x="251" y="245"/>
                  </a:lnTo>
                  <a:lnTo>
                    <a:pt x="253" y="245"/>
                  </a:lnTo>
                  <a:lnTo>
                    <a:pt x="253" y="245"/>
                  </a:lnTo>
                  <a:lnTo>
                    <a:pt x="254" y="243"/>
                  </a:lnTo>
                  <a:lnTo>
                    <a:pt x="254" y="243"/>
                  </a:lnTo>
                  <a:lnTo>
                    <a:pt x="253" y="246"/>
                  </a:lnTo>
                  <a:lnTo>
                    <a:pt x="253" y="246"/>
                  </a:lnTo>
                  <a:lnTo>
                    <a:pt x="254" y="248"/>
                  </a:lnTo>
                  <a:lnTo>
                    <a:pt x="254" y="248"/>
                  </a:lnTo>
                  <a:lnTo>
                    <a:pt x="256" y="250"/>
                  </a:lnTo>
                  <a:lnTo>
                    <a:pt x="256" y="250"/>
                  </a:lnTo>
                  <a:lnTo>
                    <a:pt x="258" y="251"/>
                  </a:lnTo>
                  <a:lnTo>
                    <a:pt x="258" y="251"/>
                  </a:lnTo>
                  <a:lnTo>
                    <a:pt x="258" y="251"/>
                  </a:lnTo>
                  <a:lnTo>
                    <a:pt x="258" y="251"/>
                  </a:lnTo>
                  <a:lnTo>
                    <a:pt x="261" y="251"/>
                  </a:lnTo>
                  <a:lnTo>
                    <a:pt x="261" y="251"/>
                  </a:lnTo>
                  <a:lnTo>
                    <a:pt x="261" y="251"/>
                  </a:lnTo>
                  <a:lnTo>
                    <a:pt x="261" y="251"/>
                  </a:lnTo>
                  <a:lnTo>
                    <a:pt x="261" y="248"/>
                  </a:lnTo>
                  <a:lnTo>
                    <a:pt x="261" y="248"/>
                  </a:lnTo>
                  <a:lnTo>
                    <a:pt x="261" y="248"/>
                  </a:lnTo>
                  <a:lnTo>
                    <a:pt x="261" y="248"/>
                  </a:lnTo>
                  <a:lnTo>
                    <a:pt x="262" y="248"/>
                  </a:lnTo>
                  <a:lnTo>
                    <a:pt x="262" y="248"/>
                  </a:lnTo>
                  <a:lnTo>
                    <a:pt x="262" y="251"/>
                  </a:lnTo>
                  <a:lnTo>
                    <a:pt x="262" y="251"/>
                  </a:lnTo>
                  <a:lnTo>
                    <a:pt x="264" y="254"/>
                  </a:lnTo>
                  <a:lnTo>
                    <a:pt x="264" y="254"/>
                  </a:lnTo>
                  <a:lnTo>
                    <a:pt x="264" y="256"/>
                  </a:lnTo>
                  <a:lnTo>
                    <a:pt x="264" y="256"/>
                  </a:lnTo>
                  <a:lnTo>
                    <a:pt x="266" y="256"/>
                  </a:lnTo>
                  <a:lnTo>
                    <a:pt x="266" y="256"/>
                  </a:lnTo>
                  <a:lnTo>
                    <a:pt x="266" y="254"/>
                  </a:lnTo>
                  <a:lnTo>
                    <a:pt x="266" y="254"/>
                  </a:lnTo>
                  <a:lnTo>
                    <a:pt x="267" y="253"/>
                  </a:lnTo>
                  <a:lnTo>
                    <a:pt x="267" y="253"/>
                  </a:lnTo>
                  <a:lnTo>
                    <a:pt x="267" y="254"/>
                  </a:lnTo>
                  <a:lnTo>
                    <a:pt x="267" y="254"/>
                  </a:lnTo>
                  <a:lnTo>
                    <a:pt x="267" y="254"/>
                  </a:lnTo>
                  <a:lnTo>
                    <a:pt x="267" y="254"/>
                  </a:lnTo>
                  <a:lnTo>
                    <a:pt x="267" y="256"/>
                  </a:lnTo>
                  <a:lnTo>
                    <a:pt x="267" y="256"/>
                  </a:lnTo>
                  <a:lnTo>
                    <a:pt x="267" y="256"/>
                  </a:lnTo>
                  <a:lnTo>
                    <a:pt x="267" y="256"/>
                  </a:lnTo>
                  <a:lnTo>
                    <a:pt x="267" y="258"/>
                  </a:lnTo>
                  <a:lnTo>
                    <a:pt x="267" y="258"/>
                  </a:lnTo>
                  <a:lnTo>
                    <a:pt x="269" y="258"/>
                  </a:lnTo>
                  <a:lnTo>
                    <a:pt x="269" y="258"/>
                  </a:lnTo>
                  <a:lnTo>
                    <a:pt x="274" y="256"/>
                  </a:lnTo>
                  <a:lnTo>
                    <a:pt x="274" y="256"/>
                  </a:lnTo>
                  <a:lnTo>
                    <a:pt x="277" y="253"/>
                  </a:lnTo>
                  <a:lnTo>
                    <a:pt x="277" y="253"/>
                  </a:lnTo>
                  <a:lnTo>
                    <a:pt x="277" y="250"/>
                  </a:lnTo>
                  <a:lnTo>
                    <a:pt x="277" y="250"/>
                  </a:lnTo>
                  <a:lnTo>
                    <a:pt x="278" y="248"/>
                  </a:lnTo>
                  <a:lnTo>
                    <a:pt x="278" y="248"/>
                  </a:lnTo>
                  <a:lnTo>
                    <a:pt x="285" y="245"/>
                  </a:lnTo>
                  <a:lnTo>
                    <a:pt x="285" y="245"/>
                  </a:lnTo>
                  <a:lnTo>
                    <a:pt x="293" y="246"/>
                  </a:lnTo>
                  <a:lnTo>
                    <a:pt x="293" y="246"/>
                  </a:lnTo>
                  <a:lnTo>
                    <a:pt x="293" y="248"/>
                  </a:lnTo>
                  <a:lnTo>
                    <a:pt x="293" y="248"/>
                  </a:lnTo>
                  <a:lnTo>
                    <a:pt x="293" y="248"/>
                  </a:lnTo>
                  <a:lnTo>
                    <a:pt x="293" y="248"/>
                  </a:lnTo>
                  <a:lnTo>
                    <a:pt x="293" y="248"/>
                  </a:lnTo>
                  <a:lnTo>
                    <a:pt x="293" y="248"/>
                  </a:lnTo>
                  <a:lnTo>
                    <a:pt x="291" y="251"/>
                  </a:lnTo>
                  <a:lnTo>
                    <a:pt x="291" y="251"/>
                  </a:lnTo>
                  <a:lnTo>
                    <a:pt x="291" y="250"/>
                  </a:lnTo>
                  <a:lnTo>
                    <a:pt x="291" y="250"/>
                  </a:lnTo>
                  <a:lnTo>
                    <a:pt x="291" y="248"/>
                  </a:lnTo>
                  <a:lnTo>
                    <a:pt x="291" y="248"/>
                  </a:lnTo>
                  <a:lnTo>
                    <a:pt x="288" y="248"/>
                  </a:lnTo>
                  <a:lnTo>
                    <a:pt x="288" y="248"/>
                  </a:lnTo>
                  <a:lnTo>
                    <a:pt x="285" y="248"/>
                  </a:lnTo>
                  <a:lnTo>
                    <a:pt x="285" y="248"/>
                  </a:lnTo>
                  <a:lnTo>
                    <a:pt x="283" y="248"/>
                  </a:lnTo>
                  <a:lnTo>
                    <a:pt x="283" y="248"/>
                  </a:lnTo>
                  <a:lnTo>
                    <a:pt x="286" y="248"/>
                  </a:lnTo>
                  <a:lnTo>
                    <a:pt x="286" y="248"/>
                  </a:lnTo>
                  <a:lnTo>
                    <a:pt x="285" y="248"/>
                  </a:lnTo>
                  <a:lnTo>
                    <a:pt x="285" y="248"/>
                  </a:lnTo>
                  <a:lnTo>
                    <a:pt x="285" y="250"/>
                  </a:lnTo>
                  <a:lnTo>
                    <a:pt x="285" y="250"/>
                  </a:lnTo>
                  <a:lnTo>
                    <a:pt x="286" y="250"/>
                  </a:lnTo>
                  <a:lnTo>
                    <a:pt x="286" y="250"/>
                  </a:lnTo>
                  <a:lnTo>
                    <a:pt x="286" y="251"/>
                  </a:lnTo>
                  <a:lnTo>
                    <a:pt x="286" y="251"/>
                  </a:lnTo>
                  <a:lnTo>
                    <a:pt x="288" y="251"/>
                  </a:lnTo>
                  <a:lnTo>
                    <a:pt x="288" y="251"/>
                  </a:lnTo>
                  <a:lnTo>
                    <a:pt x="288" y="251"/>
                  </a:lnTo>
                  <a:lnTo>
                    <a:pt x="288" y="251"/>
                  </a:lnTo>
                  <a:lnTo>
                    <a:pt x="286" y="251"/>
                  </a:lnTo>
                  <a:lnTo>
                    <a:pt x="286" y="251"/>
                  </a:lnTo>
                  <a:lnTo>
                    <a:pt x="286" y="251"/>
                  </a:lnTo>
                  <a:lnTo>
                    <a:pt x="286" y="251"/>
                  </a:lnTo>
                  <a:lnTo>
                    <a:pt x="285" y="251"/>
                  </a:lnTo>
                  <a:lnTo>
                    <a:pt x="285" y="251"/>
                  </a:lnTo>
                  <a:lnTo>
                    <a:pt x="283" y="251"/>
                  </a:lnTo>
                  <a:lnTo>
                    <a:pt x="283" y="251"/>
                  </a:lnTo>
                  <a:lnTo>
                    <a:pt x="283" y="251"/>
                  </a:lnTo>
                  <a:lnTo>
                    <a:pt x="283" y="251"/>
                  </a:lnTo>
                  <a:lnTo>
                    <a:pt x="281" y="251"/>
                  </a:lnTo>
                  <a:lnTo>
                    <a:pt x="281" y="251"/>
                  </a:lnTo>
                  <a:lnTo>
                    <a:pt x="281" y="254"/>
                  </a:lnTo>
                  <a:lnTo>
                    <a:pt x="281" y="254"/>
                  </a:lnTo>
                  <a:lnTo>
                    <a:pt x="280" y="254"/>
                  </a:lnTo>
                  <a:lnTo>
                    <a:pt x="280" y="254"/>
                  </a:lnTo>
                  <a:lnTo>
                    <a:pt x="277" y="256"/>
                  </a:lnTo>
                  <a:lnTo>
                    <a:pt x="277" y="256"/>
                  </a:lnTo>
                  <a:close/>
                  <a:moveTo>
                    <a:pt x="308" y="292"/>
                  </a:moveTo>
                  <a:lnTo>
                    <a:pt x="308" y="292"/>
                  </a:lnTo>
                  <a:lnTo>
                    <a:pt x="302" y="292"/>
                  </a:lnTo>
                  <a:lnTo>
                    <a:pt x="302" y="292"/>
                  </a:lnTo>
                  <a:lnTo>
                    <a:pt x="302" y="291"/>
                  </a:lnTo>
                  <a:lnTo>
                    <a:pt x="302" y="291"/>
                  </a:lnTo>
                  <a:lnTo>
                    <a:pt x="301" y="292"/>
                  </a:lnTo>
                  <a:lnTo>
                    <a:pt x="301" y="292"/>
                  </a:lnTo>
                  <a:lnTo>
                    <a:pt x="299" y="294"/>
                  </a:lnTo>
                  <a:lnTo>
                    <a:pt x="299" y="294"/>
                  </a:lnTo>
                  <a:lnTo>
                    <a:pt x="293" y="294"/>
                  </a:lnTo>
                  <a:lnTo>
                    <a:pt x="293" y="294"/>
                  </a:lnTo>
                  <a:lnTo>
                    <a:pt x="293" y="292"/>
                  </a:lnTo>
                  <a:lnTo>
                    <a:pt x="293" y="292"/>
                  </a:lnTo>
                  <a:lnTo>
                    <a:pt x="288" y="296"/>
                  </a:lnTo>
                  <a:lnTo>
                    <a:pt x="288" y="296"/>
                  </a:lnTo>
                  <a:lnTo>
                    <a:pt x="286" y="296"/>
                  </a:lnTo>
                  <a:lnTo>
                    <a:pt x="286" y="296"/>
                  </a:lnTo>
                  <a:lnTo>
                    <a:pt x="286" y="297"/>
                  </a:lnTo>
                  <a:lnTo>
                    <a:pt x="286" y="297"/>
                  </a:lnTo>
                  <a:lnTo>
                    <a:pt x="286" y="299"/>
                  </a:lnTo>
                  <a:lnTo>
                    <a:pt x="286" y="299"/>
                  </a:lnTo>
                  <a:lnTo>
                    <a:pt x="285" y="299"/>
                  </a:lnTo>
                  <a:lnTo>
                    <a:pt x="285" y="299"/>
                  </a:lnTo>
                  <a:lnTo>
                    <a:pt x="285" y="299"/>
                  </a:lnTo>
                  <a:lnTo>
                    <a:pt x="285" y="299"/>
                  </a:lnTo>
                  <a:lnTo>
                    <a:pt x="283" y="299"/>
                  </a:lnTo>
                  <a:lnTo>
                    <a:pt x="283" y="299"/>
                  </a:lnTo>
                  <a:lnTo>
                    <a:pt x="281" y="299"/>
                  </a:lnTo>
                  <a:lnTo>
                    <a:pt x="281" y="299"/>
                  </a:lnTo>
                  <a:lnTo>
                    <a:pt x="281" y="297"/>
                  </a:lnTo>
                  <a:lnTo>
                    <a:pt x="281" y="297"/>
                  </a:lnTo>
                  <a:lnTo>
                    <a:pt x="283" y="297"/>
                  </a:lnTo>
                  <a:lnTo>
                    <a:pt x="283" y="297"/>
                  </a:lnTo>
                  <a:lnTo>
                    <a:pt x="283" y="296"/>
                  </a:lnTo>
                  <a:lnTo>
                    <a:pt x="283" y="296"/>
                  </a:lnTo>
                  <a:lnTo>
                    <a:pt x="283" y="294"/>
                  </a:lnTo>
                  <a:lnTo>
                    <a:pt x="283" y="294"/>
                  </a:lnTo>
                  <a:lnTo>
                    <a:pt x="285" y="292"/>
                  </a:lnTo>
                  <a:lnTo>
                    <a:pt x="285" y="292"/>
                  </a:lnTo>
                  <a:lnTo>
                    <a:pt x="286" y="292"/>
                  </a:lnTo>
                  <a:lnTo>
                    <a:pt x="286" y="292"/>
                  </a:lnTo>
                  <a:lnTo>
                    <a:pt x="289" y="289"/>
                  </a:lnTo>
                  <a:lnTo>
                    <a:pt x="289" y="289"/>
                  </a:lnTo>
                  <a:lnTo>
                    <a:pt x="289" y="286"/>
                  </a:lnTo>
                  <a:lnTo>
                    <a:pt x="289" y="286"/>
                  </a:lnTo>
                  <a:lnTo>
                    <a:pt x="291" y="286"/>
                  </a:lnTo>
                  <a:lnTo>
                    <a:pt x="291" y="286"/>
                  </a:lnTo>
                  <a:lnTo>
                    <a:pt x="293" y="286"/>
                  </a:lnTo>
                  <a:lnTo>
                    <a:pt x="293" y="286"/>
                  </a:lnTo>
                  <a:lnTo>
                    <a:pt x="293" y="286"/>
                  </a:lnTo>
                  <a:lnTo>
                    <a:pt x="293" y="286"/>
                  </a:lnTo>
                  <a:lnTo>
                    <a:pt x="291" y="285"/>
                  </a:lnTo>
                  <a:lnTo>
                    <a:pt x="291" y="285"/>
                  </a:lnTo>
                  <a:lnTo>
                    <a:pt x="293" y="285"/>
                  </a:lnTo>
                  <a:lnTo>
                    <a:pt x="293" y="285"/>
                  </a:lnTo>
                  <a:lnTo>
                    <a:pt x="293" y="283"/>
                  </a:lnTo>
                  <a:lnTo>
                    <a:pt x="293" y="283"/>
                  </a:lnTo>
                  <a:lnTo>
                    <a:pt x="294" y="283"/>
                  </a:lnTo>
                  <a:lnTo>
                    <a:pt x="294" y="283"/>
                  </a:lnTo>
                  <a:lnTo>
                    <a:pt x="294" y="285"/>
                  </a:lnTo>
                  <a:lnTo>
                    <a:pt x="294" y="285"/>
                  </a:lnTo>
                  <a:lnTo>
                    <a:pt x="296" y="283"/>
                  </a:lnTo>
                  <a:lnTo>
                    <a:pt x="296" y="283"/>
                  </a:lnTo>
                  <a:lnTo>
                    <a:pt x="296" y="285"/>
                  </a:lnTo>
                  <a:lnTo>
                    <a:pt x="296" y="285"/>
                  </a:lnTo>
                  <a:lnTo>
                    <a:pt x="296" y="286"/>
                  </a:lnTo>
                  <a:lnTo>
                    <a:pt x="296" y="286"/>
                  </a:lnTo>
                  <a:lnTo>
                    <a:pt x="296" y="286"/>
                  </a:lnTo>
                  <a:lnTo>
                    <a:pt x="296" y="286"/>
                  </a:lnTo>
                  <a:lnTo>
                    <a:pt x="293" y="286"/>
                  </a:lnTo>
                  <a:lnTo>
                    <a:pt x="293" y="286"/>
                  </a:lnTo>
                  <a:lnTo>
                    <a:pt x="293" y="288"/>
                  </a:lnTo>
                  <a:lnTo>
                    <a:pt x="293" y="288"/>
                  </a:lnTo>
                  <a:lnTo>
                    <a:pt x="293" y="289"/>
                  </a:lnTo>
                  <a:lnTo>
                    <a:pt x="293" y="289"/>
                  </a:lnTo>
                  <a:lnTo>
                    <a:pt x="294" y="288"/>
                  </a:lnTo>
                  <a:lnTo>
                    <a:pt x="294" y="288"/>
                  </a:lnTo>
                  <a:lnTo>
                    <a:pt x="296" y="288"/>
                  </a:lnTo>
                  <a:lnTo>
                    <a:pt x="296" y="288"/>
                  </a:lnTo>
                  <a:lnTo>
                    <a:pt x="296" y="289"/>
                  </a:lnTo>
                  <a:lnTo>
                    <a:pt x="296" y="289"/>
                  </a:lnTo>
                  <a:lnTo>
                    <a:pt x="296" y="289"/>
                  </a:lnTo>
                  <a:lnTo>
                    <a:pt x="296" y="289"/>
                  </a:lnTo>
                  <a:lnTo>
                    <a:pt x="296" y="289"/>
                  </a:lnTo>
                  <a:lnTo>
                    <a:pt x="296" y="289"/>
                  </a:lnTo>
                  <a:lnTo>
                    <a:pt x="296" y="291"/>
                  </a:lnTo>
                  <a:lnTo>
                    <a:pt x="296" y="291"/>
                  </a:lnTo>
                  <a:lnTo>
                    <a:pt x="296" y="291"/>
                  </a:lnTo>
                  <a:lnTo>
                    <a:pt x="296" y="291"/>
                  </a:lnTo>
                  <a:lnTo>
                    <a:pt x="297" y="289"/>
                  </a:lnTo>
                  <a:lnTo>
                    <a:pt x="297" y="289"/>
                  </a:lnTo>
                  <a:lnTo>
                    <a:pt x="301" y="289"/>
                  </a:lnTo>
                  <a:lnTo>
                    <a:pt x="301" y="289"/>
                  </a:lnTo>
                  <a:lnTo>
                    <a:pt x="302" y="289"/>
                  </a:lnTo>
                  <a:lnTo>
                    <a:pt x="302" y="289"/>
                  </a:lnTo>
                  <a:lnTo>
                    <a:pt x="302" y="289"/>
                  </a:lnTo>
                  <a:lnTo>
                    <a:pt x="302" y="289"/>
                  </a:lnTo>
                  <a:lnTo>
                    <a:pt x="302" y="291"/>
                  </a:lnTo>
                  <a:lnTo>
                    <a:pt x="302" y="291"/>
                  </a:lnTo>
                  <a:lnTo>
                    <a:pt x="308" y="291"/>
                  </a:lnTo>
                  <a:lnTo>
                    <a:pt x="308" y="292"/>
                  </a:lnTo>
                  <a:lnTo>
                    <a:pt x="308" y="292"/>
                  </a:lnTo>
                  <a:lnTo>
                    <a:pt x="308" y="292"/>
                  </a:lnTo>
                  <a:close/>
                  <a:moveTo>
                    <a:pt x="351" y="361"/>
                  </a:moveTo>
                  <a:lnTo>
                    <a:pt x="351" y="361"/>
                  </a:lnTo>
                  <a:lnTo>
                    <a:pt x="351" y="361"/>
                  </a:lnTo>
                  <a:lnTo>
                    <a:pt x="351" y="361"/>
                  </a:lnTo>
                  <a:lnTo>
                    <a:pt x="348" y="361"/>
                  </a:lnTo>
                  <a:lnTo>
                    <a:pt x="348" y="361"/>
                  </a:lnTo>
                  <a:lnTo>
                    <a:pt x="348" y="361"/>
                  </a:lnTo>
                  <a:lnTo>
                    <a:pt x="348" y="361"/>
                  </a:lnTo>
                  <a:lnTo>
                    <a:pt x="348" y="361"/>
                  </a:lnTo>
                  <a:lnTo>
                    <a:pt x="348" y="361"/>
                  </a:lnTo>
                  <a:lnTo>
                    <a:pt x="348" y="362"/>
                  </a:lnTo>
                  <a:lnTo>
                    <a:pt x="348" y="362"/>
                  </a:lnTo>
                  <a:lnTo>
                    <a:pt x="348" y="364"/>
                  </a:lnTo>
                  <a:lnTo>
                    <a:pt x="348" y="364"/>
                  </a:lnTo>
                  <a:lnTo>
                    <a:pt x="348" y="367"/>
                  </a:lnTo>
                  <a:lnTo>
                    <a:pt x="348" y="367"/>
                  </a:lnTo>
                  <a:lnTo>
                    <a:pt x="348" y="367"/>
                  </a:lnTo>
                  <a:lnTo>
                    <a:pt x="348" y="367"/>
                  </a:lnTo>
                  <a:lnTo>
                    <a:pt x="348" y="369"/>
                  </a:lnTo>
                  <a:lnTo>
                    <a:pt x="348" y="369"/>
                  </a:lnTo>
                  <a:lnTo>
                    <a:pt x="348" y="370"/>
                  </a:lnTo>
                  <a:lnTo>
                    <a:pt x="348" y="370"/>
                  </a:lnTo>
                  <a:lnTo>
                    <a:pt x="348" y="372"/>
                  </a:lnTo>
                  <a:lnTo>
                    <a:pt x="348" y="372"/>
                  </a:lnTo>
                  <a:lnTo>
                    <a:pt x="348" y="373"/>
                  </a:lnTo>
                  <a:lnTo>
                    <a:pt x="348" y="373"/>
                  </a:lnTo>
                  <a:lnTo>
                    <a:pt x="348" y="375"/>
                  </a:lnTo>
                  <a:lnTo>
                    <a:pt x="348" y="375"/>
                  </a:lnTo>
                  <a:lnTo>
                    <a:pt x="348" y="375"/>
                  </a:lnTo>
                  <a:lnTo>
                    <a:pt x="348" y="375"/>
                  </a:lnTo>
                  <a:lnTo>
                    <a:pt x="347" y="373"/>
                  </a:lnTo>
                  <a:lnTo>
                    <a:pt x="347" y="373"/>
                  </a:lnTo>
                  <a:lnTo>
                    <a:pt x="345" y="369"/>
                  </a:lnTo>
                  <a:lnTo>
                    <a:pt x="345" y="369"/>
                  </a:lnTo>
                  <a:lnTo>
                    <a:pt x="347" y="367"/>
                  </a:lnTo>
                  <a:lnTo>
                    <a:pt x="347" y="367"/>
                  </a:lnTo>
                  <a:lnTo>
                    <a:pt x="347" y="364"/>
                  </a:lnTo>
                  <a:lnTo>
                    <a:pt x="347" y="364"/>
                  </a:lnTo>
                  <a:lnTo>
                    <a:pt x="345" y="364"/>
                  </a:lnTo>
                  <a:lnTo>
                    <a:pt x="345" y="364"/>
                  </a:lnTo>
                  <a:lnTo>
                    <a:pt x="345" y="364"/>
                  </a:lnTo>
                  <a:lnTo>
                    <a:pt x="345" y="364"/>
                  </a:lnTo>
                  <a:lnTo>
                    <a:pt x="343" y="364"/>
                  </a:lnTo>
                  <a:lnTo>
                    <a:pt x="343" y="364"/>
                  </a:lnTo>
                  <a:lnTo>
                    <a:pt x="343" y="361"/>
                  </a:lnTo>
                  <a:lnTo>
                    <a:pt x="343" y="361"/>
                  </a:lnTo>
                  <a:lnTo>
                    <a:pt x="342" y="361"/>
                  </a:lnTo>
                  <a:lnTo>
                    <a:pt x="342" y="361"/>
                  </a:lnTo>
                  <a:lnTo>
                    <a:pt x="342" y="362"/>
                  </a:lnTo>
                  <a:lnTo>
                    <a:pt x="342" y="362"/>
                  </a:lnTo>
                  <a:lnTo>
                    <a:pt x="342" y="364"/>
                  </a:lnTo>
                  <a:lnTo>
                    <a:pt x="342" y="364"/>
                  </a:lnTo>
                  <a:lnTo>
                    <a:pt x="342" y="364"/>
                  </a:lnTo>
                  <a:lnTo>
                    <a:pt x="342" y="364"/>
                  </a:lnTo>
                  <a:lnTo>
                    <a:pt x="340" y="364"/>
                  </a:lnTo>
                  <a:lnTo>
                    <a:pt x="340" y="364"/>
                  </a:lnTo>
                  <a:lnTo>
                    <a:pt x="340" y="362"/>
                  </a:lnTo>
                  <a:lnTo>
                    <a:pt x="340" y="362"/>
                  </a:lnTo>
                  <a:lnTo>
                    <a:pt x="340" y="361"/>
                  </a:lnTo>
                  <a:lnTo>
                    <a:pt x="340" y="361"/>
                  </a:lnTo>
                  <a:lnTo>
                    <a:pt x="339" y="361"/>
                  </a:lnTo>
                  <a:lnTo>
                    <a:pt x="339" y="361"/>
                  </a:lnTo>
                  <a:lnTo>
                    <a:pt x="340" y="359"/>
                  </a:lnTo>
                  <a:lnTo>
                    <a:pt x="340" y="359"/>
                  </a:lnTo>
                  <a:lnTo>
                    <a:pt x="340" y="361"/>
                  </a:lnTo>
                  <a:lnTo>
                    <a:pt x="340" y="361"/>
                  </a:lnTo>
                  <a:lnTo>
                    <a:pt x="342" y="361"/>
                  </a:lnTo>
                  <a:lnTo>
                    <a:pt x="342" y="361"/>
                  </a:lnTo>
                  <a:lnTo>
                    <a:pt x="343" y="359"/>
                  </a:lnTo>
                  <a:lnTo>
                    <a:pt x="343" y="359"/>
                  </a:lnTo>
                  <a:lnTo>
                    <a:pt x="342" y="358"/>
                  </a:lnTo>
                  <a:lnTo>
                    <a:pt x="342" y="358"/>
                  </a:lnTo>
                  <a:lnTo>
                    <a:pt x="342" y="356"/>
                  </a:lnTo>
                  <a:lnTo>
                    <a:pt x="342" y="356"/>
                  </a:lnTo>
                  <a:lnTo>
                    <a:pt x="342" y="356"/>
                  </a:lnTo>
                  <a:lnTo>
                    <a:pt x="342" y="356"/>
                  </a:lnTo>
                  <a:lnTo>
                    <a:pt x="345" y="356"/>
                  </a:lnTo>
                  <a:lnTo>
                    <a:pt x="345" y="356"/>
                  </a:lnTo>
                  <a:lnTo>
                    <a:pt x="345" y="354"/>
                  </a:lnTo>
                  <a:lnTo>
                    <a:pt x="345" y="354"/>
                  </a:lnTo>
                  <a:lnTo>
                    <a:pt x="347" y="356"/>
                  </a:lnTo>
                  <a:lnTo>
                    <a:pt x="347" y="356"/>
                  </a:lnTo>
                  <a:lnTo>
                    <a:pt x="348" y="358"/>
                  </a:lnTo>
                  <a:lnTo>
                    <a:pt x="348" y="358"/>
                  </a:lnTo>
                  <a:lnTo>
                    <a:pt x="348" y="358"/>
                  </a:lnTo>
                  <a:lnTo>
                    <a:pt x="348" y="358"/>
                  </a:lnTo>
                  <a:lnTo>
                    <a:pt x="350" y="358"/>
                  </a:lnTo>
                  <a:lnTo>
                    <a:pt x="350" y="358"/>
                  </a:lnTo>
                  <a:lnTo>
                    <a:pt x="351" y="358"/>
                  </a:lnTo>
                  <a:lnTo>
                    <a:pt x="351" y="358"/>
                  </a:lnTo>
                  <a:lnTo>
                    <a:pt x="351" y="361"/>
                  </a:lnTo>
                  <a:lnTo>
                    <a:pt x="351" y="361"/>
                  </a:lnTo>
                  <a:close/>
                  <a:moveTo>
                    <a:pt x="369" y="383"/>
                  </a:moveTo>
                  <a:lnTo>
                    <a:pt x="369" y="383"/>
                  </a:lnTo>
                  <a:lnTo>
                    <a:pt x="367" y="386"/>
                  </a:lnTo>
                  <a:lnTo>
                    <a:pt x="367" y="386"/>
                  </a:lnTo>
                  <a:lnTo>
                    <a:pt x="367" y="385"/>
                  </a:lnTo>
                  <a:lnTo>
                    <a:pt x="367" y="385"/>
                  </a:lnTo>
                  <a:lnTo>
                    <a:pt x="367" y="388"/>
                  </a:lnTo>
                  <a:lnTo>
                    <a:pt x="367" y="388"/>
                  </a:lnTo>
                  <a:lnTo>
                    <a:pt x="366" y="388"/>
                  </a:lnTo>
                  <a:lnTo>
                    <a:pt x="366" y="388"/>
                  </a:lnTo>
                  <a:lnTo>
                    <a:pt x="364" y="385"/>
                  </a:lnTo>
                  <a:lnTo>
                    <a:pt x="364" y="385"/>
                  </a:lnTo>
                  <a:lnTo>
                    <a:pt x="366" y="381"/>
                  </a:lnTo>
                  <a:lnTo>
                    <a:pt x="366" y="381"/>
                  </a:lnTo>
                  <a:lnTo>
                    <a:pt x="367" y="378"/>
                  </a:lnTo>
                  <a:lnTo>
                    <a:pt x="367" y="378"/>
                  </a:lnTo>
                  <a:lnTo>
                    <a:pt x="366" y="380"/>
                  </a:lnTo>
                  <a:lnTo>
                    <a:pt x="366" y="380"/>
                  </a:lnTo>
                  <a:lnTo>
                    <a:pt x="366" y="378"/>
                  </a:lnTo>
                  <a:lnTo>
                    <a:pt x="366" y="378"/>
                  </a:lnTo>
                  <a:lnTo>
                    <a:pt x="366" y="377"/>
                  </a:lnTo>
                  <a:lnTo>
                    <a:pt x="366" y="377"/>
                  </a:lnTo>
                  <a:lnTo>
                    <a:pt x="366" y="375"/>
                  </a:lnTo>
                  <a:lnTo>
                    <a:pt x="366" y="375"/>
                  </a:lnTo>
                  <a:lnTo>
                    <a:pt x="364" y="373"/>
                  </a:lnTo>
                  <a:lnTo>
                    <a:pt x="364" y="373"/>
                  </a:lnTo>
                  <a:lnTo>
                    <a:pt x="364" y="373"/>
                  </a:lnTo>
                  <a:lnTo>
                    <a:pt x="364" y="373"/>
                  </a:lnTo>
                  <a:lnTo>
                    <a:pt x="364" y="375"/>
                  </a:lnTo>
                  <a:lnTo>
                    <a:pt x="364" y="375"/>
                  </a:lnTo>
                  <a:lnTo>
                    <a:pt x="364" y="377"/>
                  </a:lnTo>
                  <a:lnTo>
                    <a:pt x="364" y="377"/>
                  </a:lnTo>
                  <a:lnTo>
                    <a:pt x="362" y="377"/>
                  </a:lnTo>
                  <a:lnTo>
                    <a:pt x="362" y="377"/>
                  </a:lnTo>
                  <a:lnTo>
                    <a:pt x="362" y="375"/>
                  </a:lnTo>
                  <a:lnTo>
                    <a:pt x="362" y="375"/>
                  </a:lnTo>
                  <a:lnTo>
                    <a:pt x="362" y="373"/>
                  </a:lnTo>
                  <a:lnTo>
                    <a:pt x="362" y="373"/>
                  </a:lnTo>
                  <a:lnTo>
                    <a:pt x="362" y="373"/>
                  </a:lnTo>
                  <a:lnTo>
                    <a:pt x="362" y="373"/>
                  </a:lnTo>
                  <a:lnTo>
                    <a:pt x="361" y="370"/>
                  </a:lnTo>
                  <a:lnTo>
                    <a:pt x="361" y="370"/>
                  </a:lnTo>
                  <a:lnTo>
                    <a:pt x="361" y="372"/>
                  </a:lnTo>
                  <a:lnTo>
                    <a:pt x="361" y="372"/>
                  </a:lnTo>
                  <a:lnTo>
                    <a:pt x="359" y="373"/>
                  </a:lnTo>
                  <a:lnTo>
                    <a:pt x="359" y="373"/>
                  </a:lnTo>
                  <a:lnTo>
                    <a:pt x="358" y="372"/>
                  </a:lnTo>
                  <a:lnTo>
                    <a:pt x="358" y="372"/>
                  </a:lnTo>
                  <a:lnTo>
                    <a:pt x="358" y="369"/>
                  </a:lnTo>
                  <a:lnTo>
                    <a:pt x="358" y="369"/>
                  </a:lnTo>
                  <a:lnTo>
                    <a:pt x="358" y="367"/>
                  </a:lnTo>
                  <a:lnTo>
                    <a:pt x="358" y="367"/>
                  </a:lnTo>
                  <a:lnTo>
                    <a:pt x="356" y="367"/>
                  </a:lnTo>
                  <a:lnTo>
                    <a:pt x="356" y="367"/>
                  </a:lnTo>
                  <a:lnTo>
                    <a:pt x="356" y="367"/>
                  </a:lnTo>
                  <a:lnTo>
                    <a:pt x="356" y="367"/>
                  </a:lnTo>
                  <a:lnTo>
                    <a:pt x="354" y="364"/>
                  </a:lnTo>
                  <a:lnTo>
                    <a:pt x="354" y="364"/>
                  </a:lnTo>
                  <a:lnTo>
                    <a:pt x="354" y="362"/>
                  </a:lnTo>
                  <a:lnTo>
                    <a:pt x="354" y="362"/>
                  </a:lnTo>
                  <a:lnTo>
                    <a:pt x="354" y="361"/>
                  </a:lnTo>
                  <a:lnTo>
                    <a:pt x="354" y="361"/>
                  </a:lnTo>
                  <a:lnTo>
                    <a:pt x="354" y="361"/>
                  </a:lnTo>
                  <a:lnTo>
                    <a:pt x="354" y="361"/>
                  </a:lnTo>
                  <a:lnTo>
                    <a:pt x="356" y="361"/>
                  </a:lnTo>
                  <a:lnTo>
                    <a:pt x="356" y="361"/>
                  </a:lnTo>
                  <a:lnTo>
                    <a:pt x="353" y="361"/>
                  </a:lnTo>
                  <a:lnTo>
                    <a:pt x="353" y="361"/>
                  </a:lnTo>
                  <a:lnTo>
                    <a:pt x="351" y="361"/>
                  </a:lnTo>
                  <a:lnTo>
                    <a:pt x="351" y="361"/>
                  </a:lnTo>
                  <a:lnTo>
                    <a:pt x="351" y="358"/>
                  </a:lnTo>
                  <a:lnTo>
                    <a:pt x="351" y="358"/>
                  </a:lnTo>
                  <a:lnTo>
                    <a:pt x="351" y="356"/>
                  </a:lnTo>
                  <a:lnTo>
                    <a:pt x="351" y="356"/>
                  </a:lnTo>
                  <a:lnTo>
                    <a:pt x="353" y="354"/>
                  </a:lnTo>
                  <a:lnTo>
                    <a:pt x="353" y="354"/>
                  </a:lnTo>
                  <a:lnTo>
                    <a:pt x="353" y="353"/>
                  </a:lnTo>
                  <a:lnTo>
                    <a:pt x="353" y="353"/>
                  </a:lnTo>
                  <a:lnTo>
                    <a:pt x="354" y="353"/>
                  </a:lnTo>
                  <a:lnTo>
                    <a:pt x="354" y="353"/>
                  </a:lnTo>
                  <a:lnTo>
                    <a:pt x="358" y="354"/>
                  </a:lnTo>
                  <a:lnTo>
                    <a:pt x="358" y="354"/>
                  </a:lnTo>
                  <a:lnTo>
                    <a:pt x="358" y="354"/>
                  </a:lnTo>
                  <a:lnTo>
                    <a:pt x="358" y="354"/>
                  </a:lnTo>
                  <a:lnTo>
                    <a:pt x="358" y="353"/>
                  </a:lnTo>
                  <a:lnTo>
                    <a:pt x="358" y="353"/>
                  </a:lnTo>
                  <a:lnTo>
                    <a:pt x="358" y="351"/>
                  </a:lnTo>
                  <a:lnTo>
                    <a:pt x="358" y="351"/>
                  </a:lnTo>
                  <a:lnTo>
                    <a:pt x="358" y="351"/>
                  </a:lnTo>
                  <a:lnTo>
                    <a:pt x="358" y="351"/>
                  </a:lnTo>
                  <a:lnTo>
                    <a:pt x="358" y="348"/>
                  </a:lnTo>
                  <a:lnTo>
                    <a:pt x="358" y="348"/>
                  </a:lnTo>
                  <a:lnTo>
                    <a:pt x="358" y="350"/>
                  </a:lnTo>
                  <a:lnTo>
                    <a:pt x="358" y="350"/>
                  </a:lnTo>
                  <a:lnTo>
                    <a:pt x="358" y="348"/>
                  </a:lnTo>
                  <a:lnTo>
                    <a:pt x="358" y="348"/>
                  </a:lnTo>
                  <a:lnTo>
                    <a:pt x="358" y="348"/>
                  </a:lnTo>
                  <a:lnTo>
                    <a:pt x="358" y="348"/>
                  </a:lnTo>
                  <a:lnTo>
                    <a:pt x="356" y="348"/>
                  </a:lnTo>
                  <a:lnTo>
                    <a:pt x="356" y="348"/>
                  </a:lnTo>
                  <a:lnTo>
                    <a:pt x="354" y="348"/>
                  </a:lnTo>
                  <a:lnTo>
                    <a:pt x="354" y="348"/>
                  </a:lnTo>
                  <a:lnTo>
                    <a:pt x="356" y="346"/>
                  </a:lnTo>
                  <a:lnTo>
                    <a:pt x="356" y="346"/>
                  </a:lnTo>
                  <a:lnTo>
                    <a:pt x="358" y="346"/>
                  </a:lnTo>
                  <a:lnTo>
                    <a:pt x="358" y="346"/>
                  </a:lnTo>
                  <a:lnTo>
                    <a:pt x="358" y="346"/>
                  </a:lnTo>
                  <a:lnTo>
                    <a:pt x="358" y="346"/>
                  </a:lnTo>
                  <a:lnTo>
                    <a:pt x="358" y="348"/>
                  </a:lnTo>
                  <a:lnTo>
                    <a:pt x="358" y="348"/>
                  </a:lnTo>
                  <a:lnTo>
                    <a:pt x="359" y="348"/>
                  </a:lnTo>
                  <a:lnTo>
                    <a:pt x="359" y="348"/>
                  </a:lnTo>
                  <a:lnTo>
                    <a:pt x="359" y="348"/>
                  </a:lnTo>
                  <a:lnTo>
                    <a:pt x="359" y="348"/>
                  </a:lnTo>
                  <a:lnTo>
                    <a:pt x="358" y="350"/>
                  </a:lnTo>
                  <a:lnTo>
                    <a:pt x="358" y="350"/>
                  </a:lnTo>
                  <a:lnTo>
                    <a:pt x="358" y="351"/>
                  </a:lnTo>
                  <a:lnTo>
                    <a:pt x="358" y="351"/>
                  </a:lnTo>
                  <a:lnTo>
                    <a:pt x="359" y="350"/>
                  </a:lnTo>
                  <a:lnTo>
                    <a:pt x="359" y="350"/>
                  </a:lnTo>
                  <a:lnTo>
                    <a:pt x="361" y="350"/>
                  </a:lnTo>
                  <a:lnTo>
                    <a:pt x="361" y="350"/>
                  </a:lnTo>
                  <a:lnTo>
                    <a:pt x="361" y="351"/>
                  </a:lnTo>
                  <a:lnTo>
                    <a:pt x="361" y="351"/>
                  </a:lnTo>
                  <a:lnTo>
                    <a:pt x="361" y="351"/>
                  </a:lnTo>
                  <a:lnTo>
                    <a:pt x="361" y="351"/>
                  </a:lnTo>
                  <a:lnTo>
                    <a:pt x="359" y="351"/>
                  </a:lnTo>
                  <a:lnTo>
                    <a:pt x="359" y="351"/>
                  </a:lnTo>
                  <a:lnTo>
                    <a:pt x="361" y="354"/>
                  </a:lnTo>
                  <a:lnTo>
                    <a:pt x="361" y="354"/>
                  </a:lnTo>
                  <a:lnTo>
                    <a:pt x="361" y="356"/>
                  </a:lnTo>
                  <a:lnTo>
                    <a:pt x="361" y="356"/>
                  </a:lnTo>
                  <a:lnTo>
                    <a:pt x="361" y="359"/>
                  </a:lnTo>
                  <a:lnTo>
                    <a:pt x="361" y="359"/>
                  </a:lnTo>
                  <a:lnTo>
                    <a:pt x="362" y="361"/>
                  </a:lnTo>
                  <a:lnTo>
                    <a:pt x="362" y="361"/>
                  </a:lnTo>
                  <a:lnTo>
                    <a:pt x="362" y="362"/>
                  </a:lnTo>
                  <a:lnTo>
                    <a:pt x="362" y="362"/>
                  </a:lnTo>
                  <a:lnTo>
                    <a:pt x="362" y="364"/>
                  </a:lnTo>
                  <a:lnTo>
                    <a:pt x="362" y="364"/>
                  </a:lnTo>
                  <a:lnTo>
                    <a:pt x="364" y="367"/>
                  </a:lnTo>
                  <a:lnTo>
                    <a:pt x="364" y="367"/>
                  </a:lnTo>
                  <a:lnTo>
                    <a:pt x="364" y="370"/>
                  </a:lnTo>
                  <a:lnTo>
                    <a:pt x="364" y="370"/>
                  </a:lnTo>
                  <a:lnTo>
                    <a:pt x="366" y="372"/>
                  </a:lnTo>
                  <a:lnTo>
                    <a:pt x="366" y="372"/>
                  </a:lnTo>
                  <a:lnTo>
                    <a:pt x="366" y="373"/>
                  </a:lnTo>
                  <a:lnTo>
                    <a:pt x="366" y="373"/>
                  </a:lnTo>
                  <a:lnTo>
                    <a:pt x="369" y="380"/>
                  </a:lnTo>
                  <a:lnTo>
                    <a:pt x="369" y="380"/>
                  </a:lnTo>
                  <a:lnTo>
                    <a:pt x="367" y="380"/>
                  </a:lnTo>
                  <a:lnTo>
                    <a:pt x="367" y="380"/>
                  </a:lnTo>
                  <a:lnTo>
                    <a:pt x="367" y="381"/>
                  </a:lnTo>
                  <a:lnTo>
                    <a:pt x="367" y="381"/>
                  </a:lnTo>
                  <a:lnTo>
                    <a:pt x="369" y="383"/>
                  </a:lnTo>
                  <a:lnTo>
                    <a:pt x="369" y="383"/>
                  </a:lnTo>
                  <a:close/>
                  <a:moveTo>
                    <a:pt x="39" y="351"/>
                  </a:moveTo>
                  <a:lnTo>
                    <a:pt x="39" y="351"/>
                  </a:lnTo>
                  <a:lnTo>
                    <a:pt x="37" y="348"/>
                  </a:lnTo>
                  <a:lnTo>
                    <a:pt x="37" y="348"/>
                  </a:lnTo>
                  <a:lnTo>
                    <a:pt x="35" y="348"/>
                  </a:lnTo>
                  <a:lnTo>
                    <a:pt x="35" y="348"/>
                  </a:lnTo>
                  <a:lnTo>
                    <a:pt x="35" y="348"/>
                  </a:lnTo>
                  <a:lnTo>
                    <a:pt x="35" y="348"/>
                  </a:lnTo>
                  <a:lnTo>
                    <a:pt x="34" y="351"/>
                  </a:lnTo>
                  <a:lnTo>
                    <a:pt x="34" y="351"/>
                  </a:lnTo>
                  <a:lnTo>
                    <a:pt x="35" y="351"/>
                  </a:lnTo>
                  <a:lnTo>
                    <a:pt x="35" y="351"/>
                  </a:lnTo>
                  <a:lnTo>
                    <a:pt x="35" y="356"/>
                  </a:lnTo>
                  <a:lnTo>
                    <a:pt x="35" y="356"/>
                  </a:lnTo>
                  <a:lnTo>
                    <a:pt x="39" y="354"/>
                  </a:lnTo>
                  <a:lnTo>
                    <a:pt x="39" y="354"/>
                  </a:lnTo>
                  <a:lnTo>
                    <a:pt x="37" y="354"/>
                  </a:lnTo>
                  <a:lnTo>
                    <a:pt x="37" y="354"/>
                  </a:lnTo>
                  <a:lnTo>
                    <a:pt x="39" y="354"/>
                  </a:lnTo>
                  <a:lnTo>
                    <a:pt x="39" y="351"/>
                  </a:lnTo>
                  <a:lnTo>
                    <a:pt x="39" y="351"/>
                  </a:lnTo>
                  <a:lnTo>
                    <a:pt x="39" y="351"/>
                  </a:lnTo>
                  <a:close/>
                  <a:moveTo>
                    <a:pt x="669" y="219"/>
                  </a:moveTo>
                  <a:lnTo>
                    <a:pt x="669" y="219"/>
                  </a:lnTo>
                  <a:lnTo>
                    <a:pt x="669" y="223"/>
                  </a:lnTo>
                  <a:lnTo>
                    <a:pt x="669" y="223"/>
                  </a:lnTo>
                  <a:lnTo>
                    <a:pt x="672" y="226"/>
                  </a:lnTo>
                  <a:lnTo>
                    <a:pt x="672" y="226"/>
                  </a:lnTo>
                  <a:lnTo>
                    <a:pt x="672" y="226"/>
                  </a:lnTo>
                  <a:lnTo>
                    <a:pt x="672" y="226"/>
                  </a:lnTo>
                  <a:lnTo>
                    <a:pt x="675" y="226"/>
                  </a:lnTo>
                  <a:lnTo>
                    <a:pt x="675" y="226"/>
                  </a:lnTo>
                  <a:lnTo>
                    <a:pt x="677" y="223"/>
                  </a:lnTo>
                  <a:lnTo>
                    <a:pt x="677" y="223"/>
                  </a:lnTo>
                  <a:lnTo>
                    <a:pt x="675" y="223"/>
                  </a:lnTo>
                  <a:lnTo>
                    <a:pt x="675" y="223"/>
                  </a:lnTo>
                  <a:lnTo>
                    <a:pt x="672" y="219"/>
                  </a:lnTo>
                  <a:lnTo>
                    <a:pt x="669" y="219"/>
                  </a:lnTo>
                  <a:lnTo>
                    <a:pt x="669" y="219"/>
                  </a:lnTo>
                  <a:lnTo>
                    <a:pt x="669" y="219"/>
                  </a:lnTo>
                  <a:close/>
                  <a:moveTo>
                    <a:pt x="602" y="319"/>
                  </a:moveTo>
                  <a:lnTo>
                    <a:pt x="602" y="319"/>
                  </a:lnTo>
                  <a:lnTo>
                    <a:pt x="605" y="316"/>
                  </a:lnTo>
                  <a:lnTo>
                    <a:pt x="605" y="316"/>
                  </a:lnTo>
                  <a:lnTo>
                    <a:pt x="605" y="313"/>
                  </a:lnTo>
                  <a:lnTo>
                    <a:pt x="605" y="313"/>
                  </a:lnTo>
                  <a:lnTo>
                    <a:pt x="605" y="313"/>
                  </a:lnTo>
                  <a:lnTo>
                    <a:pt x="605" y="313"/>
                  </a:lnTo>
                  <a:lnTo>
                    <a:pt x="605" y="310"/>
                  </a:lnTo>
                  <a:lnTo>
                    <a:pt x="605" y="310"/>
                  </a:lnTo>
                  <a:lnTo>
                    <a:pt x="605" y="308"/>
                  </a:lnTo>
                  <a:lnTo>
                    <a:pt x="605" y="308"/>
                  </a:lnTo>
                  <a:lnTo>
                    <a:pt x="596" y="316"/>
                  </a:lnTo>
                  <a:lnTo>
                    <a:pt x="596" y="316"/>
                  </a:lnTo>
                  <a:lnTo>
                    <a:pt x="599" y="313"/>
                  </a:lnTo>
                  <a:lnTo>
                    <a:pt x="599" y="313"/>
                  </a:lnTo>
                  <a:lnTo>
                    <a:pt x="602" y="310"/>
                  </a:lnTo>
                  <a:lnTo>
                    <a:pt x="602" y="310"/>
                  </a:lnTo>
                  <a:lnTo>
                    <a:pt x="593" y="316"/>
                  </a:lnTo>
                  <a:lnTo>
                    <a:pt x="593" y="316"/>
                  </a:lnTo>
                  <a:lnTo>
                    <a:pt x="589" y="319"/>
                  </a:lnTo>
                  <a:lnTo>
                    <a:pt x="589" y="319"/>
                  </a:lnTo>
                  <a:lnTo>
                    <a:pt x="586" y="323"/>
                  </a:lnTo>
                  <a:lnTo>
                    <a:pt x="586" y="323"/>
                  </a:lnTo>
                  <a:lnTo>
                    <a:pt x="588" y="323"/>
                  </a:lnTo>
                  <a:lnTo>
                    <a:pt x="588" y="323"/>
                  </a:lnTo>
                  <a:lnTo>
                    <a:pt x="591" y="323"/>
                  </a:lnTo>
                  <a:lnTo>
                    <a:pt x="591" y="323"/>
                  </a:lnTo>
                  <a:lnTo>
                    <a:pt x="589" y="324"/>
                  </a:lnTo>
                  <a:lnTo>
                    <a:pt x="589" y="324"/>
                  </a:lnTo>
                  <a:lnTo>
                    <a:pt x="591" y="324"/>
                  </a:lnTo>
                  <a:lnTo>
                    <a:pt x="591" y="324"/>
                  </a:lnTo>
                  <a:lnTo>
                    <a:pt x="593" y="323"/>
                  </a:lnTo>
                  <a:lnTo>
                    <a:pt x="593" y="323"/>
                  </a:lnTo>
                  <a:lnTo>
                    <a:pt x="596" y="319"/>
                  </a:lnTo>
                  <a:lnTo>
                    <a:pt x="596" y="319"/>
                  </a:lnTo>
                  <a:lnTo>
                    <a:pt x="599" y="316"/>
                  </a:lnTo>
                  <a:lnTo>
                    <a:pt x="599" y="316"/>
                  </a:lnTo>
                  <a:lnTo>
                    <a:pt x="599" y="319"/>
                  </a:lnTo>
                  <a:lnTo>
                    <a:pt x="599" y="319"/>
                  </a:lnTo>
                  <a:lnTo>
                    <a:pt x="596" y="323"/>
                  </a:lnTo>
                  <a:lnTo>
                    <a:pt x="596" y="323"/>
                  </a:lnTo>
                  <a:lnTo>
                    <a:pt x="602" y="319"/>
                  </a:lnTo>
                  <a:lnTo>
                    <a:pt x="602" y="319"/>
                  </a:lnTo>
                  <a:lnTo>
                    <a:pt x="599" y="323"/>
                  </a:lnTo>
                  <a:lnTo>
                    <a:pt x="602" y="319"/>
                  </a:lnTo>
                  <a:lnTo>
                    <a:pt x="602" y="319"/>
                  </a:lnTo>
                  <a:lnTo>
                    <a:pt x="602" y="319"/>
                  </a:lnTo>
                  <a:close/>
                  <a:moveTo>
                    <a:pt x="631" y="192"/>
                  </a:moveTo>
                  <a:lnTo>
                    <a:pt x="631" y="192"/>
                  </a:lnTo>
                  <a:lnTo>
                    <a:pt x="631" y="189"/>
                  </a:lnTo>
                  <a:lnTo>
                    <a:pt x="631" y="189"/>
                  </a:lnTo>
                  <a:lnTo>
                    <a:pt x="628" y="189"/>
                  </a:lnTo>
                  <a:lnTo>
                    <a:pt x="628" y="189"/>
                  </a:lnTo>
                  <a:lnTo>
                    <a:pt x="628" y="191"/>
                  </a:lnTo>
                  <a:lnTo>
                    <a:pt x="628" y="191"/>
                  </a:lnTo>
                  <a:lnTo>
                    <a:pt x="628" y="192"/>
                  </a:lnTo>
                  <a:lnTo>
                    <a:pt x="628" y="192"/>
                  </a:lnTo>
                  <a:lnTo>
                    <a:pt x="628" y="194"/>
                  </a:lnTo>
                  <a:lnTo>
                    <a:pt x="628" y="194"/>
                  </a:lnTo>
                  <a:lnTo>
                    <a:pt x="628" y="194"/>
                  </a:lnTo>
                  <a:lnTo>
                    <a:pt x="631" y="192"/>
                  </a:lnTo>
                  <a:lnTo>
                    <a:pt x="631" y="192"/>
                  </a:lnTo>
                  <a:lnTo>
                    <a:pt x="631" y="192"/>
                  </a:lnTo>
                  <a:close/>
                  <a:moveTo>
                    <a:pt x="653" y="216"/>
                  </a:moveTo>
                  <a:lnTo>
                    <a:pt x="653" y="216"/>
                  </a:lnTo>
                  <a:lnTo>
                    <a:pt x="651" y="216"/>
                  </a:lnTo>
                  <a:lnTo>
                    <a:pt x="651" y="216"/>
                  </a:lnTo>
                  <a:lnTo>
                    <a:pt x="653" y="215"/>
                  </a:lnTo>
                  <a:lnTo>
                    <a:pt x="653" y="215"/>
                  </a:lnTo>
                  <a:lnTo>
                    <a:pt x="651" y="213"/>
                  </a:lnTo>
                  <a:lnTo>
                    <a:pt x="651" y="213"/>
                  </a:lnTo>
                  <a:lnTo>
                    <a:pt x="648" y="213"/>
                  </a:lnTo>
                  <a:lnTo>
                    <a:pt x="648" y="213"/>
                  </a:lnTo>
                  <a:lnTo>
                    <a:pt x="640" y="215"/>
                  </a:lnTo>
                  <a:lnTo>
                    <a:pt x="640" y="215"/>
                  </a:lnTo>
                  <a:lnTo>
                    <a:pt x="640" y="213"/>
                  </a:lnTo>
                  <a:lnTo>
                    <a:pt x="640" y="213"/>
                  </a:lnTo>
                  <a:lnTo>
                    <a:pt x="642" y="213"/>
                  </a:lnTo>
                  <a:lnTo>
                    <a:pt x="642" y="213"/>
                  </a:lnTo>
                  <a:lnTo>
                    <a:pt x="643" y="212"/>
                  </a:lnTo>
                  <a:lnTo>
                    <a:pt x="643" y="212"/>
                  </a:lnTo>
                  <a:lnTo>
                    <a:pt x="643" y="210"/>
                  </a:lnTo>
                  <a:lnTo>
                    <a:pt x="643" y="210"/>
                  </a:lnTo>
                  <a:lnTo>
                    <a:pt x="645" y="208"/>
                  </a:lnTo>
                  <a:lnTo>
                    <a:pt x="645" y="208"/>
                  </a:lnTo>
                  <a:lnTo>
                    <a:pt x="645" y="207"/>
                  </a:lnTo>
                  <a:lnTo>
                    <a:pt x="645" y="207"/>
                  </a:lnTo>
                  <a:lnTo>
                    <a:pt x="645" y="205"/>
                  </a:lnTo>
                  <a:lnTo>
                    <a:pt x="645" y="205"/>
                  </a:lnTo>
                  <a:lnTo>
                    <a:pt x="643" y="204"/>
                  </a:lnTo>
                  <a:lnTo>
                    <a:pt x="643" y="204"/>
                  </a:lnTo>
                  <a:lnTo>
                    <a:pt x="640" y="204"/>
                  </a:lnTo>
                  <a:lnTo>
                    <a:pt x="640" y="204"/>
                  </a:lnTo>
                  <a:lnTo>
                    <a:pt x="637" y="202"/>
                  </a:lnTo>
                  <a:lnTo>
                    <a:pt x="637" y="202"/>
                  </a:lnTo>
                  <a:lnTo>
                    <a:pt x="637" y="200"/>
                  </a:lnTo>
                  <a:lnTo>
                    <a:pt x="637" y="200"/>
                  </a:lnTo>
                  <a:lnTo>
                    <a:pt x="637" y="199"/>
                  </a:lnTo>
                  <a:lnTo>
                    <a:pt x="637" y="199"/>
                  </a:lnTo>
                  <a:lnTo>
                    <a:pt x="631" y="197"/>
                  </a:lnTo>
                  <a:lnTo>
                    <a:pt x="631" y="197"/>
                  </a:lnTo>
                  <a:lnTo>
                    <a:pt x="631" y="197"/>
                  </a:lnTo>
                  <a:lnTo>
                    <a:pt x="631" y="197"/>
                  </a:lnTo>
                  <a:lnTo>
                    <a:pt x="628" y="194"/>
                  </a:lnTo>
                  <a:lnTo>
                    <a:pt x="628" y="194"/>
                  </a:lnTo>
                  <a:lnTo>
                    <a:pt x="626" y="197"/>
                  </a:lnTo>
                  <a:lnTo>
                    <a:pt x="626" y="197"/>
                  </a:lnTo>
                  <a:lnTo>
                    <a:pt x="623" y="197"/>
                  </a:lnTo>
                  <a:lnTo>
                    <a:pt x="623" y="197"/>
                  </a:lnTo>
                  <a:lnTo>
                    <a:pt x="623" y="197"/>
                  </a:lnTo>
                  <a:lnTo>
                    <a:pt x="623" y="197"/>
                  </a:lnTo>
                  <a:lnTo>
                    <a:pt x="623" y="194"/>
                  </a:lnTo>
                  <a:lnTo>
                    <a:pt x="623" y="194"/>
                  </a:lnTo>
                  <a:lnTo>
                    <a:pt x="624" y="194"/>
                  </a:lnTo>
                  <a:lnTo>
                    <a:pt x="624" y="194"/>
                  </a:lnTo>
                  <a:lnTo>
                    <a:pt x="626" y="192"/>
                  </a:lnTo>
                  <a:lnTo>
                    <a:pt x="626" y="192"/>
                  </a:lnTo>
                  <a:lnTo>
                    <a:pt x="623" y="192"/>
                  </a:lnTo>
                  <a:lnTo>
                    <a:pt x="623" y="192"/>
                  </a:lnTo>
                  <a:lnTo>
                    <a:pt x="624" y="191"/>
                  </a:lnTo>
                  <a:lnTo>
                    <a:pt x="624" y="191"/>
                  </a:lnTo>
                  <a:lnTo>
                    <a:pt x="623" y="191"/>
                  </a:lnTo>
                  <a:lnTo>
                    <a:pt x="623" y="191"/>
                  </a:lnTo>
                  <a:lnTo>
                    <a:pt x="620" y="191"/>
                  </a:lnTo>
                  <a:lnTo>
                    <a:pt x="620" y="191"/>
                  </a:lnTo>
                  <a:lnTo>
                    <a:pt x="613" y="194"/>
                  </a:lnTo>
                  <a:lnTo>
                    <a:pt x="613" y="194"/>
                  </a:lnTo>
                  <a:lnTo>
                    <a:pt x="605" y="204"/>
                  </a:lnTo>
                  <a:lnTo>
                    <a:pt x="605" y="204"/>
                  </a:lnTo>
                  <a:lnTo>
                    <a:pt x="599" y="208"/>
                  </a:lnTo>
                  <a:lnTo>
                    <a:pt x="599" y="208"/>
                  </a:lnTo>
                  <a:lnTo>
                    <a:pt x="599" y="212"/>
                  </a:lnTo>
                  <a:lnTo>
                    <a:pt x="599" y="212"/>
                  </a:lnTo>
                  <a:lnTo>
                    <a:pt x="599" y="213"/>
                  </a:lnTo>
                  <a:lnTo>
                    <a:pt x="599" y="213"/>
                  </a:lnTo>
                  <a:lnTo>
                    <a:pt x="599" y="213"/>
                  </a:lnTo>
                  <a:lnTo>
                    <a:pt x="599" y="213"/>
                  </a:lnTo>
                  <a:lnTo>
                    <a:pt x="591" y="215"/>
                  </a:lnTo>
                  <a:lnTo>
                    <a:pt x="591" y="215"/>
                  </a:lnTo>
                  <a:lnTo>
                    <a:pt x="588" y="216"/>
                  </a:lnTo>
                  <a:lnTo>
                    <a:pt x="588" y="216"/>
                  </a:lnTo>
                  <a:lnTo>
                    <a:pt x="585" y="219"/>
                  </a:lnTo>
                  <a:lnTo>
                    <a:pt x="585" y="219"/>
                  </a:lnTo>
                  <a:lnTo>
                    <a:pt x="586" y="219"/>
                  </a:lnTo>
                  <a:lnTo>
                    <a:pt x="586" y="219"/>
                  </a:lnTo>
                  <a:lnTo>
                    <a:pt x="588" y="219"/>
                  </a:lnTo>
                  <a:lnTo>
                    <a:pt x="588" y="219"/>
                  </a:lnTo>
                  <a:lnTo>
                    <a:pt x="591" y="219"/>
                  </a:lnTo>
                  <a:lnTo>
                    <a:pt x="591" y="219"/>
                  </a:lnTo>
                  <a:lnTo>
                    <a:pt x="596" y="218"/>
                  </a:lnTo>
                  <a:lnTo>
                    <a:pt x="596" y="218"/>
                  </a:lnTo>
                  <a:lnTo>
                    <a:pt x="602" y="218"/>
                  </a:lnTo>
                  <a:lnTo>
                    <a:pt x="602" y="218"/>
                  </a:lnTo>
                  <a:lnTo>
                    <a:pt x="599" y="219"/>
                  </a:lnTo>
                  <a:lnTo>
                    <a:pt x="599" y="219"/>
                  </a:lnTo>
                  <a:lnTo>
                    <a:pt x="599" y="219"/>
                  </a:lnTo>
                  <a:lnTo>
                    <a:pt x="599" y="219"/>
                  </a:lnTo>
                  <a:lnTo>
                    <a:pt x="596" y="223"/>
                  </a:lnTo>
                  <a:lnTo>
                    <a:pt x="596" y="223"/>
                  </a:lnTo>
                  <a:lnTo>
                    <a:pt x="596" y="226"/>
                  </a:lnTo>
                  <a:lnTo>
                    <a:pt x="596" y="226"/>
                  </a:lnTo>
                  <a:lnTo>
                    <a:pt x="599" y="226"/>
                  </a:lnTo>
                  <a:lnTo>
                    <a:pt x="599" y="226"/>
                  </a:lnTo>
                  <a:lnTo>
                    <a:pt x="602" y="226"/>
                  </a:lnTo>
                  <a:lnTo>
                    <a:pt x="602" y="226"/>
                  </a:lnTo>
                  <a:lnTo>
                    <a:pt x="607" y="223"/>
                  </a:lnTo>
                  <a:lnTo>
                    <a:pt x="607" y="223"/>
                  </a:lnTo>
                  <a:lnTo>
                    <a:pt x="613" y="219"/>
                  </a:lnTo>
                  <a:lnTo>
                    <a:pt x="613" y="219"/>
                  </a:lnTo>
                  <a:lnTo>
                    <a:pt x="620" y="218"/>
                  </a:lnTo>
                  <a:lnTo>
                    <a:pt x="620" y="218"/>
                  </a:lnTo>
                  <a:lnTo>
                    <a:pt x="623" y="215"/>
                  </a:lnTo>
                  <a:lnTo>
                    <a:pt x="623" y="215"/>
                  </a:lnTo>
                  <a:lnTo>
                    <a:pt x="624" y="213"/>
                  </a:lnTo>
                  <a:lnTo>
                    <a:pt x="624" y="213"/>
                  </a:lnTo>
                  <a:lnTo>
                    <a:pt x="631" y="212"/>
                  </a:lnTo>
                  <a:lnTo>
                    <a:pt x="631" y="212"/>
                  </a:lnTo>
                  <a:lnTo>
                    <a:pt x="631" y="213"/>
                  </a:lnTo>
                  <a:lnTo>
                    <a:pt x="631" y="213"/>
                  </a:lnTo>
                  <a:lnTo>
                    <a:pt x="628" y="213"/>
                  </a:lnTo>
                  <a:lnTo>
                    <a:pt x="628" y="213"/>
                  </a:lnTo>
                  <a:lnTo>
                    <a:pt x="631" y="215"/>
                  </a:lnTo>
                  <a:lnTo>
                    <a:pt x="631" y="215"/>
                  </a:lnTo>
                  <a:lnTo>
                    <a:pt x="634" y="215"/>
                  </a:lnTo>
                  <a:lnTo>
                    <a:pt x="634" y="215"/>
                  </a:lnTo>
                  <a:lnTo>
                    <a:pt x="634" y="216"/>
                  </a:lnTo>
                  <a:lnTo>
                    <a:pt x="634" y="216"/>
                  </a:lnTo>
                  <a:lnTo>
                    <a:pt x="634" y="216"/>
                  </a:lnTo>
                  <a:lnTo>
                    <a:pt x="634" y="216"/>
                  </a:lnTo>
                  <a:lnTo>
                    <a:pt x="631" y="218"/>
                  </a:lnTo>
                  <a:lnTo>
                    <a:pt x="631" y="218"/>
                  </a:lnTo>
                  <a:lnTo>
                    <a:pt x="634" y="218"/>
                  </a:lnTo>
                  <a:lnTo>
                    <a:pt x="634" y="218"/>
                  </a:lnTo>
                  <a:lnTo>
                    <a:pt x="639" y="219"/>
                  </a:lnTo>
                  <a:lnTo>
                    <a:pt x="639" y="219"/>
                  </a:lnTo>
                  <a:lnTo>
                    <a:pt x="643" y="219"/>
                  </a:lnTo>
                  <a:lnTo>
                    <a:pt x="643" y="219"/>
                  </a:lnTo>
                  <a:lnTo>
                    <a:pt x="647" y="219"/>
                  </a:lnTo>
                  <a:lnTo>
                    <a:pt x="647" y="219"/>
                  </a:lnTo>
                  <a:lnTo>
                    <a:pt x="655" y="218"/>
                  </a:lnTo>
                  <a:lnTo>
                    <a:pt x="653" y="216"/>
                  </a:lnTo>
                  <a:lnTo>
                    <a:pt x="653" y="216"/>
                  </a:lnTo>
                  <a:lnTo>
                    <a:pt x="653" y="216"/>
                  </a:lnTo>
                  <a:close/>
                  <a:moveTo>
                    <a:pt x="739" y="232"/>
                  </a:moveTo>
                  <a:lnTo>
                    <a:pt x="739" y="232"/>
                  </a:lnTo>
                  <a:lnTo>
                    <a:pt x="740" y="232"/>
                  </a:lnTo>
                  <a:lnTo>
                    <a:pt x="740" y="232"/>
                  </a:lnTo>
                  <a:lnTo>
                    <a:pt x="742" y="231"/>
                  </a:lnTo>
                  <a:lnTo>
                    <a:pt x="742" y="231"/>
                  </a:lnTo>
                  <a:lnTo>
                    <a:pt x="742" y="229"/>
                  </a:lnTo>
                  <a:lnTo>
                    <a:pt x="742" y="229"/>
                  </a:lnTo>
                  <a:lnTo>
                    <a:pt x="740" y="229"/>
                  </a:lnTo>
                  <a:lnTo>
                    <a:pt x="740" y="229"/>
                  </a:lnTo>
                  <a:lnTo>
                    <a:pt x="739" y="229"/>
                  </a:lnTo>
                  <a:lnTo>
                    <a:pt x="739" y="229"/>
                  </a:lnTo>
                  <a:lnTo>
                    <a:pt x="736" y="229"/>
                  </a:lnTo>
                  <a:lnTo>
                    <a:pt x="736" y="229"/>
                  </a:lnTo>
                  <a:lnTo>
                    <a:pt x="737" y="229"/>
                  </a:lnTo>
                  <a:lnTo>
                    <a:pt x="737" y="229"/>
                  </a:lnTo>
                  <a:lnTo>
                    <a:pt x="737" y="231"/>
                  </a:lnTo>
                  <a:lnTo>
                    <a:pt x="739" y="232"/>
                  </a:lnTo>
                  <a:lnTo>
                    <a:pt x="739" y="232"/>
                  </a:lnTo>
                  <a:lnTo>
                    <a:pt x="739" y="232"/>
                  </a:lnTo>
                  <a:close/>
                  <a:moveTo>
                    <a:pt x="640" y="189"/>
                  </a:moveTo>
                  <a:lnTo>
                    <a:pt x="640" y="189"/>
                  </a:lnTo>
                  <a:lnTo>
                    <a:pt x="639" y="189"/>
                  </a:lnTo>
                  <a:lnTo>
                    <a:pt x="639" y="189"/>
                  </a:lnTo>
                  <a:lnTo>
                    <a:pt x="637" y="188"/>
                  </a:lnTo>
                  <a:lnTo>
                    <a:pt x="637" y="188"/>
                  </a:lnTo>
                  <a:lnTo>
                    <a:pt x="637" y="188"/>
                  </a:lnTo>
                  <a:lnTo>
                    <a:pt x="637" y="188"/>
                  </a:lnTo>
                  <a:lnTo>
                    <a:pt x="634" y="189"/>
                  </a:lnTo>
                  <a:lnTo>
                    <a:pt x="634" y="189"/>
                  </a:lnTo>
                  <a:lnTo>
                    <a:pt x="637" y="189"/>
                  </a:lnTo>
                  <a:lnTo>
                    <a:pt x="637" y="189"/>
                  </a:lnTo>
                  <a:lnTo>
                    <a:pt x="637" y="191"/>
                  </a:lnTo>
                  <a:lnTo>
                    <a:pt x="637" y="191"/>
                  </a:lnTo>
                  <a:lnTo>
                    <a:pt x="637" y="192"/>
                  </a:lnTo>
                  <a:lnTo>
                    <a:pt x="637" y="192"/>
                  </a:lnTo>
                  <a:lnTo>
                    <a:pt x="639" y="192"/>
                  </a:lnTo>
                  <a:lnTo>
                    <a:pt x="639" y="192"/>
                  </a:lnTo>
                  <a:lnTo>
                    <a:pt x="637" y="194"/>
                  </a:lnTo>
                  <a:lnTo>
                    <a:pt x="637" y="194"/>
                  </a:lnTo>
                  <a:lnTo>
                    <a:pt x="640" y="194"/>
                  </a:lnTo>
                  <a:lnTo>
                    <a:pt x="640" y="194"/>
                  </a:lnTo>
                  <a:lnTo>
                    <a:pt x="642" y="194"/>
                  </a:lnTo>
                  <a:lnTo>
                    <a:pt x="642" y="194"/>
                  </a:lnTo>
                  <a:lnTo>
                    <a:pt x="642" y="192"/>
                  </a:lnTo>
                  <a:lnTo>
                    <a:pt x="642" y="192"/>
                  </a:lnTo>
                  <a:lnTo>
                    <a:pt x="639" y="191"/>
                  </a:lnTo>
                  <a:lnTo>
                    <a:pt x="639" y="191"/>
                  </a:lnTo>
                  <a:lnTo>
                    <a:pt x="640" y="191"/>
                  </a:lnTo>
                  <a:lnTo>
                    <a:pt x="640" y="189"/>
                  </a:lnTo>
                  <a:lnTo>
                    <a:pt x="640" y="189"/>
                  </a:lnTo>
                  <a:lnTo>
                    <a:pt x="640" y="189"/>
                  </a:lnTo>
                  <a:close/>
                  <a:moveTo>
                    <a:pt x="640" y="237"/>
                  </a:moveTo>
                  <a:lnTo>
                    <a:pt x="640" y="237"/>
                  </a:lnTo>
                  <a:lnTo>
                    <a:pt x="637" y="242"/>
                  </a:lnTo>
                  <a:lnTo>
                    <a:pt x="637" y="242"/>
                  </a:lnTo>
                  <a:lnTo>
                    <a:pt x="637" y="243"/>
                  </a:lnTo>
                  <a:lnTo>
                    <a:pt x="637" y="243"/>
                  </a:lnTo>
                  <a:lnTo>
                    <a:pt x="639" y="245"/>
                  </a:lnTo>
                  <a:lnTo>
                    <a:pt x="639" y="245"/>
                  </a:lnTo>
                  <a:lnTo>
                    <a:pt x="642" y="243"/>
                  </a:lnTo>
                  <a:lnTo>
                    <a:pt x="642" y="243"/>
                  </a:lnTo>
                  <a:lnTo>
                    <a:pt x="647" y="240"/>
                  </a:lnTo>
                  <a:lnTo>
                    <a:pt x="647" y="240"/>
                  </a:lnTo>
                  <a:lnTo>
                    <a:pt x="650" y="237"/>
                  </a:lnTo>
                  <a:lnTo>
                    <a:pt x="650" y="237"/>
                  </a:lnTo>
                  <a:lnTo>
                    <a:pt x="650" y="235"/>
                  </a:lnTo>
                  <a:lnTo>
                    <a:pt x="650" y="235"/>
                  </a:lnTo>
                  <a:lnTo>
                    <a:pt x="648" y="234"/>
                  </a:lnTo>
                  <a:lnTo>
                    <a:pt x="648" y="234"/>
                  </a:lnTo>
                  <a:lnTo>
                    <a:pt x="645" y="235"/>
                  </a:lnTo>
                  <a:lnTo>
                    <a:pt x="640" y="237"/>
                  </a:lnTo>
                  <a:lnTo>
                    <a:pt x="640" y="237"/>
                  </a:lnTo>
                  <a:lnTo>
                    <a:pt x="640" y="237"/>
                  </a:lnTo>
                  <a:close/>
                  <a:moveTo>
                    <a:pt x="675" y="51"/>
                  </a:moveTo>
                  <a:lnTo>
                    <a:pt x="675" y="51"/>
                  </a:lnTo>
                  <a:lnTo>
                    <a:pt x="669" y="51"/>
                  </a:lnTo>
                  <a:lnTo>
                    <a:pt x="669" y="51"/>
                  </a:lnTo>
                  <a:lnTo>
                    <a:pt x="666" y="51"/>
                  </a:lnTo>
                  <a:lnTo>
                    <a:pt x="666" y="51"/>
                  </a:lnTo>
                  <a:lnTo>
                    <a:pt x="663" y="53"/>
                  </a:lnTo>
                  <a:lnTo>
                    <a:pt x="663" y="53"/>
                  </a:lnTo>
                  <a:lnTo>
                    <a:pt x="666" y="54"/>
                  </a:lnTo>
                  <a:lnTo>
                    <a:pt x="666" y="54"/>
                  </a:lnTo>
                  <a:lnTo>
                    <a:pt x="669" y="54"/>
                  </a:lnTo>
                  <a:lnTo>
                    <a:pt x="669" y="54"/>
                  </a:lnTo>
                  <a:lnTo>
                    <a:pt x="675" y="54"/>
                  </a:lnTo>
                  <a:lnTo>
                    <a:pt x="675" y="54"/>
                  </a:lnTo>
                  <a:lnTo>
                    <a:pt x="683" y="54"/>
                  </a:lnTo>
                  <a:lnTo>
                    <a:pt x="683" y="54"/>
                  </a:lnTo>
                  <a:lnTo>
                    <a:pt x="686" y="54"/>
                  </a:lnTo>
                  <a:lnTo>
                    <a:pt x="686" y="54"/>
                  </a:lnTo>
                  <a:lnTo>
                    <a:pt x="689" y="51"/>
                  </a:lnTo>
                  <a:lnTo>
                    <a:pt x="689" y="51"/>
                  </a:lnTo>
                  <a:lnTo>
                    <a:pt x="688" y="51"/>
                  </a:lnTo>
                  <a:lnTo>
                    <a:pt x="688" y="51"/>
                  </a:lnTo>
                  <a:lnTo>
                    <a:pt x="685" y="51"/>
                  </a:lnTo>
                  <a:lnTo>
                    <a:pt x="675" y="51"/>
                  </a:lnTo>
                  <a:lnTo>
                    <a:pt x="675" y="51"/>
                  </a:lnTo>
                  <a:lnTo>
                    <a:pt x="675" y="51"/>
                  </a:lnTo>
                  <a:close/>
                  <a:moveTo>
                    <a:pt x="751" y="261"/>
                  </a:moveTo>
                  <a:lnTo>
                    <a:pt x="751" y="261"/>
                  </a:lnTo>
                  <a:lnTo>
                    <a:pt x="750" y="258"/>
                  </a:lnTo>
                  <a:lnTo>
                    <a:pt x="750" y="258"/>
                  </a:lnTo>
                  <a:lnTo>
                    <a:pt x="748" y="258"/>
                  </a:lnTo>
                  <a:lnTo>
                    <a:pt x="748" y="258"/>
                  </a:lnTo>
                  <a:lnTo>
                    <a:pt x="747" y="261"/>
                  </a:lnTo>
                  <a:lnTo>
                    <a:pt x="747" y="261"/>
                  </a:lnTo>
                  <a:lnTo>
                    <a:pt x="743" y="264"/>
                  </a:lnTo>
                  <a:lnTo>
                    <a:pt x="743" y="264"/>
                  </a:lnTo>
                  <a:lnTo>
                    <a:pt x="748" y="261"/>
                  </a:lnTo>
                  <a:lnTo>
                    <a:pt x="751" y="261"/>
                  </a:lnTo>
                  <a:lnTo>
                    <a:pt x="751" y="261"/>
                  </a:lnTo>
                  <a:lnTo>
                    <a:pt x="751" y="261"/>
                  </a:lnTo>
                  <a:close/>
                  <a:moveTo>
                    <a:pt x="45" y="410"/>
                  </a:moveTo>
                  <a:lnTo>
                    <a:pt x="45" y="410"/>
                  </a:lnTo>
                  <a:lnTo>
                    <a:pt x="45" y="408"/>
                  </a:lnTo>
                  <a:lnTo>
                    <a:pt x="45" y="408"/>
                  </a:lnTo>
                  <a:lnTo>
                    <a:pt x="45" y="407"/>
                  </a:lnTo>
                  <a:lnTo>
                    <a:pt x="45" y="407"/>
                  </a:lnTo>
                  <a:lnTo>
                    <a:pt x="45" y="405"/>
                  </a:lnTo>
                  <a:lnTo>
                    <a:pt x="45" y="405"/>
                  </a:lnTo>
                  <a:lnTo>
                    <a:pt x="45" y="402"/>
                  </a:lnTo>
                  <a:lnTo>
                    <a:pt x="45" y="402"/>
                  </a:lnTo>
                  <a:lnTo>
                    <a:pt x="45" y="397"/>
                  </a:lnTo>
                  <a:lnTo>
                    <a:pt x="45" y="397"/>
                  </a:lnTo>
                  <a:lnTo>
                    <a:pt x="42" y="396"/>
                  </a:lnTo>
                  <a:lnTo>
                    <a:pt x="42" y="396"/>
                  </a:lnTo>
                  <a:lnTo>
                    <a:pt x="39" y="394"/>
                  </a:lnTo>
                  <a:lnTo>
                    <a:pt x="39" y="394"/>
                  </a:lnTo>
                  <a:lnTo>
                    <a:pt x="34" y="394"/>
                  </a:lnTo>
                  <a:lnTo>
                    <a:pt x="34" y="394"/>
                  </a:lnTo>
                  <a:lnTo>
                    <a:pt x="29" y="392"/>
                  </a:lnTo>
                  <a:lnTo>
                    <a:pt x="29" y="392"/>
                  </a:lnTo>
                  <a:lnTo>
                    <a:pt x="26" y="389"/>
                  </a:lnTo>
                  <a:lnTo>
                    <a:pt x="26" y="389"/>
                  </a:lnTo>
                  <a:lnTo>
                    <a:pt x="21" y="389"/>
                  </a:lnTo>
                  <a:lnTo>
                    <a:pt x="21" y="389"/>
                  </a:lnTo>
                  <a:lnTo>
                    <a:pt x="18" y="391"/>
                  </a:lnTo>
                  <a:lnTo>
                    <a:pt x="18" y="391"/>
                  </a:lnTo>
                  <a:lnTo>
                    <a:pt x="16" y="392"/>
                  </a:lnTo>
                  <a:lnTo>
                    <a:pt x="16" y="392"/>
                  </a:lnTo>
                  <a:lnTo>
                    <a:pt x="18" y="394"/>
                  </a:lnTo>
                  <a:lnTo>
                    <a:pt x="18" y="394"/>
                  </a:lnTo>
                  <a:lnTo>
                    <a:pt x="21" y="394"/>
                  </a:lnTo>
                  <a:lnTo>
                    <a:pt x="21" y="394"/>
                  </a:lnTo>
                  <a:lnTo>
                    <a:pt x="23" y="394"/>
                  </a:lnTo>
                  <a:lnTo>
                    <a:pt x="23" y="394"/>
                  </a:lnTo>
                  <a:lnTo>
                    <a:pt x="21" y="396"/>
                  </a:lnTo>
                  <a:lnTo>
                    <a:pt x="21" y="396"/>
                  </a:lnTo>
                  <a:lnTo>
                    <a:pt x="20" y="397"/>
                  </a:lnTo>
                  <a:lnTo>
                    <a:pt x="20" y="397"/>
                  </a:lnTo>
                  <a:lnTo>
                    <a:pt x="18" y="399"/>
                  </a:lnTo>
                  <a:lnTo>
                    <a:pt x="18" y="399"/>
                  </a:lnTo>
                  <a:lnTo>
                    <a:pt x="16" y="400"/>
                  </a:lnTo>
                  <a:lnTo>
                    <a:pt x="16" y="400"/>
                  </a:lnTo>
                  <a:lnTo>
                    <a:pt x="20" y="400"/>
                  </a:lnTo>
                  <a:lnTo>
                    <a:pt x="20" y="400"/>
                  </a:lnTo>
                  <a:lnTo>
                    <a:pt x="21" y="400"/>
                  </a:lnTo>
                  <a:lnTo>
                    <a:pt x="21" y="400"/>
                  </a:lnTo>
                  <a:lnTo>
                    <a:pt x="21" y="402"/>
                  </a:lnTo>
                  <a:lnTo>
                    <a:pt x="21" y="402"/>
                  </a:lnTo>
                  <a:lnTo>
                    <a:pt x="26" y="400"/>
                  </a:lnTo>
                  <a:lnTo>
                    <a:pt x="26" y="400"/>
                  </a:lnTo>
                  <a:lnTo>
                    <a:pt x="23" y="402"/>
                  </a:lnTo>
                  <a:lnTo>
                    <a:pt x="23" y="402"/>
                  </a:lnTo>
                  <a:lnTo>
                    <a:pt x="23" y="404"/>
                  </a:lnTo>
                  <a:lnTo>
                    <a:pt x="23" y="404"/>
                  </a:lnTo>
                  <a:lnTo>
                    <a:pt x="24" y="404"/>
                  </a:lnTo>
                  <a:lnTo>
                    <a:pt x="24" y="404"/>
                  </a:lnTo>
                  <a:lnTo>
                    <a:pt x="26" y="402"/>
                  </a:lnTo>
                  <a:lnTo>
                    <a:pt x="26" y="402"/>
                  </a:lnTo>
                  <a:lnTo>
                    <a:pt x="26" y="404"/>
                  </a:lnTo>
                  <a:lnTo>
                    <a:pt x="26" y="404"/>
                  </a:lnTo>
                  <a:lnTo>
                    <a:pt x="27" y="404"/>
                  </a:lnTo>
                  <a:lnTo>
                    <a:pt x="27" y="404"/>
                  </a:lnTo>
                  <a:lnTo>
                    <a:pt x="27" y="407"/>
                  </a:lnTo>
                  <a:lnTo>
                    <a:pt x="27" y="407"/>
                  </a:lnTo>
                  <a:lnTo>
                    <a:pt x="32" y="407"/>
                  </a:lnTo>
                  <a:lnTo>
                    <a:pt x="32" y="407"/>
                  </a:lnTo>
                  <a:lnTo>
                    <a:pt x="27" y="408"/>
                  </a:lnTo>
                  <a:lnTo>
                    <a:pt x="27" y="408"/>
                  </a:lnTo>
                  <a:lnTo>
                    <a:pt x="26" y="408"/>
                  </a:lnTo>
                  <a:lnTo>
                    <a:pt x="26" y="408"/>
                  </a:lnTo>
                  <a:lnTo>
                    <a:pt x="24" y="410"/>
                  </a:lnTo>
                  <a:lnTo>
                    <a:pt x="24" y="410"/>
                  </a:lnTo>
                  <a:lnTo>
                    <a:pt x="31" y="410"/>
                  </a:lnTo>
                  <a:lnTo>
                    <a:pt x="31" y="410"/>
                  </a:lnTo>
                  <a:lnTo>
                    <a:pt x="29" y="412"/>
                  </a:lnTo>
                  <a:lnTo>
                    <a:pt x="29" y="412"/>
                  </a:lnTo>
                  <a:lnTo>
                    <a:pt x="32" y="412"/>
                  </a:lnTo>
                  <a:lnTo>
                    <a:pt x="32" y="412"/>
                  </a:lnTo>
                  <a:lnTo>
                    <a:pt x="32" y="413"/>
                  </a:lnTo>
                  <a:lnTo>
                    <a:pt x="32" y="413"/>
                  </a:lnTo>
                  <a:lnTo>
                    <a:pt x="34" y="413"/>
                  </a:lnTo>
                  <a:lnTo>
                    <a:pt x="34" y="413"/>
                  </a:lnTo>
                  <a:lnTo>
                    <a:pt x="31" y="415"/>
                  </a:lnTo>
                  <a:lnTo>
                    <a:pt x="31" y="415"/>
                  </a:lnTo>
                  <a:lnTo>
                    <a:pt x="29" y="415"/>
                  </a:lnTo>
                  <a:lnTo>
                    <a:pt x="29" y="415"/>
                  </a:lnTo>
                  <a:lnTo>
                    <a:pt x="32" y="415"/>
                  </a:lnTo>
                  <a:lnTo>
                    <a:pt x="32" y="415"/>
                  </a:lnTo>
                  <a:lnTo>
                    <a:pt x="34" y="415"/>
                  </a:lnTo>
                  <a:lnTo>
                    <a:pt x="34" y="415"/>
                  </a:lnTo>
                  <a:lnTo>
                    <a:pt x="35" y="415"/>
                  </a:lnTo>
                  <a:lnTo>
                    <a:pt x="35" y="415"/>
                  </a:lnTo>
                  <a:lnTo>
                    <a:pt x="39" y="415"/>
                  </a:lnTo>
                  <a:lnTo>
                    <a:pt x="39" y="415"/>
                  </a:lnTo>
                  <a:lnTo>
                    <a:pt x="39" y="415"/>
                  </a:lnTo>
                  <a:lnTo>
                    <a:pt x="39" y="415"/>
                  </a:lnTo>
                  <a:lnTo>
                    <a:pt x="42" y="413"/>
                  </a:lnTo>
                  <a:lnTo>
                    <a:pt x="42" y="413"/>
                  </a:lnTo>
                  <a:lnTo>
                    <a:pt x="42" y="415"/>
                  </a:lnTo>
                  <a:lnTo>
                    <a:pt x="42" y="415"/>
                  </a:lnTo>
                  <a:lnTo>
                    <a:pt x="39" y="415"/>
                  </a:lnTo>
                  <a:lnTo>
                    <a:pt x="39" y="415"/>
                  </a:lnTo>
                  <a:lnTo>
                    <a:pt x="35" y="418"/>
                  </a:lnTo>
                  <a:lnTo>
                    <a:pt x="35" y="418"/>
                  </a:lnTo>
                  <a:lnTo>
                    <a:pt x="34" y="418"/>
                  </a:lnTo>
                  <a:lnTo>
                    <a:pt x="34" y="418"/>
                  </a:lnTo>
                  <a:lnTo>
                    <a:pt x="35" y="419"/>
                  </a:lnTo>
                  <a:lnTo>
                    <a:pt x="35" y="419"/>
                  </a:lnTo>
                  <a:lnTo>
                    <a:pt x="37" y="421"/>
                  </a:lnTo>
                  <a:lnTo>
                    <a:pt x="37" y="421"/>
                  </a:lnTo>
                  <a:lnTo>
                    <a:pt x="39" y="421"/>
                  </a:lnTo>
                  <a:lnTo>
                    <a:pt x="39" y="421"/>
                  </a:lnTo>
                  <a:lnTo>
                    <a:pt x="42" y="423"/>
                  </a:lnTo>
                  <a:lnTo>
                    <a:pt x="42" y="423"/>
                  </a:lnTo>
                  <a:lnTo>
                    <a:pt x="45" y="424"/>
                  </a:lnTo>
                  <a:lnTo>
                    <a:pt x="45" y="424"/>
                  </a:lnTo>
                  <a:lnTo>
                    <a:pt x="48" y="424"/>
                  </a:lnTo>
                  <a:lnTo>
                    <a:pt x="48" y="424"/>
                  </a:lnTo>
                  <a:lnTo>
                    <a:pt x="50" y="424"/>
                  </a:lnTo>
                  <a:lnTo>
                    <a:pt x="50" y="424"/>
                  </a:lnTo>
                  <a:lnTo>
                    <a:pt x="51" y="423"/>
                  </a:lnTo>
                  <a:lnTo>
                    <a:pt x="51" y="423"/>
                  </a:lnTo>
                  <a:lnTo>
                    <a:pt x="51" y="419"/>
                  </a:lnTo>
                  <a:lnTo>
                    <a:pt x="51" y="419"/>
                  </a:lnTo>
                  <a:lnTo>
                    <a:pt x="50" y="421"/>
                  </a:lnTo>
                  <a:lnTo>
                    <a:pt x="50" y="421"/>
                  </a:lnTo>
                  <a:lnTo>
                    <a:pt x="51" y="418"/>
                  </a:lnTo>
                  <a:lnTo>
                    <a:pt x="51" y="418"/>
                  </a:lnTo>
                  <a:lnTo>
                    <a:pt x="51" y="418"/>
                  </a:lnTo>
                  <a:lnTo>
                    <a:pt x="51" y="418"/>
                  </a:lnTo>
                  <a:lnTo>
                    <a:pt x="50" y="415"/>
                  </a:lnTo>
                  <a:lnTo>
                    <a:pt x="50" y="415"/>
                  </a:lnTo>
                  <a:lnTo>
                    <a:pt x="51" y="415"/>
                  </a:lnTo>
                  <a:lnTo>
                    <a:pt x="51" y="415"/>
                  </a:lnTo>
                  <a:lnTo>
                    <a:pt x="51" y="415"/>
                  </a:lnTo>
                  <a:lnTo>
                    <a:pt x="51" y="415"/>
                  </a:lnTo>
                  <a:lnTo>
                    <a:pt x="48" y="412"/>
                  </a:lnTo>
                  <a:lnTo>
                    <a:pt x="45" y="410"/>
                  </a:lnTo>
                  <a:lnTo>
                    <a:pt x="45" y="410"/>
                  </a:lnTo>
                  <a:lnTo>
                    <a:pt x="45" y="41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4" name="Freeform 373">
              <a:extLst>
                <a:ext uri="{FF2B5EF4-FFF2-40B4-BE49-F238E27FC236}">
                  <a16:creationId xmlns:a16="http://schemas.microsoft.com/office/drawing/2014/main" id="{F830627F-E209-8856-375D-B6E1FC7D47A5}"/>
                </a:ext>
              </a:extLst>
            </p:cNvPr>
            <p:cNvSpPr>
              <a:spLocks noEditPoints="1"/>
            </p:cNvSpPr>
            <p:nvPr/>
          </p:nvSpPr>
          <p:spPr bwMode="auto">
            <a:xfrm>
              <a:off x="2521205" y="2434772"/>
              <a:ext cx="1567907" cy="780589"/>
            </a:xfrm>
            <a:custGeom>
              <a:avLst/>
              <a:gdLst>
                <a:gd name="T0" fmla="*/ 634 w 699"/>
                <a:gd name="T1" fmla="*/ 116 h 348"/>
                <a:gd name="T2" fmla="*/ 675 w 699"/>
                <a:gd name="T3" fmla="*/ 73 h 348"/>
                <a:gd name="T4" fmla="*/ 680 w 699"/>
                <a:gd name="T5" fmla="*/ 73 h 348"/>
                <a:gd name="T6" fmla="*/ 88 w 699"/>
                <a:gd name="T7" fmla="*/ 31 h 348"/>
                <a:gd name="T8" fmla="*/ 596 w 699"/>
                <a:gd name="T9" fmla="*/ 127 h 348"/>
                <a:gd name="T10" fmla="*/ 596 w 699"/>
                <a:gd name="T11" fmla="*/ 127 h 348"/>
                <a:gd name="T12" fmla="*/ 591 w 699"/>
                <a:gd name="T13" fmla="*/ 135 h 348"/>
                <a:gd name="T14" fmla="*/ 686 w 699"/>
                <a:gd name="T15" fmla="*/ 29 h 348"/>
                <a:gd name="T16" fmla="*/ 586 w 699"/>
                <a:gd name="T17" fmla="*/ 77 h 348"/>
                <a:gd name="T18" fmla="*/ 540 w 699"/>
                <a:gd name="T19" fmla="*/ 100 h 348"/>
                <a:gd name="T20" fmla="*/ 504 w 699"/>
                <a:gd name="T21" fmla="*/ 97 h 348"/>
                <a:gd name="T22" fmla="*/ 510 w 699"/>
                <a:gd name="T23" fmla="*/ 69 h 348"/>
                <a:gd name="T24" fmla="*/ 480 w 699"/>
                <a:gd name="T25" fmla="*/ 65 h 348"/>
                <a:gd name="T26" fmla="*/ 445 w 699"/>
                <a:gd name="T27" fmla="*/ 97 h 348"/>
                <a:gd name="T28" fmla="*/ 477 w 699"/>
                <a:gd name="T29" fmla="*/ 53 h 348"/>
                <a:gd name="T30" fmla="*/ 508 w 699"/>
                <a:gd name="T31" fmla="*/ 42 h 348"/>
                <a:gd name="T32" fmla="*/ 451 w 699"/>
                <a:gd name="T33" fmla="*/ 37 h 348"/>
                <a:gd name="T34" fmla="*/ 454 w 699"/>
                <a:gd name="T35" fmla="*/ 19 h 348"/>
                <a:gd name="T36" fmla="*/ 416 w 699"/>
                <a:gd name="T37" fmla="*/ 13 h 348"/>
                <a:gd name="T38" fmla="*/ 94 w 699"/>
                <a:gd name="T39" fmla="*/ 24 h 348"/>
                <a:gd name="T40" fmla="*/ 88 w 699"/>
                <a:gd name="T41" fmla="*/ 24 h 348"/>
                <a:gd name="T42" fmla="*/ 64 w 699"/>
                <a:gd name="T43" fmla="*/ 42 h 348"/>
                <a:gd name="T44" fmla="*/ 27 w 699"/>
                <a:gd name="T45" fmla="*/ 91 h 348"/>
                <a:gd name="T46" fmla="*/ 2 w 699"/>
                <a:gd name="T47" fmla="*/ 153 h 348"/>
                <a:gd name="T48" fmla="*/ 4 w 699"/>
                <a:gd name="T49" fmla="*/ 177 h 348"/>
                <a:gd name="T50" fmla="*/ 15 w 699"/>
                <a:gd name="T51" fmla="*/ 215 h 348"/>
                <a:gd name="T52" fmla="*/ 37 w 699"/>
                <a:gd name="T53" fmla="*/ 243 h 348"/>
                <a:gd name="T54" fmla="*/ 185 w 699"/>
                <a:gd name="T55" fmla="*/ 291 h 348"/>
                <a:gd name="T56" fmla="*/ 231 w 699"/>
                <a:gd name="T57" fmla="*/ 329 h 348"/>
                <a:gd name="T58" fmla="*/ 251 w 699"/>
                <a:gd name="T59" fmla="*/ 316 h 348"/>
                <a:gd name="T60" fmla="*/ 269 w 699"/>
                <a:gd name="T61" fmla="*/ 302 h 348"/>
                <a:gd name="T62" fmla="*/ 312 w 699"/>
                <a:gd name="T63" fmla="*/ 281 h 348"/>
                <a:gd name="T64" fmla="*/ 348 w 699"/>
                <a:gd name="T65" fmla="*/ 289 h 348"/>
                <a:gd name="T66" fmla="*/ 358 w 699"/>
                <a:gd name="T67" fmla="*/ 285 h 348"/>
                <a:gd name="T68" fmla="*/ 381 w 699"/>
                <a:gd name="T69" fmla="*/ 269 h 348"/>
                <a:gd name="T70" fmla="*/ 410 w 699"/>
                <a:gd name="T71" fmla="*/ 275 h 348"/>
                <a:gd name="T72" fmla="*/ 439 w 699"/>
                <a:gd name="T73" fmla="*/ 292 h 348"/>
                <a:gd name="T74" fmla="*/ 439 w 699"/>
                <a:gd name="T75" fmla="*/ 324 h 348"/>
                <a:gd name="T76" fmla="*/ 451 w 699"/>
                <a:gd name="T77" fmla="*/ 348 h 348"/>
                <a:gd name="T78" fmla="*/ 461 w 699"/>
                <a:gd name="T79" fmla="*/ 288 h 348"/>
                <a:gd name="T80" fmla="*/ 477 w 699"/>
                <a:gd name="T81" fmla="*/ 246 h 348"/>
                <a:gd name="T82" fmla="*/ 504 w 699"/>
                <a:gd name="T83" fmla="*/ 226 h 348"/>
                <a:gd name="T84" fmla="*/ 535 w 699"/>
                <a:gd name="T85" fmla="*/ 205 h 348"/>
                <a:gd name="T86" fmla="*/ 543 w 699"/>
                <a:gd name="T87" fmla="*/ 194 h 348"/>
                <a:gd name="T88" fmla="*/ 553 w 699"/>
                <a:gd name="T89" fmla="*/ 180 h 348"/>
                <a:gd name="T90" fmla="*/ 553 w 699"/>
                <a:gd name="T91" fmla="*/ 167 h 348"/>
                <a:gd name="T92" fmla="*/ 554 w 699"/>
                <a:gd name="T93" fmla="*/ 153 h 348"/>
                <a:gd name="T94" fmla="*/ 558 w 699"/>
                <a:gd name="T95" fmla="*/ 151 h 348"/>
                <a:gd name="T96" fmla="*/ 554 w 699"/>
                <a:gd name="T97" fmla="*/ 172 h 348"/>
                <a:gd name="T98" fmla="*/ 575 w 699"/>
                <a:gd name="T99" fmla="*/ 146 h 348"/>
                <a:gd name="T100" fmla="*/ 615 w 699"/>
                <a:gd name="T101" fmla="*/ 116 h 348"/>
                <a:gd name="T102" fmla="*/ 642 w 699"/>
                <a:gd name="T103" fmla="*/ 110 h 348"/>
                <a:gd name="T104" fmla="*/ 661 w 699"/>
                <a:gd name="T105" fmla="*/ 78 h 348"/>
                <a:gd name="T106" fmla="*/ 689 w 699"/>
                <a:gd name="T107" fmla="*/ 69 h 348"/>
                <a:gd name="T108" fmla="*/ 696 w 699"/>
                <a:gd name="T109" fmla="*/ 46 h 348"/>
                <a:gd name="T110" fmla="*/ 466 w 699"/>
                <a:gd name="T111" fmla="*/ 65 h 348"/>
                <a:gd name="T112" fmla="*/ 467 w 699"/>
                <a:gd name="T113" fmla="*/ 34 h 348"/>
                <a:gd name="T114" fmla="*/ 96 w 699"/>
                <a:gd name="T115" fmla="*/ 13 h 348"/>
                <a:gd name="T116" fmla="*/ 470 w 699"/>
                <a:gd name="T117" fmla="*/ 21 h 348"/>
                <a:gd name="T118" fmla="*/ 364 w 699"/>
                <a:gd name="T119" fmla="*/ 278 h 348"/>
                <a:gd name="T120" fmla="*/ 551 w 699"/>
                <a:gd name="T121" fmla="*/ 20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9" h="348">
                  <a:moveTo>
                    <a:pt x="629" y="115"/>
                  </a:moveTo>
                  <a:lnTo>
                    <a:pt x="631" y="111"/>
                  </a:lnTo>
                  <a:lnTo>
                    <a:pt x="629" y="113"/>
                  </a:lnTo>
                  <a:lnTo>
                    <a:pt x="629" y="115"/>
                  </a:lnTo>
                  <a:lnTo>
                    <a:pt x="629" y="115"/>
                  </a:lnTo>
                  <a:lnTo>
                    <a:pt x="629" y="115"/>
                  </a:lnTo>
                  <a:lnTo>
                    <a:pt x="629" y="115"/>
                  </a:lnTo>
                  <a:lnTo>
                    <a:pt x="629" y="115"/>
                  </a:lnTo>
                  <a:lnTo>
                    <a:pt x="629" y="115"/>
                  </a:lnTo>
                  <a:lnTo>
                    <a:pt x="629" y="115"/>
                  </a:lnTo>
                  <a:lnTo>
                    <a:pt x="629" y="115"/>
                  </a:lnTo>
                  <a:lnTo>
                    <a:pt x="629" y="115"/>
                  </a:lnTo>
                  <a:close/>
                  <a:moveTo>
                    <a:pt x="634" y="116"/>
                  </a:moveTo>
                  <a:lnTo>
                    <a:pt x="637" y="116"/>
                  </a:lnTo>
                  <a:lnTo>
                    <a:pt x="637" y="115"/>
                  </a:lnTo>
                  <a:lnTo>
                    <a:pt x="635" y="115"/>
                  </a:lnTo>
                  <a:lnTo>
                    <a:pt x="634" y="116"/>
                  </a:lnTo>
                  <a:lnTo>
                    <a:pt x="634" y="116"/>
                  </a:lnTo>
                  <a:lnTo>
                    <a:pt x="634" y="116"/>
                  </a:lnTo>
                  <a:lnTo>
                    <a:pt x="634" y="116"/>
                  </a:lnTo>
                  <a:lnTo>
                    <a:pt x="634" y="116"/>
                  </a:lnTo>
                  <a:lnTo>
                    <a:pt x="634" y="116"/>
                  </a:lnTo>
                  <a:lnTo>
                    <a:pt x="634" y="116"/>
                  </a:lnTo>
                  <a:lnTo>
                    <a:pt x="634" y="116"/>
                  </a:lnTo>
                  <a:lnTo>
                    <a:pt x="634" y="116"/>
                  </a:lnTo>
                  <a:close/>
                  <a:moveTo>
                    <a:pt x="640" y="116"/>
                  </a:moveTo>
                  <a:lnTo>
                    <a:pt x="643" y="118"/>
                  </a:lnTo>
                  <a:lnTo>
                    <a:pt x="643" y="115"/>
                  </a:lnTo>
                  <a:lnTo>
                    <a:pt x="642" y="116"/>
                  </a:lnTo>
                  <a:lnTo>
                    <a:pt x="640" y="116"/>
                  </a:lnTo>
                  <a:lnTo>
                    <a:pt x="640" y="116"/>
                  </a:lnTo>
                  <a:lnTo>
                    <a:pt x="640" y="116"/>
                  </a:lnTo>
                  <a:lnTo>
                    <a:pt x="640" y="116"/>
                  </a:lnTo>
                  <a:lnTo>
                    <a:pt x="640" y="116"/>
                  </a:lnTo>
                  <a:lnTo>
                    <a:pt x="640" y="116"/>
                  </a:lnTo>
                  <a:lnTo>
                    <a:pt x="640" y="116"/>
                  </a:lnTo>
                  <a:lnTo>
                    <a:pt x="640" y="116"/>
                  </a:lnTo>
                  <a:lnTo>
                    <a:pt x="640" y="116"/>
                  </a:lnTo>
                  <a:close/>
                  <a:moveTo>
                    <a:pt x="675" y="75"/>
                  </a:moveTo>
                  <a:lnTo>
                    <a:pt x="675" y="73"/>
                  </a:lnTo>
                  <a:lnTo>
                    <a:pt x="674" y="75"/>
                  </a:lnTo>
                  <a:lnTo>
                    <a:pt x="675" y="75"/>
                  </a:lnTo>
                  <a:lnTo>
                    <a:pt x="675" y="75"/>
                  </a:lnTo>
                  <a:lnTo>
                    <a:pt x="675" y="75"/>
                  </a:lnTo>
                  <a:lnTo>
                    <a:pt x="675" y="75"/>
                  </a:lnTo>
                  <a:lnTo>
                    <a:pt x="675" y="75"/>
                  </a:lnTo>
                  <a:lnTo>
                    <a:pt x="675" y="75"/>
                  </a:lnTo>
                  <a:lnTo>
                    <a:pt x="675" y="75"/>
                  </a:lnTo>
                  <a:lnTo>
                    <a:pt x="675" y="75"/>
                  </a:lnTo>
                  <a:lnTo>
                    <a:pt x="675" y="75"/>
                  </a:lnTo>
                  <a:close/>
                  <a:moveTo>
                    <a:pt x="680" y="73"/>
                  </a:moveTo>
                  <a:lnTo>
                    <a:pt x="680" y="72"/>
                  </a:lnTo>
                  <a:lnTo>
                    <a:pt x="678" y="72"/>
                  </a:lnTo>
                  <a:lnTo>
                    <a:pt x="678" y="75"/>
                  </a:lnTo>
                  <a:lnTo>
                    <a:pt x="680" y="73"/>
                  </a:lnTo>
                  <a:lnTo>
                    <a:pt x="680" y="73"/>
                  </a:lnTo>
                  <a:lnTo>
                    <a:pt x="680" y="73"/>
                  </a:lnTo>
                  <a:lnTo>
                    <a:pt x="680" y="73"/>
                  </a:lnTo>
                  <a:lnTo>
                    <a:pt x="680" y="73"/>
                  </a:lnTo>
                  <a:lnTo>
                    <a:pt x="680" y="73"/>
                  </a:lnTo>
                  <a:lnTo>
                    <a:pt x="680" y="73"/>
                  </a:lnTo>
                  <a:lnTo>
                    <a:pt x="680" y="73"/>
                  </a:lnTo>
                  <a:lnTo>
                    <a:pt x="680" y="73"/>
                  </a:lnTo>
                  <a:close/>
                  <a:moveTo>
                    <a:pt x="647" y="107"/>
                  </a:moveTo>
                  <a:lnTo>
                    <a:pt x="647" y="107"/>
                  </a:lnTo>
                  <a:lnTo>
                    <a:pt x="645" y="107"/>
                  </a:lnTo>
                  <a:lnTo>
                    <a:pt x="647" y="107"/>
                  </a:lnTo>
                  <a:lnTo>
                    <a:pt x="647" y="107"/>
                  </a:lnTo>
                  <a:lnTo>
                    <a:pt x="647" y="107"/>
                  </a:lnTo>
                  <a:lnTo>
                    <a:pt x="647" y="107"/>
                  </a:lnTo>
                  <a:lnTo>
                    <a:pt x="647" y="107"/>
                  </a:lnTo>
                  <a:lnTo>
                    <a:pt x="647" y="107"/>
                  </a:lnTo>
                  <a:lnTo>
                    <a:pt x="647" y="107"/>
                  </a:lnTo>
                  <a:lnTo>
                    <a:pt x="647" y="107"/>
                  </a:lnTo>
                  <a:lnTo>
                    <a:pt x="647" y="107"/>
                  </a:lnTo>
                  <a:close/>
                  <a:moveTo>
                    <a:pt x="88" y="31"/>
                  </a:moveTo>
                  <a:lnTo>
                    <a:pt x="89" y="31"/>
                  </a:lnTo>
                  <a:lnTo>
                    <a:pt x="89" y="29"/>
                  </a:lnTo>
                  <a:lnTo>
                    <a:pt x="88" y="31"/>
                  </a:lnTo>
                  <a:lnTo>
                    <a:pt x="88" y="31"/>
                  </a:lnTo>
                  <a:lnTo>
                    <a:pt x="88" y="31"/>
                  </a:lnTo>
                  <a:lnTo>
                    <a:pt x="88" y="31"/>
                  </a:lnTo>
                  <a:lnTo>
                    <a:pt x="88" y="31"/>
                  </a:lnTo>
                  <a:lnTo>
                    <a:pt x="88" y="31"/>
                  </a:lnTo>
                  <a:lnTo>
                    <a:pt x="88" y="31"/>
                  </a:lnTo>
                  <a:lnTo>
                    <a:pt x="88" y="31"/>
                  </a:lnTo>
                  <a:lnTo>
                    <a:pt x="88" y="31"/>
                  </a:lnTo>
                  <a:close/>
                  <a:moveTo>
                    <a:pt x="96" y="19"/>
                  </a:moveTo>
                  <a:lnTo>
                    <a:pt x="97" y="18"/>
                  </a:lnTo>
                  <a:lnTo>
                    <a:pt x="96" y="18"/>
                  </a:lnTo>
                  <a:lnTo>
                    <a:pt x="96" y="19"/>
                  </a:lnTo>
                  <a:lnTo>
                    <a:pt x="96" y="19"/>
                  </a:lnTo>
                  <a:lnTo>
                    <a:pt x="96" y="19"/>
                  </a:lnTo>
                  <a:lnTo>
                    <a:pt x="96" y="19"/>
                  </a:lnTo>
                  <a:lnTo>
                    <a:pt x="96" y="19"/>
                  </a:lnTo>
                  <a:lnTo>
                    <a:pt x="96" y="19"/>
                  </a:lnTo>
                  <a:lnTo>
                    <a:pt x="96" y="19"/>
                  </a:lnTo>
                  <a:lnTo>
                    <a:pt x="96" y="19"/>
                  </a:lnTo>
                  <a:lnTo>
                    <a:pt x="96" y="19"/>
                  </a:lnTo>
                  <a:close/>
                  <a:moveTo>
                    <a:pt x="596" y="127"/>
                  </a:moveTo>
                  <a:lnTo>
                    <a:pt x="596" y="127"/>
                  </a:lnTo>
                  <a:lnTo>
                    <a:pt x="599" y="126"/>
                  </a:lnTo>
                  <a:lnTo>
                    <a:pt x="602" y="126"/>
                  </a:lnTo>
                  <a:lnTo>
                    <a:pt x="612" y="124"/>
                  </a:lnTo>
                  <a:lnTo>
                    <a:pt x="616" y="123"/>
                  </a:lnTo>
                  <a:lnTo>
                    <a:pt x="621" y="119"/>
                  </a:lnTo>
                  <a:lnTo>
                    <a:pt x="615" y="121"/>
                  </a:lnTo>
                  <a:lnTo>
                    <a:pt x="613" y="123"/>
                  </a:lnTo>
                  <a:lnTo>
                    <a:pt x="612" y="123"/>
                  </a:lnTo>
                  <a:lnTo>
                    <a:pt x="616" y="118"/>
                  </a:lnTo>
                  <a:lnTo>
                    <a:pt x="613" y="119"/>
                  </a:lnTo>
                  <a:lnTo>
                    <a:pt x="610" y="121"/>
                  </a:lnTo>
                  <a:lnTo>
                    <a:pt x="605" y="123"/>
                  </a:lnTo>
                  <a:lnTo>
                    <a:pt x="602" y="123"/>
                  </a:lnTo>
                  <a:lnTo>
                    <a:pt x="599" y="124"/>
                  </a:lnTo>
                  <a:lnTo>
                    <a:pt x="596" y="124"/>
                  </a:lnTo>
                  <a:lnTo>
                    <a:pt x="594" y="127"/>
                  </a:lnTo>
                  <a:lnTo>
                    <a:pt x="596" y="127"/>
                  </a:lnTo>
                  <a:lnTo>
                    <a:pt x="596" y="127"/>
                  </a:lnTo>
                  <a:lnTo>
                    <a:pt x="596" y="127"/>
                  </a:lnTo>
                  <a:lnTo>
                    <a:pt x="596" y="127"/>
                  </a:lnTo>
                  <a:lnTo>
                    <a:pt x="596" y="127"/>
                  </a:lnTo>
                  <a:lnTo>
                    <a:pt x="596" y="127"/>
                  </a:lnTo>
                  <a:lnTo>
                    <a:pt x="596" y="127"/>
                  </a:lnTo>
                  <a:lnTo>
                    <a:pt x="596" y="127"/>
                  </a:lnTo>
                  <a:lnTo>
                    <a:pt x="596" y="127"/>
                  </a:lnTo>
                  <a:close/>
                  <a:moveTo>
                    <a:pt x="331" y="285"/>
                  </a:moveTo>
                  <a:lnTo>
                    <a:pt x="329" y="285"/>
                  </a:lnTo>
                  <a:lnTo>
                    <a:pt x="327" y="285"/>
                  </a:lnTo>
                  <a:lnTo>
                    <a:pt x="329" y="285"/>
                  </a:lnTo>
                  <a:lnTo>
                    <a:pt x="331" y="285"/>
                  </a:lnTo>
                  <a:lnTo>
                    <a:pt x="331" y="285"/>
                  </a:lnTo>
                  <a:lnTo>
                    <a:pt x="331" y="285"/>
                  </a:lnTo>
                  <a:lnTo>
                    <a:pt x="331" y="285"/>
                  </a:lnTo>
                  <a:lnTo>
                    <a:pt x="331" y="285"/>
                  </a:lnTo>
                  <a:lnTo>
                    <a:pt x="331" y="285"/>
                  </a:lnTo>
                  <a:lnTo>
                    <a:pt x="331" y="285"/>
                  </a:lnTo>
                  <a:lnTo>
                    <a:pt x="331" y="285"/>
                  </a:lnTo>
                  <a:lnTo>
                    <a:pt x="331" y="285"/>
                  </a:lnTo>
                  <a:close/>
                  <a:moveTo>
                    <a:pt x="591" y="135"/>
                  </a:moveTo>
                  <a:lnTo>
                    <a:pt x="589" y="135"/>
                  </a:lnTo>
                  <a:lnTo>
                    <a:pt x="589" y="138"/>
                  </a:lnTo>
                  <a:lnTo>
                    <a:pt x="591" y="135"/>
                  </a:lnTo>
                  <a:lnTo>
                    <a:pt x="591" y="135"/>
                  </a:lnTo>
                  <a:lnTo>
                    <a:pt x="591" y="135"/>
                  </a:lnTo>
                  <a:lnTo>
                    <a:pt x="591" y="135"/>
                  </a:lnTo>
                  <a:lnTo>
                    <a:pt x="591" y="135"/>
                  </a:lnTo>
                  <a:lnTo>
                    <a:pt x="591" y="135"/>
                  </a:lnTo>
                  <a:lnTo>
                    <a:pt x="591" y="135"/>
                  </a:lnTo>
                  <a:lnTo>
                    <a:pt x="591" y="135"/>
                  </a:lnTo>
                  <a:lnTo>
                    <a:pt x="591" y="135"/>
                  </a:lnTo>
                  <a:close/>
                  <a:moveTo>
                    <a:pt x="696" y="46"/>
                  </a:moveTo>
                  <a:lnTo>
                    <a:pt x="699" y="38"/>
                  </a:lnTo>
                  <a:lnTo>
                    <a:pt x="699" y="34"/>
                  </a:lnTo>
                  <a:lnTo>
                    <a:pt x="699" y="32"/>
                  </a:lnTo>
                  <a:lnTo>
                    <a:pt x="696" y="32"/>
                  </a:lnTo>
                  <a:lnTo>
                    <a:pt x="689" y="32"/>
                  </a:lnTo>
                  <a:lnTo>
                    <a:pt x="688" y="34"/>
                  </a:lnTo>
                  <a:lnTo>
                    <a:pt x="688" y="32"/>
                  </a:lnTo>
                  <a:lnTo>
                    <a:pt x="686" y="29"/>
                  </a:lnTo>
                  <a:lnTo>
                    <a:pt x="685" y="31"/>
                  </a:lnTo>
                  <a:lnTo>
                    <a:pt x="680" y="34"/>
                  </a:lnTo>
                  <a:lnTo>
                    <a:pt x="672" y="38"/>
                  </a:lnTo>
                  <a:lnTo>
                    <a:pt x="670" y="42"/>
                  </a:lnTo>
                  <a:lnTo>
                    <a:pt x="669" y="45"/>
                  </a:lnTo>
                  <a:lnTo>
                    <a:pt x="666" y="48"/>
                  </a:lnTo>
                  <a:lnTo>
                    <a:pt x="664" y="51"/>
                  </a:lnTo>
                  <a:lnTo>
                    <a:pt x="661" y="53"/>
                  </a:lnTo>
                  <a:lnTo>
                    <a:pt x="658" y="56"/>
                  </a:lnTo>
                  <a:lnTo>
                    <a:pt x="658" y="59"/>
                  </a:lnTo>
                  <a:lnTo>
                    <a:pt x="654" y="59"/>
                  </a:lnTo>
                  <a:lnTo>
                    <a:pt x="654" y="61"/>
                  </a:lnTo>
                  <a:lnTo>
                    <a:pt x="654" y="59"/>
                  </a:lnTo>
                  <a:lnTo>
                    <a:pt x="650" y="61"/>
                  </a:lnTo>
                  <a:lnTo>
                    <a:pt x="647" y="62"/>
                  </a:lnTo>
                  <a:lnTo>
                    <a:pt x="608" y="62"/>
                  </a:lnTo>
                  <a:lnTo>
                    <a:pt x="599" y="69"/>
                  </a:lnTo>
                  <a:lnTo>
                    <a:pt x="593" y="72"/>
                  </a:lnTo>
                  <a:lnTo>
                    <a:pt x="589" y="73"/>
                  </a:lnTo>
                  <a:lnTo>
                    <a:pt x="586" y="77"/>
                  </a:lnTo>
                  <a:lnTo>
                    <a:pt x="588" y="77"/>
                  </a:lnTo>
                  <a:lnTo>
                    <a:pt x="586" y="78"/>
                  </a:lnTo>
                  <a:lnTo>
                    <a:pt x="588" y="78"/>
                  </a:lnTo>
                  <a:lnTo>
                    <a:pt x="586" y="80"/>
                  </a:lnTo>
                  <a:lnTo>
                    <a:pt x="585" y="83"/>
                  </a:lnTo>
                  <a:lnTo>
                    <a:pt x="583" y="85"/>
                  </a:lnTo>
                  <a:lnTo>
                    <a:pt x="580" y="86"/>
                  </a:lnTo>
                  <a:lnTo>
                    <a:pt x="577" y="88"/>
                  </a:lnTo>
                  <a:lnTo>
                    <a:pt x="573" y="88"/>
                  </a:lnTo>
                  <a:lnTo>
                    <a:pt x="567" y="89"/>
                  </a:lnTo>
                  <a:lnTo>
                    <a:pt x="564" y="88"/>
                  </a:lnTo>
                  <a:lnTo>
                    <a:pt x="564" y="88"/>
                  </a:lnTo>
                  <a:lnTo>
                    <a:pt x="556" y="88"/>
                  </a:lnTo>
                  <a:lnTo>
                    <a:pt x="553" y="88"/>
                  </a:lnTo>
                  <a:lnTo>
                    <a:pt x="550" y="89"/>
                  </a:lnTo>
                  <a:lnTo>
                    <a:pt x="548" y="91"/>
                  </a:lnTo>
                  <a:lnTo>
                    <a:pt x="548" y="92"/>
                  </a:lnTo>
                  <a:lnTo>
                    <a:pt x="550" y="94"/>
                  </a:lnTo>
                  <a:lnTo>
                    <a:pt x="548" y="96"/>
                  </a:lnTo>
                  <a:lnTo>
                    <a:pt x="540" y="100"/>
                  </a:lnTo>
                  <a:lnTo>
                    <a:pt x="532" y="104"/>
                  </a:lnTo>
                  <a:lnTo>
                    <a:pt x="524" y="107"/>
                  </a:lnTo>
                  <a:lnTo>
                    <a:pt x="515" y="110"/>
                  </a:lnTo>
                  <a:lnTo>
                    <a:pt x="512" y="111"/>
                  </a:lnTo>
                  <a:lnTo>
                    <a:pt x="507" y="113"/>
                  </a:lnTo>
                  <a:lnTo>
                    <a:pt x="500" y="115"/>
                  </a:lnTo>
                  <a:lnTo>
                    <a:pt x="497" y="115"/>
                  </a:lnTo>
                  <a:lnTo>
                    <a:pt x="494" y="115"/>
                  </a:lnTo>
                  <a:lnTo>
                    <a:pt x="493" y="115"/>
                  </a:lnTo>
                  <a:lnTo>
                    <a:pt x="497" y="113"/>
                  </a:lnTo>
                  <a:lnTo>
                    <a:pt x="494" y="113"/>
                  </a:lnTo>
                  <a:lnTo>
                    <a:pt x="494" y="111"/>
                  </a:lnTo>
                  <a:lnTo>
                    <a:pt x="491" y="111"/>
                  </a:lnTo>
                  <a:lnTo>
                    <a:pt x="489" y="110"/>
                  </a:lnTo>
                  <a:lnTo>
                    <a:pt x="491" y="108"/>
                  </a:lnTo>
                  <a:lnTo>
                    <a:pt x="494" y="107"/>
                  </a:lnTo>
                  <a:lnTo>
                    <a:pt x="494" y="107"/>
                  </a:lnTo>
                  <a:lnTo>
                    <a:pt x="497" y="104"/>
                  </a:lnTo>
                  <a:lnTo>
                    <a:pt x="500" y="100"/>
                  </a:lnTo>
                  <a:lnTo>
                    <a:pt x="504" y="97"/>
                  </a:lnTo>
                  <a:lnTo>
                    <a:pt x="504" y="97"/>
                  </a:lnTo>
                  <a:lnTo>
                    <a:pt x="504" y="97"/>
                  </a:lnTo>
                  <a:lnTo>
                    <a:pt x="505" y="97"/>
                  </a:lnTo>
                  <a:lnTo>
                    <a:pt x="508" y="94"/>
                  </a:lnTo>
                  <a:lnTo>
                    <a:pt x="510" y="88"/>
                  </a:lnTo>
                  <a:lnTo>
                    <a:pt x="512" y="83"/>
                  </a:lnTo>
                  <a:lnTo>
                    <a:pt x="512" y="80"/>
                  </a:lnTo>
                  <a:lnTo>
                    <a:pt x="510" y="77"/>
                  </a:lnTo>
                  <a:lnTo>
                    <a:pt x="508" y="77"/>
                  </a:lnTo>
                  <a:lnTo>
                    <a:pt x="505" y="78"/>
                  </a:lnTo>
                  <a:lnTo>
                    <a:pt x="500" y="81"/>
                  </a:lnTo>
                  <a:lnTo>
                    <a:pt x="497" y="83"/>
                  </a:lnTo>
                  <a:lnTo>
                    <a:pt x="497" y="83"/>
                  </a:lnTo>
                  <a:lnTo>
                    <a:pt x="497" y="81"/>
                  </a:lnTo>
                  <a:lnTo>
                    <a:pt x="497" y="78"/>
                  </a:lnTo>
                  <a:lnTo>
                    <a:pt x="500" y="77"/>
                  </a:lnTo>
                  <a:lnTo>
                    <a:pt x="504" y="75"/>
                  </a:lnTo>
                  <a:lnTo>
                    <a:pt x="505" y="73"/>
                  </a:lnTo>
                  <a:lnTo>
                    <a:pt x="508" y="72"/>
                  </a:lnTo>
                  <a:lnTo>
                    <a:pt x="510" y="69"/>
                  </a:lnTo>
                  <a:lnTo>
                    <a:pt x="510" y="65"/>
                  </a:lnTo>
                  <a:lnTo>
                    <a:pt x="510" y="62"/>
                  </a:lnTo>
                  <a:lnTo>
                    <a:pt x="512" y="62"/>
                  </a:lnTo>
                  <a:lnTo>
                    <a:pt x="512" y="61"/>
                  </a:lnTo>
                  <a:lnTo>
                    <a:pt x="510" y="59"/>
                  </a:lnTo>
                  <a:lnTo>
                    <a:pt x="504" y="54"/>
                  </a:lnTo>
                  <a:lnTo>
                    <a:pt x="500" y="53"/>
                  </a:lnTo>
                  <a:lnTo>
                    <a:pt x="494" y="56"/>
                  </a:lnTo>
                  <a:lnTo>
                    <a:pt x="494" y="58"/>
                  </a:lnTo>
                  <a:lnTo>
                    <a:pt x="494" y="59"/>
                  </a:lnTo>
                  <a:lnTo>
                    <a:pt x="493" y="59"/>
                  </a:lnTo>
                  <a:lnTo>
                    <a:pt x="491" y="61"/>
                  </a:lnTo>
                  <a:lnTo>
                    <a:pt x="489" y="62"/>
                  </a:lnTo>
                  <a:lnTo>
                    <a:pt x="488" y="65"/>
                  </a:lnTo>
                  <a:lnTo>
                    <a:pt x="485" y="65"/>
                  </a:lnTo>
                  <a:lnTo>
                    <a:pt x="486" y="65"/>
                  </a:lnTo>
                  <a:lnTo>
                    <a:pt x="483" y="65"/>
                  </a:lnTo>
                  <a:lnTo>
                    <a:pt x="485" y="62"/>
                  </a:lnTo>
                  <a:lnTo>
                    <a:pt x="483" y="65"/>
                  </a:lnTo>
                  <a:lnTo>
                    <a:pt x="480" y="65"/>
                  </a:lnTo>
                  <a:lnTo>
                    <a:pt x="480" y="65"/>
                  </a:lnTo>
                  <a:lnTo>
                    <a:pt x="477" y="69"/>
                  </a:lnTo>
                  <a:lnTo>
                    <a:pt x="477" y="69"/>
                  </a:lnTo>
                  <a:lnTo>
                    <a:pt x="473" y="73"/>
                  </a:lnTo>
                  <a:lnTo>
                    <a:pt x="469" y="77"/>
                  </a:lnTo>
                  <a:lnTo>
                    <a:pt x="469" y="81"/>
                  </a:lnTo>
                  <a:lnTo>
                    <a:pt x="466" y="85"/>
                  </a:lnTo>
                  <a:lnTo>
                    <a:pt x="466" y="88"/>
                  </a:lnTo>
                  <a:lnTo>
                    <a:pt x="467" y="89"/>
                  </a:lnTo>
                  <a:lnTo>
                    <a:pt x="466" y="91"/>
                  </a:lnTo>
                  <a:lnTo>
                    <a:pt x="466" y="92"/>
                  </a:lnTo>
                  <a:lnTo>
                    <a:pt x="464" y="97"/>
                  </a:lnTo>
                  <a:lnTo>
                    <a:pt x="459" y="104"/>
                  </a:lnTo>
                  <a:lnTo>
                    <a:pt x="454" y="107"/>
                  </a:lnTo>
                  <a:lnTo>
                    <a:pt x="450" y="110"/>
                  </a:lnTo>
                  <a:lnTo>
                    <a:pt x="445" y="111"/>
                  </a:lnTo>
                  <a:lnTo>
                    <a:pt x="445" y="111"/>
                  </a:lnTo>
                  <a:lnTo>
                    <a:pt x="442" y="110"/>
                  </a:lnTo>
                  <a:lnTo>
                    <a:pt x="442" y="104"/>
                  </a:lnTo>
                  <a:lnTo>
                    <a:pt x="445" y="97"/>
                  </a:lnTo>
                  <a:lnTo>
                    <a:pt x="445" y="96"/>
                  </a:lnTo>
                  <a:lnTo>
                    <a:pt x="448" y="92"/>
                  </a:lnTo>
                  <a:lnTo>
                    <a:pt x="450" y="86"/>
                  </a:lnTo>
                  <a:lnTo>
                    <a:pt x="453" y="81"/>
                  </a:lnTo>
                  <a:lnTo>
                    <a:pt x="458" y="75"/>
                  </a:lnTo>
                  <a:lnTo>
                    <a:pt x="461" y="72"/>
                  </a:lnTo>
                  <a:lnTo>
                    <a:pt x="464" y="69"/>
                  </a:lnTo>
                  <a:lnTo>
                    <a:pt x="464" y="65"/>
                  </a:lnTo>
                  <a:lnTo>
                    <a:pt x="462" y="65"/>
                  </a:lnTo>
                  <a:lnTo>
                    <a:pt x="459" y="69"/>
                  </a:lnTo>
                  <a:lnTo>
                    <a:pt x="454" y="72"/>
                  </a:lnTo>
                  <a:lnTo>
                    <a:pt x="456" y="69"/>
                  </a:lnTo>
                  <a:lnTo>
                    <a:pt x="459" y="65"/>
                  </a:lnTo>
                  <a:lnTo>
                    <a:pt x="462" y="62"/>
                  </a:lnTo>
                  <a:lnTo>
                    <a:pt x="466" y="62"/>
                  </a:lnTo>
                  <a:lnTo>
                    <a:pt x="470" y="56"/>
                  </a:lnTo>
                  <a:lnTo>
                    <a:pt x="473" y="53"/>
                  </a:lnTo>
                  <a:lnTo>
                    <a:pt x="477" y="51"/>
                  </a:lnTo>
                  <a:lnTo>
                    <a:pt x="473" y="54"/>
                  </a:lnTo>
                  <a:lnTo>
                    <a:pt x="477" y="53"/>
                  </a:lnTo>
                  <a:lnTo>
                    <a:pt x="480" y="51"/>
                  </a:lnTo>
                  <a:lnTo>
                    <a:pt x="477" y="54"/>
                  </a:lnTo>
                  <a:lnTo>
                    <a:pt x="483" y="53"/>
                  </a:lnTo>
                  <a:lnTo>
                    <a:pt x="485" y="51"/>
                  </a:lnTo>
                  <a:lnTo>
                    <a:pt x="488" y="50"/>
                  </a:lnTo>
                  <a:lnTo>
                    <a:pt x="493" y="50"/>
                  </a:lnTo>
                  <a:lnTo>
                    <a:pt x="494" y="48"/>
                  </a:lnTo>
                  <a:lnTo>
                    <a:pt x="497" y="50"/>
                  </a:lnTo>
                  <a:lnTo>
                    <a:pt x="500" y="51"/>
                  </a:lnTo>
                  <a:lnTo>
                    <a:pt x="500" y="51"/>
                  </a:lnTo>
                  <a:lnTo>
                    <a:pt x="504" y="50"/>
                  </a:lnTo>
                  <a:lnTo>
                    <a:pt x="504" y="50"/>
                  </a:lnTo>
                  <a:lnTo>
                    <a:pt x="507" y="50"/>
                  </a:lnTo>
                  <a:lnTo>
                    <a:pt x="508" y="50"/>
                  </a:lnTo>
                  <a:lnTo>
                    <a:pt x="510" y="50"/>
                  </a:lnTo>
                  <a:lnTo>
                    <a:pt x="510" y="48"/>
                  </a:lnTo>
                  <a:lnTo>
                    <a:pt x="508" y="46"/>
                  </a:lnTo>
                  <a:lnTo>
                    <a:pt x="510" y="45"/>
                  </a:lnTo>
                  <a:lnTo>
                    <a:pt x="510" y="43"/>
                  </a:lnTo>
                  <a:lnTo>
                    <a:pt x="508" y="42"/>
                  </a:lnTo>
                  <a:lnTo>
                    <a:pt x="507" y="42"/>
                  </a:lnTo>
                  <a:lnTo>
                    <a:pt x="500" y="42"/>
                  </a:lnTo>
                  <a:lnTo>
                    <a:pt x="504" y="38"/>
                  </a:lnTo>
                  <a:lnTo>
                    <a:pt x="497" y="40"/>
                  </a:lnTo>
                  <a:lnTo>
                    <a:pt x="491" y="40"/>
                  </a:lnTo>
                  <a:lnTo>
                    <a:pt x="486" y="42"/>
                  </a:lnTo>
                  <a:lnTo>
                    <a:pt x="483" y="43"/>
                  </a:lnTo>
                  <a:lnTo>
                    <a:pt x="480" y="42"/>
                  </a:lnTo>
                  <a:lnTo>
                    <a:pt x="477" y="42"/>
                  </a:lnTo>
                  <a:lnTo>
                    <a:pt x="473" y="40"/>
                  </a:lnTo>
                  <a:lnTo>
                    <a:pt x="472" y="37"/>
                  </a:lnTo>
                  <a:lnTo>
                    <a:pt x="470" y="37"/>
                  </a:lnTo>
                  <a:lnTo>
                    <a:pt x="469" y="37"/>
                  </a:lnTo>
                  <a:lnTo>
                    <a:pt x="466" y="38"/>
                  </a:lnTo>
                  <a:lnTo>
                    <a:pt x="467" y="37"/>
                  </a:lnTo>
                  <a:lnTo>
                    <a:pt x="467" y="37"/>
                  </a:lnTo>
                  <a:lnTo>
                    <a:pt x="466" y="34"/>
                  </a:lnTo>
                  <a:lnTo>
                    <a:pt x="466" y="34"/>
                  </a:lnTo>
                  <a:lnTo>
                    <a:pt x="456" y="37"/>
                  </a:lnTo>
                  <a:lnTo>
                    <a:pt x="451" y="37"/>
                  </a:lnTo>
                  <a:lnTo>
                    <a:pt x="448" y="38"/>
                  </a:lnTo>
                  <a:lnTo>
                    <a:pt x="445" y="40"/>
                  </a:lnTo>
                  <a:lnTo>
                    <a:pt x="442" y="40"/>
                  </a:lnTo>
                  <a:lnTo>
                    <a:pt x="439" y="40"/>
                  </a:lnTo>
                  <a:lnTo>
                    <a:pt x="437" y="40"/>
                  </a:lnTo>
                  <a:lnTo>
                    <a:pt x="439" y="38"/>
                  </a:lnTo>
                  <a:lnTo>
                    <a:pt x="439" y="37"/>
                  </a:lnTo>
                  <a:lnTo>
                    <a:pt x="432" y="38"/>
                  </a:lnTo>
                  <a:lnTo>
                    <a:pt x="427" y="40"/>
                  </a:lnTo>
                  <a:lnTo>
                    <a:pt x="424" y="38"/>
                  </a:lnTo>
                  <a:lnTo>
                    <a:pt x="426" y="37"/>
                  </a:lnTo>
                  <a:lnTo>
                    <a:pt x="427" y="37"/>
                  </a:lnTo>
                  <a:lnTo>
                    <a:pt x="429" y="35"/>
                  </a:lnTo>
                  <a:lnTo>
                    <a:pt x="434" y="34"/>
                  </a:lnTo>
                  <a:lnTo>
                    <a:pt x="442" y="29"/>
                  </a:lnTo>
                  <a:lnTo>
                    <a:pt x="450" y="26"/>
                  </a:lnTo>
                  <a:lnTo>
                    <a:pt x="461" y="21"/>
                  </a:lnTo>
                  <a:lnTo>
                    <a:pt x="459" y="21"/>
                  </a:lnTo>
                  <a:lnTo>
                    <a:pt x="456" y="21"/>
                  </a:lnTo>
                  <a:lnTo>
                    <a:pt x="454" y="19"/>
                  </a:lnTo>
                  <a:lnTo>
                    <a:pt x="453" y="19"/>
                  </a:lnTo>
                  <a:lnTo>
                    <a:pt x="450" y="19"/>
                  </a:lnTo>
                  <a:lnTo>
                    <a:pt x="448" y="19"/>
                  </a:lnTo>
                  <a:lnTo>
                    <a:pt x="448" y="18"/>
                  </a:lnTo>
                  <a:lnTo>
                    <a:pt x="445" y="19"/>
                  </a:lnTo>
                  <a:lnTo>
                    <a:pt x="439" y="21"/>
                  </a:lnTo>
                  <a:lnTo>
                    <a:pt x="439" y="19"/>
                  </a:lnTo>
                  <a:lnTo>
                    <a:pt x="437" y="18"/>
                  </a:lnTo>
                  <a:lnTo>
                    <a:pt x="435" y="18"/>
                  </a:lnTo>
                  <a:lnTo>
                    <a:pt x="434" y="16"/>
                  </a:lnTo>
                  <a:lnTo>
                    <a:pt x="432" y="18"/>
                  </a:lnTo>
                  <a:lnTo>
                    <a:pt x="432" y="16"/>
                  </a:lnTo>
                  <a:lnTo>
                    <a:pt x="431" y="16"/>
                  </a:lnTo>
                  <a:lnTo>
                    <a:pt x="431" y="13"/>
                  </a:lnTo>
                  <a:lnTo>
                    <a:pt x="427" y="13"/>
                  </a:lnTo>
                  <a:lnTo>
                    <a:pt x="424" y="13"/>
                  </a:lnTo>
                  <a:lnTo>
                    <a:pt x="421" y="13"/>
                  </a:lnTo>
                  <a:lnTo>
                    <a:pt x="418" y="16"/>
                  </a:lnTo>
                  <a:lnTo>
                    <a:pt x="418" y="13"/>
                  </a:lnTo>
                  <a:lnTo>
                    <a:pt x="416" y="13"/>
                  </a:lnTo>
                  <a:lnTo>
                    <a:pt x="415" y="13"/>
                  </a:lnTo>
                  <a:lnTo>
                    <a:pt x="413" y="13"/>
                  </a:lnTo>
                  <a:lnTo>
                    <a:pt x="410" y="10"/>
                  </a:lnTo>
                  <a:lnTo>
                    <a:pt x="410" y="10"/>
                  </a:lnTo>
                  <a:lnTo>
                    <a:pt x="413" y="5"/>
                  </a:lnTo>
                  <a:lnTo>
                    <a:pt x="410" y="0"/>
                  </a:lnTo>
                  <a:lnTo>
                    <a:pt x="410" y="2"/>
                  </a:lnTo>
                  <a:lnTo>
                    <a:pt x="407" y="7"/>
                  </a:lnTo>
                  <a:lnTo>
                    <a:pt x="100" y="7"/>
                  </a:lnTo>
                  <a:lnTo>
                    <a:pt x="100" y="10"/>
                  </a:lnTo>
                  <a:lnTo>
                    <a:pt x="100" y="10"/>
                  </a:lnTo>
                  <a:lnTo>
                    <a:pt x="99" y="13"/>
                  </a:lnTo>
                  <a:lnTo>
                    <a:pt x="97" y="16"/>
                  </a:lnTo>
                  <a:lnTo>
                    <a:pt x="96" y="16"/>
                  </a:lnTo>
                  <a:lnTo>
                    <a:pt x="96" y="16"/>
                  </a:lnTo>
                  <a:lnTo>
                    <a:pt x="97" y="16"/>
                  </a:lnTo>
                  <a:lnTo>
                    <a:pt x="97" y="18"/>
                  </a:lnTo>
                  <a:lnTo>
                    <a:pt x="97" y="21"/>
                  </a:lnTo>
                  <a:lnTo>
                    <a:pt x="96" y="23"/>
                  </a:lnTo>
                  <a:lnTo>
                    <a:pt x="94" y="24"/>
                  </a:lnTo>
                  <a:lnTo>
                    <a:pt x="92" y="26"/>
                  </a:lnTo>
                  <a:lnTo>
                    <a:pt x="91" y="27"/>
                  </a:lnTo>
                  <a:lnTo>
                    <a:pt x="91" y="29"/>
                  </a:lnTo>
                  <a:lnTo>
                    <a:pt x="89" y="31"/>
                  </a:lnTo>
                  <a:lnTo>
                    <a:pt x="86" y="32"/>
                  </a:lnTo>
                  <a:lnTo>
                    <a:pt x="86" y="34"/>
                  </a:lnTo>
                  <a:lnTo>
                    <a:pt x="83" y="34"/>
                  </a:lnTo>
                  <a:lnTo>
                    <a:pt x="86" y="32"/>
                  </a:lnTo>
                  <a:lnTo>
                    <a:pt x="86" y="31"/>
                  </a:lnTo>
                  <a:lnTo>
                    <a:pt x="88" y="29"/>
                  </a:lnTo>
                  <a:lnTo>
                    <a:pt x="86" y="29"/>
                  </a:lnTo>
                  <a:lnTo>
                    <a:pt x="89" y="26"/>
                  </a:lnTo>
                  <a:lnTo>
                    <a:pt x="91" y="24"/>
                  </a:lnTo>
                  <a:lnTo>
                    <a:pt x="92" y="23"/>
                  </a:lnTo>
                  <a:lnTo>
                    <a:pt x="86" y="27"/>
                  </a:lnTo>
                  <a:lnTo>
                    <a:pt x="83" y="29"/>
                  </a:lnTo>
                  <a:lnTo>
                    <a:pt x="83" y="31"/>
                  </a:lnTo>
                  <a:lnTo>
                    <a:pt x="80" y="31"/>
                  </a:lnTo>
                  <a:lnTo>
                    <a:pt x="86" y="26"/>
                  </a:lnTo>
                  <a:lnTo>
                    <a:pt x="88" y="24"/>
                  </a:lnTo>
                  <a:lnTo>
                    <a:pt x="86" y="26"/>
                  </a:lnTo>
                  <a:lnTo>
                    <a:pt x="89" y="24"/>
                  </a:lnTo>
                  <a:lnTo>
                    <a:pt x="91" y="23"/>
                  </a:lnTo>
                  <a:lnTo>
                    <a:pt x="91" y="19"/>
                  </a:lnTo>
                  <a:lnTo>
                    <a:pt x="89" y="21"/>
                  </a:lnTo>
                  <a:lnTo>
                    <a:pt x="89" y="19"/>
                  </a:lnTo>
                  <a:lnTo>
                    <a:pt x="86" y="19"/>
                  </a:lnTo>
                  <a:lnTo>
                    <a:pt x="83" y="19"/>
                  </a:lnTo>
                  <a:lnTo>
                    <a:pt x="77" y="18"/>
                  </a:lnTo>
                  <a:lnTo>
                    <a:pt x="73" y="16"/>
                  </a:lnTo>
                  <a:lnTo>
                    <a:pt x="72" y="16"/>
                  </a:lnTo>
                  <a:lnTo>
                    <a:pt x="72" y="19"/>
                  </a:lnTo>
                  <a:lnTo>
                    <a:pt x="70" y="24"/>
                  </a:lnTo>
                  <a:lnTo>
                    <a:pt x="69" y="31"/>
                  </a:lnTo>
                  <a:lnTo>
                    <a:pt x="65" y="37"/>
                  </a:lnTo>
                  <a:lnTo>
                    <a:pt x="65" y="37"/>
                  </a:lnTo>
                  <a:lnTo>
                    <a:pt x="64" y="38"/>
                  </a:lnTo>
                  <a:lnTo>
                    <a:pt x="67" y="40"/>
                  </a:lnTo>
                  <a:lnTo>
                    <a:pt x="65" y="40"/>
                  </a:lnTo>
                  <a:lnTo>
                    <a:pt x="64" y="42"/>
                  </a:lnTo>
                  <a:lnTo>
                    <a:pt x="61" y="43"/>
                  </a:lnTo>
                  <a:lnTo>
                    <a:pt x="61" y="45"/>
                  </a:lnTo>
                  <a:lnTo>
                    <a:pt x="62" y="46"/>
                  </a:lnTo>
                  <a:lnTo>
                    <a:pt x="59" y="48"/>
                  </a:lnTo>
                  <a:lnTo>
                    <a:pt x="58" y="51"/>
                  </a:lnTo>
                  <a:lnTo>
                    <a:pt x="54" y="54"/>
                  </a:lnTo>
                  <a:lnTo>
                    <a:pt x="54" y="58"/>
                  </a:lnTo>
                  <a:lnTo>
                    <a:pt x="51" y="59"/>
                  </a:lnTo>
                  <a:lnTo>
                    <a:pt x="51" y="61"/>
                  </a:lnTo>
                  <a:lnTo>
                    <a:pt x="48" y="65"/>
                  </a:lnTo>
                  <a:lnTo>
                    <a:pt x="45" y="69"/>
                  </a:lnTo>
                  <a:lnTo>
                    <a:pt x="40" y="75"/>
                  </a:lnTo>
                  <a:lnTo>
                    <a:pt x="37" y="80"/>
                  </a:lnTo>
                  <a:lnTo>
                    <a:pt x="35" y="81"/>
                  </a:lnTo>
                  <a:lnTo>
                    <a:pt x="32" y="83"/>
                  </a:lnTo>
                  <a:lnTo>
                    <a:pt x="31" y="86"/>
                  </a:lnTo>
                  <a:lnTo>
                    <a:pt x="32" y="86"/>
                  </a:lnTo>
                  <a:lnTo>
                    <a:pt x="31" y="88"/>
                  </a:lnTo>
                  <a:lnTo>
                    <a:pt x="29" y="88"/>
                  </a:lnTo>
                  <a:lnTo>
                    <a:pt x="27" y="91"/>
                  </a:lnTo>
                  <a:lnTo>
                    <a:pt x="24" y="96"/>
                  </a:lnTo>
                  <a:lnTo>
                    <a:pt x="21" y="100"/>
                  </a:lnTo>
                  <a:lnTo>
                    <a:pt x="18" y="104"/>
                  </a:lnTo>
                  <a:lnTo>
                    <a:pt x="18" y="107"/>
                  </a:lnTo>
                  <a:lnTo>
                    <a:pt x="18" y="108"/>
                  </a:lnTo>
                  <a:lnTo>
                    <a:pt x="18" y="111"/>
                  </a:lnTo>
                  <a:lnTo>
                    <a:pt x="18" y="113"/>
                  </a:lnTo>
                  <a:lnTo>
                    <a:pt x="15" y="116"/>
                  </a:lnTo>
                  <a:lnTo>
                    <a:pt x="13" y="119"/>
                  </a:lnTo>
                  <a:lnTo>
                    <a:pt x="10" y="123"/>
                  </a:lnTo>
                  <a:lnTo>
                    <a:pt x="10" y="124"/>
                  </a:lnTo>
                  <a:lnTo>
                    <a:pt x="11" y="124"/>
                  </a:lnTo>
                  <a:lnTo>
                    <a:pt x="7" y="127"/>
                  </a:lnTo>
                  <a:lnTo>
                    <a:pt x="4" y="132"/>
                  </a:lnTo>
                  <a:lnTo>
                    <a:pt x="5" y="135"/>
                  </a:lnTo>
                  <a:lnTo>
                    <a:pt x="5" y="138"/>
                  </a:lnTo>
                  <a:lnTo>
                    <a:pt x="4" y="143"/>
                  </a:lnTo>
                  <a:lnTo>
                    <a:pt x="0" y="150"/>
                  </a:lnTo>
                  <a:lnTo>
                    <a:pt x="2" y="153"/>
                  </a:lnTo>
                  <a:lnTo>
                    <a:pt x="2" y="153"/>
                  </a:lnTo>
                  <a:lnTo>
                    <a:pt x="4" y="156"/>
                  </a:lnTo>
                  <a:lnTo>
                    <a:pt x="4" y="159"/>
                  </a:lnTo>
                  <a:lnTo>
                    <a:pt x="5" y="162"/>
                  </a:lnTo>
                  <a:lnTo>
                    <a:pt x="4" y="162"/>
                  </a:lnTo>
                  <a:lnTo>
                    <a:pt x="2" y="162"/>
                  </a:lnTo>
                  <a:lnTo>
                    <a:pt x="4" y="162"/>
                  </a:lnTo>
                  <a:lnTo>
                    <a:pt x="7" y="165"/>
                  </a:lnTo>
                  <a:lnTo>
                    <a:pt x="8" y="164"/>
                  </a:lnTo>
                  <a:lnTo>
                    <a:pt x="8" y="162"/>
                  </a:lnTo>
                  <a:lnTo>
                    <a:pt x="10" y="162"/>
                  </a:lnTo>
                  <a:lnTo>
                    <a:pt x="13" y="162"/>
                  </a:lnTo>
                  <a:lnTo>
                    <a:pt x="10" y="164"/>
                  </a:lnTo>
                  <a:lnTo>
                    <a:pt x="10" y="165"/>
                  </a:lnTo>
                  <a:lnTo>
                    <a:pt x="10" y="172"/>
                  </a:lnTo>
                  <a:lnTo>
                    <a:pt x="7" y="169"/>
                  </a:lnTo>
                  <a:lnTo>
                    <a:pt x="8" y="165"/>
                  </a:lnTo>
                  <a:lnTo>
                    <a:pt x="5" y="169"/>
                  </a:lnTo>
                  <a:lnTo>
                    <a:pt x="5" y="172"/>
                  </a:lnTo>
                  <a:lnTo>
                    <a:pt x="4" y="175"/>
                  </a:lnTo>
                  <a:lnTo>
                    <a:pt x="4" y="177"/>
                  </a:lnTo>
                  <a:lnTo>
                    <a:pt x="5" y="178"/>
                  </a:lnTo>
                  <a:lnTo>
                    <a:pt x="8" y="180"/>
                  </a:lnTo>
                  <a:lnTo>
                    <a:pt x="8" y="181"/>
                  </a:lnTo>
                  <a:lnTo>
                    <a:pt x="7" y="183"/>
                  </a:lnTo>
                  <a:lnTo>
                    <a:pt x="5" y="185"/>
                  </a:lnTo>
                  <a:lnTo>
                    <a:pt x="4" y="188"/>
                  </a:lnTo>
                  <a:lnTo>
                    <a:pt x="5" y="191"/>
                  </a:lnTo>
                  <a:lnTo>
                    <a:pt x="7" y="194"/>
                  </a:lnTo>
                  <a:lnTo>
                    <a:pt x="7" y="197"/>
                  </a:lnTo>
                  <a:lnTo>
                    <a:pt x="7" y="197"/>
                  </a:lnTo>
                  <a:lnTo>
                    <a:pt x="8" y="199"/>
                  </a:lnTo>
                  <a:lnTo>
                    <a:pt x="10" y="202"/>
                  </a:lnTo>
                  <a:lnTo>
                    <a:pt x="8" y="204"/>
                  </a:lnTo>
                  <a:lnTo>
                    <a:pt x="10" y="204"/>
                  </a:lnTo>
                  <a:lnTo>
                    <a:pt x="10" y="205"/>
                  </a:lnTo>
                  <a:lnTo>
                    <a:pt x="10" y="208"/>
                  </a:lnTo>
                  <a:lnTo>
                    <a:pt x="8" y="212"/>
                  </a:lnTo>
                  <a:lnTo>
                    <a:pt x="8" y="215"/>
                  </a:lnTo>
                  <a:lnTo>
                    <a:pt x="10" y="215"/>
                  </a:lnTo>
                  <a:lnTo>
                    <a:pt x="15" y="215"/>
                  </a:lnTo>
                  <a:lnTo>
                    <a:pt x="18" y="216"/>
                  </a:lnTo>
                  <a:lnTo>
                    <a:pt x="21" y="216"/>
                  </a:lnTo>
                  <a:lnTo>
                    <a:pt x="21" y="218"/>
                  </a:lnTo>
                  <a:lnTo>
                    <a:pt x="24" y="221"/>
                  </a:lnTo>
                  <a:lnTo>
                    <a:pt x="27" y="221"/>
                  </a:lnTo>
                  <a:lnTo>
                    <a:pt x="29" y="221"/>
                  </a:lnTo>
                  <a:lnTo>
                    <a:pt x="29" y="223"/>
                  </a:lnTo>
                  <a:lnTo>
                    <a:pt x="29" y="223"/>
                  </a:lnTo>
                  <a:lnTo>
                    <a:pt x="29" y="226"/>
                  </a:lnTo>
                  <a:lnTo>
                    <a:pt x="32" y="226"/>
                  </a:lnTo>
                  <a:lnTo>
                    <a:pt x="34" y="226"/>
                  </a:lnTo>
                  <a:lnTo>
                    <a:pt x="37" y="229"/>
                  </a:lnTo>
                  <a:lnTo>
                    <a:pt x="38" y="234"/>
                  </a:lnTo>
                  <a:lnTo>
                    <a:pt x="37" y="242"/>
                  </a:lnTo>
                  <a:lnTo>
                    <a:pt x="37" y="242"/>
                  </a:lnTo>
                  <a:lnTo>
                    <a:pt x="37" y="242"/>
                  </a:lnTo>
                  <a:lnTo>
                    <a:pt x="37" y="242"/>
                  </a:lnTo>
                  <a:lnTo>
                    <a:pt x="37" y="242"/>
                  </a:lnTo>
                  <a:lnTo>
                    <a:pt x="37" y="242"/>
                  </a:lnTo>
                  <a:lnTo>
                    <a:pt x="37" y="243"/>
                  </a:lnTo>
                  <a:lnTo>
                    <a:pt x="37" y="243"/>
                  </a:lnTo>
                  <a:lnTo>
                    <a:pt x="67" y="240"/>
                  </a:lnTo>
                  <a:lnTo>
                    <a:pt x="65" y="243"/>
                  </a:lnTo>
                  <a:lnTo>
                    <a:pt x="105" y="261"/>
                  </a:lnTo>
                  <a:lnTo>
                    <a:pt x="138" y="261"/>
                  </a:lnTo>
                  <a:lnTo>
                    <a:pt x="138" y="254"/>
                  </a:lnTo>
                  <a:lnTo>
                    <a:pt x="161" y="254"/>
                  </a:lnTo>
                  <a:lnTo>
                    <a:pt x="162" y="254"/>
                  </a:lnTo>
                  <a:lnTo>
                    <a:pt x="162" y="254"/>
                  </a:lnTo>
                  <a:lnTo>
                    <a:pt x="164" y="258"/>
                  </a:lnTo>
                  <a:lnTo>
                    <a:pt x="167" y="261"/>
                  </a:lnTo>
                  <a:lnTo>
                    <a:pt x="170" y="264"/>
                  </a:lnTo>
                  <a:lnTo>
                    <a:pt x="170" y="267"/>
                  </a:lnTo>
                  <a:lnTo>
                    <a:pt x="173" y="269"/>
                  </a:lnTo>
                  <a:lnTo>
                    <a:pt x="177" y="272"/>
                  </a:lnTo>
                  <a:lnTo>
                    <a:pt x="177" y="277"/>
                  </a:lnTo>
                  <a:lnTo>
                    <a:pt x="177" y="278"/>
                  </a:lnTo>
                  <a:lnTo>
                    <a:pt x="177" y="285"/>
                  </a:lnTo>
                  <a:lnTo>
                    <a:pt x="180" y="288"/>
                  </a:lnTo>
                  <a:lnTo>
                    <a:pt x="185" y="291"/>
                  </a:lnTo>
                  <a:lnTo>
                    <a:pt x="188" y="292"/>
                  </a:lnTo>
                  <a:lnTo>
                    <a:pt x="191" y="292"/>
                  </a:lnTo>
                  <a:lnTo>
                    <a:pt x="192" y="291"/>
                  </a:lnTo>
                  <a:lnTo>
                    <a:pt x="196" y="288"/>
                  </a:lnTo>
                  <a:lnTo>
                    <a:pt x="197" y="285"/>
                  </a:lnTo>
                  <a:lnTo>
                    <a:pt x="199" y="281"/>
                  </a:lnTo>
                  <a:lnTo>
                    <a:pt x="205" y="281"/>
                  </a:lnTo>
                  <a:lnTo>
                    <a:pt x="212" y="281"/>
                  </a:lnTo>
                  <a:lnTo>
                    <a:pt x="213" y="281"/>
                  </a:lnTo>
                  <a:lnTo>
                    <a:pt x="218" y="288"/>
                  </a:lnTo>
                  <a:lnTo>
                    <a:pt x="219" y="289"/>
                  </a:lnTo>
                  <a:lnTo>
                    <a:pt x="221" y="292"/>
                  </a:lnTo>
                  <a:lnTo>
                    <a:pt x="221" y="299"/>
                  </a:lnTo>
                  <a:lnTo>
                    <a:pt x="224" y="305"/>
                  </a:lnTo>
                  <a:lnTo>
                    <a:pt x="227" y="312"/>
                  </a:lnTo>
                  <a:lnTo>
                    <a:pt x="229" y="313"/>
                  </a:lnTo>
                  <a:lnTo>
                    <a:pt x="229" y="316"/>
                  </a:lnTo>
                  <a:lnTo>
                    <a:pt x="229" y="323"/>
                  </a:lnTo>
                  <a:lnTo>
                    <a:pt x="229" y="324"/>
                  </a:lnTo>
                  <a:lnTo>
                    <a:pt x="231" y="329"/>
                  </a:lnTo>
                  <a:lnTo>
                    <a:pt x="232" y="331"/>
                  </a:lnTo>
                  <a:lnTo>
                    <a:pt x="234" y="331"/>
                  </a:lnTo>
                  <a:lnTo>
                    <a:pt x="237" y="332"/>
                  </a:lnTo>
                  <a:lnTo>
                    <a:pt x="240" y="335"/>
                  </a:lnTo>
                  <a:lnTo>
                    <a:pt x="243" y="335"/>
                  </a:lnTo>
                  <a:lnTo>
                    <a:pt x="245" y="335"/>
                  </a:lnTo>
                  <a:lnTo>
                    <a:pt x="246" y="337"/>
                  </a:lnTo>
                  <a:lnTo>
                    <a:pt x="250" y="339"/>
                  </a:lnTo>
                  <a:lnTo>
                    <a:pt x="250" y="339"/>
                  </a:lnTo>
                  <a:lnTo>
                    <a:pt x="251" y="337"/>
                  </a:lnTo>
                  <a:lnTo>
                    <a:pt x="251" y="335"/>
                  </a:lnTo>
                  <a:lnTo>
                    <a:pt x="251" y="332"/>
                  </a:lnTo>
                  <a:lnTo>
                    <a:pt x="251" y="326"/>
                  </a:lnTo>
                  <a:lnTo>
                    <a:pt x="251" y="324"/>
                  </a:lnTo>
                  <a:lnTo>
                    <a:pt x="251" y="323"/>
                  </a:lnTo>
                  <a:lnTo>
                    <a:pt x="253" y="319"/>
                  </a:lnTo>
                  <a:lnTo>
                    <a:pt x="254" y="319"/>
                  </a:lnTo>
                  <a:lnTo>
                    <a:pt x="251" y="319"/>
                  </a:lnTo>
                  <a:lnTo>
                    <a:pt x="250" y="319"/>
                  </a:lnTo>
                  <a:lnTo>
                    <a:pt x="251" y="316"/>
                  </a:lnTo>
                  <a:lnTo>
                    <a:pt x="250" y="316"/>
                  </a:lnTo>
                  <a:lnTo>
                    <a:pt x="253" y="316"/>
                  </a:lnTo>
                  <a:lnTo>
                    <a:pt x="254" y="316"/>
                  </a:lnTo>
                  <a:lnTo>
                    <a:pt x="256" y="313"/>
                  </a:lnTo>
                  <a:lnTo>
                    <a:pt x="256" y="316"/>
                  </a:lnTo>
                  <a:lnTo>
                    <a:pt x="258" y="313"/>
                  </a:lnTo>
                  <a:lnTo>
                    <a:pt x="259" y="312"/>
                  </a:lnTo>
                  <a:lnTo>
                    <a:pt x="258" y="313"/>
                  </a:lnTo>
                  <a:lnTo>
                    <a:pt x="256" y="310"/>
                  </a:lnTo>
                  <a:lnTo>
                    <a:pt x="259" y="310"/>
                  </a:lnTo>
                  <a:lnTo>
                    <a:pt x="261" y="308"/>
                  </a:lnTo>
                  <a:lnTo>
                    <a:pt x="262" y="307"/>
                  </a:lnTo>
                  <a:lnTo>
                    <a:pt x="259" y="307"/>
                  </a:lnTo>
                  <a:lnTo>
                    <a:pt x="261" y="305"/>
                  </a:lnTo>
                  <a:lnTo>
                    <a:pt x="262" y="305"/>
                  </a:lnTo>
                  <a:lnTo>
                    <a:pt x="264" y="305"/>
                  </a:lnTo>
                  <a:lnTo>
                    <a:pt x="265" y="305"/>
                  </a:lnTo>
                  <a:lnTo>
                    <a:pt x="267" y="300"/>
                  </a:lnTo>
                  <a:lnTo>
                    <a:pt x="267" y="302"/>
                  </a:lnTo>
                  <a:lnTo>
                    <a:pt x="269" y="302"/>
                  </a:lnTo>
                  <a:lnTo>
                    <a:pt x="272" y="300"/>
                  </a:lnTo>
                  <a:lnTo>
                    <a:pt x="269" y="300"/>
                  </a:lnTo>
                  <a:lnTo>
                    <a:pt x="269" y="299"/>
                  </a:lnTo>
                  <a:lnTo>
                    <a:pt x="269" y="297"/>
                  </a:lnTo>
                  <a:lnTo>
                    <a:pt x="272" y="299"/>
                  </a:lnTo>
                  <a:lnTo>
                    <a:pt x="272" y="297"/>
                  </a:lnTo>
                  <a:lnTo>
                    <a:pt x="275" y="297"/>
                  </a:lnTo>
                  <a:lnTo>
                    <a:pt x="275" y="299"/>
                  </a:lnTo>
                  <a:lnTo>
                    <a:pt x="278" y="297"/>
                  </a:lnTo>
                  <a:lnTo>
                    <a:pt x="272" y="300"/>
                  </a:lnTo>
                  <a:lnTo>
                    <a:pt x="278" y="297"/>
                  </a:lnTo>
                  <a:lnTo>
                    <a:pt x="281" y="296"/>
                  </a:lnTo>
                  <a:lnTo>
                    <a:pt x="285" y="294"/>
                  </a:lnTo>
                  <a:lnTo>
                    <a:pt x="288" y="292"/>
                  </a:lnTo>
                  <a:lnTo>
                    <a:pt x="294" y="288"/>
                  </a:lnTo>
                  <a:lnTo>
                    <a:pt x="299" y="285"/>
                  </a:lnTo>
                  <a:lnTo>
                    <a:pt x="307" y="285"/>
                  </a:lnTo>
                  <a:lnTo>
                    <a:pt x="305" y="281"/>
                  </a:lnTo>
                  <a:lnTo>
                    <a:pt x="308" y="281"/>
                  </a:lnTo>
                  <a:lnTo>
                    <a:pt x="312" y="281"/>
                  </a:lnTo>
                  <a:lnTo>
                    <a:pt x="313" y="281"/>
                  </a:lnTo>
                  <a:lnTo>
                    <a:pt x="319" y="285"/>
                  </a:lnTo>
                  <a:lnTo>
                    <a:pt x="324" y="285"/>
                  </a:lnTo>
                  <a:lnTo>
                    <a:pt x="327" y="285"/>
                  </a:lnTo>
                  <a:lnTo>
                    <a:pt x="327" y="285"/>
                  </a:lnTo>
                  <a:lnTo>
                    <a:pt x="327" y="281"/>
                  </a:lnTo>
                  <a:lnTo>
                    <a:pt x="331" y="281"/>
                  </a:lnTo>
                  <a:lnTo>
                    <a:pt x="331" y="281"/>
                  </a:lnTo>
                  <a:lnTo>
                    <a:pt x="332" y="281"/>
                  </a:lnTo>
                  <a:lnTo>
                    <a:pt x="334" y="285"/>
                  </a:lnTo>
                  <a:lnTo>
                    <a:pt x="335" y="285"/>
                  </a:lnTo>
                  <a:lnTo>
                    <a:pt x="337" y="285"/>
                  </a:lnTo>
                  <a:lnTo>
                    <a:pt x="337" y="288"/>
                  </a:lnTo>
                  <a:lnTo>
                    <a:pt x="339" y="289"/>
                  </a:lnTo>
                  <a:lnTo>
                    <a:pt x="340" y="291"/>
                  </a:lnTo>
                  <a:lnTo>
                    <a:pt x="343" y="291"/>
                  </a:lnTo>
                  <a:lnTo>
                    <a:pt x="345" y="289"/>
                  </a:lnTo>
                  <a:lnTo>
                    <a:pt x="345" y="288"/>
                  </a:lnTo>
                  <a:lnTo>
                    <a:pt x="346" y="288"/>
                  </a:lnTo>
                  <a:lnTo>
                    <a:pt x="348" y="289"/>
                  </a:lnTo>
                  <a:lnTo>
                    <a:pt x="348" y="291"/>
                  </a:lnTo>
                  <a:lnTo>
                    <a:pt x="351" y="289"/>
                  </a:lnTo>
                  <a:lnTo>
                    <a:pt x="351" y="288"/>
                  </a:lnTo>
                  <a:lnTo>
                    <a:pt x="351" y="285"/>
                  </a:lnTo>
                  <a:lnTo>
                    <a:pt x="354" y="285"/>
                  </a:lnTo>
                  <a:lnTo>
                    <a:pt x="354" y="288"/>
                  </a:lnTo>
                  <a:lnTo>
                    <a:pt x="354" y="288"/>
                  </a:lnTo>
                  <a:lnTo>
                    <a:pt x="358" y="289"/>
                  </a:lnTo>
                  <a:lnTo>
                    <a:pt x="358" y="291"/>
                  </a:lnTo>
                  <a:lnTo>
                    <a:pt x="359" y="291"/>
                  </a:lnTo>
                  <a:lnTo>
                    <a:pt x="358" y="294"/>
                  </a:lnTo>
                  <a:lnTo>
                    <a:pt x="359" y="292"/>
                  </a:lnTo>
                  <a:lnTo>
                    <a:pt x="361" y="292"/>
                  </a:lnTo>
                  <a:lnTo>
                    <a:pt x="362" y="291"/>
                  </a:lnTo>
                  <a:lnTo>
                    <a:pt x="362" y="289"/>
                  </a:lnTo>
                  <a:lnTo>
                    <a:pt x="361" y="288"/>
                  </a:lnTo>
                  <a:lnTo>
                    <a:pt x="358" y="288"/>
                  </a:lnTo>
                  <a:lnTo>
                    <a:pt x="358" y="285"/>
                  </a:lnTo>
                  <a:lnTo>
                    <a:pt x="358" y="285"/>
                  </a:lnTo>
                  <a:lnTo>
                    <a:pt x="358" y="285"/>
                  </a:lnTo>
                  <a:lnTo>
                    <a:pt x="358" y="281"/>
                  </a:lnTo>
                  <a:lnTo>
                    <a:pt x="359" y="281"/>
                  </a:lnTo>
                  <a:lnTo>
                    <a:pt x="361" y="281"/>
                  </a:lnTo>
                  <a:lnTo>
                    <a:pt x="361" y="278"/>
                  </a:lnTo>
                  <a:lnTo>
                    <a:pt x="359" y="278"/>
                  </a:lnTo>
                  <a:lnTo>
                    <a:pt x="359" y="278"/>
                  </a:lnTo>
                  <a:lnTo>
                    <a:pt x="358" y="281"/>
                  </a:lnTo>
                  <a:lnTo>
                    <a:pt x="358" y="278"/>
                  </a:lnTo>
                  <a:lnTo>
                    <a:pt x="358" y="278"/>
                  </a:lnTo>
                  <a:lnTo>
                    <a:pt x="359" y="277"/>
                  </a:lnTo>
                  <a:lnTo>
                    <a:pt x="361" y="277"/>
                  </a:lnTo>
                  <a:lnTo>
                    <a:pt x="362" y="275"/>
                  </a:lnTo>
                  <a:lnTo>
                    <a:pt x="366" y="273"/>
                  </a:lnTo>
                  <a:lnTo>
                    <a:pt x="369" y="273"/>
                  </a:lnTo>
                  <a:lnTo>
                    <a:pt x="372" y="273"/>
                  </a:lnTo>
                  <a:lnTo>
                    <a:pt x="372" y="273"/>
                  </a:lnTo>
                  <a:lnTo>
                    <a:pt x="375" y="273"/>
                  </a:lnTo>
                  <a:lnTo>
                    <a:pt x="378" y="273"/>
                  </a:lnTo>
                  <a:lnTo>
                    <a:pt x="378" y="272"/>
                  </a:lnTo>
                  <a:lnTo>
                    <a:pt x="381" y="269"/>
                  </a:lnTo>
                  <a:lnTo>
                    <a:pt x="381" y="272"/>
                  </a:lnTo>
                  <a:lnTo>
                    <a:pt x="381" y="275"/>
                  </a:lnTo>
                  <a:lnTo>
                    <a:pt x="385" y="275"/>
                  </a:lnTo>
                  <a:lnTo>
                    <a:pt x="388" y="273"/>
                  </a:lnTo>
                  <a:lnTo>
                    <a:pt x="389" y="273"/>
                  </a:lnTo>
                  <a:lnTo>
                    <a:pt x="391" y="272"/>
                  </a:lnTo>
                  <a:lnTo>
                    <a:pt x="392" y="270"/>
                  </a:lnTo>
                  <a:lnTo>
                    <a:pt x="392" y="272"/>
                  </a:lnTo>
                  <a:lnTo>
                    <a:pt x="394" y="272"/>
                  </a:lnTo>
                  <a:lnTo>
                    <a:pt x="391" y="273"/>
                  </a:lnTo>
                  <a:lnTo>
                    <a:pt x="397" y="272"/>
                  </a:lnTo>
                  <a:lnTo>
                    <a:pt x="399" y="272"/>
                  </a:lnTo>
                  <a:lnTo>
                    <a:pt x="400" y="272"/>
                  </a:lnTo>
                  <a:lnTo>
                    <a:pt x="404" y="273"/>
                  </a:lnTo>
                  <a:lnTo>
                    <a:pt x="400" y="273"/>
                  </a:lnTo>
                  <a:lnTo>
                    <a:pt x="399" y="273"/>
                  </a:lnTo>
                  <a:lnTo>
                    <a:pt x="404" y="275"/>
                  </a:lnTo>
                  <a:lnTo>
                    <a:pt x="407" y="277"/>
                  </a:lnTo>
                  <a:lnTo>
                    <a:pt x="407" y="275"/>
                  </a:lnTo>
                  <a:lnTo>
                    <a:pt x="410" y="275"/>
                  </a:lnTo>
                  <a:lnTo>
                    <a:pt x="407" y="277"/>
                  </a:lnTo>
                  <a:lnTo>
                    <a:pt x="410" y="277"/>
                  </a:lnTo>
                  <a:lnTo>
                    <a:pt x="410" y="278"/>
                  </a:lnTo>
                  <a:lnTo>
                    <a:pt x="410" y="278"/>
                  </a:lnTo>
                  <a:lnTo>
                    <a:pt x="410" y="281"/>
                  </a:lnTo>
                  <a:lnTo>
                    <a:pt x="410" y="285"/>
                  </a:lnTo>
                  <a:lnTo>
                    <a:pt x="413" y="281"/>
                  </a:lnTo>
                  <a:lnTo>
                    <a:pt x="415" y="281"/>
                  </a:lnTo>
                  <a:lnTo>
                    <a:pt x="416" y="281"/>
                  </a:lnTo>
                  <a:lnTo>
                    <a:pt x="418" y="281"/>
                  </a:lnTo>
                  <a:lnTo>
                    <a:pt x="421" y="281"/>
                  </a:lnTo>
                  <a:lnTo>
                    <a:pt x="421" y="278"/>
                  </a:lnTo>
                  <a:lnTo>
                    <a:pt x="424" y="278"/>
                  </a:lnTo>
                  <a:lnTo>
                    <a:pt x="427" y="278"/>
                  </a:lnTo>
                  <a:lnTo>
                    <a:pt x="431" y="278"/>
                  </a:lnTo>
                  <a:lnTo>
                    <a:pt x="432" y="281"/>
                  </a:lnTo>
                  <a:lnTo>
                    <a:pt x="434" y="285"/>
                  </a:lnTo>
                  <a:lnTo>
                    <a:pt x="437" y="289"/>
                  </a:lnTo>
                  <a:lnTo>
                    <a:pt x="439" y="291"/>
                  </a:lnTo>
                  <a:lnTo>
                    <a:pt x="439" y="292"/>
                  </a:lnTo>
                  <a:lnTo>
                    <a:pt x="439" y="297"/>
                  </a:lnTo>
                  <a:lnTo>
                    <a:pt x="437" y="305"/>
                  </a:lnTo>
                  <a:lnTo>
                    <a:pt x="435" y="308"/>
                  </a:lnTo>
                  <a:lnTo>
                    <a:pt x="435" y="312"/>
                  </a:lnTo>
                  <a:lnTo>
                    <a:pt x="437" y="313"/>
                  </a:lnTo>
                  <a:lnTo>
                    <a:pt x="437" y="312"/>
                  </a:lnTo>
                  <a:lnTo>
                    <a:pt x="437" y="310"/>
                  </a:lnTo>
                  <a:lnTo>
                    <a:pt x="437" y="308"/>
                  </a:lnTo>
                  <a:lnTo>
                    <a:pt x="437" y="307"/>
                  </a:lnTo>
                  <a:lnTo>
                    <a:pt x="439" y="308"/>
                  </a:lnTo>
                  <a:lnTo>
                    <a:pt x="439" y="310"/>
                  </a:lnTo>
                  <a:lnTo>
                    <a:pt x="439" y="308"/>
                  </a:lnTo>
                  <a:lnTo>
                    <a:pt x="439" y="310"/>
                  </a:lnTo>
                  <a:lnTo>
                    <a:pt x="439" y="313"/>
                  </a:lnTo>
                  <a:lnTo>
                    <a:pt x="435" y="316"/>
                  </a:lnTo>
                  <a:lnTo>
                    <a:pt x="437" y="316"/>
                  </a:lnTo>
                  <a:lnTo>
                    <a:pt x="437" y="319"/>
                  </a:lnTo>
                  <a:lnTo>
                    <a:pt x="437" y="323"/>
                  </a:lnTo>
                  <a:lnTo>
                    <a:pt x="439" y="323"/>
                  </a:lnTo>
                  <a:lnTo>
                    <a:pt x="439" y="324"/>
                  </a:lnTo>
                  <a:lnTo>
                    <a:pt x="439" y="323"/>
                  </a:lnTo>
                  <a:lnTo>
                    <a:pt x="439" y="323"/>
                  </a:lnTo>
                  <a:lnTo>
                    <a:pt x="442" y="323"/>
                  </a:lnTo>
                  <a:lnTo>
                    <a:pt x="442" y="326"/>
                  </a:lnTo>
                  <a:lnTo>
                    <a:pt x="442" y="327"/>
                  </a:lnTo>
                  <a:lnTo>
                    <a:pt x="445" y="326"/>
                  </a:lnTo>
                  <a:lnTo>
                    <a:pt x="442" y="329"/>
                  </a:lnTo>
                  <a:lnTo>
                    <a:pt x="442" y="331"/>
                  </a:lnTo>
                  <a:lnTo>
                    <a:pt x="442" y="332"/>
                  </a:lnTo>
                  <a:lnTo>
                    <a:pt x="442" y="335"/>
                  </a:lnTo>
                  <a:lnTo>
                    <a:pt x="442" y="337"/>
                  </a:lnTo>
                  <a:lnTo>
                    <a:pt x="445" y="339"/>
                  </a:lnTo>
                  <a:lnTo>
                    <a:pt x="448" y="342"/>
                  </a:lnTo>
                  <a:lnTo>
                    <a:pt x="448" y="345"/>
                  </a:lnTo>
                  <a:lnTo>
                    <a:pt x="450" y="345"/>
                  </a:lnTo>
                  <a:lnTo>
                    <a:pt x="450" y="348"/>
                  </a:lnTo>
                  <a:lnTo>
                    <a:pt x="448" y="345"/>
                  </a:lnTo>
                  <a:lnTo>
                    <a:pt x="448" y="348"/>
                  </a:lnTo>
                  <a:lnTo>
                    <a:pt x="448" y="348"/>
                  </a:lnTo>
                  <a:lnTo>
                    <a:pt x="451" y="348"/>
                  </a:lnTo>
                  <a:lnTo>
                    <a:pt x="453" y="348"/>
                  </a:lnTo>
                  <a:lnTo>
                    <a:pt x="454" y="348"/>
                  </a:lnTo>
                  <a:lnTo>
                    <a:pt x="456" y="348"/>
                  </a:lnTo>
                  <a:lnTo>
                    <a:pt x="458" y="345"/>
                  </a:lnTo>
                  <a:lnTo>
                    <a:pt x="459" y="343"/>
                  </a:lnTo>
                  <a:lnTo>
                    <a:pt x="462" y="337"/>
                  </a:lnTo>
                  <a:lnTo>
                    <a:pt x="466" y="327"/>
                  </a:lnTo>
                  <a:lnTo>
                    <a:pt x="466" y="323"/>
                  </a:lnTo>
                  <a:lnTo>
                    <a:pt x="466" y="319"/>
                  </a:lnTo>
                  <a:lnTo>
                    <a:pt x="464" y="319"/>
                  </a:lnTo>
                  <a:lnTo>
                    <a:pt x="466" y="316"/>
                  </a:lnTo>
                  <a:lnTo>
                    <a:pt x="466" y="313"/>
                  </a:lnTo>
                  <a:lnTo>
                    <a:pt x="464" y="310"/>
                  </a:lnTo>
                  <a:lnTo>
                    <a:pt x="464" y="307"/>
                  </a:lnTo>
                  <a:lnTo>
                    <a:pt x="464" y="305"/>
                  </a:lnTo>
                  <a:lnTo>
                    <a:pt x="464" y="302"/>
                  </a:lnTo>
                  <a:lnTo>
                    <a:pt x="464" y="300"/>
                  </a:lnTo>
                  <a:lnTo>
                    <a:pt x="464" y="299"/>
                  </a:lnTo>
                  <a:lnTo>
                    <a:pt x="464" y="297"/>
                  </a:lnTo>
                  <a:lnTo>
                    <a:pt x="461" y="288"/>
                  </a:lnTo>
                  <a:lnTo>
                    <a:pt x="461" y="281"/>
                  </a:lnTo>
                  <a:lnTo>
                    <a:pt x="461" y="272"/>
                  </a:lnTo>
                  <a:lnTo>
                    <a:pt x="461" y="270"/>
                  </a:lnTo>
                  <a:lnTo>
                    <a:pt x="461" y="269"/>
                  </a:lnTo>
                  <a:lnTo>
                    <a:pt x="461" y="265"/>
                  </a:lnTo>
                  <a:lnTo>
                    <a:pt x="462" y="264"/>
                  </a:lnTo>
                  <a:lnTo>
                    <a:pt x="464" y="261"/>
                  </a:lnTo>
                  <a:lnTo>
                    <a:pt x="466" y="261"/>
                  </a:lnTo>
                  <a:lnTo>
                    <a:pt x="464" y="261"/>
                  </a:lnTo>
                  <a:lnTo>
                    <a:pt x="466" y="261"/>
                  </a:lnTo>
                  <a:lnTo>
                    <a:pt x="466" y="258"/>
                  </a:lnTo>
                  <a:lnTo>
                    <a:pt x="467" y="258"/>
                  </a:lnTo>
                  <a:lnTo>
                    <a:pt x="466" y="258"/>
                  </a:lnTo>
                  <a:lnTo>
                    <a:pt x="469" y="258"/>
                  </a:lnTo>
                  <a:lnTo>
                    <a:pt x="469" y="254"/>
                  </a:lnTo>
                  <a:lnTo>
                    <a:pt x="470" y="254"/>
                  </a:lnTo>
                  <a:lnTo>
                    <a:pt x="470" y="253"/>
                  </a:lnTo>
                  <a:lnTo>
                    <a:pt x="473" y="251"/>
                  </a:lnTo>
                  <a:lnTo>
                    <a:pt x="473" y="248"/>
                  </a:lnTo>
                  <a:lnTo>
                    <a:pt x="477" y="246"/>
                  </a:lnTo>
                  <a:lnTo>
                    <a:pt x="477" y="245"/>
                  </a:lnTo>
                  <a:lnTo>
                    <a:pt x="477" y="246"/>
                  </a:lnTo>
                  <a:lnTo>
                    <a:pt x="480" y="246"/>
                  </a:lnTo>
                  <a:lnTo>
                    <a:pt x="480" y="245"/>
                  </a:lnTo>
                  <a:lnTo>
                    <a:pt x="480" y="245"/>
                  </a:lnTo>
                  <a:lnTo>
                    <a:pt x="480" y="243"/>
                  </a:lnTo>
                  <a:lnTo>
                    <a:pt x="480" y="243"/>
                  </a:lnTo>
                  <a:lnTo>
                    <a:pt x="483" y="243"/>
                  </a:lnTo>
                  <a:lnTo>
                    <a:pt x="485" y="242"/>
                  </a:lnTo>
                  <a:lnTo>
                    <a:pt x="486" y="240"/>
                  </a:lnTo>
                  <a:lnTo>
                    <a:pt x="488" y="240"/>
                  </a:lnTo>
                  <a:lnTo>
                    <a:pt x="488" y="237"/>
                  </a:lnTo>
                  <a:lnTo>
                    <a:pt x="489" y="239"/>
                  </a:lnTo>
                  <a:lnTo>
                    <a:pt x="491" y="239"/>
                  </a:lnTo>
                  <a:lnTo>
                    <a:pt x="494" y="235"/>
                  </a:lnTo>
                  <a:lnTo>
                    <a:pt x="494" y="234"/>
                  </a:lnTo>
                  <a:lnTo>
                    <a:pt x="497" y="234"/>
                  </a:lnTo>
                  <a:lnTo>
                    <a:pt x="497" y="232"/>
                  </a:lnTo>
                  <a:lnTo>
                    <a:pt x="497" y="232"/>
                  </a:lnTo>
                  <a:lnTo>
                    <a:pt x="504" y="226"/>
                  </a:lnTo>
                  <a:lnTo>
                    <a:pt x="504" y="226"/>
                  </a:lnTo>
                  <a:lnTo>
                    <a:pt x="507" y="223"/>
                  </a:lnTo>
                  <a:lnTo>
                    <a:pt x="513" y="223"/>
                  </a:lnTo>
                  <a:lnTo>
                    <a:pt x="515" y="223"/>
                  </a:lnTo>
                  <a:lnTo>
                    <a:pt x="516" y="219"/>
                  </a:lnTo>
                  <a:lnTo>
                    <a:pt x="516" y="223"/>
                  </a:lnTo>
                  <a:lnTo>
                    <a:pt x="520" y="218"/>
                  </a:lnTo>
                  <a:lnTo>
                    <a:pt x="523" y="215"/>
                  </a:lnTo>
                  <a:lnTo>
                    <a:pt x="526" y="213"/>
                  </a:lnTo>
                  <a:lnTo>
                    <a:pt x="527" y="213"/>
                  </a:lnTo>
                  <a:lnTo>
                    <a:pt x="529" y="212"/>
                  </a:lnTo>
                  <a:lnTo>
                    <a:pt x="532" y="210"/>
                  </a:lnTo>
                  <a:lnTo>
                    <a:pt x="535" y="212"/>
                  </a:lnTo>
                  <a:lnTo>
                    <a:pt x="535" y="210"/>
                  </a:lnTo>
                  <a:lnTo>
                    <a:pt x="539" y="210"/>
                  </a:lnTo>
                  <a:lnTo>
                    <a:pt x="540" y="207"/>
                  </a:lnTo>
                  <a:lnTo>
                    <a:pt x="539" y="207"/>
                  </a:lnTo>
                  <a:lnTo>
                    <a:pt x="539" y="207"/>
                  </a:lnTo>
                  <a:lnTo>
                    <a:pt x="535" y="207"/>
                  </a:lnTo>
                  <a:lnTo>
                    <a:pt x="535" y="205"/>
                  </a:lnTo>
                  <a:lnTo>
                    <a:pt x="539" y="205"/>
                  </a:lnTo>
                  <a:lnTo>
                    <a:pt x="539" y="204"/>
                  </a:lnTo>
                  <a:lnTo>
                    <a:pt x="539" y="202"/>
                  </a:lnTo>
                  <a:lnTo>
                    <a:pt x="539" y="200"/>
                  </a:lnTo>
                  <a:lnTo>
                    <a:pt x="532" y="199"/>
                  </a:lnTo>
                  <a:lnTo>
                    <a:pt x="539" y="200"/>
                  </a:lnTo>
                  <a:lnTo>
                    <a:pt x="542" y="202"/>
                  </a:lnTo>
                  <a:lnTo>
                    <a:pt x="543" y="200"/>
                  </a:lnTo>
                  <a:lnTo>
                    <a:pt x="545" y="200"/>
                  </a:lnTo>
                  <a:lnTo>
                    <a:pt x="546" y="199"/>
                  </a:lnTo>
                  <a:lnTo>
                    <a:pt x="548" y="197"/>
                  </a:lnTo>
                  <a:lnTo>
                    <a:pt x="550" y="197"/>
                  </a:lnTo>
                  <a:lnTo>
                    <a:pt x="550" y="197"/>
                  </a:lnTo>
                  <a:lnTo>
                    <a:pt x="550" y="194"/>
                  </a:lnTo>
                  <a:lnTo>
                    <a:pt x="548" y="194"/>
                  </a:lnTo>
                  <a:lnTo>
                    <a:pt x="546" y="197"/>
                  </a:lnTo>
                  <a:lnTo>
                    <a:pt x="545" y="197"/>
                  </a:lnTo>
                  <a:lnTo>
                    <a:pt x="546" y="194"/>
                  </a:lnTo>
                  <a:lnTo>
                    <a:pt x="545" y="194"/>
                  </a:lnTo>
                  <a:lnTo>
                    <a:pt x="543" y="194"/>
                  </a:lnTo>
                  <a:lnTo>
                    <a:pt x="542" y="194"/>
                  </a:lnTo>
                  <a:lnTo>
                    <a:pt x="539" y="194"/>
                  </a:lnTo>
                  <a:lnTo>
                    <a:pt x="539" y="191"/>
                  </a:lnTo>
                  <a:lnTo>
                    <a:pt x="540" y="188"/>
                  </a:lnTo>
                  <a:lnTo>
                    <a:pt x="540" y="191"/>
                  </a:lnTo>
                  <a:lnTo>
                    <a:pt x="540" y="191"/>
                  </a:lnTo>
                  <a:lnTo>
                    <a:pt x="542" y="191"/>
                  </a:lnTo>
                  <a:lnTo>
                    <a:pt x="545" y="191"/>
                  </a:lnTo>
                  <a:lnTo>
                    <a:pt x="543" y="191"/>
                  </a:lnTo>
                  <a:lnTo>
                    <a:pt x="545" y="191"/>
                  </a:lnTo>
                  <a:lnTo>
                    <a:pt x="546" y="191"/>
                  </a:lnTo>
                  <a:lnTo>
                    <a:pt x="548" y="191"/>
                  </a:lnTo>
                  <a:lnTo>
                    <a:pt x="550" y="188"/>
                  </a:lnTo>
                  <a:lnTo>
                    <a:pt x="551" y="191"/>
                  </a:lnTo>
                  <a:lnTo>
                    <a:pt x="551" y="188"/>
                  </a:lnTo>
                  <a:lnTo>
                    <a:pt x="553" y="194"/>
                  </a:lnTo>
                  <a:lnTo>
                    <a:pt x="553" y="191"/>
                  </a:lnTo>
                  <a:lnTo>
                    <a:pt x="553" y="188"/>
                  </a:lnTo>
                  <a:lnTo>
                    <a:pt x="553" y="183"/>
                  </a:lnTo>
                  <a:lnTo>
                    <a:pt x="553" y="180"/>
                  </a:lnTo>
                  <a:lnTo>
                    <a:pt x="551" y="180"/>
                  </a:lnTo>
                  <a:lnTo>
                    <a:pt x="550" y="180"/>
                  </a:lnTo>
                  <a:lnTo>
                    <a:pt x="548" y="180"/>
                  </a:lnTo>
                  <a:lnTo>
                    <a:pt x="546" y="180"/>
                  </a:lnTo>
                  <a:lnTo>
                    <a:pt x="546" y="178"/>
                  </a:lnTo>
                  <a:lnTo>
                    <a:pt x="545" y="177"/>
                  </a:lnTo>
                  <a:lnTo>
                    <a:pt x="543" y="175"/>
                  </a:lnTo>
                  <a:lnTo>
                    <a:pt x="546" y="177"/>
                  </a:lnTo>
                  <a:lnTo>
                    <a:pt x="548" y="178"/>
                  </a:lnTo>
                  <a:lnTo>
                    <a:pt x="550" y="177"/>
                  </a:lnTo>
                  <a:lnTo>
                    <a:pt x="548" y="175"/>
                  </a:lnTo>
                  <a:lnTo>
                    <a:pt x="546" y="173"/>
                  </a:lnTo>
                  <a:lnTo>
                    <a:pt x="548" y="173"/>
                  </a:lnTo>
                  <a:lnTo>
                    <a:pt x="550" y="173"/>
                  </a:lnTo>
                  <a:lnTo>
                    <a:pt x="550" y="172"/>
                  </a:lnTo>
                  <a:lnTo>
                    <a:pt x="551" y="172"/>
                  </a:lnTo>
                  <a:lnTo>
                    <a:pt x="550" y="169"/>
                  </a:lnTo>
                  <a:lnTo>
                    <a:pt x="548" y="167"/>
                  </a:lnTo>
                  <a:lnTo>
                    <a:pt x="551" y="167"/>
                  </a:lnTo>
                  <a:lnTo>
                    <a:pt x="553" y="167"/>
                  </a:lnTo>
                  <a:lnTo>
                    <a:pt x="554" y="165"/>
                  </a:lnTo>
                  <a:lnTo>
                    <a:pt x="553" y="164"/>
                  </a:lnTo>
                  <a:lnTo>
                    <a:pt x="551" y="162"/>
                  </a:lnTo>
                  <a:lnTo>
                    <a:pt x="548" y="162"/>
                  </a:lnTo>
                  <a:lnTo>
                    <a:pt x="546" y="159"/>
                  </a:lnTo>
                  <a:lnTo>
                    <a:pt x="545" y="159"/>
                  </a:lnTo>
                  <a:lnTo>
                    <a:pt x="546" y="156"/>
                  </a:lnTo>
                  <a:lnTo>
                    <a:pt x="548" y="159"/>
                  </a:lnTo>
                  <a:lnTo>
                    <a:pt x="548" y="159"/>
                  </a:lnTo>
                  <a:lnTo>
                    <a:pt x="550" y="159"/>
                  </a:lnTo>
                  <a:lnTo>
                    <a:pt x="550" y="159"/>
                  </a:lnTo>
                  <a:lnTo>
                    <a:pt x="551" y="159"/>
                  </a:lnTo>
                  <a:lnTo>
                    <a:pt x="553" y="162"/>
                  </a:lnTo>
                  <a:lnTo>
                    <a:pt x="554" y="159"/>
                  </a:lnTo>
                  <a:lnTo>
                    <a:pt x="553" y="159"/>
                  </a:lnTo>
                  <a:lnTo>
                    <a:pt x="551" y="156"/>
                  </a:lnTo>
                  <a:lnTo>
                    <a:pt x="553" y="153"/>
                  </a:lnTo>
                  <a:lnTo>
                    <a:pt x="553" y="156"/>
                  </a:lnTo>
                  <a:lnTo>
                    <a:pt x="554" y="159"/>
                  </a:lnTo>
                  <a:lnTo>
                    <a:pt x="554" y="153"/>
                  </a:lnTo>
                  <a:lnTo>
                    <a:pt x="556" y="150"/>
                  </a:lnTo>
                  <a:lnTo>
                    <a:pt x="558" y="150"/>
                  </a:lnTo>
                  <a:lnTo>
                    <a:pt x="558" y="148"/>
                  </a:lnTo>
                  <a:lnTo>
                    <a:pt x="556" y="145"/>
                  </a:lnTo>
                  <a:lnTo>
                    <a:pt x="558" y="146"/>
                  </a:lnTo>
                  <a:lnTo>
                    <a:pt x="559" y="145"/>
                  </a:lnTo>
                  <a:lnTo>
                    <a:pt x="561" y="143"/>
                  </a:lnTo>
                  <a:lnTo>
                    <a:pt x="561" y="145"/>
                  </a:lnTo>
                  <a:lnTo>
                    <a:pt x="562" y="143"/>
                  </a:lnTo>
                  <a:lnTo>
                    <a:pt x="564" y="143"/>
                  </a:lnTo>
                  <a:lnTo>
                    <a:pt x="564" y="142"/>
                  </a:lnTo>
                  <a:lnTo>
                    <a:pt x="564" y="142"/>
                  </a:lnTo>
                  <a:lnTo>
                    <a:pt x="567" y="142"/>
                  </a:lnTo>
                  <a:lnTo>
                    <a:pt x="564" y="143"/>
                  </a:lnTo>
                  <a:lnTo>
                    <a:pt x="567" y="143"/>
                  </a:lnTo>
                  <a:lnTo>
                    <a:pt x="562" y="145"/>
                  </a:lnTo>
                  <a:lnTo>
                    <a:pt x="561" y="146"/>
                  </a:lnTo>
                  <a:lnTo>
                    <a:pt x="561" y="148"/>
                  </a:lnTo>
                  <a:lnTo>
                    <a:pt x="559" y="150"/>
                  </a:lnTo>
                  <a:lnTo>
                    <a:pt x="558" y="151"/>
                  </a:lnTo>
                  <a:lnTo>
                    <a:pt x="559" y="151"/>
                  </a:lnTo>
                  <a:lnTo>
                    <a:pt x="561" y="151"/>
                  </a:lnTo>
                  <a:lnTo>
                    <a:pt x="559" y="153"/>
                  </a:lnTo>
                  <a:lnTo>
                    <a:pt x="558" y="153"/>
                  </a:lnTo>
                  <a:lnTo>
                    <a:pt x="559" y="153"/>
                  </a:lnTo>
                  <a:lnTo>
                    <a:pt x="561" y="156"/>
                  </a:lnTo>
                  <a:lnTo>
                    <a:pt x="558" y="156"/>
                  </a:lnTo>
                  <a:lnTo>
                    <a:pt x="558" y="156"/>
                  </a:lnTo>
                  <a:lnTo>
                    <a:pt x="556" y="159"/>
                  </a:lnTo>
                  <a:lnTo>
                    <a:pt x="558" y="159"/>
                  </a:lnTo>
                  <a:lnTo>
                    <a:pt x="559" y="159"/>
                  </a:lnTo>
                  <a:lnTo>
                    <a:pt x="561" y="159"/>
                  </a:lnTo>
                  <a:lnTo>
                    <a:pt x="559" y="162"/>
                  </a:lnTo>
                  <a:lnTo>
                    <a:pt x="561" y="162"/>
                  </a:lnTo>
                  <a:lnTo>
                    <a:pt x="561" y="162"/>
                  </a:lnTo>
                  <a:lnTo>
                    <a:pt x="559" y="164"/>
                  </a:lnTo>
                  <a:lnTo>
                    <a:pt x="562" y="164"/>
                  </a:lnTo>
                  <a:lnTo>
                    <a:pt x="559" y="165"/>
                  </a:lnTo>
                  <a:lnTo>
                    <a:pt x="558" y="169"/>
                  </a:lnTo>
                  <a:lnTo>
                    <a:pt x="554" y="172"/>
                  </a:lnTo>
                  <a:lnTo>
                    <a:pt x="554" y="175"/>
                  </a:lnTo>
                  <a:lnTo>
                    <a:pt x="556" y="173"/>
                  </a:lnTo>
                  <a:lnTo>
                    <a:pt x="558" y="172"/>
                  </a:lnTo>
                  <a:lnTo>
                    <a:pt x="562" y="165"/>
                  </a:lnTo>
                  <a:lnTo>
                    <a:pt x="567" y="162"/>
                  </a:lnTo>
                  <a:lnTo>
                    <a:pt x="570" y="159"/>
                  </a:lnTo>
                  <a:lnTo>
                    <a:pt x="570" y="156"/>
                  </a:lnTo>
                  <a:lnTo>
                    <a:pt x="570" y="156"/>
                  </a:lnTo>
                  <a:lnTo>
                    <a:pt x="570" y="153"/>
                  </a:lnTo>
                  <a:lnTo>
                    <a:pt x="570" y="151"/>
                  </a:lnTo>
                  <a:lnTo>
                    <a:pt x="570" y="148"/>
                  </a:lnTo>
                  <a:lnTo>
                    <a:pt x="570" y="143"/>
                  </a:lnTo>
                  <a:lnTo>
                    <a:pt x="570" y="142"/>
                  </a:lnTo>
                  <a:lnTo>
                    <a:pt x="570" y="138"/>
                  </a:lnTo>
                  <a:lnTo>
                    <a:pt x="577" y="135"/>
                  </a:lnTo>
                  <a:lnTo>
                    <a:pt x="573" y="138"/>
                  </a:lnTo>
                  <a:lnTo>
                    <a:pt x="570" y="142"/>
                  </a:lnTo>
                  <a:lnTo>
                    <a:pt x="570" y="143"/>
                  </a:lnTo>
                  <a:lnTo>
                    <a:pt x="573" y="145"/>
                  </a:lnTo>
                  <a:lnTo>
                    <a:pt x="575" y="146"/>
                  </a:lnTo>
                  <a:lnTo>
                    <a:pt x="575" y="148"/>
                  </a:lnTo>
                  <a:lnTo>
                    <a:pt x="573" y="151"/>
                  </a:lnTo>
                  <a:lnTo>
                    <a:pt x="577" y="150"/>
                  </a:lnTo>
                  <a:lnTo>
                    <a:pt x="580" y="146"/>
                  </a:lnTo>
                  <a:lnTo>
                    <a:pt x="581" y="143"/>
                  </a:lnTo>
                  <a:lnTo>
                    <a:pt x="583" y="142"/>
                  </a:lnTo>
                  <a:lnTo>
                    <a:pt x="586" y="142"/>
                  </a:lnTo>
                  <a:lnTo>
                    <a:pt x="588" y="138"/>
                  </a:lnTo>
                  <a:lnTo>
                    <a:pt x="588" y="135"/>
                  </a:lnTo>
                  <a:lnTo>
                    <a:pt x="589" y="135"/>
                  </a:lnTo>
                  <a:lnTo>
                    <a:pt x="591" y="132"/>
                  </a:lnTo>
                  <a:lnTo>
                    <a:pt x="594" y="129"/>
                  </a:lnTo>
                  <a:lnTo>
                    <a:pt x="591" y="129"/>
                  </a:lnTo>
                  <a:lnTo>
                    <a:pt x="591" y="127"/>
                  </a:lnTo>
                  <a:lnTo>
                    <a:pt x="594" y="126"/>
                  </a:lnTo>
                  <a:lnTo>
                    <a:pt x="596" y="124"/>
                  </a:lnTo>
                  <a:lnTo>
                    <a:pt x="602" y="121"/>
                  </a:lnTo>
                  <a:lnTo>
                    <a:pt x="608" y="118"/>
                  </a:lnTo>
                  <a:lnTo>
                    <a:pt x="613" y="118"/>
                  </a:lnTo>
                  <a:lnTo>
                    <a:pt x="615" y="116"/>
                  </a:lnTo>
                  <a:lnTo>
                    <a:pt x="616" y="116"/>
                  </a:lnTo>
                  <a:lnTo>
                    <a:pt x="618" y="116"/>
                  </a:lnTo>
                  <a:lnTo>
                    <a:pt x="620" y="116"/>
                  </a:lnTo>
                  <a:lnTo>
                    <a:pt x="624" y="116"/>
                  </a:lnTo>
                  <a:lnTo>
                    <a:pt x="626" y="115"/>
                  </a:lnTo>
                  <a:lnTo>
                    <a:pt x="627" y="113"/>
                  </a:lnTo>
                  <a:lnTo>
                    <a:pt x="629" y="110"/>
                  </a:lnTo>
                  <a:lnTo>
                    <a:pt x="629" y="111"/>
                  </a:lnTo>
                  <a:lnTo>
                    <a:pt x="631" y="111"/>
                  </a:lnTo>
                  <a:lnTo>
                    <a:pt x="632" y="110"/>
                  </a:lnTo>
                  <a:lnTo>
                    <a:pt x="631" y="113"/>
                  </a:lnTo>
                  <a:lnTo>
                    <a:pt x="634" y="111"/>
                  </a:lnTo>
                  <a:lnTo>
                    <a:pt x="639" y="110"/>
                  </a:lnTo>
                  <a:lnTo>
                    <a:pt x="637" y="113"/>
                  </a:lnTo>
                  <a:lnTo>
                    <a:pt x="642" y="111"/>
                  </a:lnTo>
                  <a:lnTo>
                    <a:pt x="647" y="110"/>
                  </a:lnTo>
                  <a:lnTo>
                    <a:pt x="647" y="108"/>
                  </a:lnTo>
                  <a:lnTo>
                    <a:pt x="645" y="110"/>
                  </a:lnTo>
                  <a:lnTo>
                    <a:pt x="643" y="110"/>
                  </a:lnTo>
                  <a:lnTo>
                    <a:pt x="642" y="110"/>
                  </a:lnTo>
                  <a:lnTo>
                    <a:pt x="640" y="108"/>
                  </a:lnTo>
                  <a:lnTo>
                    <a:pt x="640" y="107"/>
                  </a:lnTo>
                  <a:lnTo>
                    <a:pt x="640" y="104"/>
                  </a:lnTo>
                  <a:lnTo>
                    <a:pt x="639" y="104"/>
                  </a:lnTo>
                  <a:lnTo>
                    <a:pt x="637" y="104"/>
                  </a:lnTo>
                  <a:lnTo>
                    <a:pt x="637" y="100"/>
                  </a:lnTo>
                  <a:lnTo>
                    <a:pt x="639" y="100"/>
                  </a:lnTo>
                  <a:lnTo>
                    <a:pt x="643" y="97"/>
                  </a:lnTo>
                  <a:lnTo>
                    <a:pt x="642" y="97"/>
                  </a:lnTo>
                  <a:lnTo>
                    <a:pt x="642" y="96"/>
                  </a:lnTo>
                  <a:lnTo>
                    <a:pt x="643" y="92"/>
                  </a:lnTo>
                  <a:lnTo>
                    <a:pt x="650" y="86"/>
                  </a:lnTo>
                  <a:lnTo>
                    <a:pt x="653" y="83"/>
                  </a:lnTo>
                  <a:lnTo>
                    <a:pt x="654" y="81"/>
                  </a:lnTo>
                  <a:lnTo>
                    <a:pt x="658" y="80"/>
                  </a:lnTo>
                  <a:lnTo>
                    <a:pt x="658" y="81"/>
                  </a:lnTo>
                  <a:lnTo>
                    <a:pt x="658" y="80"/>
                  </a:lnTo>
                  <a:lnTo>
                    <a:pt x="658" y="81"/>
                  </a:lnTo>
                  <a:lnTo>
                    <a:pt x="661" y="80"/>
                  </a:lnTo>
                  <a:lnTo>
                    <a:pt x="661" y="78"/>
                  </a:lnTo>
                  <a:lnTo>
                    <a:pt x="661" y="78"/>
                  </a:lnTo>
                  <a:lnTo>
                    <a:pt x="661" y="80"/>
                  </a:lnTo>
                  <a:lnTo>
                    <a:pt x="664" y="78"/>
                  </a:lnTo>
                  <a:lnTo>
                    <a:pt x="664" y="80"/>
                  </a:lnTo>
                  <a:lnTo>
                    <a:pt x="666" y="78"/>
                  </a:lnTo>
                  <a:lnTo>
                    <a:pt x="669" y="75"/>
                  </a:lnTo>
                  <a:lnTo>
                    <a:pt x="672" y="72"/>
                  </a:lnTo>
                  <a:lnTo>
                    <a:pt x="674" y="72"/>
                  </a:lnTo>
                  <a:lnTo>
                    <a:pt x="675" y="69"/>
                  </a:lnTo>
                  <a:lnTo>
                    <a:pt x="675" y="72"/>
                  </a:lnTo>
                  <a:lnTo>
                    <a:pt x="677" y="73"/>
                  </a:lnTo>
                  <a:lnTo>
                    <a:pt x="677" y="72"/>
                  </a:lnTo>
                  <a:lnTo>
                    <a:pt x="678" y="72"/>
                  </a:lnTo>
                  <a:lnTo>
                    <a:pt x="681" y="72"/>
                  </a:lnTo>
                  <a:lnTo>
                    <a:pt x="681" y="72"/>
                  </a:lnTo>
                  <a:lnTo>
                    <a:pt x="683" y="72"/>
                  </a:lnTo>
                  <a:lnTo>
                    <a:pt x="685" y="72"/>
                  </a:lnTo>
                  <a:lnTo>
                    <a:pt x="688" y="69"/>
                  </a:lnTo>
                  <a:lnTo>
                    <a:pt x="688" y="72"/>
                  </a:lnTo>
                  <a:lnTo>
                    <a:pt x="689" y="69"/>
                  </a:lnTo>
                  <a:lnTo>
                    <a:pt x="693" y="69"/>
                  </a:lnTo>
                  <a:lnTo>
                    <a:pt x="696" y="65"/>
                  </a:lnTo>
                  <a:lnTo>
                    <a:pt x="696" y="65"/>
                  </a:lnTo>
                  <a:lnTo>
                    <a:pt x="696" y="62"/>
                  </a:lnTo>
                  <a:lnTo>
                    <a:pt x="696" y="62"/>
                  </a:lnTo>
                  <a:lnTo>
                    <a:pt x="696" y="62"/>
                  </a:lnTo>
                  <a:lnTo>
                    <a:pt x="693" y="59"/>
                  </a:lnTo>
                  <a:lnTo>
                    <a:pt x="696" y="58"/>
                  </a:lnTo>
                  <a:lnTo>
                    <a:pt x="696" y="56"/>
                  </a:lnTo>
                  <a:lnTo>
                    <a:pt x="693" y="54"/>
                  </a:lnTo>
                  <a:lnTo>
                    <a:pt x="693" y="51"/>
                  </a:lnTo>
                  <a:lnTo>
                    <a:pt x="696" y="46"/>
                  </a:lnTo>
                  <a:lnTo>
                    <a:pt x="696" y="46"/>
                  </a:lnTo>
                  <a:lnTo>
                    <a:pt x="696" y="46"/>
                  </a:lnTo>
                  <a:lnTo>
                    <a:pt x="696" y="46"/>
                  </a:lnTo>
                  <a:lnTo>
                    <a:pt x="696" y="46"/>
                  </a:lnTo>
                  <a:lnTo>
                    <a:pt x="696" y="46"/>
                  </a:lnTo>
                  <a:lnTo>
                    <a:pt x="696" y="46"/>
                  </a:lnTo>
                  <a:lnTo>
                    <a:pt x="696" y="46"/>
                  </a:lnTo>
                  <a:lnTo>
                    <a:pt x="696" y="46"/>
                  </a:lnTo>
                  <a:close/>
                  <a:moveTo>
                    <a:pt x="92" y="21"/>
                  </a:moveTo>
                  <a:lnTo>
                    <a:pt x="94" y="23"/>
                  </a:lnTo>
                  <a:lnTo>
                    <a:pt x="96" y="21"/>
                  </a:lnTo>
                  <a:lnTo>
                    <a:pt x="94" y="21"/>
                  </a:lnTo>
                  <a:lnTo>
                    <a:pt x="94" y="19"/>
                  </a:lnTo>
                  <a:lnTo>
                    <a:pt x="94" y="18"/>
                  </a:lnTo>
                  <a:lnTo>
                    <a:pt x="96" y="16"/>
                  </a:lnTo>
                  <a:lnTo>
                    <a:pt x="92" y="19"/>
                  </a:lnTo>
                  <a:lnTo>
                    <a:pt x="92" y="21"/>
                  </a:lnTo>
                  <a:lnTo>
                    <a:pt x="92" y="21"/>
                  </a:lnTo>
                  <a:lnTo>
                    <a:pt x="92" y="21"/>
                  </a:lnTo>
                  <a:lnTo>
                    <a:pt x="92" y="21"/>
                  </a:lnTo>
                  <a:lnTo>
                    <a:pt x="92" y="21"/>
                  </a:lnTo>
                  <a:lnTo>
                    <a:pt x="92" y="21"/>
                  </a:lnTo>
                  <a:lnTo>
                    <a:pt x="92" y="21"/>
                  </a:lnTo>
                  <a:lnTo>
                    <a:pt x="92" y="21"/>
                  </a:lnTo>
                  <a:lnTo>
                    <a:pt x="92" y="21"/>
                  </a:lnTo>
                  <a:close/>
                  <a:moveTo>
                    <a:pt x="466" y="62"/>
                  </a:moveTo>
                  <a:lnTo>
                    <a:pt x="466" y="65"/>
                  </a:lnTo>
                  <a:lnTo>
                    <a:pt x="466" y="65"/>
                  </a:lnTo>
                  <a:lnTo>
                    <a:pt x="467" y="65"/>
                  </a:lnTo>
                  <a:lnTo>
                    <a:pt x="472" y="61"/>
                  </a:lnTo>
                  <a:lnTo>
                    <a:pt x="469" y="62"/>
                  </a:lnTo>
                  <a:lnTo>
                    <a:pt x="466" y="62"/>
                  </a:lnTo>
                  <a:lnTo>
                    <a:pt x="466" y="62"/>
                  </a:lnTo>
                  <a:lnTo>
                    <a:pt x="466" y="62"/>
                  </a:lnTo>
                  <a:lnTo>
                    <a:pt x="466" y="62"/>
                  </a:lnTo>
                  <a:lnTo>
                    <a:pt x="466" y="62"/>
                  </a:lnTo>
                  <a:lnTo>
                    <a:pt x="466" y="62"/>
                  </a:lnTo>
                  <a:lnTo>
                    <a:pt x="466" y="62"/>
                  </a:lnTo>
                  <a:lnTo>
                    <a:pt x="466" y="62"/>
                  </a:lnTo>
                  <a:lnTo>
                    <a:pt x="466" y="62"/>
                  </a:lnTo>
                  <a:close/>
                  <a:moveTo>
                    <a:pt x="473" y="32"/>
                  </a:moveTo>
                  <a:lnTo>
                    <a:pt x="473" y="31"/>
                  </a:lnTo>
                  <a:lnTo>
                    <a:pt x="477" y="31"/>
                  </a:lnTo>
                  <a:lnTo>
                    <a:pt x="477" y="29"/>
                  </a:lnTo>
                  <a:lnTo>
                    <a:pt x="473" y="29"/>
                  </a:lnTo>
                  <a:lnTo>
                    <a:pt x="470" y="31"/>
                  </a:lnTo>
                  <a:lnTo>
                    <a:pt x="467" y="34"/>
                  </a:lnTo>
                  <a:lnTo>
                    <a:pt x="467" y="34"/>
                  </a:lnTo>
                  <a:lnTo>
                    <a:pt x="467" y="37"/>
                  </a:lnTo>
                  <a:lnTo>
                    <a:pt x="470" y="34"/>
                  </a:lnTo>
                  <a:lnTo>
                    <a:pt x="473" y="32"/>
                  </a:lnTo>
                  <a:lnTo>
                    <a:pt x="473" y="32"/>
                  </a:lnTo>
                  <a:lnTo>
                    <a:pt x="473" y="32"/>
                  </a:lnTo>
                  <a:lnTo>
                    <a:pt x="473" y="32"/>
                  </a:lnTo>
                  <a:lnTo>
                    <a:pt x="473" y="32"/>
                  </a:lnTo>
                  <a:lnTo>
                    <a:pt x="473" y="32"/>
                  </a:lnTo>
                  <a:lnTo>
                    <a:pt x="473" y="32"/>
                  </a:lnTo>
                  <a:lnTo>
                    <a:pt x="473" y="32"/>
                  </a:lnTo>
                  <a:lnTo>
                    <a:pt x="473" y="32"/>
                  </a:lnTo>
                  <a:close/>
                  <a:moveTo>
                    <a:pt x="96" y="13"/>
                  </a:moveTo>
                  <a:lnTo>
                    <a:pt x="94" y="13"/>
                  </a:lnTo>
                  <a:lnTo>
                    <a:pt x="96" y="13"/>
                  </a:lnTo>
                  <a:lnTo>
                    <a:pt x="96" y="13"/>
                  </a:lnTo>
                  <a:lnTo>
                    <a:pt x="96" y="13"/>
                  </a:lnTo>
                  <a:lnTo>
                    <a:pt x="96" y="13"/>
                  </a:lnTo>
                  <a:lnTo>
                    <a:pt x="96" y="13"/>
                  </a:lnTo>
                  <a:lnTo>
                    <a:pt x="96" y="13"/>
                  </a:lnTo>
                  <a:lnTo>
                    <a:pt x="96" y="13"/>
                  </a:lnTo>
                  <a:lnTo>
                    <a:pt x="96" y="13"/>
                  </a:lnTo>
                  <a:lnTo>
                    <a:pt x="96" y="13"/>
                  </a:lnTo>
                  <a:lnTo>
                    <a:pt x="96" y="13"/>
                  </a:lnTo>
                  <a:close/>
                  <a:moveTo>
                    <a:pt x="92" y="16"/>
                  </a:moveTo>
                  <a:lnTo>
                    <a:pt x="92" y="13"/>
                  </a:lnTo>
                  <a:lnTo>
                    <a:pt x="91" y="13"/>
                  </a:lnTo>
                  <a:lnTo>
                    <a:pt x="92" y="16"/>
                  </a:lnTo>
                  <a:lnTo>
                    <a:pt x="92" y="16"/>
                  </a:lnTo>
                  <a:lnTo>
                    <a:pt x="92" y="16"/>
                  </a:lnTo>
                  <a:lnTo>
                    <a:pt x="92" y="16"/>
                  </a:lnTo>
                  <a:lnTo>
                    <a:pt x="92" y="16"/>
                  </a:lnTo>
                  <a:lnTo>
                    <a:pt x="92" y="16"/>
                  </a:lnTo>
                  <a:lnTo>
                    <a:pt x="92" y="16"/>
                  </a:lnTo>
                  <a:lnTo>
                    <a:pt x="92" y="16"/>
                  </a:lnTo>
                  <a:lnTo>
                    <a:pt x="92" y="16"/>
                  </a:lnTo>
                  <a:close/>
                  <a:moveTo>
                    <a:pt x="470" y="21"/>
                  </a:moveTo>
                  <a:lnTo>
                    <a:pt x="467" y="23"/>
                  </a:lnTo>
                  <a:lnTo>
                    <a:pt x="466" y="24"/>
                  </a:lnTo>
                  <a:lnTo>
                    <a:pt x="473" y="19"/>
                  </a:lnTo>
                  <a:lnTo>
                    <a:pt x="470" y="21"/>
                  </a:lnTo>
                  <a:lnTo>
                    <a:pt x="470" y="21"/>
                  </a:lnTo>
                  <a:lnTo>
                    <a:pt x="470" y="21"/>
                  </a:lnTo>
                  <a:lnTo>
                    <a:pt x="470" y="21"/>
                  </a:lnTo>
                  <a:lnTo>
                    <a:pt x="470" y="21"/>
                  </a:lnTo>
                  <a:lnTo>
                    <a:pt x="470" y="21"/>
                  </a:lnTo>
                  <a:lnTo>
                    <a:pt x="470" y="21"/>
                  </a:lnTo>
                  <a:lnTo>
                    <a:pt x="470" y="21"/>
                  </a:lnTo>
                  <a:lnTo>
                    <a:pt x="470" y="21"/>
                  </a:lnTo>
                  <a:close/>
                  <a:moveTo>
                    <a:pt x="364" y="278"/>
                  </a:moveTo>
                  <a:lnTo>
                    <a:pt x="364" y="277"/>
                  </a:lnTo>
                  <a:lnTo>
                    <a:pt x="362" y="278"/>
                  </a:lnTo>
                  <a:lnTo>
                    <a:pt x="364" y="278"/>
                  </a:lnTo>
                  <a:lnTo>
                    <a:pt x="364" y="278"/>
                  </a:lnTo>
                  <a:lnTo>
                    <a:pt x="364" y="278"/>
                  </a:lnTo>
                  <a:lnTo>
                    <a:pt x="364" y="278"/>
                  </a:lnTo>
                  <a:lnTo>
                    <a:pt x="364" y="278"/>
                  </a:lnTo>
                  <a:lnTo>
                    <a:pt x="364" y="278"/>
                  </a:lnTo>
                  <a:lnTo>
                    <a:pt x="364" y="278"/>
                  </a:lnTo>
                  <a:lnTo>
                    <a:pt x="364" y="278"/>
                  </a:lnTo>
                  <a:lnTo>
                    <a:pt x="364" y="278"/>
                  </a:lnTo>
                  <a:close/>
                  <a:moveTo>
                    <a:pt x="337" y="289"/>
                  </a:moveTo>
                  <a:lnTo>
                    <a:pt x="337" y="288"/>
                  </a:lnTo>
                  <a:lnTo>
                    <a:pt x="335" y="289"/>
                  </a:lnTo>
                  <a:lnTo>
                    <a:pt x="337" y="289"/>
                  </a:lnTo>
                  <a:lnTo>
                    <a:pt x="337" y="289"/>
                  </a:lnTo>
                  <a:lnTo>
                    <a:pt x="337" y="289"/>
                  </a:lnTo>
                  <a:lnTo>
                    <a:pt x="337" y="289"/>
                  </a:lnTo>
                  <a:lnTo>
                    <a:pt x="337" y="289"/>
                  </a:lnTo>
                  <a:lnTo>
                    <a:pt x="337" y="289"/>
                  </a:lnTo>
                  <a:lnTo>
                    <a:pt x="337" y="289"/>
                  </a:lnTo>
                  <a:lnTo>
                    <a:pt x="337" y="289"/>
                  </a:lnTo>
                  <a:lnTo>
                    <a:pt x="337" y="289"/>
                  </a:lnTo>
                  <a:close/>
                  <a:moveTo>
                    <a:pt x="551" y="202"/>
                  </a:moveTo>
                  <a:lnTo>
                    <a:pt x="548" y="204"/>
                  </a:lnTo>
                  <a:lnTo>
                    <a:pt x="551" y="204"/>
                  </a:lnTo>
                  <a:lnTo>
                    <a:pt x="553" y="199"/>
                  </a:lnTo>
                  <a:lnTo>
                    <a:pt x="553" y="197"/>
                  </a:lnTo>
                  <a:lnTo>
                    <a:pt x="551" y="200"/>
                  </a:lnTo>
                  <a:lnTo>
                    <a:pt x="551" y="202"/>
                  </a:lnTo>
                  <a:lnTo>
                    <a:pt x="551" y="202"/>
                  </a:lnTo>
                  <a:lnTo>
                    <a:pt x="551" y="202"/>
                  </a:lnTo>
                  <a:lnTo>
                    <a:pt x="551" y="202"/>
                  </a:lnTo>
                  <a:lnTo>
                    <a:pt x="551" y="202"/>
                  </a:lnTo>
                  <a:lnTo>
                    <a:pt x="551" y="202"/>
                  </a:lnTo>
                  <a:lnTo>
                    <a:pt x="551" y="202"/>
                  </a:lnTo>
                  <a:lnTo>
                    <a:pt x="551" y="202"/>
                  </a:lnTo>
                  <a:lnTo>
                    <a:pt x="551" y="20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5" name="Freeform 102">
              <a:extLst>
                <a:ext uri="{FF2B5EF4-FFF2-40B4-BE49-F238E27FC236}">
                  <a16:creationId xmlns:a16="http://schemas.microsoft.com/office/drawing/2014/main" id="{FFF46936-F114-E96A-3C2B-F4C436309B28}"/>
                </a:ext>
              </a:extLst>
            </p:cNvPr>
            <p:cNvSpPr>
              <a:spLocks/>
            </p:cNvSpPr>
            <p:nvPr/>
          </p:nvSpPr>
          <p:spPr bwMode="auto">
            <a:xfrm>
              <a:off x="6520601" y="4949253"/>
              <a:ext cx="67292" cy="71778"/>
            </a:xfrm>
            <a:custGeom>
              <a:avLst/>
              <a:gdLst>
                <a:gd name="T0" fmla="*/ 26 w 30"/>
                <a:gd name="T1" fmla="*/ 7 h 32"/>
                <a:gd name="T2" fmla="*/ 23 w 30"/>
                <a:gd name="T3" fmla="*/ 0 h 32"/>
                <a:gd name="T4" fmla="*/ 19 w 30"/>
                <a:gd name="T5" fmla="*/ 0 h 32"/>
                <a:gd name="T6" fmla="*/ 18 w 30"/>
                <a:gd name="T7" fmla="*/ 0 h 32"/>
                <a:gd name="T8" fmla="*/ 18 w 30"/>
                <a:gd name="T9" fmla="*/ 3 h 32"/>
                <a:gd name="T10" fmla="*/ 15 w 30"/>
                <a:gd name="T11" fmla="*/ 3 h 32"/>
                <a:gd name="T12" fmla="*/ 11 w 30"/>
                <a:gd name="T13" fmla="*/ 7 h 32"/>
                <a:gd name="T14" fmla="*/ 8 w 30"/>
                <a:gd name="T15" fmla="*/ 7 h 32"/>
                <a:gd name="T16" fmla="*/ 7 w 30"/>
                <a:gd name="T17" fmla="*/ 13 h 32"/>
                <a:gd name="T18" fmla="*/ 3 w 30"/>
                <a:gd name="T19" fmla="*/ 15 h 32"/>
                <a:gd name="T20" fmla="*/ 0 w 30"/>
                <a:gd name="T21" fmla="*/ 16 h 32"/>
                <a:gd name="T22" fmla="*/ 2 w 30"/>
                <a:gd name="T23" fmla="*/ 19 h 32"/>
                <a:gd name="T24" fmla="*/ 3 w 30"/>
                <a:gd name="T25" fmla="*/ 22 h 32"/>
                <a:gd name="T26" fmla="*/ 5 w 30"/>
                <a:gd name="T27" fmla="*/ 24 h 32"/>
                <a:gd name="T28" fmla="*/ 5 w 30"/>
                <a:gd name="T29" fmla="*/ 26 h 32"/>
                <a:gd name="T30" fmla="*/ 8 w 30"/>
                <a:gd name="T31" fmla="*/ 30 h 32"/>
                <a:gd name="T32" fmla="*/ 11 w 30"/>
                <a:gd name="T33" fmla="*/ 32 h 32"/>
                <a:gd name="T34" fmla="*/ 11 w 30"/>
                <a:gd name="T35" fmla="*/ 30 h 32"/>
                <a:gd name="T36" fmla="*/ 15 w 30"/>
                <a:gd name="T37" fmla="*/ 26 h 32"/>
                <a:gd name="T38" fmla="*/ 18 w 30"/>
                <a:gd name="T39" fmla="*/ 24 h 32"/>
                <a:gd name="T40" fmla="*/ 23 w 30"/>
                <a:gd name="T41" fmla="*/ 22 h 32"/>
                <a:gd name="T42" fmla="*/ 26 w 30"/>
                <a:gd name="T43" fmla="*/ 22 h 32"/>
                <a:gd name="T44" fmla="*/ 26 w 30"/>
                <a:gd name="T45" fmla="*/ 19 h 32"/>
                <a:gd name="T46" fmla="*/ 29 w 30"/>
                <a:gd name="T47" fmla="*/ 15 h 32"/>
                <a:gd name="T48" fmla="*/ 30 w 30"/>
                <a:gd name="T49" fmla="*/ 13 h 32"/>
                <a:gd name="T50" fmla="*/ 30 w 30"/>
                <a:gd name="T51" fmla="*/ 11 h 32"/>
                <a:gd name="T52" fmla="*/ 29 w 30"/>
                <a:gd name="T53" fmla="*/ 8 h 32"/>
                <a:gd name="T54" fmla="*/ 26 w 30"/>
                <a:gd name="T55" fmla="*/ 7 h 32"/>
                <a:gd name="T56" fmla="*/ 26 w 30"/>
                <a:gd name="T57" fmla="*/ 7 h 32"/>
                <a:gd name="T58" fmla="*/ 26 w 30"/>
                <a:gd name="T59" fmla="*/ 7 h 32"/>
                <a:gd name="T60" fmla="*/ 26 w 30"/>
                <a:gd name="T61" fmla="*/ 7 h 32"/>
                <a:gd name="T62" fmla="*/ 26 w 30"/>
                <a:gd name="T63" fmla="*/ 7 h 32"/>
                <a:gd name="T64" fmla="*/ 26 w 30"/>
                <a:gd name="T65" fmla="*/ 7 h 32"/>
                <a:gd name="T66" fmla="*/ 26 w 30"/>
                <a:gd name="T67" fmla="*/ 7 h 32"/>
                <a:gd name="T68" fmla="*/ 26 w 30"/>
                <a:gd name="T69" fmla="*/ 7 h 32"/>
                <a:gd name="T70" fmla="*/ 26 w 30"/>
                <a:gd name="T7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32">
                  <a:moveTo>
                    <a:pt x="26" y="7"/>
                  </a:moveTo>
                  <a:lnTo>
                    <a:pt x="23" y="0"/>
                  </a:lnTo>
                  <a:lnTo>
                    <a:pt x="19" y="0"/>
                  </a:lnTo>
                  <a:lnTo>
                    <a:pt x="18" y="0"/>
                  </a:lnTo>
                  <a:lnTo>
                    <a:pt x="18" y="3"/>
                  </a:lnTo>
                  <a:lnTo>
                    <a:pt x="15" y="3"/>
                  </a:lnTo>
                  <a:lnTo>
                    <a:pt x="11" y="7"/>
                  </a:lnTo>
                  <a:lnTo>
                    <a:pt x="8" y="7"/>
                  </a:lnTo>
                  <a:lnTo>
                    <a:pt x="7" y="13"/>
                  </a:lnTo>
                  <a:lnTo>
                    <a:pt x="3" y="15"/>
                  </a:lnTo>
                  <a:lnTo>
                    <a:pt x="0" y="16"/>
                  </a:lnTo>
                  <a:lnTo>
                    <a:pt x="2" y="19"/>
                  </a:lnTo>
                  <a:lnTo>
                    <a:pt x="3" y="22"/>
                  </a:lnTo>
                  <a:lnTo>
                    <a:pt x="5" y="24"/>
                  </a:lnTo>
                  <a:lnTo>
                    <a:pt x="5" y="26"/>
                  </a:lnTo>
                  <a:lnTo>
                    <a:pt x="8" y="30"/>
                  </a:lnTo>
                  <a:lnTo>
                    <a:pt x="11" y="32"/>
                  </a:lnTo>
                  <a:lnTo>
                    <a:pt x="11" y="30"/>
                  </a:lnTo>
                  <a:lnTo>
                    <a:pt x="15" y="26"/>
                  </a:lnTo>
                  <a:lnTo>
                    <a:pt x="18" y="24"/>
                  </a:lnTo>
                  <a:lnTo>
                    <a:pt x="23" y="22"/>
                  </a:lnTo>
                  <a:lnTo>
                    <a:pt x="26" y="22"/>
                  </a:lnTo>
                  <a:lnTo>
                    <a:pt x="26" y="19"/>
                  </a:lnTo>
                  <a:lnTo>
                    <a:pt x="29" y="15"/>
                  </a:lnTo>
                  <a:lnTo>
                    <a:pt x="30" y="13"/>
                  </a:lnTo>
                  <a:lnTo>
                    <a:pt x="30" y="11"/>
                  </a:lnTo>
                  <a:lnTo>
                    <a:pt x="29" y="8"/>
                  </a:lnTo>
                  <a:lnTo>
                    <a:pt x="26" y="7"/>
                  </a:lnTo>
                  <a:lnTo>
                    <a:pt x="26" y="7"/>
                  </a:lnTo>
                  <a:lnTo>
                    <a:pt x="26" y="7"/>
                  </a:lnTo>
                  <a:lnTo>
                    <a:pt x="26" y="7"/>
                  </a:lnTo>
                  <a:lnTo>
                    <a:pt x="26" y="7"/>
                  </a:lnTo>
                  <a:lnTo>
                    <a:pt x="26" y="7"/>
                  </a:lnTo>
                  <a:lnTo>
                    <a:pt x="26" y="7"/>
                  </a:lnTo>
                  <a:lnTo>
                    <a:pt x="26" y="7"/>
                  </a:lnTo>
                  <a:lnTo>
                    <a:pt x="26" y="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6" name="Freeform 104">
              <a:extLst>
                <a:ext uri="{FF2B5EF4-FFF2-40B4-BE49-F238E27FC236}">
                  <a16:creationId xmlns:a16="http://schemas.microsoft.com/office/drawing/2014/main" id="{45DBAA49-FC02-B483-2866-06B463F29208}"/>
                </a:ext>
              </a:extLst>
            </p:cNvPr>
            <p:cNvSpPr>
              <a:spLocks/>
            </p:cNvSpPr>
            <p:nvPr/>
          </p:nvSpPr>
          <p:spPr bwMode="auto">
            <a:xfrm>
              <a:off x="6630512" y="4864017"/>
              <a:ext cx="40375" cy="42619"/>
            </a:xfrm>
            <a:custGeom>
              <a:avLst/>
              <a:gdLst>
                <a:gd name="T0" fmla="*/ 8 w 18"/>
                <a:gd name="T1" fmla="*/ 0 h 19"/>
                <a:gd name="T2" fmla="*/ 5 w 18"/>
                <a:gd name="T3" fmla="*/ 0 h 19"/>
                <a:gd name="T4" fmla="*/ 5 w 18"/>
                <a:gd name="T5" fmla="*/ 3 h 19"/>
                <a:gd name="T6" fmla="*/ 0 w 18"/>
                <a:gd name="T7" fmla="*/ 13 h 19"/>
                <a:gd name="T8" fmla="*/ 5 w 18"/>
                <a:gd name="T9" fmla="*/ 16 h 19"/>
                <a:gd name="T10" fmla="*/ 8 w 18"/>
                <a:gd name="T11" fmla="*/ 19 h 19"/>
                <a:gd name="T12" fmla="*/ 12 w 18"/>
                <a:gd name="T13" fmla="*/ 19 h 19"/>
                <a:gd name="T14" fmla="*/ 15 w 18"/>
                <a:gd name="T15" fmla="*/ 19 h 19"/>
                <a:gd name="T16" fmla="*/ 15 w 18"/>
                <a:gd name="T17" fmla="*/ 18 h 19"/>
                <a:gd name="T18" fmla="*/ 15 w 18"/>
                <a:gd name="T19" fmla="*/ 13 h 19"/>
                <a:gd name="T20" fmla="*/ 18 w 18"/>
                <a:gd name="T21" fmla="*/ 13 h 19"/>
                <a:gd name="T22" fmla="*/ 16 w 18"/>
                <a:gd name="T23" fmla="*/ 10 h 19"/>
                <a:gd name="T24" fmla="*/ 16 w 18"/>
                <a:gd name="T25" fmla="*/ 6 h 19"/>
                <a:gd name="T26" fmla="*/ 16 w 18"/>
                <a:gd name="T27" fmla="*/ 3 h 19"/>
                <a:gd name="T28" fmla="*/ 15 w 18"/>
                <a:gd name="T29" fmla="*/ 3 h 19"/>
                <a:gd name="T30" fmla="*/ 12 w 18"/>
                <a:gd name="T31" fmla="*/ 0 h 19"/>
                <a:gd name="T32" fmla="*/ 8 w 18"/>
                <a:gd name="T33" fmla="*/ 0 h 19"/>
                <a:gd name="T34" fmla="*/ 8 w 18"/>
                <a:gd name="T35" fmla="*/ 0 h 19"/>
                <a:gd name="T36" fmla="*/ 8 w 18"/>
                <a:gd name="T37" fmla="*/ 0 h 19"/>
                <a:gd name="T38" fmla="*/ 8 w 18"/>
                <a:gd name="T39" fmla="*/ 0 h 19"/>
                <a:gd name="T40" fmla="*/ 8 w 18"/>
                <a:gd name="T41" fmla="*/ 0 h 19"/>
                <a:gd name="T42" fmla="*/ 8 w 18"/>
                <a:gd name="T43" fmla="*/ 0 h 19"/>
                <a:gd name="T44" fmla="*/ 8 w 18"/>
                <a:gd name="T45" fmla="*/ 0 h 19"/>
                <a:gd name="T46" fmla="*/ 8 w 18"/>
                <a:gd name="T47" fmla="*/ 0 h 19"/>
                <a:gd name="T48" fmla="*/ 8 w 18"/>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9">
                  <a:moveTo>
                    <a:pt x="8" y="0"/>
                  </a:moveTo>
                  <a:lnTo>
                    <a:pt x="5" y="0"/>
                  </a:lnTo>
                  <a:lnTo>
                    <a:pt x="5" y="3"/>
                  </a:lnTo>
                  <a:lnTo>
                    <a:pt x="0" y="13"/>
                  </a:lnTo>
                  <a:lnTo>
                    <a:pt x="5" y="16"/>
                  </a:lnTo>
                  <a:lnTo>
                    <a:pt x="8" y="19"/>
                  </a:lnTo>
                  <a:lnTo>
                    <a:pt x="12" y="19"/>
                  </a:lnTo>
                  <a:lnTo>
                    <a:pt x="15" y="19"/>
                  </a:lnTo>
                  <a:lnTo>
                    <a:pt x="15" y="18"/>
                  </a:lnTo>
                  <a:lnTo>
                    <a:pt x="15" y="13"/>
                  </a:lnTo>
                  <a:lnTo>
                    <a:pt x="18" y="13"/>
                  </a:lnTo>
                  <a:lnTo>
                    <a:pt x="16" y="10"/>
                  </a:lnTo>
                  <a:lnTo>
                    <a:pt x="16" y="6"/>
                  </a:lnTo>
                  <a:lnTo>
                    <a:pt x="16" y="3"/>
                  </a:lnTo>
                  <a:lnTo>
                    <a:pt x="15" y="3"/>
                  </a:lnTo>
                  <a:lnTo>
                    <a:pt x="12" y="0"/>
                  </a:lnTo>
                  <a:lnTo>
                    <a:pt x="8" y="0"/>
                  </a:lnTo>
                  <a:lnTo>
                    <a:pt x="8" y="0"/>
                  </a:lnTo>
                  <a:lnTo>
                    <a:pt x="8" y="0"/>
                  </a:lnTo>
                  <a:lnTo>
                    <a:pt x="8" y="0"/>
                  </a:lnTo>
                  <a:lnTo>
                    <a:pt x="8" y="0"/>
                  </a:lnTo>
                  <a:lnTo>
                    <a:pt x="8" y="0"/>
                  </a:lnTo>
                  <a:lnTo>
                    <a:pt x="8" y="0"/>
                  </a:lnTo>
                  <a:lnTo>
                    <a:pt x="8" y="0"/>
                  </a:lnTo>
                  <a:lnTo>
                    <a:pt x="8"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7" name="Freeform 108">
              <a:extLst>
                <a:ext uri="{FF2B5EF4-FFF2-40B4-BE49-F238E27FC236}">
                  <a16:creationId xmlns:a16="http://schemas.microsoft.com/office/drawing/2014/main" id="{AF70D7BB-4070-6917-DFE5-FBF4BE0BAB19}"/>
                </a:ext>
              </a:extLst>
            </p:cNvPr>
            <p:cNvSpPr>
              <a:spLocks/>
            </p:cNvSpPr>
            <p:nvPr/>
          </p:nvSpPr>
          <p:spPr bwMode="auto">
            <a:xfrm>
              <a:off x="6695561" y="4334652"/>
              <a:ext cx="89723" cy="248980"/>
            </a:xfrm>
            <a:custGeom>
              <a:avLst/>
              <a:gdLst>
                <a:gd name="T0" fmla="*/ 10 w 40"/>
                <a:gd name="T1" fmla="*/ 3 h 111"/>
                <a:gd name="T2" fmla="*/ 10 w 40"/>
                <a:gd name="T3" fmla="*/ 4 h 111"/>
                <a:gd name="T4" fmla="*/ 10 w 40"/>
                <a:gd name="T5" fmla="*/ 7 h 111"/>
                <a:gd name="T6" fmla="*/ 13 w 40"/>
                <a:gd name="T7" fmla="*/ 12 h 111"/>
                <a:gd name="T8" fmla="*/ 13 w 40"/>
                <a:gd name="T9" fmla="*/ 17 h 111"/>
                <a:gd name="T10" fmla="*/ 10 w 40"/>
                <a:gd name="T11" fmla="*/ 20 h 111"/>
                <a:gd name="T12" fmla="*/ 8 w 40"/>
                <a:gd name="T13" fmla="*/ 20 h 111"/>
                <a:gd name="T14" fmla="*/ 10 w 40"/>
                <a:gd name="T15" fmla="*/ 23 h 111"/>
                <a:gd name="T16" fmla="*/ 8 w 40"/>
                <a:gd name="T17" fmla="*/ 30 h 111"/>
                <a:gd name="T18" fmla="*/ 10 w 40"/>
                <a:gd name="T19" fmla="*/ 39 h 111"/>
                <a:gd name="T20" fmla="*/ 6 w 40"/>
                <a:gd name="T21" fmla="*/ 44 h 111"/>
                <a:gd name="T22" fmla="*/ 3 w 40"/>
                <a:gd name="T23" fmla="*/ 47 h 111"/>
                <a:gd name="T24" fmla="*/ 3 w 40"/>
                <a:gd name="T25" fmla="*/ 55 h 111"/>
                <a:gd name="T26" fmla="*/ 2 w 40"/>
                <a:gd name="T27" fmla="*/ 58 h 111"/>
                <a:gd name="T28" fmla="*/ 0 w 40"/>
                <a:gd name="T29" fmla="*/ 61 h 111"/>
                <a:gd name="T30" fmla="*/ 2 w 40"/>
                <a:gd name="T31" fmla="*/ 65 h 111"/>
                <a:gd name="T32" fmla="*/ 5 w 40"/>
                <a:gd name="T33" fmla="*/ 65 h 111"/>
                <a:gd name="T34" fmla="*/ 5 w 40"/>
                <a:gd name="T35" fmla="*/ 65 h 111"/>
                <a:gd name="T36" fmla="*/ 5 w 40"/>
                <a:gd name="T37" fmla="*/ 65 h 111"/>
                <a:gd name="T38" fmla="*/ 14 w 40"/>
                <a:gd name="T39" fmla="*/ 73 h 111"/>
                <a:gd name="T40" fmla="*/ 21 w 40"/>
                <a:gd name="T41" fmla="*/ 71 h 111"/>
                <a:gd name="T42" fmla="*/ 24 w 40"/>
                <a:gd name="T43" fmla="*/ 76 h 111"/>
                <a:gd name="T44" fmla="*/ 24 w 40"/>
                <a:gd name="T45" fmla="*/ 81 h 111"/>
                <a:gd name="T46" fmla="*/ 21 w 40"/>
                <a:gd name="T47" fmla="*/ 85 h 111"/>
                <a:gd name="T48" fmla="*/ 21 w 40"/>
                <a:gd name="T49" fmla="*/ 90 h 111"/>
                <a:gd name="T50" fmla="*/ 21 w 40"/>
                <a:gd name="T51" fmla="*/ 93 h 111"/>
                <a:gd name="T52" fmla="*/ 21 w 40"/>
                <a:gd name="T53" fmla="*/ 96 h 111"/>
                <a:gd name="T54" fmla="*/ 27 w 40"/>
                <a:gd name="T55" fmla="*/ 104 h 111"/>
                <a:gd name="T56" fmla="*/ 30 w 40"/>
                <a:gd name="T57" fmla="*/ 109 h 111"/>
                <a:gd name="T58" fmla="*/ 32 w 40"/>
                <a:gd name="T59" fmla="*/ 111 h 111"/>
                <a:gd name="T60" fmla="*/ 32 w 40"/>
                <a:gd name="T61" fmla="*/ 106 h 111"/>
                <a:gd name="T62" fmla="*/ 30 w 40"/>
                <a:gd name="T63" fmla="*/ 101 h 111"/>
                <a:gd name="T64" fmla="*/ 33 w 40"/>
                <a:gd name="T65" fmla="*/ 96 h 111"/>
                <a:gd name="T66" fmla="*/ 37 w 40"/>
                <a:gd name="T67" fmla="*/ 96 h 111"/>
                <a:gd name="T68" fmla="*/ 40 w 40"/>
                <a:gd name="T69" fmla="*/ 93 h 111"/>
                <a:gd name="T70" fmla="*/ 40 w 40"/>
                <a:gd name="T71" fmla="*/ 88 h 111"/>
                <a:gd name="T72" fmla="*/ 40 w 40"/>
                <a:gd name="T73" fmla="*/ 84 h 111"/>
                <a:gd name="T74" fmla="*/ 40 w 40"/>
                <a:gd name="T75" fmla="*/ 79 h 111"/>
                <a:gd name="T76" fmla="*/ 40 w 40"/>
                <a:gd name="T77" fmla="*/ 74 h 111"/>
                <a:gd name="T78" fmla="*/ 38 w 40"/>
                <a:gd name="T79" fmla="*/ 71 h 111"/>
                <a:gd name="T80" fmla="*/ 35 w 40"/>
                <a:gd name="T81" fmla="*/ 66 h 111"/>
                <a:gd name="T82" fmla="*/ 30 w 40"/>
                <a:gd name="T83" fmla="*/ 58 h 111"/>
                <a:gd name="T84" fmla="*/ 27 w 40"/>
                <a:gd name="T85" fmla="*/ 61 h 111"/>
                <a:gd name="T86" fmla="*/ 30 w 40"/>
                <a:gd name="T87" fmla="*/ 65 h 111"/>
                <a:gd name="T88" fmla="*/ 32 w 40"/>
                <a:gd name="T89" fmla="*/ 71 h 111"/>
                <a:gd name="T90" fmla="*/ 27 w 40"/>
                <a:gd name="T91" fmla="*/ 68 h 111"/>
                <a:gd name="T92" fmla="*/ 24 w 40"/>
                <a:gd name="T93" fmla="*/ 66 h 111"/>
                <a:gd name="T94" fmla="*/ 24 w 40"/>
                <a:gd name="T95" fmla="*/ 58 h 111"/>
                <a:gd name="T96" fmla="*/ 21 w 40"/>
                <a:gd name="T97" fmla="*/ 55 h 111"/>
                <a:gd name="T98" fmla="*/ 21 w 40"/>
                <a:gd name="T99" fmla="*/ 49 h 111"/>
                <a:gd name="T100" fmla="*/ 18 w 40"/>
                <a:gd name="T101" fmla="*/ 38 h 111"/>
                <a:gd name="T102" fmla="*/ 21 w 40"/>
                <a:gd name="T103" fmla="*/ 33 h 111"/>
                <a:gd name="T104" fmla="*/ 21 w 40"/>
                <a:gd name="T105" fmla="*/ 17 h 111"/>
                <a:gd name="T106" fmla="*/ 21 w 40"/>
                <a:gd name="T107" fmla="*/ 12 h 111"/>
                <a:gd name="T108" fmla="*/ 18 w 40"/>
                <a:gd name="T109" fmla="*/ 6 h 111"/>
                <a:gd name="T110" fmla="*/ 18 w 40"/>
                <a:gd name="T111" fmla="*/ 3 h 111"/>
                <a:gd name="T112" fmla="*/ 13 w 40"/>
                <a:gd name="T113" fmla="*/ 3 h 111"/>
                <a:gd name="T114" fmla="*/ 10 w 40"/>
                <a:gd name="T115" fmla="*/ 0 h 111"/>
                <a:gd name="T116" fmla="*/ 5 w 40"/>
                <a:gd name="T117" fmla="*/ 0 h 111"/>
                <a:gd name="T118" fmla="*/ 5 w 40"/>
                <a:gd name="T119" fmla="*/ 3 h 111"/>
                <a:gd name="T120" fmla="*/ 5 w 40"/>
                <a:gd name="T121" fmla="*/ 3 h 111"/>
                <a:gd name="T122" fmla="*/ 5 w 40"/>
                <a:gd name="T123" fmla="*/ 3 h 111"/>
                <a:gd name="T124" fmla="*/ 5 w 40"/>
                <a:gd name="T125"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 h="111">
                  <a:moveTo>
                    <a:pt x="5" y="3"/>
                  </a:moveTo>
                  <a:lnTo>
                    <a:pt x="10" y="3"/>
                  </a:lnTo>
                  <a:lnTo>
                    <a:pt x="10" y="4"/>
                  </a:lnTo>
                  <a:lnTo>
                    <a:pt x="10" y="4"/>
                  </a:lnTo>
                  <a:lnTo>
                    <a:pt x="10" y="6"/>
                  </a:lnTo>
                  <a:lnTo>
                    <a:pt x="10" y="7"/>
                  </a:lnTo>
                  <a:lnTo>
                    <a:pt x="11" y="9"/>
                  </a:lnTo>
                  <a:lnTo>
                    <a:pt x="13" y="12"/>
                  </a:lnTo>
                  <a:lnTo>
                    <a:pt x="13" y="15"/>
                  </a:lnTo>
                  <a:lnTo>
                    <a:pt x="13" y="17"/>
                  </a:lnTo>
                  <a:lnTo>
                    <a:pt x="11" y="19"/>
                  </a:lnTo>
                  <a:lnTo>
                    <a:pt x="10" y="20"/>
                  </a:lnTo>
                  <a:lnTo>
                    <a:pt x="8" y="20"/>
                  </a:lnTo>
                  <a:lnTo>
                    <a:pt x="8" y="20"/>
                  </a:lnTo>
                  <a:lnTo>
                    <a:pt x="8" y="20"/>
                  </a:lnTo>
                  <a:lnTo>
                    <a:pt x="10" y="23"/>
                  </a:lnTo>
                  <a:lnTo>
                    <a:pt x="10" y="27"/>
                  </a:lnTo>
                  <a:lnTo>
                    <a:pt x="8" y="30"/>
                  </a:lnTo>
                  <a:lnTo>
                    <a:pt x="8" y="36"/>
                  </a:lnTo>
                  <a:lnTo>
                    <a:pt x="10" y="39"/>
                  </a:lnTo>
                  <a:lnTo>
                    <a:pt x="11" y="41"/>
                  </a:lnTo>
                  <a:lnTo>
                    <a:pt x="6" y="44"/>
                  </a:lnTo>
                  <a:lnTo>
                    <a:pt x="5" y="46"/>
                  </a:lnTo>
                  <a:lnTo>
                    <a:pt x="3" y="47"/>
                  </a:lnTo>
                  <a:lnTo>
                    <a:pt x="5" y="52"/>
                  </a:lnTo>
                  <a:lnTo>
                    <a:pt x="3" y="55"/>
                  </a:lnTo>
                  <a:lnTo>
                    <a:pt x="2" y="58"/>
                  </a:lnTo>
                  <a:lnTo>
                    <a:pt x="2" y="58"/>
                  </a:lnTo>
                  <a:lnTo>
                    <a:pt x="0" y="61"/>
                  </a:lnTo>
                  <a:lnTo>
                    <a:pt x="0" y="61"/>
                  </a:lnTo>
                  <a:lnTo>
                    <a:pt x="2" y="63"/>
                  </a:lnTo>
                  <a:lnTo>
                    <a:pt x="2" y="65"/>
                  </a:lnTo>
                  <a:lnTo>
                    <a:pt x="3" y="65"/>
                  </a:lnTo>
                  <a:lnTo>
                    <a:pt x="5" y="65"/>
                  </a:lnTo>
                  <a:lnTo>
                    <a:pt x="5" y="65"/>
                  </a:lnTo>
                  <a:lnTo>
                    <a:pt x="5" y="65"/>
                  </a:lnTo>
                  <a:lnTo>
                    <a:pt x="5" y="66"/>
                  </a:lnTo>
                  <a:lnTo>
                    <a:pt x="5" y="65"/>
                  </a:lnTo>
                  <a:lnTo>
                    <a:pt x="13" y="73"/>
                  </a:lnTo>
                  <a:lnTo>
                    <a:pt x="14" y="73"/>
                  </a:lnTo>
                  <a:lnTo>
                    <a:pt x="18" y="73"/>
                  </a:lnTo>
                  <a:lnTo>
                    <a:pt x="21" y="71"/>
                  </a:lnTo>
                  <a:lnTo>
                    <a:pt x="21" y="71"/>
                  </a:lnTo>
                  <a:lnTo>
                    <a:pt x="24" y="76"/>
                  </a:lnTo>
                  <a:lnTo>
                    <a:pt x="24" y="77"/>
                  </a:lnTo>
                  <a:lnTo>
                    <a:pt x="24" y="81"/>
                  </a:lnTo>
                  <a:lnTo>
                    <a:pt x="24" y="84"/>
                  </a:lnTo>
                  <a:lnTo>
                    <a:pt x="21" y="85"/>
                  </a:lnTo>
                  <a:lnTo>
                    <a:pt x="21" y="88"/>
                  </a:lnTo>
                  <a:lnTo>
                    <a:pt x="21" y="90"/>
                  </a:lnTo>
                  <a:lnTo>
                    <a:pt x="21" y="90"/>
                  </a:lnTo>
                  <a:lnTo>
                    <a:pt x="21" y="93"/>
                  </a:lnTo>
                  <a:lnTo>
                    <a:pt x="21" y="93"/>
                  </a:lnTo>
                  <a:lnTo>
                    <a:pt x="21" y="96"/>
                  </a:lnTo>
                  <a:lnTo>
                    <a:pt x="24" y="100"/>
                  </a:lnTo>
                  <a:lnTo>
                    <a:pt x="27" y="104"/>
                  </a:lnTo>
                  <a:lnTo>
                    <a:pt x="30" y="108"/>
                  </a:lnTo>
                  <a:lnTo>
                    <a:pt x="30" y="109"/>
                  </a:lnTo>
                  <a:lnTo>
                    <a:pt x="30" y="111"/>
                  </a:lnTo>
                  <a:lnTo>
                    <a:pt x="32" y="111"/>
                  </a:lnTo>
                  <a:lnTo>
                    <a:pt x="32" y="109"/>
                  </a:lnTo>
                  <a:lnTo>
                    <a:pt x="32" y="106"/>
                  </a:lnTo>
                  <a:lnTo>
                    <a:pt x="32" y="104"/>
                  </a:lnTo>
                  <a:lnTo>
                    <a:pt x="30" y="101"/>
                  </a:lnTo>
                  <a:lnTo>
                    <a:pt x="32" y="100"/>
                  </a:lnTo>
                  <a:lnTo>
                    <a:pt x="33" y="96"/>
                  </a:lnTo>
                  <a:lnTo>
                    <a:pt x="37" y="96"/>
                  </a:lnTo>
                  <a:lnTo>
                    <a:pt x="37" y="96"/>
                  </a:lnTo>
                  <a:lnTo>
                    <a:pt x="38" y="93"/>
                  </a:lnTo>
                  <a:lnTo>
                    <a:pt x="40" y="93"/>
                  </a:lnTo>
                  <a:lnTo>
                    <a:pt x="40" y="90"/>
                  </a:lnTo>
                  <a:lnTo>
                    <a:pt x="40" y="88"/>
                  </a:lnTo>
                  <a:lnTo>
                    <a:pt x="40" y="85"/>
                  </a:lnTo>
                  <a:lnTo>
                    <a:pt x="40" y="84"/>
                  </a:lnTo>
                  <a:lnTo>
                    <a:pt x="40" y="81"/>
                  </a:lnTo>
                  <a:lnTo>
                    <a:pt x="40" y="79"/>
                  </a:lnTo>
                  <a:lnTo>
                    <a:pt x="40" y="76"/>
                  </a:lnTo>
                  <a:lnTo>
                    <a:pt x="40" y="74"/>
                  </a:lnTo>
                  <a:lnTo>
                    <a:pt x="40" y="73"/>
                  </a:lnTo>
                  <a:lnTo>
                    <a:pt x="38" y="71"/>
                  </a:lnTo>
                  <a:lnTo>
                    <a:pt x="37" y="69"/>
                  </a:lnTo>
                  <a:lnTo>
                    <a:pt x="35" y="66"/>
                  </a:lnTo>
                  <a:lnTo>
                    <a:pt x="32" y="61"/>
                  </a:lnTo>
                  <a:lnTo>
                    <a:pt x="30" y="58"/>
                  </a:lnTo>
                  <a:lnTo>
                    <a:pt x="27" y="58"/>
                  </a:lnTo>
                  <a:lnTo>
                    <a:pt x="27" y="61"/>
                  </a:lnTo>
                  <a:lnTo>
                    <a:pt x="30" y="61"/>
                  </a:lnTo>
                  <a:lnTo>
                    <a:pt x="30" y="65"/>
                  </a:lnTo>
                  <a:lnTo>
                    <a:pt x="32" y="66"/>
                  </a:lnTo>
                  <a:lnTo>
                    <a:pt x="32" y="71"/>
                  </a:lnTo>
                  <a:lnTo>
                    <a:pt x="27" y="65"/>
                  </a:lnTo>
                  <a:lnTo>
                    <a:pt x="27" y="68"/>
                  </a:lnTo>
                  <a:lnTo>
                    <a:pt x="27" y="68"/>
                  </a:lnTo>
                  <a:lnTo>
                    <a:pt x="24" y="66"/>
                  </a:lnTo>
                  <a:lnTo>
                    <a:pt x="24" y="61"/>
                  </a:lnTo>
                  <a:lnTo>
                    <a:pt x="24" y="58"/>
                  </a:lnTo>
                  <a:lnTo>
                    <a:pt x="24" y="58"/>
                  </a:lnTo>
                  <a:lnTo>
                    <a:pt x="21" y="55"/>
                  </a:lnTo>
                  <a:lnTo>
                    <a:pt x="21" y="52"/>
                  </a:lnTo>
                  <a:lnTo>
                    <a:pt x="21" y="49"/>
                  </a:lnTo>
                  <a:lnTo>
                    <a:pt x="18" y="39"/>
                  </a:lnTo>
                  <a:lnTo>
                    <a:pt x="18" y="38"/>
                  </a:lnTo>
                  <a:lnTo>
                    <a:pt x="19" y="34"/>
                  </a:lnTo>
                  <a:lnTo>
                    <a:pt x="21" y="33"/>
                  </a:lnTo>
                  <a:lnTo>
                    <a:pt x="21" y="30"/>
                  </a:lnTo>
                  <a:lnTo>
                    <a:pt x="21" y="17"/>
                  </a:lnTo>
                  <a:lnTo>
                    <a:pt x="21" y="14"/>
                  </a:lnTo>
                  <a:lnTo>
                    <a:pt x="21" y="12"/>
                  </a:lnTo>
                  <a:lnTo>
                    <a:pt x="21" y="11"/>
                  </a:lnTo>
                  <a:lnTo>
                    <a:pt x="18" y="6"/>
                  </a:lnTo>
                  <a:lnTo>
                    <a:pt x="18" y="3"/>
                  </a:lnTo>
                  <a:lnTo>
                    <a:pt x="18" y="3"/>
                  </a:lnTo>
                  <a:lnTo>
                    <a:pt x="14" y="3"/>
                  </a:lnTo>
                  <a:lnTo>
                    <a:pt x="13" y="3"/>
                  </a:lnTo>
                  <a:lnTo>
                    <a:pt x="11" y="0"/>
                  </a:lnTo>
                  <a:lnTo>
                    <a:pt x="10" y="0"/>
                  </a:lnTo>
                  <a:lnTo>
                    <a:pt x="5" y="0"/>
                  </a:lnTo>
                  <a:lnTo>
                    <a:pt x="5" y="0"/>
                  </a:lnTo>
                  <a:lnTo>
                    <a:pt x="5" y="3"/>
                  </a:lnTo>
                  <a:lnTo>
                    <a:pt x="5" y="3"/>
                  </a:lnTo>
                  <a:lnTo>
                    <a:pt x="5" y="3"/>
                  </a:lnTo>
                  <a:lnTo>
                    <a:pt x="5" y="3"/>
                  </a:lnTo>
                  <a:lnTo>
                    <a:pt x="5" y="3"/>
                  </a:lnTo>
                  <a:lnTo>
                    <a:pt x="5" y="3"/>
                  </a:lnTo>
                  <a:lnTo>
                    <a:pt x="5" y="3"/>
                  </a:lnTo>
                  <a:lnTo>
                    <a:pt x="5" y="3"/>
                  </a:lnTo>
                  <a:lnTo>
                    <a:pt x="5"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8" name="Freeform 110">
              <a:extLst>
                <a:ext uri="{FF2B5EF4-FFF2-40B4-BE49-F238E27FC236}">
                  <a16:creationId xmlns:a16="http://schemas.microsoft.com/office/drawing/2014/main" id="{9F939C05-3FC7-82CB-12E7-7AD8BA57D5FD}"/>
                </a:ext>
              </a:extLst>
            </p:cNvPr>
            <p:cNvSpPr>
              <a:spLocks/>
            </p:cNvSpPr>
            <p:nvPr/>
          </p:nvSpPr>
          <p:spPr bwMode="auto">
            <a:xfrm>
              <a:off x="6628269" y="4368299"/>
              <a:ext cx="302815" cy="527121"/>
            </a:xfrm>
            <a:custGeom>
              <a:avLst/>
              <a:gdLst>
                <a:gd name="T0" fmla="*/ 132 w 135"/>
                <a:gd name="T1" fmla="*/ 53 h 235"/>
                <a:gd name="T2" fmla="*/ 132 w 135"/>
                <a:gd name="T3" fmla="*/ 40 h 235"/>
                <a:gd name="T4" fmla="*/ 132 w 135"/>
                <a:gd name="T5" fmla="*/ 27 h 235"/>
                <a:gd name="T6" fmla="*/ 132 w 135"/>
                <a:gd name="T7" fmla="*/ 15 h 235"/>
                <a:gd name="T8" fmla="*/ 132 w 135"/>
                <a:gd name="T9" fmla="*/ 5 h 235"/>
                <a:gd name="T10" fmla="*/ 129 w 135"/>
                <a:gd name="T11" fmla="*/ 0 h 235"/>
                <a:gd name="T12" fmla="*/ 108 w 135"/>
                <a:gd name="T13" fmla="*/ 12 h 235"/>
                <a:gd name="T14" fmla="*/ 94 w 135"/>
                <a:gd name="T15" fmla="*/ 18 h 235"/>
                <a:gd name="T16" fmla="*/ 82 w 135"/>
                <a:gd name="T17" fmla="*/ 18 h 235"/>
                <a:gd name="T18" fmla="*/ 65 w 135"/>
                <a:gd name="T19" fmla="*/ 15 h 235"/>
                <a:gd name="T20" fmla="*/ 57 w 135"/>
                <a:gd name="T21" fmla="*/ 24 h 235"/>
                <a:gd name="T22" fmla="*/ 62 w 135"/>
                <a:gd name="T23" fmla="*/ 43 h 235"/>
                <a:gd name="T24" fmla="*/ 70 w 135"/>
                <a:gd name="T25" fmla="*/ 58 h 235"/>
                <a:gd name="T26" fmla="*/ 71 w 135"/>
                <a:gd name="T27" fmla="*/ 69 h 235"/>
                <a:gd name="T28" fmla="*/ 68 w 135"/>
                <a:gd name="T29" fmla="*/ 78 h 235"/>
                <a:gd name="T30" fmla="*/ 62 w 135"/>
                <a:gd name="T31" fmla="*/ 86 h 235"/>
                <a:gd name="T32" fmla="*/ 60 w 135"/>
                <a:gd name="T33" fmla="*/ 96 h 235"/>
                <a:gd name="T34" fmla="*/ 51 w 135"/>
                <a:gd name="T35" fmla="*/ 81 h 235"/>
                <a:gd name="T36" fmla="*/ 52 w 135"/>
                <a:gd name="T37" fmla="*/ 73 h 235"/>
                <a:gd name="T38" fmla="*/ 54 w 135"/>
                <a:gd name="T39" fmla="*/ 61 h 235"/>
                <a:gd name="T40" fmla="*/ 44 w 135"/>
                <a:gd name="T41" fmla="*/ 58 h 235"/>
                <a:gd name="T42" fmla="*/ 35 w 135"/>
                <a:gd name="T43" fmla="*/ 50 h 235"/>
                <a:gd name="T44" fmla="*/ 1 w 135"/>
                <a:gd name="T45" fmla="*/ 73 h 235"/>
                <a:gd name="T46" fmla="*/ 6 w 135"/>
                <a:gd name="T47" fmla="*/ 78 h 235"/>
                <a:gd name="T48" fmla="*/ 27 w 135"/>
                <a:gd name="T49" fmla="*/ 86 h 235"/>
                <a:gd name="T50" fmla="*/ 33 w 135"/>
                <a:gd name="T51" fmla="*/ 93 h 235"/>
                <a:gd name="T52" fmla="*/ 33 w 135"/>
                <a:gd name="T53" fmla="*/ 108 h 235"/>
                <a:gd name="T54" fmla="*/ 33 w 135"/>
                <a:gd name="T55" fmla="*/ 115 h 235"/>
                <a:gd name="T56" fmla="*/ 30 w 135"/>
                <a:gd name="T57" fmla="*/ 121 h 235"/>
                <a:gd name="T58" fmla="*/ 32 w 135"/>
                <a:gd name="T59" fmla="*/ 131 h 235"/>
                <a:gd name="T60" fmla="*/ 30 w 135"/>
                <a:gd name="T61" fmla="*/ 142 h 235"/>
                <a:gd name="T62" fmla="*/ 25 w 135"/>
                <a:gd name="T63" fmla="*/ 153 h 235"/>
                <a:gd name="T64" fmla="*/ 19 w 135"/>
                <a:gd name="T65" fmla="*/ 161 h 235"/>
                <a:gd name="T66" fmla="*/ 9 w 135"/>
                <a:gd name="T67" fmla="*/ 172 h 235"/>
                <a:gd name="T68" fmla="*/ 16 w 135"/>
                <a:gd name="T69" fmla="*/ 191 h 235"/>
                <a:gd name="T70" fmla="*/ 17 w 135"/>
                <a:gd name="T71" fmla="*/ 215 h 235"/>
                <a:gd name="T72" fmla="*/ 17 w 135"/>
                <a:gd name="T73" fmla="*/ 224 h 235"/>
                <a:gd name="T74" fmla="*/ 27 w 135"/>
                <a:gd name="T75" fmla="*/ 235 h 235"/>
                <a:gd name="T76" fmla="*/ 25 w 135"/>
                <a:gd name="T77" fmla="*/ 224 h 235"/>
                <a:gd name="T78" fmla="*/ 32 w 135"/>
                <a:gd name="T79" fmla="*/ 213 h 235"/>
                <a:gd name="T80" fmla="*/ 62 w 135"/>
                <a:gd name="T81" fmla="*/ 197 h 235"/>
                <a:gd name="T82" fmla="*/ 60 w 135"/>
                <a:gd name="T83" fmla="*/ 186 h 235"/>
                <a:gd name="T84" fmla="*/ 62 w 135"/>
                <a:gd name="T85" fmla="*/ 169 h 235"/>
                <a:gd name="T86" fmla="*/ 59 w 135"/>
                <a:gd name="T87" fmla="*/ 159 h 235"/>
                <a:gd name="T88" fmla="*/ 54 w 135"/>
                <a:gd name="T89" fmla="*/ 143 h 235"/>
                <a:gd name="T90" fmla="*/ 54 w 135"/>
                <a:gd name="T91" fmla="*/ 134 h 235"/>
                <a:gd name="T92" fmla="*/ 60 w 135"/>
                <a:gd name="T93" fmla="*/ 131 h 235"/>
                <a:gd name="T94" fmla="*/ 73 w 135"/>
                <a:gd name="T95" fmla="*/ 118 h 235"/>
                <a:gd name="T96" fmla="*/ 82 w 135"/>
                <a:gd name="T97" fmla="*/ 108 h 235"/>
                <a:gd name="T98" fmla="*/ 90 w 135"/>
                <a:gd name="T99" fmla="*/ 102 h 235"/>
                <a:gd name="T100" fmla="*/ 106 w 135"/>
                <a:gd name="T101" fmla="*/ 94 h 235"/>
                <a:gd name="T102" fmla="*/ 124 w 135"/>
                <a:gd name="T103" fmla="*/ 78 h 235"/>
                <a:gd name="T104" fmla="*/ 130 w 135"/>
                <a:gd name="T105" fmla="*/ 67 h 235"/>
                <a:gd name="T106" fmla="*/ 132 w 135"/>
                <a:gd name="T107" fmla="*/ 56 h 235"/>
                <a:gd name="T108" fmla="*/ 132 w 135"/>
                <a:gd name="T109" fmla="*/ 5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5" h="235">
                  <a:moveTo>
                    <a:pt x="132" y="56"/>
                  </a:moveTo>
                  <a:lnTo>
                    <a:pt x="132" y="58"/>
                  </a:lnTo>
                  <a:lnTo>
                    <a:pt x="132" y="54"/>
                  </a:lnTo>
                  <a:lnTo>
                    <a:pt x="132" y="53"/>
                  </a:lnTo>
                  <a:lnTo>
                    <a:pt x="132" y="53"/>
                  </a:lnTo>
                  <a:lnTo>
                    <a:pt x="132" y="46"/>
                  </a:lnTo>
                  <a:lnTo>
                    <a:pt x="132" y="43"/>
                  </a:lnTo>
                  <a:lnTo>
                    <a:pt x="132" y="43"/>
                  </a:lnTo>
                  <a:lnTo>
                    <a:pt x="130" y="40"/>
                  </a:lnTo>
                  <a:lnTo>
                    <a:pt x="132" y="40"/>
                  </a:lnTo>
                  <a:lnTo>
                    <a:pt x="132" y="37"/>
                  </a:lnTo>
                  <a:lnTo>
                    <a:pt x="130" y="35"/>
                  </a:lnTo>
                  <a:lnTo>
                    <a:pt x="132" y="32"/>
                  </a:lnTo>
                  <a:lnTo>
                    <a:pt x="132" y="31"/>
                  </a:lnTo>
                  <a:lnTo>
                    <a:pt x="132" y="27"/>
                  </a:lnTo>
                  <a:lnTo>
                    <a:pt x="132" y="26"/>
                  </a:lnTo>
                  <a:lnTo>
                    <a:pt x="132" y="24"/>
                  </a:lnTo>
                  <a:lnTo>
                    <a:pt x="132" y="23"/>
                  </a:lnTo>
                  <a:lnTo>
                    <a:pt x="132" y="18"/>
                  </a:lnTo>
                  <a:lnTo>
                    <a:pt x="132" y="15"/>
                  </a:lnTo>
                  <a:lnTo>
                    <a:pt x="130" y="12"/>
                  </a:lnTo>
                  <a:lnTo>
                    <a:pt x="130" y="12"/>
                  </a:lnTo>
                  <a:lnTo>
                    <a:pt x="132" y="8"/>
                  </a:lnTo>
                  <a:lnTo>
                    <a:pt x="132" y="5"/>
                  </a:lnTo>
                  <a:lnTo>
                    <a:pt x="132" y="5"/>
                  </a:lnTo>
                  <a:lnTo>
                    <a:pt x="132" y="4"/>
                  </a:lnTo>
                  <a:lnTo>
                    <a:pt x="132" y="2"/>
                  </a:lnTo>
                  <a:lnTo>
                    <a:pt x="132" y="0"/>
                  </a:lnTo>
                  <a:lnTo>
                    <a:pt x="130" y="0"/>
                  </a:lnTo>
                  <a:lnTo>
                    <a:pt x="129" y="0"/>
                  </a:lnTo>
                  <a:lnTo>
                    <a:pt x="121" y="5"/>
                  </a:lnTo>
                  <a:lnTo>
                    <a:pt x="117" y="8"/>
                  </a:lnTo>
                  <a:lnTo>
                    <a:pt x="114" y="8"/>
                  </a:lnTo>
                  <a:lnTo>
                    <a:pt x="111" y="8"/>
                  </a:lnTo>
                  <a:lnTo>
                    <a:pt x="108" y="12"/>
                  </a:lnTo>
                  <a:lnTo>
                    <a:pt x="106" y="12"/>
                  </a:lnTo>
                  <a:lnTo>
                    <a:pt x="103" y="12"/>
                  </a:lnTo>
                  <a:lnTo>
                    <a:pt x="100" y="12"/>
                  </a:lnTo>
                  <a:lnTo>
                    <a:pt x="97" y="12"/>
                  </a:lnTo>
                  <a:lnTo>
                    <a:pt x="94" y="18"/>
                  </a:lnTo>
                  <a:lnTo>
                    <a:pt x="90" y="18"/>
                  </a:lnTo>
                  <a:lnTo>
                    <a:pt x="87" y="15"/>
                  </a:lnTo>
                  <a:lnTo>
                    <a:pt x="86" y="15"/>
                  </a:lnTo>
                  <a:lnTo>
                    <a:pt x="84" y="15"/>
                  </a:lnTo>
                  <a:lnTo>
                    <a:pt x="82" y="18"/>
                  </a:lnTo>
                  <a:lnTo>
                    <a:pt x="76" y="18"/>
                  </a:lnTo>
                  <a:lnTo>
                    <a:pt x="73" y="15"/>
                  </a:lnTo>
                  <a:lnTo>
                    <a:pt x="71" y="15"/>
                  </a:lnTo>
                  <a:lnTo>
                    <a:pt x="68" y="15"/>
                  </a:lnTo>
                  <a:lnTo>
                    <a:pt x="65" y="15"/>
                  </a:lnTo>
                  <a:lnTo>
                    <a:pt x="62" y="15"/>
                  </a:lnTo>
                  <a:lnTo>
                    <a:pt x="60" y="15"/>
                  </a:lnTo>
                  <a:lnTo>
                    <a:pt x="60" y="19"/>
                  </a:lnTo>
                  <a:lnTo>
                    <a:pt x="60" y="21"/>
                  </a:lnTo>
                  <a:lnTo>
                    <a:pt x="57" y="24"/>
                  </a:lnTo>
                  <a:lnTo>
                    <a:pt x="59" y="31"/>
                  </a:lnTo>
                  <a:lnTo>
                    <a:pt x="59" y="34"/>
                  </a:lnTo>
                  <a:lnTo>
                    <a:pt x="59" y="37"/>
                  </a:lnTo>
                  <a:lnTo>
                    <a:pt x="59" y="43"/>
                  </a:lnTo>
                  <a:lnTo>
                    <a:pt x="62" y="43"/>
                  </a:lnTo>
                  <a:lnTo>
                    <a:pt x="63" y="46"/>
                  </a:lnTo>
                  <a:lnTo>
                    <a:pt x="65" y="51"/>
                  </a:lnTo>
                  <a:lnTo>
                    <a:pt x="68" y="54"/>
                  </a:lnTo>
                  <a:lnTo>
                    <a:pt x="68" y="56"/>
                  </a:lnTo>
                  <a:lnTo>
                    <a:pt x="70" y="58"/>
                  </a:lnTo>
                  <a:lnTo>
                    <a:pt x="71" y="59"/>
                  </a:lnTo>
                  <a:lnTo>
                    <a:pt x="71" y="61"/>
                  </a:lnTo>
                  <a:lnTo>
                    <a:pt x="71" y="64"/>
                  </a:lnTo>
                  <a:lnTo>
                    <a:pt x="71" y="66"/>
                  </a:lnTo>
                  <a:lnTo>
                    <a:pt x="71" y="69"/>
                  </a:lnTo>
                  <a:lnTo>
                    <a:pt x="71" y="70"/>
                  </a:lnTo>
                  <a:lnTo>
                    <a:pt x="71" y="73"/>
                  </a:lnTo>
                  <a:lnTo>
                    <a:pt x="71" y="75"/>
                  </a:lnTo>
                  <a:lnTo>
                    <a:pt x="71" y="78"/>
                  </a:lnTo>
                  <a:lnTo>
                    <a:pt x="68" y="78"/>
                  </a:lnTo>
                  <a:lnTo>
                    <a:pt x="68" y="81"/>
                  </a:lnTo>
                  <a:lnTo>
                    <a:pt x="67" y="81"/>
                  </a:lnTo>
                  <a:lnTo>
                    <a:pt x="65" y="81"/>
                  </a:lnTo>
                  <a:lnTo>
                    <a:pt x="63" y="85"/>
                  </a:lnTo>
                  <a:lnTo>
                    <a:pt x="62" y="86"/>
                  </a:lnTo>
                  <a:lnTo>
                    <a:pt x="63" y="89"/>
                  </a:lnTo>
                  <a:lnTo>
                    <a:pt x="63" y="91"/>
                  </a:lnTo>
                  <a:lnTo>
                    <a:pt x="63" y="94"/>
                  </a:lnTo>
                  <a:lnTo>
                    <a:pt x="63" y="96"/>
                  </a:lnTo>
                  <a:lnTo>
                    <a:pt x="60" y="96"/>
                  </a:lnTo>
                  <a:lnTo>
                    <a:pt x="60" y="94"/>
                  </a:lnTo>
                  <a:lnTo>
                    <a:pt x="60" y="93"/>
                  </a:lnTo>
                  <a:lnTo>
                    <a:pt x="59" y="89"/>
                  </a:lnTo>
                  <a:lnTo>
                    <a:pt x="54" y="85"/>
                  </a:lnTo>
                  <a:lnTo>
                    <a:pt x="51" y="81"/>
                  </a:lnTo>
                  <a:lnTo>
                    <a:pt x="51" y="78"/>
                  </a:lnTo>
                  <a:lnTo>
                    <a:pt x="51" y="78"/>
                  </a:lnTo>
                  <a:lnTo>
                    <a:pt x="51" y="75"/>
                  </a:lnTo>
                  <a:lnTo>
                    <a:pt x="51" y="75"/>
                  </a:lnTo>
                  <a:lnTo>
                    <a:pt x="52" y="73"/>
                  </a:lnTo>
                  <a:lnTo>
                    <a:pt x="52" y="70"/>
                  </a:lnTo>
                  <a:lnTo>
                    <a:pt x="54" y="69"/>
                  </a:lnTo>
                  <a:lnTo>
                    <a:pt x="54" y="66"/>
                  </a:lnTo>
                  <a:lnTo>
                    <a:pt x="54" y="62"/>
                  </a:lnTo>
                  <a:lnTo>
                    <a:pt x="54" y="61"/>
                  </a:lnTo>
                  <a:lnTo>
                    <a:pt x="52" y="56"/>
                  </a:lnTo>
                  <a:lnTo>
                    <a:pt x="51" y="56"/>
                  </a:lnTo>
                  <a:lnTo>
                    <a:pt x="48" y="58"/>
                  </a:lnTo>
                  <a:lnTo>
                    <a:pt x="44" y="58"/>
                  </a:lnTo>
                  <a:lnTo>
                    <a:pt x="44" y="58"/>
                  </a:lnTo>
                  <a:lnTo>
                    <a:pt x="36" y="50"/>
                  </a:lnTo>
                  <a:lnTo>
                    <a:pt x="36" y="51"/>
                  </a:lnTo>
                  <a:lnTo>
                    <a:pt x="36" y="51"/>
                  </a:lnTo>
                  <a:lnTo>
                    <a:pt x="35" y="50"/>
                  </a:lnTo>
                  <a:lnTo>
                    <a:pt x="35" y="50"/>
                  </a:lnTo>
                  <a:lnTo>
                    <a:pt x="17" y="58"/>
                  </a:lnTo>
                  <a:lnTo>
                    <a:pt x="0" y="64"/>
                  </a:lnTo>
                  <a:lnTo>
                    <a:pt x="1" y="69"/>
                  </a:lnTo>
                  <a:lnTo>
                    <a:pt x="1" y="72"/>
                  </a:lnTo>
                  <a:lnTo>
                    <a:pt x="1" y="73"/>
                  </a:lnTo>
                  <a:lnTo>
                    <a:pt x="1" y="73"/>
                  </a:lnTo>
                  <a:lnTo>
                    <a:pt x="1" y="75"/>
                  </a:lnTo>
                  <a:lnTo>
                    <a:pt x="3" y="78"/>
                  </a:lnTo>
                  <a:lnTo>
                    <a:pt x="5" y="78"/>
                  </a:lnTo>
                  <a:lnTo>
                    <a:pt x="6" y="78"/>
                  </a:lnTo>
                  <a:lnTo>
                    <a:pt x="9" y="78"/>
                  </a:lnTo>
                  <a:lnTo>
                    <a:pt x="16" y="81"/>
                  </a:lnTo>
                  <a:lnTo>
                    <a:pt x="17" y="81"/>
                  </a:lnTo>
                  <a:lnTo>
                    <a:pt x="22" y="85"/>
                  </a:lnTo>
                  <a:lnTo>
                    <a:pt x="27" y="86"/>
                  </a:lnTo>
                  <a:lnTo>
                    <a:pt x="30" y="88"/>
                  </a:lnTo>
                  <a:lnTo>
                    <a:pt x="32" y="89"/>
                  </a:lnTo>
                  <a:lnTo>
                    <a:pt x="35" y="89"/>
                  </a:lnTo>
                  <a:lnTo>
                    <a:pt x="33" y="91"/>
                  </a:lnTo>
                  <a:lnTo>
                    <a:pt x="33" y="93"/>
                  </a:lnTo>
                  <a:lnTo>
                    <a:pt x="33" y="94"/>
                  </a:lnTo>
                  <a:lnTo>
                    <a:pt x="33" y="96"/>
                  </a:lnTo>
                  <a:lnTo>
                    <a:pt x="35" y="102"/>
                  </a:lnTo>
                  <a:lnTo>
                    <a:pt x="35" y="104"/>
                  </a:lnTo>
                  <a:lnTo>
                    <a:pt x="33" y="108"/>
                  </a:lnTo>
                  <a:lnTo>
                    <a:pt x="33" y="108"/>
                  </a:lnTo>
                  <a:lnTo>
                    <a:pt x="33" y="110"/>
                  </a:lnTo>
                  <a:lnTo>
                    <a:pt x="35" y="112"/>
                  </a:lnTo>
                  <a:lnTo>
                    <a:pt x="33" y="113"/>
                  </a:lnTo>
                  <a:lnTo>
                    <a:pt x="33" y="115"/>
                  </a:lnTo>
                  <a:lnTo>
                    <a:pt x="33" y="116"/>
                  </a:lnTo>
                  <a:lnTo>
                    <a:pt x="32" y="118"/>
                  </a:lnTo>
                  <a:lnTo>
                    <a:pt x="32" y="118"/>
                  </a:lnTo>
                  <a:lnTo>
                    <a:pt x="32" y="120"/>
                  </a:lnTo>
                  <a:lnTo>
                    <a:pt x="30" y="121"/>
                  </a:lnTo>
                  <a:lnTo>
                    <a:pt x="30" y="123"/>
                  </a:lnTo>
                  <a:lnTo>
                    <a:pt x="32" y="124"/>
                  </a:lnTo>
                  <a:lnTo>
                    <a:pt x="32" y="126"/>
                  </a:lnTo>
                  <a:lnTo>
                    <a:pt x="30" y="127"/>
                  </a:lnTo>
                  <a:lnTo>
                    <a:pt x="32" y="131"/>
                  </a:lnTo>
                  <a:lnTo>
                    <a:pt x="33" y="131"/>
                  </a:lnTo>
                  <a:lnTo>
                    <a:pt x="32" y="137"/>
                  </a:lnTo>
                  <a:lnTo>
                    <a:pt x="32" y="137"/>
                  </a:lnTo>
                  <a:lnTo>
                    <a:pt x="32" y="140"/>
                  </a:lnTo>
                  <a:lnTo>
                    <a:pt x="30" y="142"/>
                  </a:lnTo>
                  <a:lnTo>
                    <a:pt x="27" y="145"/>
                  </a:lnTo>
                  <a:lnTo>
                    <a:pt x="25" y="145"/>
                  </a:lnTo>
                  <a:lnTo>
                    <a:pt x="25" y="146"/>
                  </a:lnTo>
                  <a:lnTo>
                    <a:pt x="25" y="150"/>
                  </a:lnTo>
                  <a:lnTo>
                    <a:pt x="25" y="153"/>
                  </a:lnTo>
                  <a:lnTo>
                    <a:pt x="25" y="154"/>
                  </a:lnTo>
                  <a:lnTo>
                    <a:pt x="25" y="156"/>
                  </a:lnTo>
                  <a:lnTo>
                    <a:pt x="24" y="156"/>
                  </a:lnTo>
                  <a:lnTo>
                    <a:pt x="22" y="158"/>
                  </a:lnTo>
                  <a:lnTo>
                    <a:pt x="19" y="161"/>
                  </a:lnTo>
                  <a:lnTo>
                    <a:pt x="16" y="164"/>
                  </a:lnTo>
                  <a:lnTo>
                    <a:pt x="16" y="166"/>
                  </a:lnTo>
                  <a:lnTo>
                    <a:pt x="13" y="169"/>
                  </a:lnTo>
                  <a:lnTo>
                    <a:pt x="9" y="172"/>
                  </a:lnTo>
                  <a:lnTo>
                    <a:pt x="9" y="172"/>
                  </a:lnTo>
                  <a:lnTo>
                    <a:pt x="11" y="178"/>
                  </a:lnTo>
                  <a:lnTo>
                    <a:pt x="13" y="180"/>
                  </a:lnTo>
                  <a:lnTo>
                    <a:pt x="13" y="186"/>
                  </a:lnTo>
                  <a:lnTo>
                    <a:pt x="16" y="191"/>
                  </a:lnTo>
                  <a:lnTo>
                    <a:pt x="16" y="191"/>
                  </a:lnTo>
                  <a:lnTo>
                    <a:pt x="16" y="197"/>
                  </a:lnTo>
                  <a:lnTo>
                    <a:pt x="17" y="204"/>
                  </a:lnTo>
                  <a:lnTo>
                    <a:pt x="17" y="210"/>
                  </a:lnTo>
                  <a:lnTo>
                    <a:pt x="17" y="212"/>
                  </a:lnTo>
                  <a:lnTo>
                    <a:pt x="17" y="215"/>
                  </a:lnTo>
                  <a:lnTo>
                    <a:pt x="16" y="218"/>
                  </a:lnTo>
                  <a:lnTo>
                    <a:pt x="16" y="220"/>
                  </a:lnTo>
                  <a:lnTo>
                    <a:pt x="16" y="221"/>
                  </a:lnTo>
                  <a:lnTo>
                    <a:pt x="16" y="224"/>
                  </a:lnTo>
                  <a:lnTo>
                    <a:pt x="17" y="224"/>
                  </a:lnTo>
                  <a:lnTo>
                    <a:pt x="17" y="227"/>
                  </a:lnTo>
                  <a:lnTo>
                    <a:pt x="17" y="231"/>
                  </a:lnTo>
                  <a:lnTo>
                    <a:pt x="19" y="234"/>
                  </a:lnTo>
                  <a:lnTo>
                    <a:pt x="19" y="234"/>
                  </a:lnTo>
                  <a:lnTo>
                    <a:pt x="27" y="235"/>
                  </a:lnTo>
                  <a:lnTo>
                    <a:pt x="28" y="234"/>
                  </a:lnTo>
                  <a:lnTo>
                    <a:pt x="28" y="231"/>
                  </a:lnTo>
                  <a:lnTo>
                    <a:pt x="28" y="224"/>
                  </a:lnTo>
                  <a:lnTo>
                    <a:pt x="27" y="224"/>
                  </a:lnTo>
                  <a:lnTo>
                    <a:pt x="25" y="224"/>
                  </a:lnTo>
                  <a:lnTo>
                    <a:pt x="22" y="221"/>
                  </a:lnTo>
                  <a:lnTo>
                    <a:pt x="25" y="221"/>
                  </a:lnTo>
                  <a:lnTo>
                    <a:pt x="27" y="218"/>
                  </a:lnTo>
                  <a:lnTo>
                    <a:pt x="28" y="216"/>
                  </a:lnTo>
                  <a:lnTo>
                    <a:pt x="32" y="213"/>
                  </a:lnTo>
                  <a:lnTo>
                    <a:pt x="40" y="210"/>
                  </a:lnTo>
                  <a:lnTo>
                    <a:pt x="48" y="207"/>
                  </a:lnTo>
                  <a:lnTo>
                    <a:pt x="52" y="204"/>
                  </a:lnTo>
                  <a:lnTo>
                    <a:pt x="59" y="200"/>
                  </a:lnTo>
                  <a:lnTo>
                    <a:pt x="62" y="197"/>
                  </a:lnTo>
                  <a:lnTo>
                    <a:pt x="62" y="194"/>
                  </a:lnTo>
                  <a:lnTo>
                    <a:pt x="62" y="193"/>
                  </a:lnTo>
                  <a:lnTo>
                    <a:pt x="60" y="193"/>
                  </a:lnTo>
                  <a:lnTo>
                    <a:pt x="60" y="189"/>
                  </a:lnTo>
                  <a:lnTo>
                    <a:pt x="60" y="186"/>
                  </a:lnTo>
                  <a:lnTo>
                    <a:pt x="63" y="178"/>
                  </a:lnTo>
                  <a:lnTo>
                    <a:pt x="62" y="175"/>
                  </a:lnTo>
                  <a:lnTo>
                    <a:pt x="63" y="169"/>
                  </a:lnTo>
                  <a:lnTo>
                    <a:pt x="63" y="166"/>
                  </a:lnTo>
                  <a:lnTo>
                    <a:pt x="62" y="169"/>
                  </a:lnTo>
                  <a:lnTo>
                    <a:pt x="62" y="172"/>
                  </a:lnTo>
                  <a:lnTo>
                    <a:pt x="60" y="169"/>
                  </a:lnTo>
                  <a:lnTo>
                    <a:pt x="60" y="169"/>
                  </a:lnTo>
                  <a:lnTo>
                    <a:pt x="60" y="162"/>
                  </a:lnTo>
                  <a:lnTo>
                    <a:pt x="59" y="159"/>
                  </a:lnTo>
                  <a:lnTo>
                    <a:pt x="59" y="154"/>
                  </a:lnTo>
                  <a:lnTo>
                    <a:pt x="59" y="151"/>
                  </a:lnTo>
                  <a:lnTo>
                    <a:pt x="57" y="148"/>
                  </a:lnTo>
                  <a:lnTo>
                    <a:pt x="57" y="146"/>
                  </a:lnTo>
                  <a:lnTo>
                    <a:pt x="54" y="143"/>
                  </a:lnTo>
                  <a:lnTo>
                    <a:pt x="54" y="140"/>
                  </a:lnTo>
                  <a:lnTo>
                    <a:pt x="54" y="140"/>
                  </a:lnTo>
                  <a:lnTo>
                    <a:pt x="54" y="137"/>
                  </a:lnTo>
                  <a:lnTo>
                    <a:pt x="54" y="134"/>
                  </a:lnTo>
                  <a:lnTo>
                    <a:pt x="54" y="134"/>
                  </a:lnTo>
                  <a:lnTo>
                    <a:pt x="54" y="131"/>
                  </a:lnTo>
                  <a:lnTo>
                    <a:pt x="55" y="134"/>
                  </a:lnTo>
                  <a:lnTo>
                    <a:pt x="57" y="134"/>
                  </a:lnTo>
                  <a:lnTo>
                    <a:pt x="59" y="134"/>
                  </a:lnTo>
                  <a:lnTo>
                    <a:pt x="60" y="131"/>
                  </a:lnTo>
                  <a:lnTo>
                    <a:pt x="65" y="126"/>
                  </a:lnTo>
                  <a:lnTo>
                    <a:pt x="68" y="123"/>
                  </a:lnTo>
                  <a:lnTo>
                    <a:pt x="71" y="120"/>
                  </a:lnTo>
                  <a:lnTo>
                    <a:pt x="73" y="120"/>
                  </a:lnTo>
                  <a:lnTo>
                    <a:pt x="73" y="118"/>
                  </a:lnTo>
                  <a:lnTo>
                    <a:pt x="75" y="120"/>
                  </a:lnTo>
                  <a:lnTo>
                    <a:pt x="75" y="116"/>
                  </a:lnTo>
                  <a:lnTo>
                    <a:pt x="76" y="115"/>
                  </a:lnTo>
                  <a:lnTo>
                    <a:pt x="79" y="112"/>
                  </a:lnTo>
                  <a:lnTo>
                    <a:pt x="82" y="108"/>
                  </a:lnTo>
                  <a:lnTo>
                    <a:pt x="82" y="108"/>
                  </a:lnTo>
                  <a:lnTo>
                    <a:pt x="81" y="105"/>
                  </a:lnTo>
                  <a:lnTo>
                    <a:pt x="84" y="105"/>
                  </a:lnTo>
                  <a:lnTo>
                    <a:pt x="86" y="105"/>
                  </a:lnTo>
                  <a:lnTo>
                    <a:pt x="90" y="102"/>
                  </a:lnTo>
                  <a:lnTo>
                    <a:pt x="94" y="100"/>
                  </a:lnTo>
                  <a:lnTo>
                    <a:pt x="97" y="97"/>
                  </a:lnTo>
                  <a:lnTo>
                    <a:pt x="100" y="97"/>
                  </a:lnTo>
                  <a:lnTo>
                    <a:pt x="103" y="96"/>
                  </a:lnTo>
                  <a:lnTo>
                    <a:pt x="106" y="94"/>
                  </a:lnTo>
                  <a:lnTo>
                    <a:pt x="109" y="93"/>
                  </a:lnTo>
                  <a:lnTo>
                    <a:pt x="111" y="91"/>
                  </a:lnTo>
                  <a:lnTo>
                    <a:pt x="114" y="89"/>
                  </a:lnTo>
                  <a:lnTo>
                    <a:pt x="119" y="85"/>
                  </a:lnTo>
                  <a:lnTo>
                    <a:pt x="124" y="78"/>
                  </a:lnTo>
                  <a:lnTo>
                    <a:pt x="127" y="75"/>
                  </a:lnTo>
                  <a:lnTo>
                    <a:pt x="130" y="72"/>
                  </a:lnTo>
                  <a:lnTo>
                    <a:pt x="132" y="69"/>
                  </a:lnTo>
                  <a:lnTo>
                    <a:pt x="132" y="67"/>
                  </a:lnTo>
                  <a:lnTo>
                    <a:pt x="130" y="67"/>
                  </a:lnTo>
                  <a:lnTo>
                    <a:pt x="132" y="66"/>
                  </a:lnTo>
                  <a:lnTo>
                    <a:pt x="132" y="64"/>
                  </a:lnTo>
                  <a:lnTo>
                    <a:pt x="132" y="61"/>
                  </a:lnTo>
                  <a:lnTo>
                    <a:pt x="135" y="58"/>
                  </a:lnTo>
                  <a:lnTo>
                    <a:pt x="132" y="56"/>
                  </a:lnTo>
                  <a:lnTo>
                    <a:pt x="132" y="56"/>
                  </a:lnTo>
                  <a:lnTo>
                    <a:pt x="132" y="56"/>
                  </a:lnTo>
                  <a:lnTo>
                    <a:pt x="132" y="56"/>
                  </a:lnTo>
                  <a:lnTo>
                    <a:pt x="132" y="56"/>
                  </a:lnTo>
                  <a:lnTo>
                    <a:pt x="132" y="56"/>
                  </a:lnTo>
                  <a:lnTo>
                    <a:pt x="132" y="56"/>
                  </a:lnTo>
                  <a:lnTo>
                    <a:pt x="132" y="56"/>
                  </a:lnTo>
                  <a:lnTo>
                    <a:pt x="132" y="5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29" name="Freeform 112">
              <a:extLst>
                <a:ext uri="{FF2B5EF4-FFF2-40B4-BE49-F238E27FC236}">
                  <a16:creationId xmlns:a16="http://schemas.microsoft.com/office/drawing/2014/main" id="{4EC8C688-379D-5D51-C6CF-251146E64549}"/>
                </a:ext>
              </a:extLst>
            </p:cNvPr>
            <p:cNvSpPr>
              <a:spLocks/>
            </p:cNvSpPr>
            <p:nvPr/>
          </p:nvSpPr>
          <p:spPr bwMode="auto">
            <a:xfrm>
              <a:off x="6036097" y="3953331"/>
              <a:ext cx="58320" cy="42619"/>
            </a:xfrm>
            <a:custGeom>
              <a:avLst/>
              <a:gdLst>
                <a:gd name="T0" fmla="*/ 8 w 26"/>
                <a:gd name="T1" fmla="*/ 19 h 19"/>
                <a:gd name="T2" fmla="*/ 8 w 26"/>
                <a:gd name="T3" fmla="*/ 19 h 19"/>
                <a:gd name="T4" fmla="*/ 11 w 26"/>
                <a:gd name="T5" fmla="*/ 19 h 19"/>
                <a:gd name="T6" fmla="*/ 11 w 26"/>
                <a:gd name="T7" fmla="*/ 19 h 19"/>
                <a:gd name="T8" fmla="*/ 26 w 26"/>
                <a:gd name="T9" fmla="*/ 19 h 19"/>
                <a:gd name="T10" fmla="*/ 26 w 26"/>
                <a:gd name="T11" fmla="*/ 19 h 19"/>
                <a:gd name="T12" fmla="*/ 26 w 26"/>
                <a:gd name="T13" fmla="*/ 3 h 19"/>
                <a:gd name="T14" fmla="*/ 26 w 26"/>
                <a:gd name="T15" fmla="*/ 3 h 19"/>
                <a:gd name="T16" fmla="*/ 19 w 26"/>
                <a:gd name="T17" fmla="*/ 3 h 19"/>
                <a:gd name="T18" fmla="*/ 19 w 26"/>
                <a:gd name="T19" fmla="*/ 3 h 19"/>
                <a:gd name="T20" fmla="*/ 11 w 26"/>
                <a:gd name="T21" fmla="*/ 3 h 19"/>
                <a:gd name="T22" fmla="*/ 11 w 26"/>
                <a:gd name="T23" fmla="*/ 3 h 19"/>
                <a:gd name="T24" fmla="*/ 8 w 26"/>
                <a:gd name="T25" fmla="*/ 3 h 19"/>
                <a:gd name="T26" fmla="*/ 8 w 26"/>
                <a:gd name="T27" fmla="*/ 3 h 19"/>
                <a:gd name="T28" fmla="*/ 8 w 26"/>
                <a:gd name="T29" fmla="*/ 1 h 19"/>
                <a:gd name="T30" fmla="*/ 8 w 26"/>
                <a:gd name="T31" fmla="*/ 1 h 19"/>
                <a:gd name="T32" fmla="*/ 7 w 26"/>
                <a:gd name="T33" fmla="*/ 0 h 19"/>
                <a:gd name="T34" fmla="*/ 7 w 26"/>
                <a:gd name="T35" fmla="*/ 0 h 19"/>
                <a:gd name="T36" fmla="*/ 7 w 26"/>
                <a:gd name="T37" fmla="*/ 0 h 19"/>
                <a:gd name="T38" fmla="*/ 7 w 26"/>
                <a:gd name="T39" fmla="*/ 4 h 19"/>
                <a:gd name="T40" fmla="*/ 7 w 26"/>
                <a:gd name="T41" fmla="*/ 4 h 19"/>
                <a:gd name="T42" fmla="*/ 5 w 26"/>
                <a:gd name="T43" fmla="*/ 8 h 19"/>
                <a:gd name="T44" fmla="*/ 5 w 26"/>
                <a:gd name="T45" fmla="*/ 8 h 19"/>
                <a:gd name="T46" fmla="*/ 5 w 26"/>
                <a:gd name="T47" fmla="*/ 9 h 19"/>
                <a:gd name="T48" fmla="*/ 5 w 26"/>
                <a:gd name="T49" fmla="*/ 9 h 19"/>
                <a:gd name="T50" fmla="*/ 4 w 26"/>
                <a:gd name="T51" fmla="*/ 9 h 19"/>
                <a:gd name="T52" fmla="*/ 4 w 26"/>
                <a:gd name="T53" fmla="*/ 9 h 19"/>
                <a:gd name="T54" fmla="*/ 2 w 26"/>
                <a:gd name="T55" fmla="*/ 12 h 19"/>
                <a:gd name="T56" fmla="*/ 2 w 26"/>
                <a:gd name="T57" fmla="*/ 12 h 19"/>
                <a:gd name="T58" fmla="*/ 0 w 26"/>
                <a:gd name="T59" fmla="*/ 16 h 19"/>
                <a:gd name="T60" fmla="*/ 0 w 26"/>
                <a:gd name="T61" fmla="*/ 16 h 19"/>
                <a:gd name="T62" fmla="*/ 0 w 26"/>
                <a:gd name="T63" fmla="*/ 16 h 19"/>
                <a:gd name="T64" fmla="*/ 0 w 26"/>
                <a:gd name="T65" fmla="*/ 16 h 19"/>
                <a:gd name="T66" fmla="*/ 2 w 26"/>
                <a:gd name="T67" fmla="*/ 19 h 19"/>
                <a:gd name="T68" fmla="*/ 2 w 26"/>
                <a:gd name="T69" fmla="*/ 19 h 19"/>
                <a:gd name="T70" fmla="*/ 4 w 26"/>
                <a:gd name="T71" fmla="*/ 19 h 19"/>
                <a:gd name="T72" fmla="*/ 4 w 26"/>
                <a:gd name="T73" fmla="*/ 19 h 19"/>
                <a:gd name="T74" fmla="*/ 7 w 26"/>
                <a:gd name="T75" fmla="*/ 19 h 19"/>
                <a:gd name="T76" fmla="*/ 7 w 26"/>
                <a:gd name="T77" fmla="*/ 19 h 19"/>
                <a:gd name="T78" fmla="*/ 7 w 26"/>
                <a:gd name="T79" fmla="*/ 19 h 19"/>
                <a:gd name="T80" fmla="*/ 7 w 26"/>
                <a:gd name="T81" fmla="*/ 19 h 19"/>
                <a:gd name="T82" fmla="*/ 8 w 26"/>
                <a:gd name="T83" fmla="*/ 19 h 19"/>
                <a:gd name="T84" fmla="*/ 8 w 26"/>
                <a:gd name="T85" fmla="*/ 19 h 19"/>
                <a:gd name="T86" fmla="*/ 8 w 26"/>
                <a:gd name="T8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9">
                  <a:moveTo>
                    <a:pt x="8" y="19"/>
                  </a:moveTo>
                  <a:lnTo>
                    <a:pt x="8" y="19"/>
                  </a:lnTo>
                  <a:lnTo>
                    <a:pt x="11" y="19"/>
                  </a:lnTo>
                  <a:lnTo>
                    <a:pt x="11" y="19"/>
                  </a:lnTo>
                  <a:lnTo>
                    <a:pt x="26" y="19"/>
                  </a:lnTo>
                  <a:lnTo>
                    <a:pt x="26" y="19"/>
                  </a:lnTo>
                  <a:lnTo>
                    <a:pt x="26" y="3"/>
                  </a:lnTo>
                  <a:lnTo>
                    <a:pt x="26" y="3"/>
                  </a:lnTo>
                  <a:lnTo>
                    <a:pt x="19" y="3"/>
                  </a:lnTo>
                  <a:lnTo>
                    <a:pt x="19" y="3"/>
                  </a:lnTo>
                  <a:lnTo>
                    <a:pt x="11" y="3"/>
                  </a:lnTo>
                  <a:lnTo>
                    <a:pt x="11" y="3"/>
                  </a:lnTo>
                  <a:lnTo>
                    <a:pt x="8" y="3"/>
                  </a:lnTo>
                  <a:lnTo>
                    <a:pt x="8" y="3"/>
                  </a:lnTo>
                  <a:lnTo>
                    <a:pt x="8" y="1"/>
                  </a:lnTo>
                  <a:lnTo>
                    <a:pt x="8" y="1"/>
                  </a:lnTo>
                  <a:lnTo>
                    <a:pt x="7" y="0"/>
                  </a:lnTo>
                  <a:lnTo>
                    <a:pt x="7" y="0"/>
                  </a:lnTo>
                  <a:lnTo>
                    <a:pt x="7" y="0"/>
                  </a:lnTo>
                  <a:lnTo>
                    <a:pt x="7" y="4"/>
                  </a:lnTo>
                  <a:lnTo>
                    <a:pt x="7" y="4"/>
                  </a:lnTo>
                  <a:lnTo>
                    <a:pt x="5" y="8"/>
                  </a:lnTo>
                  <a:lnTo>
                    <a:pt x="5" y="8"/>
                  </a:lnTo>
                  <a:lnTo>
                    <a:pt x="5" y="9"/>
                  </a:lnTo>
                  <a:lnTo>
                    <a:pt x="5" y="9"/>
                  </a:lnTo>
                  <a:lnTo>
                    <a:pt x="4" y="9"/>
                  </a:lnTo>
                  <a:lnTo>
                    <a:pt x="4" y="9"/>
                  </a:lnTo>
                  <a:lnTo>
                    <a:pt x="2" y="12"/>
                  </a:lnTo>
                  <a:lnTo>
                    <a:pt x="2" y="12"/>
                  </a:lnTo>
                  <a:lnTo>
                    <a:pt x="0" y="16"/>
                  </a:lnTo>
                  <a:lnTo>
                    <a:pt x="0" y="16"/>
                  </a:lnTo>
                  <a:lnTo>
                    <a:pt x="0" y="16"/>
                  </a:lnTo>
                  <a:lnTo>
                    <a:pt x="0" y="16"/>
                  </a:lnTo>
                  <a:lnTo>
                    <a:pt x="2" y="19"/>
                  </a:lnTo>
                  <a:lnTo>
                    <a:pt x="2" y="19"/>
                  </a:lnTo>
                  <a:lnTo>
                    <a:pt x="4" y="19"/>
                  </a:lnTo>
                  <a:lnTo>
                    <a:pt x="4" y="19"/>
                  </a:lnTo>
                  <a:lnTo>
                    <a:pt x="7" y="19"/>
                  </a:lnTo>
                  <a:lnTo>
                    <a:pt x="7" y="19"/>
                  </a:lnTo>
                  <a:lnTo>
                    <a:pt x="7" y="19"/>
                  </a:lnTo>
                  <a:lnTo>
                    <a:pt x="7" y="19"/>
                  </a:lnTo>
                  <a:lnTo>
                    <a:pt x="8" y="19"/>
                  </a:lnTo>
                  <a:lnTo>
                    <a:pt x="8" y="19"/>
                  </a:lnTo>
                  <a:lnTo>
                    <a:pt x="8" y="1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0" name="Freeform 114">
              <a:extLst>
                <a:ext uri="{FF2B5EF4-FFF2-40B4-BE49-F238E27FC236}">
                  <a16:creationId xmlns:a16="http://schemas.microsoft.com/office/drawing/2014/main" id="{492FEA31-9AFA-D2AA-5E24-50FEB7B1977D}"/>
                </a:ext>
              </a:extLst>
            </p:cNvPr>
            <p:cNvSpPr>
              <a:spLocks noEditPoints="1"/>
            </p:cNvSpPr>
            <p:nvPr/>
          </p:nvSpPr>
          <p:spPr bwMode="auto">
            <a:xfrm>
              <a:off x="6022639" y="3953331"/>
              <a:ext cx="163744" cy="201877"/>
            </a:xfrm>
            <a:custGeom>
              <a:avLst/>
              <a:gdLst>
                <a:gd name="T0" fmla="*/ 35 w 73"/>
                <a:gd name="T1" fmla="*/ 85 h 90"/>
                <a:gd name="T2" fmla="*/ 38 w 73"/>
                <a:gd name="T3" fmla="*/ 82 h 90"/>
                <a:gd name="T4" fmla="*/ 35 w 73"/>
                <a:gd name="T5" fmla="*/ 77 h 90"/>
                <a:gd name="T6" fmla="*/ 35 w 73"/>
                <a:gd name="T7" fmla="*/ 71 h 90"/>
                <a:gd name="T8" fmla="*/ 41 w 73"/>
                <a:gd name="T9" fmla="*/ 68 h 90"/>
                <a:gd name="T10" fmla="*/ 48 w 73"/>
                <a:gd name="T11" fmla="*/ 65 h 90"/>
                <a:gd name="T12" fmla="*/ 49 w 73"/>
                <a:gd name="T13" fmla="*/ 60 h 90"/>
                <a:gd name="T14" fmla="*/ 52 w 73"/>
                <a:gd name="T15" fmla="*/ 66 h 90"/>
                <a:gd name="T16" fmla="*/ 56 w 73"/>
                <a:gd name="T17" fmla="*/ 68 h 90"/>
                <a:gd name="T18" fmla="*/ 62 w 73"/>
                <a:gd name="T19" fmla="*/ 63 h 90"/>
                <a:gd name="T20" fmla="*/ 67 w 73"/>
                <a:gd name="T21" fmla="*/ 68 h 90"/>
                <a:gd name="T22" fmla="*/ 70 w 73"/>
                <a:gd name="T23" fmla="*/ 62 h 90"/>
                <a:gd name="T24" fmla="*/ 70 w 73"/>
                <a:gd name="T25" fmla="*/ 57 h 90"/>
                <a:gd name="T26" fmla="*/ 70 w 73"/>
                <a:gd name="T27" fmla="*/ 50 h 90"/>
                <a:gd name="T28" fmla="*/ 70 w 73"/>
                <a:gd name="T29" fmla="*/ 43 h 90"/>
                <a:gd name="T30" fmla="*/ 67 w 73"/>
                <a:gd name="T31" fmla="*/ 39 h 90"/>
                <a:gd name="T32" fmla="*/ 64 w 73"/>
                <a:gd name="T33" fmla="*/ 36 h 90"/>
                <a:gd name="T34" fmla="*/ 67 w 73"/>
                <a:gd name="T35" fmla="*/ 25 h 90"/>
                <a:gd name="T36" fmla="*/ 70 w 73"/>
                <a:gd name="T37" fmla="*/ 20 h 90"/>
                <a:gd name="T38" fmla="*/ 67 w 73"/>
                <a:gd name="T39" fmla="*/ 12 h 90"/>
                <a:gd name="T40" fmla="*/ 54 w 73"/>
                <a:gd name="T41" fmla="*/ 16 h 90"/>
                <a:gd name="T42" fmla="*/ 56 w 73"/>
                <a:gd name="T43" fmla="*/ 6 h 90"/>
                <a:gd name="T44" fmla="*/ 54 w 73"/>
                <a:gd name="T45" fmla="*/ 1 h 90"/>
                <a:gd name="T46" fmla="*/ 44 w 73"/>
                <a:gd name="T47" fmla="*/ 1 h 90"/>
                <a:gd name="T48" fmla="*/ 32 w 73"/>
                <a:gd name="T49" fmla="*/ 1 h 90"/>
                <a:gd name="T50" fmla="*/ 17 w 73"/>
                <a:gd name="T51" fmla="*/ 19 h 90"/>
                <a:gd name="T52" fmla="*/ 13 w 73"/>
                <a:gd name="T53" fmla="*/ 19 h 90"/>
                <a:gd name="T54" fmla="*/ 10 w 73"/>
                <a:gd name="T55" fmla="*/ 22 h 90"/>
                <a:gd name="T56" fmla="*/ 6 w 73"/>
                <a:gd name="T57" fmla="*/ 25 h 90"/>
                <a:gd name="T58" fmla="*/ 16 w 73"/>
                <a:gd name="T59" fmla="*/ 31 h 90"/>
                <a:gd name="T60" fmla="*/ 10 w 73"/>
                <a:gd name="T61" fmla="*/ 31 h 90"/>
                <a:gd name="T62" fmla="*/ 6 w 73"/>
                <a:gd name="T63" fmla="*/ 31 h 90"/>
                <a:gd name="T64" fmla="*/ 5 w 73"/>
                <a:gd name="T65" fmla="*/ 43 h 90"/>
                <a:gd name="T66" fmla="*/ 0 w 73"/>
                <a:gd name="T67" fmla="*/ 44 h 90"/>
                <a:gd name="T68" fmla="*/ 0 w 73"/>
                <a:gd name="T69" fmla="*/ 44 h 90"/>
                <a:gd name="T70" fmla="*/ 5 w 73"/>
                <a:gd name="T71" fmla="*/ 54 h 90"/>
                <a:gd name="T72" fmla="*/ 6 w 73"/>
                <a:gd name="T73" fmla="*/ 55 h 90"/>
                <a:gd name="T74" fmla="*/ 5 w 73"/>
                <a:gd name="T75" fmla="*/ 57 h 90"/>
                <a:gd name="T76" fmla="*/ 8 w 73"/>
                <a:gd name="T77" fmla="*/ 65 h 90"/>
                <a:gd name="T78" fmla="*/ 17 w 73"/>
                <a:gd name="T79" fmla="*/ 74 h 90"/>
                <a:gd name="T80" fmla="*/ 29 w 73"/>
                <a:gd name="T81" fmla="*/ 90 h 90"/>
                <a:gd name="T82" fmla="*/ 33 w 73"/>
                <a:gd name="T83" fmla="*/ 84 h 90"/>
                <a:gd name="T84" fmla="*/ 33 w 73"/>
                <a:gd name="T85" fmla="*/ 84 h 90"/>
                <a:gd name="T86" fmla="*/ 33 w 73"/>
                <a:gd name="T87" fmla="*/ 84 h 90"/>
                <a:gd name="T88" fmla="*/ 13 w 73"/>
                <a:gd name="T89" fmla="*/ 68 h 90"/>
                <a:gd name="T90" fmla="*/ 14 w 73"/>
                <a:gd name="T91" fmla="*/ 71 h 90"/>
                <a:gd name="T92" fmla="*/ 14 w 73"/>
                <a:gd name="T93" fmla="*/ 71 h 90"/>
                <a:gd name="T94" fmla="*/ 14 w 73"/>
                <a:gd name="T95" fmla="*/ 7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90">
                  <a:moveTo>
                    <a:pt x="33" y="84"/>
                  </a:moveTo>
                  <a:lnTo>
                    <a:pt x="35" y="84"/>
                  </a:lnTo>
                  <a:lnTo>
                    <a:pt x="35" y="85"/>
                  </a:lnTo>
                  <a:lnTo>
                    <a:pt x="35" y="87"/>
                  </a:lnTo>
                  <a:lnTo>
                    <a:pt x="38" y="87"/>
                  </a:lnTo>
                  <a:lnTo>
                    <a:pt x="38" y="82"/>
                  </a:lnTo>
                  <a:lnTo>
                    <a:pt x="38" y="81"/>
                  </a:lnTo>
                  <a:lnTo>
                    <a:pt x="35" y="79"/>
                  </a:lnTo>
                  <a:lnTo>
                    <a:pt x="35" y="77"/>
                  </a:lnTo>
                  <a:lnTo>
                    <a:pt x="35" y="74"/>
                  </a:lnTo>
                  <a:lnTo>
                    <a:pt x="35" y="74"/>
                  </a:lnTo>
                  <a:lnTo>
                    <a:pt x="35" y="71"/>
                  </a:lnTo>
                  <a:lnTo>
                    <a:pt x="35" y="68"/>
                  </a:lnTo>
                  <a:lnTo>
                    <a:pt x="38" y="68"/>
                  </a:lnTo>
                  <a:lnTo>
                    <a:pt x="41" y="68"/>
                  </a:lnTo>
                  <a:lnTo>
                    <a:pt x="44" y="68"/>
                  </a:lnTo>
                  <a:lnTo>
                    <a:pt x="44" y="68"/>
                  </a:lnTo>
                  <a:lnTo>
                    <a:pt x="48" y="65"/>
                  </a:lnTo>
                  <a:lnTo>
                    <a:pt x="44" y="62"/>
                  </a:lnTo>
                  <a:lnTo>
                    <a:pt x="48" y="60"/>
                  </a:lnTo>
                  <a:lnTo>
                    <a:pt x="49" y="60"/>
                  </a:lnTo>
                  <a:lnTo>
                    <a:pt x="51" y="60"/>
                  </a:lnTo>
                  <a:lnTo>
                    <a:pt x="51" y="63"/>
                  </a:lnTo>
                  <a:lnTo>
                    <a:pt x="52" y="66"/>
                  </a:lnTo>
                  <a:lnTo>
                    <a:pt x="52" y="68"/>
                  </a:lnTo>
                  <a:lnTo>
                    <a:pt x="54" y="68"/>
                  </a:lnTo>
                  <a:lnTo>
                    <a:pt x="56" y="68"/>
                  </a:lnTo>
                  <a:lnTo>
                    <a:pt x="59" y="68"/>
                  </a:lnTo>
                  <a:lnTo>
                    <a:pt x="60" y="66"/>
                  </a:lnTo>
                  <a:lnTo>
                    <a:pt x="62" y="63"/>
                  </a:lnTo>
                  <a:lnTo>
                    <a:pt x="64" y="68"/>
                  </a:lnTo>
                  <a:lnTo>
                    <a:pt x="65" y="71"/>
                  </a:lnTo>
                  <a:lnTo>
                    <a:pt x="67" y="68"/>
                  </a:lnTo>
                  <a:lnTo>
                    <a:pt x="68" y="66"/>
                  </a:lnTo>
                  <a:lnTo>
                    <a:pt x="68" y="63"/>
                  </a:lnTo>
                  <a:lnTo>
                    <a:pt x="70" y="62"/>
                  </a:lnTo>
                  <a:lnTo>
                    <a:pt x="70" y="58"/>
                  </a:lnTo>
                  <a:lnTo>
                    <a:pt x="70" y="57"/>
                  </a:lnTo>
                  <a:lnTo>
                    <a:pt x="70" y="57"/>
                  </a:lnTo>
                  <a:lnTo>
                    <a:pt x="70" y="55"/>
                  </a:lnTo>
                  <a:lnTo>
                    <a:pt x="70" y="54"/>
                  </a:lnTo>
                  <a:lnTo>
                    <a:pt x="70" y="50"/>
                  </a:lnTo>
                  <a:lnTo>
                    <a:pt x="70" y="44"/>
                  </a:lnTo>
                  <a:lnTo>
                    <a:pt x="73" y="44"/>
                  </a:lnTo>
                  <a:lnTo>
                    <a:pt x="70" y="43"/>
                  </a:lnTo>
                  <a:lnTo>
                    <a:pt x="70" y="41"/>
                  </a:lnTo>
                  <a:lnTo>
                    <a:pt x="68" y="41"/>
                  </a:lnTo>
                  <a:lnTo>
                    <a:pt x="67" y="39"/>
                  </a:lnTo>
                  <a:lnTo>
                    <a:pt x="67" y="38"/>
                  </a:lnTo>
                  <a:lnTo>
                    <a:pt x="64" y="38"/>
                  </a:lnTo>
                  <a:lnTo>
                    <a:pt x="64" y="36"/>
                  </a:lnTo>
                  <a:lnTo>
                    <a:pt x="65" y="33"/>
                  </a:lnTo>
                  <a:lnTo>
                    <a:pt x="65" y="28"/>
                  </a:lnTo>
                  <a:lnTo>
                    <a:pt x="67" y="25"/>
                  </a:lnTo>
                  <a:lnTo>
                    <a:pt x="70" y="25"/>
                  </a:lnTo>
                  <a:lnTo>
                    <a:pt x="70" y="22"/>
                  </a:lnTo>
                  <a:lnTo>
                    <a:pt x="70" y="20"/>
                  </a:lnTo>
                  <a:lnTo>
                    <a:pt x="70" y="19"/>
                  </a:lnTo>
                  <a:lnTo>
                    <a:pt x="68" y="16"/>
                  </a:lnTo>
                  <a:lnTo>
                    <a:pt x="67" y="12"/>
                  </a:lnTo>
                  <a:lnTo>
                    <a:pt x="65" y="12"/>
                  </a:lnTo>
                  <a:lnTo>
                    <a:pt x="64" y="14"/>
                  </a:lnTo>
                  <a:lnTo>
                    <a:pt x="54" y="16"/>
                  </a:lnTo>
                  <a:lnTo>
                    <a:pt x="56" y="12"/>
                  </a:lnTo>
                  <a:lnTo>
                    <a:pt x="54" y="9"/>
                  </a:lnTo>
                  <a:lnTo>
                    <a:pt x="56" y="6"/>
                  </a:lnTo>
                  <a:lnTo>
                    <a:pt x="56" y="3"/>
                  </a:lnTo>
                  <a:lnTo>
                    <a:pt x="56" y="1"/>
                  </a:lnTo>
                  <a:lnTo>
                    <a:pt x="54" y="1"/>
                  </a:lnTo>
                  <a:lnTo>
                    <a:pt x="51" y="1"/>
                  </a:lnTo>
                  <a:lnTo>
                    <a:pt x="48" y="1"/>
                  </a:lnTo>
                  <a:lnTo>
                    <a:pt x="44" y="1"/>
                  </a:lnTo>
                  <a:lnTo>
                    <a:pt x="35" y="0"/>
                  </a:lnTo>
                  <a:lnTo>
                    <a:pt x="33" y="0"/>
                  </a:lnTo>
                  <a:lnTo>
                    <a:pt x="32" y="1"/>
                  </a:lnTo>
                  <a:lnTo>
                    <a:pt x="32" y="3"/>
                  </a:lnTo>
                  <a:lnTo>
                    <a:pt x="32" y="19"/>
                  </a:lnTo>
                  <a:lnTo>
                    <a:pt x="17" y="19"/>
                  </a:lnTo>
                  <a:lnTo>
                    <a:pt x="14" y="19"/>
                  </a:lnTo>
                  <a:lnTo>
                    <a:pt x="13" y="19"/>
                  </a:lnTo>
                  <a:lnTo>
                    <a:pt x="13" y="19"/>
                  </a:lnTo>
                  <a:lnTo>
                    <a:pt x="11" y="19"/>
                  </a:lnTo>
                  <a:lnTo>
                    <a:pt x="10" y="19"/>
                  </a:lnTo>
                  <a:lnTo>
                    <a:pt x="10" y="22"/>
                  </a:lnTo>
                  <a:lnTo>
                    <a:pt x="10" y="25"/>
                  </a:lnTo>
                  <a:lnTo>
                    <a:pt x="8" y="25"/>
                  </a:lnTo>
                  <a:lnTo>
                    <a:pt x="6" y="25"/>
                  </a:lnTo>
                  <a:lnTo>
                    <a:pt x="8" y="27"/>
                  </a:lnTo>
                  <a:lnTo>
                    <a:pt x="11" y="30"/>
                  </a:lnTo>
                  <a:lnTo>
                    <a:pt x="16" y="31"/>
                  </a:lnTo>
                  <a:lnTo>
                    <a:pt x="13" y="31"/>
                  </a:lnTo>
                  <a:lnTo>
                    <a:pt x="13" y="33"/>
                  </a:lnTo>
                  <a:lnTo>
                    <a:pt x="10" y="31"/>
                  </a:lnTo>
                  <a:lnTo>
                    <a:pt x="8" y="33"/>
                  </a:lnTo>
                  <a:lnTo>
                    <a:pt x="6" y="30"/>
                  </a:lnTo>
                  <a:lnTo>
                    <a:pt x="6" y="31"/>
                  </a:lnTo>
                  <a:lnTo>
                    <a:pt x="6" y="33"/>
                  </a:lnTo>
                  <a:lnTo>
                    <a:pt x="6" y="38"/>
                  </a:lnTo>
                  <a:lnTo>
                    <a:pt x="5" y="43"/>
                  </a:lnTo>
                  <a:lnTo>
                    <a:pt x="3" y="47"/>
                  </a:lnTo>
                  <a:lnTo>
                    <a:pt x="3" y="44"/>
                  </a:lnTo>
                  <a:lnTo>
                    <a:pt x="0" y="44"/>
                  </a:lnTo>
                  <a:lnTo>
                    <a:pt x="0" y="44"/>
                  </a:lnTo>
                  <a:lnTo>
                    <a:pt x="0" y="43"/>
                  </a:lnTo>
                  <a:lnTo>
                    <a:pt x="0" y="44"/>
                  </a:lnTo>
                  <a:lnTo>
                    <a:pt x="0" y="47"/>
                  </a:lnTo>
                  <a:lnTo>
                    <a:pt x="3" y="50"/>
                  </a:lnTo>
                  <a:lnTo>
                    <a:pt x="5" y="54"/>
                  </a:lnTo>
                  <a:lnTo>
                    <a:pt x="6" y="54"/>
                  </a:lnTo>
                  <a:lnTo>
                    <a:pt x="6" y="54"/>
                  </a:lnTo>
                  <a:lnTo>
                    <a:pt x="6" y="55"/>
                  </a:lnTo>
                  <a:lnTo>
                    <a:pt x="8" y="55"/>
                  </a:lnTo>
                  <a:lnTo>
                    <a:pt x="10" y="57"/>
                  </a:lnTo>
                  <a:lnTo>
                    <a:pt x="5" y="57"/>
                  </a:lnTo>
                  <a:lnTo>
                    <a:pt x="5" y="58"/>
                  </a:lnTo>
                  <a:lnTo>
                    <a:pt x="6" y="60"/>
                  </a:lnTo>
                  <a:lnTo>
                    <a:pt x="8" y="65"/>
                  </a:lnTo>
                  <a:lnTo>
                    <a:pt x="10" y="68"/>
                  </a:lnTo>
                  <a:lnTo>
                    <a:pt x="11" y="68"/>
                  </a:lnTo>
                  <a:lnTo>
                    <a:pt x="17" y="74"/>
                  </a:lnTo>
                  <a:lnTo>
                    <a:pt x="22" y="81"/>
                  </a:lnTo>
                  <a:lnTo>
                    <a:pt x="25" y="85"/>
                  </a:lnTo>
                  <a:lnTo>
                    <a:pt x="29" y="90"/>
                  </a:lnTo>
                  <a:lnTo>
                    <a:pt x="32" y="87"/>
                  </a:lnTo>
                  <a:lnTo>
                    <a:pt x="33" y="84"/>
                  </a:lnTo>
                  <a:lnTo>
                    <a:pt x="33" y="84"/>
                  </a:lnTo>
                  <a:lnTo>
                    <a:pt x="33" y="84"/>
                  </a:lnTo>
                  <a:lnTo>
                    <a:pt x="33" y="84"/>
                  </a:lnTo>
                  <a:lnTo>
                    <a:pt x="33" y="84"/>
                  </a:lnTo>
                  <a:lnTo>
                    <a:pt x="33" y="84"/>
                  </a:lnTo>
                  <a:lnTo>
                    <a:pt x="33" y="84"/>
                  </a:lnTo>
                  <a:lnTo>
                    <a:pt x="33" y="84"/>
                  </a:lnTo>
                  <a:lnTo>
                    <a:pt x="33" y="84"/>
                  </a:lnTo>
                  <a:close/>
                  <a:moveTo>
                    <a:pt x="14" y="71"/>
                  </a:moveTo>
                  <a:lnTo>
                    <a:pt x="13" y="68"/>
                  </a:lnTo>
                  <a:lnTo>
                    <a:pt x="14" y="68"/>
                  </a:lnTo>
                  <a:lnTo>
                    <a:pt x="16" y="71"/>
                  </a:lnTo>
                  <a:lnTo>
                    <a:pt x="14" y="71"/>
                  </a:lnTo>
                  <a:lnTo>
                    <a:pt x="14" y="71"/>
                  </a:lnTo>
                  <a:lnTo>
                    <a:pt x="14" y="71"/>
                  </a:lnTo>
                  <a:lnTo>
                    <a:pt x="14" y="71"/>
                  </a:lnTo>
                  <a:lnTo>
                    <a:pt x="14" y="71"/>
                  </a:lnTo>
                  <a:lnTo>
                    <a:pt x="14" y="71"/>
                  </a:lnTo>
                  <a:lnTo>
                    <a:pt x="14" y="71"/>
                  </a:lnTo>
                  <a:lnTo>
                    <a:pt x="14" y="71"/>
                  </a:lnTo>
                  <a:lnTo>
                    <a:pt x="14" y="7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1" name="Freeform 116">
              <a:extLst>
                <a:ext uri="{FF2B5EF4-FFF2-40B4-BE49-F238E27FC236}">
                  <a16:creationId xmlns:a16="http://schemas.microsoft.com/office/drawing/2014/main" id="{82C41239-2173-D3F0-090D-E531A3F3B462}"/>
                </a:ext>
              </a:extLst>
            </p:cNvPr>
            <p:cNvSpPr>
              <a:spLocks noEditPoints="1"/>
            </p:cNvSpPr>
            <p:nvPr/>
          </p:nvSpPr>
          <p:spPr bwMode="auto">
            <a:xfrm>
              <a:off x="6222273" y="4742892"/>
              <a:ext cx="462073" cy="410482"/>
            </a:xfrm>
            <a:custGeom>
              <a:avLst/>
              <a:gdLst>
                <a:gd name="T0" fmla="*/ 168 w 206"/>
                <a:gd name="T1" fmla="*/ 0 h 183"/>
                <a:gd name="T2" fmla="*/ 160 w 206"/>
                <a:gd name="T3" fmla="*/ 3 h 183"/>
                <a:gd name="T4" fmla="*/ 151 w 206"/>
                <a:gd name="T5" fmla="*/ 8 h 183"/>
                <a:gd name="T6" fmla="*/ 144 w 206"/>
                <a:gd name="T7" fmla="*/ 18 h 183"/>
                <a:gd name="T8" fmla="*/ 133 w 206"/>
                <a:gd name="T9" fmla="*/ 32 h 183"/>
                <a:gd name="T10" fmla="*/ 122 w 206"/>
                <a:gd name="T11" fmla="*/ 37 h 183"/>
                <a:gd name="T12" fmla="*/ 116 w 206"/>
                <a:gd name="T13" fmla="*/ 51 h 183"/>
                <a:gd name="T14" fmla="*/ 109 w 206"/>
                <a:gd name="T15" fmla="*/ 54 h 183"/>
                <a:gd name="T16" fmla="*/ 95 w 206"/>
                <a:gd name="T17" fmla="*/ 48 h 183"/>
                <a:gd name="T18" fmla="*/ 86 w 206"/>
                <a:gd name="T19" fmla="*/ 48 h 183"/>
                <a:gd name="T20" fmla="*/ 75 w 206"/>
                <a:gd name="T21" fmla="*/ 64 h 183"/>
                <a:gd name="T22" fmla="*/ 71 w 206"/>
                <a:gd name="T23" fmla="*/ 67 h 183"/>
                <a:gd name="T24" fmla="*/ 60 w 206"/>
                <a:gd name="T25" fmla="*/ 67 h 183"/>
                <a:gd name="T26" fmla="*/ 57 w 206"/>
                <a:gd name="T27" fmla="*/ 60 h 183"/>
                <a:gd name="T28" fmla="*/ 51 w 206"/>
                <a:gd name="T29" fmla="*/ 40 h 183"/>
                <a:gd name="T30" fmla="*/ 51 w 206"/>
                <a:gd name="T31" fmla="*/ 27 h 183"/>
                <a:gd name="T32" fmla="*/ 48 w 206"/>
                <a:gd name="T33" fmla="*/ 92 h 183"/>
                <a:gd name="T34" fmla="*/ 41 w 206"/>
                <a:gd name="T35" fmla="*/ 95 h 183"/>
                <a:gd name="T36" fmla="*/ 33 w 206"/>
                <a:gd name="T37" fmla="*/ 95 h 183"/>
                <a:gd name="T38" fmla="*/ 19 w 206"/>
                <a:gd name="T39" fmla="*/ 95 h 183"/>
                <a:gd name="T40" fmla="*/ 14 w 206"/>
                <a:gd name="T41" fmla="*/ 87 h 183"/>
                <a:gd name="T42" fmla="*/ 9 w 206"/>
                <a:gd name="T43" fmla="*/ 87 h 183"/>
                <a:gd name="T44" fmla="*/ 5 w 206"/>
                <a:gd name="T45" fmla="*/ 92 h 183"/>
                <a:gd name="T46" fmla="*/ 8 w 206"/>
                <a:gd name="T47" fmla="*/ 121 h 183"/>
                <a:gd name="T48" fmla="*/ 25 w 206"/>
                <a:gd name="T49" fmla="*/ 140 h 183"/>
                <a:gd name="T50" fmla="*/ 25 w 206"/>
                <a:gd name="T51" fmla="*/ 154 h 183"/>
                <a:gd name="T52" fmla="*/ 22 w 206"/>
                <a:gd name="T53" fmla="*/ 157 h 183"/>
                <a:gd name="T54" fmla="*/ 25 w 206"/>
                <a:gd name="T55" fmla="*/ 162 h 183"/>
                <a:gd name="T56" fmla="*/ 25 w 206"/>
                <a:gd name="T57" fmla="*/ 175 h 183"/>
                <a:gd name="T58" fmla="*/ 28 w 206"/>
                <a:gd name="T59" fmla="*/ 172 h 183"/>
                <a:gd name="T60" fmla="*/ 36 w 206"/>
                <a:gd name="T61" fmla="*/ 176 h 183"/>
                <a:gd name="T62" fmla="*/ 41 w 206"/>
                <a:gd name="T63" fmla="*/ 180 h 183"/>
                <a:gd name="T64" fmla="*/ 51 w 206"/>
                <a:gd name="T65" fmla="*/ 178 h 183"/>
                <a:gd name="T66" fmla="*/ 67 w 206"/>
                <a:gd name="T67" fmla="*/ 176 h 183"/>
                <a:gd name="T68" fmla="*/ 79 w 206"/>
                <a:gd name="T69" fmla="*/ 172 h 183"/>
                <a:gd name="T70" fmla="*/ 82 w 206"/>
                <a:gd name="T71" fmla="*/ 172 h 183"/>
                <a:gd name="T72" fmla="*/ 103 w 206"/>
                <a:gd name="T73" fmla="*/ 173 h 183"/>
                <a:gd name="T74" fmla="*/ 109 w 206"/>
                <a:gd name="T75" fmla="*/ 170 h 183"/>
                <a:gd name="T76" fmla="*/ 113 w 206"/>
                <a:gd name="T77" fmla="*/ 168 h 183"/>
                <a:gd name="T78" fmla="*/ 124 w 206"/>
                <a:gd name="T79" fmla="*/ 167 h 183"/>
                <a:gd name="T80" fmla="*/ 157 w 206"/>
                <a:gd name="T81" fmla="*/ 143 h 183"/>
                <a:gd name="T82" fmla="*/ 175 w 206"/>
                <a:gd name="T83" fmla="*/ 124 h 183"/>
                <a:gd name="T84" fmla="*/ 186 w 206"/>
                <a:gd name="T85" fmla="*/ 105 h 183"/>
                <a:gd name="T86" fmla="*/ 195 w 206"/>
                <a:gd name="T87" fmla="*/ 99 h 183"/>
                <a:gd name="T88" fmla="*/ 203 w 206"/>
                <a:gd name="T89" fmla="*/ 87 h 183"/>
                <a:gd name="T90" fmla="*/ 197 w 206"/>
                <a:gd name="T91" fmla="*/ 67 h 183"/>
                <a:gd name="T92" fmla="*/ 194 w 206"/>
                <a:gd name="T93" fmla="*/ 73 h 183"/>
                <a:gd name="T94" fmla="*/ 186 w 206"/>
                <a:gd name="T95" fmla="*/ 57 h 183"/>
                <a:gd name="T96" fmla="*/ 194 w 206"/>
                <a:gd name="T97" fmla="*/ 54 h 183"/>
                <a:gd name="T98" fmla="*/ 197 w 206"/>
                <a:gd name="T99" fmla="*/ 51 h 183"/>
                <a:gd name="T100" fmla="*/ 197 w 206"/>
                <a:gd name="T101" fmla="*/ 43 h 183"/>
                <a:gd name="T102" fmla="*/ 195 w 206"/>
                <a:gd name="T103" fmla="*/ 22 h 183"/>
                <a:gd name="T104" fmla="*/ 190 w 206"/>
                <a:gd name="T105" fmla="*/ 5 h 183"/>
                <a:gd name="T106" fmla="*/ 186 w 206"/>
                <a:gd name="T107" fmla="*/ 2 h 183"/>
                <a:gd name="T108" fmla="*/ 157 w 206"/>
                <a:gd name="T109" fmla="*/ 114 h 183"/>
                <a:gd name="T110" fmla="*/ 148 w 206"/>
                <a:gd name="T111" fmla="*/ 118 h 183"/>
                <a:gd name="T112" fmla="*/ 138 w 206"/>
                <a:gd name="T113" fmla="*/ 118 h 183"/>
                <a:gd name="T114" fmla="*/ 135 w 206"/>
                <a:gd name="T115" fmla="*/ 111 h 183"/>
                <a:gd name="T116" fmla="*/ 141 w 206"/>
                <a:gd name="T117" fmla="*/ 99 h 183"/>
                <a:gd name="T118" fmla="*/ 151 w 206"/>
                <a:gd name="T119" fmla="*/ 95 h 183"/>
                <a:gd name="T120" fmla="*/ 159 w 206"/>
                <a:gd name="T121" fmla="*/ 99 h 183"/>
                <a:gd name="T122" fmla="*/ 163 w 206"/>
                <a:gd name="T123" fmla="*/ 10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6" h="183">
                  <a:moveTo>
                    <a:pt x="186" y="2"/>
                  </a:moveTo>
                  <a:lnTo>
                    <a:pt x="186" y="2"/>
                  </a:lnTo>
                  <a:lnTo>
                    <a:pt x="179" y="2"/>
                  </a:lnTo>
                  <a:lnTo>
                    <a:pt x="179" y="2"/>
                  </a:lnTo>
                  <a:lnTo>
                    <a:pt x="175" y="0"/>
                  </a:lnTo>
                  <a:lnTo>
                    <a:pt x="175" y="0"/>
                  </a:lnTo>
                  <a:lnTo>
                    <a:pt x="168" y="0"/>
                  </a:lnTo>
                  <a:lnTo>
                    <a:pt x="168" y="0"/>
                  </a:lnTo>
                  <a:lnTo>
                    <a:pt x="167" y="0"/>
                  </a:lnTo>
                  <a:lnTo>
                    <a:pt x="167" y="0"/>
                  </a:lnTo>
                  <a:lnTo>
                    <a:pt x="162" y="2"/>
                  </a:lnTo>
                  <a:lnTo>
                    <a:pt x="162" y="2"/>
                  </a:lnTo>
                  <a:lnTo>
                    <a:pt x="160" y="3"/>
                  </a:lnTo>
                  <a:lnTo>
                    <a:pt x="160" y="3"/>
                  </a:lnTo>
                  <a:lnTo>
                    <a:pt x="159" y="5"/>
                  </a:lnTo>
                  <a:lnTo>
                    <a:pt x="159" y="5"/>
                  </a:lnTo>
                  <a:lnTo>
                    <a:pt x="156" y="5"/>
                  </a:lnTo>
                  <a:lnTo>
                    <a:pt x="156" y="5"/>
                  </a:lnTo>
                  <a:lnTo>
                    <a:pt x="154" y="6"/>
                  </a:lnTo>
                  <a:lnTo>
                    <a:pt x="154" y="6"/>
                  </a:lnTo>
                  <a:lnTo>
                    <a:pt x="151" y="8"/>
                  </a:lnTo>
                  <a:lnTo>
                    <a:pt x="151" y="8"/>
                  </a:lnTo>
                  <a:lnTo>
                    <a:pt x="148" y="11"/>
                  </a:lnTo>
                  <a:lnTo>
                    <a:pt x="148" y="11"/>
                  </a:lnTo>
                  <a:lnTo>
                    <a:pt x="144" y="16"/>
                  </a:lnTo>
                  <a:lnTo>
                    <a:pt x="144" y="16"/>
                  </a:lnTo>
                  <a:lnTo>
                    <a:pt x="144" y="18"/>
                  </a:lnTo>
                  <a:lnTo>
                    <a:pt x="144" y="18"/>
                  </a:lnTo>
                  <a:lnTo>
                    <a:pt x="138" y="21"/>
                  </a:lnTo>
                  <a:lnTo>
                    <a:pt x="138" y="21"/>
                  </a:lnTo>
                  <a:lnTo>
                    <a:pt x="136" y="22"/>
                  </a:lnTo>
                  <a:lnTo>
                    <a:pt x="136" y="22"/>
                  </a:lnTo>
                  <a:lnTo>
                    <a:pt x="136" y="26"/>
                  </a:lnTo>
                  <a:lnTo>
                    <a:pt x="136" y="26"/>
                  </a:lnTo>
                  <a:lnTo>
                    <a:pt x="133" y="32"/>
                  </a:lnTo>
                  <a:lnTo>
                    <a:pt x="133" y="32"/>
                  </a:lnTo>
                  <a:lnTo>
                    <a:pt x="130" y="33"/>
                  </a:lnTo>
                  <a:lnTo>
                    <a:pt x="130" y="33"/>
                  </a:lnTo>
                  <a:lnTo>
                    <a:pt x="127" y="37"/>
                  </a:lnTo>
                  <a:lnTo>
                    <a:pt x="127" y="37"/>
                  </a:lnTo>
                  <a:lnTo>
                    <a:pt x="122" y="37"/>
                  </a:lnTo>
                  <a:lnTo>
                    <a:pt x="122" y="37"/>
                  </a:lnTo>
                  <a:lnTo>
                    <a:pt x="122" y="38"/>
                  </a:lnTo>
                  <a:lnTo>
                    <a:pt x="122" y="38"/>
                  </a:lnTo>
                  <a:lnTo>
                    <a:pt x="122" y="40"/>
                  </a:lnTo>
                  <a:lnTo>
                    <a:pt x="122" y="40"/>
                  </a:lnTo>
                  <a:lnTo>
                    <a:pt x="119" y="48"/>
                  </a:lnTo>
                  <a:lnTo>
                    <a:pt x="119" y="48"/>
                  </a:lnTo>
                  <a:lnTo>
                    <a:pt x="116" y="51"/>
                  </a:lnTo>
                  <a:lnTo>
                    <a:pt x="116" y="51"/>
                  </a:lnTo>
                  <a:lnTo>
                    <a:pt x="113" y="53"/>
                  </a:lnTo>
                  <a:lnTo>
                    <a:pt x="113" y="53"/>
                  </a:lnTo>
                  <a:lnTo>
                    <a:pt x="109" y="53"/>
                  </a:lnTo>
                  <a:lnTo>
                    <a:pt x="109" y="53"/>
                  </a:lnTo>
                  <a:lnTo>
                    <a:pt x="109" y="54"/>
                  </a:lnTo>
                  <a:lnTo>
                    <a:pt x="109" y="54"/>
                  </a:lnTo>
                  <a:lnTo>
                    <a:pt x="106" y="53"/>
                  </a:lnTo>
                  <a:lnTo>
                    <a:pt x="106" y="53"/>
                  </a:lnTo>
                  <a:lnTo>
                    <a:pt x="98" y="51"/>
                  </a:lnTo>
                  <a:lnTo>
                    <a:pt x="98" y="51"/>
                  </a:lnTo>
                  <a:lnTo>
                    <a:pt x="97" y="49"/>
                  </a:lnTo>
                  <a:lnTo>
                    <a:pt x="97" y="49"/>
                  </a:lnTo>
                  <a:lnTo>
                    <a:pt x="95" y="48"/>
                  </a:lnTo>
                  <a:lnTo>
                    <a:pt x="95" y="48"/>
                  </a:lnTo>
                  <a:lnTo>
                    <a:pt x="92" y="45"/>
                  </a:lnTo>
                  <a:lnTo>
                    <a:pt x="92" y="45"/>
                  </a:lnTo>
                  <a:lnTo>
                    <a:pt x="89" y="46"/>
                  </a:lnTo>
                  <a:lnTo>
                    <a:pt x="89" y="46"/>
                  </a:lnTo>
                  <a:lnTo>
                    <a:pt x="86" y="48"/>
                  </a:lnTo>
                  <a:lnTo>
                    <a:pt x="86" y="48"/>
                  </a:lnTo>
                  <a:lnTo>
                    <a:pt x="82" y="53"/>
                  </a:lnTo>
                  <a:lnTo>
                    <a:pt x="82" y="53"/>
                  </a:lnTo>
                  <a:lnTo>
                    <a:pt x="82" y="57"/>
                  </a:lnTo>
                  <a:lnTo>
                    <a:pt x="82" y="57"/>
                  </a:lnTo>
                  <a:lnTo>
                    <a:pt x="79" y="60"/>
                  </a:lnTo>
                  <a:lnTo>
                    <a:pt x="79" y="60"/>
                  </a:lnTo>
                  <a:lnTo>
                    <a:pt x="75" y="64"/>
                  </a:lnTo>
                  <a:lnTo>
                    <a:pt x="75" y="64"/>
                  </a:lnTo>
                  <a:lnTo>
                    <a:pt x="73" y="64"/>
                  </a:lnTo>
                  <a:lnTo>
                    <a:pt x="73" y="64"/>
                  </a:lnTo>
                  <a:lnTo>
                    <a:pt x="71" y="67"/>
                  </a:lnTo>
                  <a:lnTo>
                    <a:pt x="71" y="67"/>
                  </a:lnTo>
                  <a:lnTo>
                    <a:pt x="71" y="67"/>
                  </a:lnTo>
                  <a:lnTo>
                    <a:pt x="71" y="67"/>
                  </a:lnTo>
                  <a:lnTo>
                    <a:pt x="70" y="67"/>
                  </a:lnTo>
                  <a:lnTo>
                    <a:pt x="70" y="67"/>
                  </a:lnTo>
                  <a:lnTo>
                    <a:pt x="67" y="68"/>
                  </a:lnTo>
                  <a:lnTo>
                    <a:pt x="67" y="68"/>
                  </a:lnTo>
                  <a:lnTo>
                    <a:pt x="62" y="67"/>
                  </a:lnTo>
                  <a:lnTo>
                    <a:pt x="62" y="67"/>
                  </a:lnTo>
                  <a:lnTo>
                    <a:pt x="60" y="67"/>
                  </a:lnTo>
                  <a:lnTo>
                    <a:pt x="60" y="67"/>
                  </a:lnTo>
                  <a:lnTo>
                    <a:pt x="57" y="68"/>
                  </a:lnTo>
                  <a:lnTo>
                    <a:pt x="57" y="68"/>
                  </a:lnTo>
                  <a:lnTo>
                    <a:pt x="57" y="64"/>
                  </a:lnTo>
                  <a:lnTo>
                    <a:pt x="57" y="64"/>
                  </a:lnTo>
                  <a:lnTo>
                    <a:pt x="57" y="60"/>
                  </a:lnTo>
                  <a:lnTo>
                    <a:pt x="57" y="60"/>
                  </a:lnTo>
                  <a:lnTo>
                    <a:pt x="60" y="57"/>
                  </a:lnTo>
                  <a:lnTo>
                    <a:pt x="60" y="57"/>
                  </a:lnTo>
                  <a:lnTo>
                    <a:pt x="57" y="53"/>
                  </a:lnTo>
                  <a:lnTo>
                    <a:pt x="57" y="53"/>
                  </a:lnTo>
                  <a:lnTo>
                    <a:pt x="54" y="43"/>
                  </a:lnTo>
                  <a:lnTo>
                    <a:pt x="54" y="43"/>
                  </a:lnTo>
                  <a:lnTo>
                    <a:pt x="51" y="40"/>
                  </a:lnTo>
                  <a:lnTo>
                    <a:pt x="51" y="40"/>
                  </a:lnTo>
                  <a:lnTo>
                    <a:pt x="51" y="37"/>
                  </a:lnTo>
                  <a:lnTo>
                    <a:pt x="51" y="37"/>
                  </a:lnTo>
                  <a:lnTo>
                    <a:pt x="51" y="35"/>
                  </a:lnTo>
                  <a:lnTo>
                    <a:pt x="51" y="35"/>
                  </a:lnTo>
                  <a:lnTo>
                    <a:pt x="51" y="27"/>
                  </a:lnTo>
                  <a:lnTo>
                    <a:pt x="51" y="27"/>
                  </a:lnTo>
                  <a:lnTo>
                    <a:pt x="49" y="27"/>
                  </a:lnTo>
                  <a:lnTo>
                    <a:pt x="49" y="27"/>
                  </a:lnTo>
                  <a:lnTo>
                    <a:pt x="49" y="89"/>
                  </a:lnTo>
                  <a:lnTo>
                    <a:pt x="49" y="89"/>
                  </a:lnTo>
                  <a:lnTo>
                    <a:pt x="49" y="89"/>
                  </a:lnTo>
                  <a:lnTo>
                    <a:pt x="49" y="89"/>
                  </a:lnTo>
                  <a:lnTo>
                    <a:pt x="48" y="92"/>
                  </a:lnTo>
                  <a:lnTo>
                    <a:pt x="48" y="92"/>
                  </a:lnTo>
                  <a:lnTo>
                    <a:pt x="43" y="92"/>
                  </a:lnTo>
                  <a:lnTo>
                    <a:pt x="43" y="92"/>
                  </a:lnTo>
                  <a:lnTo>
                    <a:pt x="43" y="95"/>
                  </a:lnTo>
                  <a:lnTo>
                    <a:pt x="43" y="95"/>
                  </a:lnTo>
                  <a:lnTo>
                    <a:pt x="41" y="95"/>
                  </a:lnTo>
                  <a:lnTo>
                    <a:pt x="41" y="95"/>
                  </a:lnTo>
                  <a:lnTo>
                    <a:pt x="40" y="95"/>
                  </a:lnTo>
                  <a:lnTo>
                    <a:pt x="40" y="95"/>
                  </a:lnTo>
                  <a:lnTo>
                    <a:pt x="40" y="99"/>
                  </a:lnTo>
                  <a:lnTo>
                    <a:pt x="40" y="99"/>
                  </a:lnTo>
                  <a:lnTo>
                    <a:pt x="36" y="99"/>
                  </a:lnTo>
                  <a:lnTo>
                    <a:pt x="36" y="99"/>
                  </a:lnTo>
                  <a:lnTo>
                    <a:pt x="33" y="95"/>
                  </a:lnTo>
                  <a:lnTo>
                    <a:pt x="33" y="95"/>
                  </a:lnTo>
                  <a:lnTo>
                    <a:pt x="28" y="99"/>
                  </a:lnTo>
                  <a:lnTo>
                    <a:pt x="28" y="99"/>
                  </a:lnTo>
                  <a:lnTo>
                    <a:pt x="25" y="99"/>
                  </a:lnTo>
                  <a:lnTo>
                    <a:pt x="25" y="99"/>
                  </a:lnTo>
                  <a:lnTo>
                    <a:pt x="19" y="95"/>
                  </a:lnTo>
                  <a:lnTo>
                    <a:pt x="19" y="95"/>
                  </a:lnTo>
                  <a:lnTo>
                    <a:pt x="16" y="92"/>
                  </a:lnTo>
                  <a:lnTo>
                    <a:pt x="16" y="92"/>
                  </a:lnTo>
                  <a:lnTo>
                    <a:pt x="16" y="89"/>
                  </a:lnTo>
                  <a:lnTo>
                    <a:pt x="16" y="89"/>
                  </a:lnTo>
                  <a:lnTo>
                    <a:pt x="16" y="89"/>
                  </a:lnTo>
                  <a:lnTo>
                    <a:pt x="16" y="89"/>
                  </a:lnTo>
                  <a:lnTo>
                    <a:pt x="14" y="87"/>
                  </a:lnTo>
                  <a:lnTo>
                    <a:pt x="14" y="87"/>
                  </a:lnTo>
                  <a:lnTo>
                    <a:pt x="13" y="86"/>
                  </a:lnTo>
                  <a:lnTo>
                    <a:pt x="13" y="86"/>
                  </a:lnTo>
                  <a:lnTo>
                    <a:pt x="11" y="86"/>
                  </a:lnTo>
                  <a:lnTo>
                    <a:pt x="11" y="86"/>
                  </a:lnTo>
                  <a:lnTo>
                    <a:pt x="9" y="87"/>
                  </a:lnTo>
                  <a:lnTo>
                    <a:pt x="9" y="87"/>
                  </a:lnTo>
                  <a:lnTo>
                    <a:pt x="9" y="89"/>
                  </a:lnTo>
                  <a:lnTo>
                    <a:pt x="9" y="89"/>
                  </a:lnTo>
                  <a:lnTo>
                    <a:pt x="8" y="92"/>
                  </a:lnTo>
                  <a:lnTo>
                    <a:pt x="8" y="92"/>
                  </a:lnTo>
                  <a:lnTo>
                    <a:pt x="6" y="92"/>
                  </a:lnTo>
                  <a:lnTo>
                    <a:pt x="6" y="92"/>
                  </a:lnTo>
                  <a:lnTo>
                    <a:pt x="5" y="92"/>
                  </a:lnTo>
                  <a:lnTo>
                    <a:pt x="5" y="92"/>
                  </a:lnTo>
                  <a:lnTo>
                    <a:pt x="5" y="92"/>
                  </a:lnTo>
                  <a:lnTo>
                    <a:pt x="5" y="92"/>
                  </a:lnTo>
                  <a:lnTo>
                    <a:pt x="0" y="87"/>
                  </a:lnTo>
                  <a:lnTo>
                    <a:pt x="0" y="87"/>
                  </a:lnTo>
                  <a:lnTo>
                    <a:pt x="5" y="108"/>
                  </a:lnTo>
                  <a:lnTo>
                    <a:pt x="8" y="121"/>
                  </a:lnTo>
                  <a:lnTo>
                    <a:pt x="8" y="121"/>
                  </a:lnTo>
                  <a:lnTo>
                    <a:pt x="11" y="124"/>
                  </a:lnTo>
                  <a:lnTo>
                    <a:pt x="19" y="127"/>
                  </a:lnTo>
                  <a:lnTo>
                    <a:pt x="19" y="127"/>
                  </a:lnTo>
                  <a:lnTo>
                    <a:pt x="22" y="133"/>
                  </a:lnTo>
                  <a:lnTo>
                    <a:pt x="22" y="133"/>
                  </a:lnTo>
                  <a:lnTo>
                    <a:pt x="25" y="140"/>
                  </a:lnTo>
                  <a:lnTo>
                    <a:pt x="25" y="140"/>
                  </a:lnTo>
                  <a:lnTo>
                    <a:pt x="25" y="148"/>
                  </a:lnTo>
                  <a:lnTo>
                    <a:pt x="25" y="148"/>
                  </a:lnTo>
                  <a:lnTo>
                    <a:pt x="25" y="151"/>
                  </a:lnTo>
                  <a:lnTo>
                    <a:pt x="25" y="151"/>
                  </a:lnTo>
                  <a:lnTo>
                    <a:pt x="25" y="154"/>
                  </a:lnTo>
                  <a:lnTo>
                    <a:pt x="25" y="154"/>
                  </a:lnTo>
                  <a:lnTo>
                    <a:pt x="22" y="151"/>
                  </a:lnTo>
                  <a:lnTo>
                    <a:pt x="22" y="151"/>
                  </a:lnTo>
                  <a:lnTo>
                    <a:pt x="22" y="154"/>
                  </a:lnTo>
                  <a:lnTo>
                    <a:pt x="22" y="154"/>
                  </a:lnTo>
                  <a:lnTo>
                    <a:pt x="19" y="157"/>
                  </a:lnTo>
                  <a:lnTo>
                    <a:pt x="19" y="157"/>
                  </a:lnTo>
                  <a:lnTo>
                    <a:pt x="22" y="157"/>
                  </a:lnTo>
                  <a:lnTo>
                    <a:pt x="22" y="157"/>
                  </a:lnTo>
                  <a:lnTo>
                    <a:pt x="22" y="157"/>
                  </a:lnTo>
                  <a:lnTo>
                    <a:pt x="22" y="157"/>
                  </a:lnTo>
                  <a:lnTo>
                    <a:pt x="22" y="159"/>
                  </a:lnTo>
                  <a:lnTo>
                    <a:pt x="22" y="159"/>
                  </a:lnTo>
                  <a:lnTo>
                    <a:pt x="25" y="162"/>
                  </a:lnTo>
                  <a:lnTo>
                    <a:pt x="25" y="162"/>
                  </a:lnTo>
                  <a:lnTo>
                    <a:pt x="27" y="165"/>
                  </a:lnTo>
                  <a:lnTo>
                    <a:pt x="27" y="165"/>
                  </a:lnTo>
                  <a:lnTo>
                    <a:pt x="27" y="168"/>
                  </a:lnTo>
                  <a:lnTo>
                    <a:pt x="27" y="168"/>
                  </a:lnTo>
                  <a:lnTo>
                    <a:pt x="25" y="172"/>
                  </a:lnTo>
                  <a:lnTo>
                    <a:pt x="25" y="172"/>
                  </a:lnTo>
                  <a:lnTo>
                    <a:pt x="25" y="175"/>
                  </a:lnTo>
                  <a:lnTo>
                    <a:pt x="25" y="175"/>
                  </a:lnTo>
                  <a:lnTo>
                    <a:pt x="27" y="176"/>
                  </a:lnTo>
                  <a:lnTo>
                    <a:pt x="27" y="176"/>
                  </a:lnTo>
                  <a:lnTo>
                    <a:pt x="27" y="173"/>
                  </a:lnTo>
                  <a:lnTo>
                    <a:pt x="27" y="173"/>
                  </a:lnTo>
                  <a:lnTo>
                    <a:pt x="28" y="172"/>
                  </a:lnTo>
                  <a:lnTo>
                    <a:pt x="28" y="172"/>
                  </a:lnTo>
                  <a:lnTo>
                    <a:pt x="30" y="172"/>
                  </a:lnTo>
                  <a:lnTo>
                    <a:pt x="30" y="172"/>
                  </a:lnTo>
                  <a:lnTo>
                    <a:pt x="32" y="173"/>
                  </a:lnTo>
                  <a:lnTo>
                    <a:pt x="32" y="173"/>
                  </a:lnTo>
                  <a:lnTo>
                    <a:pt x="32" y="176"/>
                  </a:lnTo>
                  <a:lnTo>
                    <a:pt x="32" y="176"/>
                  </a:lnTo>
                  <a:lnTo>
                    <a:pt x="36" y="176"/>
                  </a:lnTo>
                  <a:lnTo>
                    <a:pt x="36" y="176"/>
                  </a:lnTo>
                  <a:lnTo>
                    <a:pt x="38" y="178"/>
                  </a:lnTo>
                  <a:lnTo>
                    <a:pt x="38" y="178"/>
                  </a:lnTo>
                  <a:lnTo>
                    <a:pt x="38" y="180"/>
                  </a:lnTo>
                  <a:lnTo>
                    <a:pt x="38" y="180"/>
                  </a:lnTo>
                  <a:lnTo>
                    <a:pt x="41" y="180"/>
                  </a:lnTo>
                  <a:lnTo>
                    <a:pt x="41" y="180"/>
                  </a:lnTo>
                  <a:lnTo>
                    <a:pt x="44" y="183"/>
                  </a:lnTo>
                  <a:lnTo>
                    <a:pt x="44" y="183"/>
                  </a:lnTo>
                  <a:lnTo>
                    <a:pt x="46" y="183"/>
                  </a:lnTo>
                  <a:lnTo>
                    <a:pt x="46" y="183"/>
                  </a:lnTo>
                  <a:lnTo>
                    <a:pt x="48" y="180"/>
                  </a:lnTo>
                  <a:lnTo>
                    <a:pt x="48" y="180"/>
                  </a:lnTo>
                  <a:lnTo>
                    <a:pt x="51" y="178"/>
                  </a:lnTo>
                  <a:lnTo>
                    <a:pt x="51" y="178"/>
                  </a:lnTo>
                  <a:lnTo>
                    <a:pt x="57" y="176"/>
                  </a:lnTo>
                  <a:lnTo>
                    <a:pt x="57" y="176"/>
                  </a:lnTo>
                  <a:lnTo>
                    <a:pt x="62" y="176"/>
                  </a:lnTo>
                  <a:lnTo>
                    <a:pt x="62" y="176"/>
                  </a:lnTo>
                  <a:lnTo>
                    <a:pt x="67" y="176"/>
                  </a:lnTo>
                  <a:lnTo>
                    <a:pt x="67" y="176"/>
                  </a:lnTo>
                  <a:lnTo>
                    <a:pt x="68" y="176"/>
                  </a:lnTo>
                  <a:lnTo>
                    <a:pt x="68" y="176"/>
                  </a:lnTo>
                  <a:lnTo>
                    <a:pt x="70" y="173"/>
                  </a:lnTo>
                  <a:lnTo>
                    <a:pt x="70" y="173"/>
                  </a:lnTo>
                  <a:lnTo>
                    <a:pt x="73" y="172"/>
                  </a:lnTo>
                  <a:lnTo>
                    <a:pt x="73" y="172"/>
                  </a:lnTo>
                  <a:lnTo>
                    <a:pt x="79" y="172"/>
                  </a:lnTo>
                  <a:lnTo>
                    <a:pt x="79" y="172"/>
                  </a:lnTo>
                  <a:lnTo>
                    <a:pt x="79" y="170"/>
                  </a:lnTo>
                  <a:lnTo>
                    <a:pt x="79" y="170"/>
                  </a:lnTo>
                  <a:lnTo>
                    <a:pt x="82" y="172"/>
                  </a:lnTo>
                  <a:lnTo>
                    <a:pt x="82" y="172"/>
                  </a:lnTo>
                  <a:lnTo>
                    <a:pt x="82" y="172"/>
                  </a:lnTo>
                  <a:lnTo>
                    <a:pt x="82" y="172"/>
                  </a:lnTo>
                  <a:lnTo>
                    <a:pt x="86" y="172"/>
                  </a:lnTo>
                  <a:lnTo>
                    <a:pt x="86" y="172"/>
                  </a:lnTo>
                  <a:lnTo>
                    <a:pt x="92" y="170"/>
                  </a:lnTo>
                  <a:lnTo>
                    <a:pt x="92" y="170"/>
                  </a:lnTo>
                  <a:lnTo>
                    <a:pt x="98" y="172"/>
                  </a:lnTo>
                  <a:lnTo>
                    <a:pt x="98" y="172"/>
                  </a:lnTo>
                  <a:lnTo>
                    <a:pt x="103" y="173"/>
                  </a:lnTo>
                  <a:lnTo>
                    <a:pt x="103" y="173"/>
                  </a:lnTo>
                  <a:lnTo>
                    <a:pt x="106" y="170"/>
                  </a:lnTo>
                  <a:lnTo>
                    <a:pt x="106" y="170"/>
                  </a:lnTo>
                  <a:lnTo>
                    <a:pt x="106" y="170"/>
                  </a:lnTo>
                  <a:lnTo>
                    <a:pt x="106" y="170"/>
                  </a:lnTo>
                  <a:lnTo>
                    <a:pt x="109" y="170"/>
                  </a:lnTo>
                  <a:lnTo>
                    <a:pt x="109" y="170"/>
                  </a:lnTo>
                  <a:lnTo>
                    <a:pt x="113" y="172"/>
                  </a:lnTo>
                  <a:lnTo>
                    <a:pt x="113" y="172"/>
                  </a:lnTo>
                  <a:lnTo>
                    <a:pt x="116" y="172"/>
                  </a:lnTo>
                  <a:lnTo>
                    <a:pt x="116" y="172"/>
                  </a:lnTo>
                  <a:lnTo>
                    <a:pt x="113" y="170"/>
                  </a:lnTo>
                  <a:lnTo>
                    <a:pt x="113" y="170"/>
                  </a:lnTo>
                  <a:lnTo>
                    <a:pt x="113" y="168"/>
                  </a:lnTo>
                  <a:lnTo>
                    <a:pt x="113" y="168"/>
                  </a:lnTo>
                  <a:lnTo>
                    <a:pt x="116" y="167"/>
                  </a:lnTo>
                  <a:lnTo>
                    <a:pt x="116" y="167"/>
                  </a:lnTo>
                  <a:lnTo>
                    <a:pt x="119" y="167"/>
                  </a:lnTo>
                  <a:lnTo>
                    <a:pt x="119" y="167"/>
                  </a:lnTo>
                  <a:lnTo>
                    <a:pt x="124" y="167"/>
                  </a:lnTo>
                  <a:lnTo>
                    <a:pt x="124" y="167"/>
                  </a:lnTo>
                  <a:lnTo>
                    <a:pt x="132" y="164"/>
                  </a:lnTo>
                  <a:lnTo>
                    <a:pt x="132" y="164"/>
                  </a:lnTo>
                  <a:lnTo>
                    <a:pt x="138" y="159"/>
                  </a:lnTo>
                  <a:lnTo>
                    <a:pt x="138" y="159"/>
                  </a:lnTo>
                  <a:lnTo>
                    <a:pt x="152" y="148"/>
                  </a:lnTo>
                  <a:lnTo>
                    <a:pt x="152" y="148"/>
                  </a:lnTo>
                  <a:lnTo>
                    <a:pt x="157" y="143"/>
                  </a:lnTo>
                  <a:lnTo>
                    <a:pt x="157" y="143"/>
                  </a:lnTo>
                  <a:lnTo>
                    <a:pt x="162" y="137"/>
                  </a:lnTo>
                  <a:lnTo>
                    <a:pt x="162" y="137"/>
                  </a:lnTo>
                  <a:lnTo>
                    <a:pt x="168" y="130"/>
                  </a:lnTo>
                  <a:lnTo>
                    <a:pt x="168" y="130"/>
                  </a:lnTo>
                  <a:lnTo>
                    <a:pt x="175" y="124"/>
                  </a:lnTo>
                  <a:lnTo>
                    <a:pt x="175" y="124"/>
                  </a:lnTo>
                  <a:lnTo>
                    <a:pt x="179" y="116"/>
                  </a:lnTo>
                  <a:lnTo>
                    <a:pt x="179" y="116"/>
                  </a:lnTo>
                  <a:lnTo>
                    <a:pt x="182" y="113"/>
                  </a:lnTo>
                  <a:lnTo>
                    <a:pt x="182" y="113"/>
                  </a:lnTo>
                  <a:lnTo>
                    <a:pt x="182" y="111"/>
                  </a:lnTo>
                  <a:lnTo>
                    <a:pt x="182" y="111"/>
                  </a:lnTo>
                  <a:lnTo>
                    <a:pt x="186" y="105"/>
                  </a:lnTo>
                  <a:lnTo>
                    <a:pt x="186" y="105"/>
                  </a:lnTo>
                  <a:lnTo>
                    <a:pt x="189" y="100"/>
                  </a:lnTo>
                  <a:lnTo>
                    <a:pt x="189" y="100"/>
                  </a:lnTo>
                  <a:lnTo>
                    <a:pt x="192" y="99"/>
                  </a:lnTo>
                  <a:lnTo>
                    <a:pt x="192" y="99"/>
                  </a:lnTo>
                  <a:lnTo>
                    <a:pt x="195" y="99"/>
                  </a:lnTo>
                  <a:lnTo>
                    <a:pt x="195" y="99"/>
                  </a:lnTo>
                  <a:lnTo>
                    <a:pt x="195" y="95"/>
                  </a:lnTo>
                  <a:lnTo>
                    <a:pt x="195" y="95"/>
                  </a:lnTo>
                  <a:lnTo>
                    <a:pt x="197" y="95"/>
                  </a:lnTo>
                  <a:lnTo>
                    <a:pt x="197" y="95"/>
                  </a:lnTo>
                  <a:lnTo>
                    <a:pt x="200" y="92"/>
                  </a:lnTo>
                  <a:lnTo>
                    <a:pt x="200" y="92"/>
                  </a:lnTo>
                  <a:lnTo>
                    <a:pt x="203" y="87"/>
                  </a:lnTo>
                  <a:lnTo>
                    <a:pt x="203" y="87"/>
                  </a:lnTo>
                  <a:lnTo>
                    <a:pt x="206" y="68"/>
                  </a:lnTo>
                  <a:lnTo>
                    <a:pt x="206" y="68"/>
                  </a:lnTo>
                  <a:lnTo>
                    <a:pt x="200" y="67"/>
                  </a:lnTo>
                  <a:lnTo>
                    <a:pt x="200" y="67"/>
                  </a:lnTo>
                  <a:lnTo>
                    <a:pt x="200" y="67"/>
                  </a:lnTo>
                  <a:lnTo>
                    <a:pt x="197" y="67"/>
                  </a:lnTo>
                  <a:lnTo>
                    <a:pt x="197" y="67"/>
                  </a:lnTo>
                  <a:lnTo>
                    <a:pt x="195" y="72"/>
                  </a:lnTo>
                  <a:lnTo>
                    <a:pt x="195" y="72"/>
                  </a:lnTo>
                  <a:lnTo>
                    <a:pt x="195" y="73"/>
                  </a:lnTo>
                  <a:lnTo>
                    <a:pt x="195" y="73"/>
                  </a:lnTo>
                  <a:lnTo>
                    <a:pt x="194" y="73"/>
                  </a:lnTo>
                  <a:lnTo>
                    <a:pt x="194" y="73"/>
                  </a:lnTo>
                  <a:lnTo>
                    <a:pt x="190" y="73"/>
                  </a:lnTo>
                  <a:lnTo>
                    <a:pt x="190" y="73"/>
                  </a:lnTo>
                  <a:lnTo>
                    <a:pt x="186" y="70"/>
                  </a:lnTo>
                  <a:lnTo>
                    <a:pt x="186" y="70"/>
                  </a:lnTo>
                  <a:lnTo>
                    <a:pt x="182" y="67"/>
                  </a:lnTo>
                  <a:lnTo>
                    <a:pt x="182" y="67"/>
                  </a:lnTo>
                  <a:lnTo>
                    <a:pt x="186" y="57"/>
                  </a:lnTo>
                  <a:lnTo>
                    <a:pt x="186" y="57"/>
                  </a:lnTo>
                  <a:lnTo>
                    <a:pt x="187" y="54"/>
                  </a:lnTo>
                  <a:lnTo>
                    <a:pt x="187" y="54"/>
                  </a:lnTo>
                  <a:lnTo>
                    <a:pt x="189" y="54"/>
                  </a:lnTo>
                  <a:lnTo>
                    <a:pt x="189" y="54"/>
                  </a:lnTo>
                  <a:lnTo>
                    <a:pt x="194" y="54"/>
                  </a:lnTo>
                  <a:lnTo>
                    <a:pt x="194" y="54"/>
                  </a:lnTo>
                  <a:lnTo>
                    <a:pt x="197" y="57"/>
                  </a:lnTo>
                  <a:lnTo>
                    <a:pt x="197" y="57"/>
                  </a:lnTo>
                  <a:lnTo>
                    <a:pt x="197" y="54"/>
                  </a:lnTo>
                  <a:lnTo>
                    <a:pt x="197" y="54"/>
                  </a:lnTo>
                  <a:lnTo>
                    <a:pt x="197" y="53"/>
                  </a:lnTo>
                  <a:lnTo>
                    <a:pt x="197" y="53"/>
                  </a:lnTo>
                  <a:lnTo>
                    <a:pt x="197" y="51"/>
                  </a:lnTo>
                  <a:lnTo>
                    <a:pt x="197" y="51"/>
                  </a:lnTo>
                  <a:lnTo>
                    <a:pt x="197" y="48"/>
                  </a:lnTo>
                  <a:lnTo>
                    <a:pt x="197" y="48"/>
                  </a:lnTo>
                  <a:lnTo>
                    <a:pt x="197" y="45"/>
                  </a:lnTo>
                  <a:lnTo>
                    <a:pt x="197" y="45"/>
                  </a:lnTo>
                  <a:lnTo>
                    <a:pt x="197" y="43"/>
                  </a:lnTo>
                  <a:lnTo>
                    <a:pt x="197" y="43"/>
                  </a:lnTo>
                  <a:lnTo>
                    <a:pt x="197" y="35"/>
                  </a:lnTo>
                  <a:lnTo>
                    <a:pt x="197" y="35"/>
                  </a:lnTo>
                  <a:lnTo>
                    <a:pt x="197" y="29"/>
                  </a:lnTo>
                  <a:lnTo>
                    <a:pt x="197" y="29"/>
                  </a:lnTo>
                  <a:lnTo>
                    <a:pt x="195" y="22"/>
                  </a:lnTo>
                  <a:lnTo>
                    <a:pt x="195" y="22"/>
                  </a:lnTo>
                  <a:lnTo>
                    <a:pt x="195" y="22"/>
                  </a:lnTo>
                  <a:lnTo>
                    <a:pt x="194" y="19"/>
                  </a:lnTo>
                  <a:lnTo>
                    <a:pt x="194" y="19"/>
                  </a:lnTo>
                  <a:lnTo>
                    <a:pt x="192" y="13"/>
                  </a:lnTo>
                  <a:lnTo>
                    <a:pt x="192" y="13"/>
                  </a:lnTo>
                  <a:lnTo>
                    <a:pt x="190" y="10"/>
                  </a:lnTo>
                  <a:lnTo>
                    <a:pt x="190" y="10"/>
                  </a:lnTo>
                  <a:lnTo>
                    <a:pt x="190" y="5"/>
                  </a:lnTo>
                  <a:lnTo>
                    <a:pt x="190" y="5"/>
                  </a:lnTo>
                  <a:lnTo>
                    <a:pt x="190" y="3"/>
                  </a:lnTo>
                  <a:lnTo>
                    <a:pt x="190" y="3"/>
                  </a:lnTo>
                  <a:lnTo>
                    <a:pt x="189" y="2"/>
                  </a:lnTo>
                  <a:lnTo>
                    <a:pt x="186" y="2"/>
                  </a:lnTo>
                  <a:lnTo>
                    <a:pt x="186" y="2"/>
                  </a:lnTo>
                  <a:lnTo>
                    <a:pt x="186" y="2"/>
                  </a:lnTo>
                  <a:close/>
                  <a:moveTo>
                    <a:pt x="163" y="105"/>
                  </a:moveTo>
                  <a:lnTo>
                    <a:pt x="163" y="105"/>
                  </a:lnTo>
                  <a:lnTo>
                    <a:pt x="162" y="107"/>
                  </a:lnTo>
                  <a:lnTo>
                    <a:pt x="162" y="107"/>
                  </a:lnTo>
                  <a:lnTo>
                    <a:pt x="159" y="111"/>
                  </a:lnTo>
                  <a:lnTo>
                    <a:pt x="159" y="111"/>
                  </a:lnTo>
                  <a:lnTo>
                    <a:pt x="157" y="114"/>
                  </a:lnTo>
                  <a:lnTo>
                    <a:pt x="157" y="114"/>
                  </a:lnTo>
                  <a:lnTo>
                    <a:pt x="154" y="114"/>
                  </a:lnTo>
                  <a:lnTo>
                    <a:pt x="154" y="114"/>
                  </a:lnTo>
                  <a:lnTo>
                    <a:pt x="151" y="116"/>
                  </a:lnTo>
                  <a:lnTo>
                    <a:pt x="151" y="116"/>
                  </a:lnTo>
                  <a:lnTo>
                    <a:pt x="148" y="118"/>
                  </a:lnTo>
                  <a:lnTo>
                    <a:pt x="148" y="118"/>
                  </a:lnTo>
                  <a:lnTo>
                    <a:pt x="144" y="122"/>
                  </a:lnTo>
                  <a:lnTo>
                    <a:pt x="144" y="122"/>
                  </a:lnTo>
                  <a:lnTo>
                    <a:pt x="144" y="124"/>
                  </a:lnTo>
                  <a:lnTo>
                    <a:pt x="144" y="124"/>
                  </a:lnTo>
                  <a:lnTo>
                    <a:pt x="141" y="122"/>
                  </a:lnTo>
                  <a:lnTo>
                    <a:pt x="141" y="122"/>
                  </a:lnTo>
                  <a:lnTo>
                    <a:pt x="138" y="118"/>
                  </a:lnTo>
                  <a:lnTo>
                    <a:pt x="138" y="118"/>
                  </a:lnTo>
                  <a:lnTo>
                    <a:pt x="138" y="116"/>
                  </a:lnTo>
                  <a:lnTo>
                    <a:pt x="138" y="116"/>
                  </a:lnTo>
                  <a:lnTo>
                    <a:pt x="136" y="114"/>
                  </a:lnTo>
                  <a:lnTo>
                    <a:pt x="136" y="114"/>
                  </a:lnTo>
                  <a:lnTo>
                    <a:pt x="135" y="111"/>
                  </a:lnTo>
                  <a:lnTo>
                    <a:pt x="135" y="111"/>
                  </a:lnTo>
                  <a:lnTo>
                    <a:pt x="133" y="108"/>
                  </a:lnTo>
                  <a:lnTo>
                    <a:pt x="133" y="108"/>
                  </a:lnTo>
                  <a:lnTo>
                    <a:pt x="136" y="107"/>
                  </a:lnTo>
                  <a:lnTo>
                    <a:pt x="136" y="107"/>
                  </a:lnTo>
                  <a:lnTo>
                    <a:pt x="140" y="105"/>
                  </a:lnTo>
                  <a:lnTo>
                    <a:pt x="140" y="105"/>
                  </a:lnTo>
                  <a:lnTo>
                    <a:pt x="141" y="99"/>
                  </a:lnTo>
                  <a:lnTo>
                    <a:pt x="141" y="99"/>
                  </a:lnTo>
                  <a:lnTo>
                    <a:pt x="144" y="99"/>
                  </a:lnTo>
                  <a:lnTo>
                    <a:pt x="144" y="99"/>
                  </a:lnTo>
                  <a:lnTo>
                    <a:pt x="148" y="95"/>
                  </a:lnTo>
                  <a:lnTo>
                    <a:pt x="148" y="95"/>
                  </a:lnTo>
                  <a:lnTo>
                    <a:pt x="151" y="95"/>
                  </a:lnTo>
                  <a:lnTo>
                    <a:pt x="151" y="95"/>
                  </a:lnTo>
                  <a:lnTo>
                    <a:pt x="151" y="92"/>
                  </a:lnTo>
                  <a:lnTo>
                    <a:pt x="151" y="92"/>
                  </a:lnTo>
                  <a:lnTo>
                    <a:pt x="152" y="92"/>
                  </a:lnTo>
                  <a:lnTo>
                    <a:pt x="152" y="92"/>
                  </a:lnTo>
                  <a:lnTo>
                    <a:pt x="154" y="92"/>
                  </a:lnTo>
                  <a:lnTo>
                    <a:pt x="154" y="92"/>
                  </a:lnTo>
                  <a:lnTo>
                    <a:pt x="159" y="99"/>
                  </a:lnTo>
                  <a:lnTo>
                    <a:pt x="159" y="99"/>
                  </a:lnTo>
                  <a:lnTo>
                    <a:pt x="162" y="100"/>
                  </a:lnTo>
                  <a:lnTo>
                    <a:pt x="162" y="100"/>
                  </a:lnTo>
                  <a:lnTo>
                    <a:pt x="163" y="103"/>
                  </a:lnTo>
                  <a:lnTo>
                    <a:pt x="163" y="105"/>
                  </a:lnTo>
                  <a:lnTo>
                    <a:pt x="163" y="105"/>
                  </a:lnTo>
                  <a:lnTo>
                    <a:pt x="163" y="10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3" name="Freeform 118">
              <a:extLst>
                <a:ext uri="{FF2B5EF4-FFF2-40B4-BE49-F238E27FC236}">
                  <a16:creationId xmlns:a16="http://schemas.microsoft.com/office/drawing/2014/main" id="{6B1181AB-C69D-3F30-FC23-8F60885D8EDF}"/>
                </a:ext>
              </a:extLst>
            </p:cNvPr>
            <p:cNvSpPr>
              <a:spLocks/>
            </p:cNvSpPr>
            <p:nvPr/>
          </p:nvSpPr>
          <p:spPr bwMode="auto">
            <a:xfrm>
              <a:off x="6482469" y="4529799"/>
              <a:ext cx="224307" cy="224307"/>
            </a:xfrm>
            <a:custGeom>
              <a:avLst/>
              <a:gdLst>
                <a:gd name="T0" fmla="*/ 57 w 100"/>
                <a:gd name="T1" fmla="*/ 3 h 100"/>
                <a:gd name="T2" fmla="*/ 54 w 100"/>
                <a:gd name="T3" fmla="*/ 3 h 100"/>
                <a:gd name="T4" fmla="*/ 47 w 100"/>
                <a:gd name="T5" fmla="*/ 6 h 100"/>
                <a:gd name="T6" fmla="*/ 46 w 100"/>
                <a:gd name="T7" fmla="*/ 13 h 100"/>
                <a:gd name="T8" fmla="*/ 41 w 100"/>
                <a:gd name="T9" fmla="*/ 16 h 100"/>
                <a:gd name="T10" fmla="*/ 32 w 100"/>
                <a:gd name="T11" fmla="*/ 24 h 100"/>
                <a:gd name="T12" fmla="*/ 22 w 100"/>
                <a:gd name="T13" fmla="*/ 36 h 100"/>
                <a:gd name="T14" fmla="*/ 17 w 100"/>
                <a:gd name="T15" fmla="*/ 36 h 100"/>
                <a:gd name="T16" fmla="*/ 11 w 100"/>
                <a:gd name="T17" fmla="*/ 36 h 100"/>
                <a:gd name="T18" fmla="*/ 8 w 100"/>
                <a:gd name="T19" fmla="*/ 33 h 100"/>
                <a:gd name="T20" fmla="*/ 3 w 100"/>
                <a:gd name="T21" fmla="*/ 33 h 100"/>
                <a:gd name="T22" fmla="*/ 0 w 100"/>
                <a:gd name="T23" fmla="*/ 36 h 100"/>
                <a:gd name="T24" fmla="*/ 5 w 100"/>
                <a:gd name="T25" fmla="*/ 43 h 100"/>
                <a:gd name="T26" fmla="*/ 9 w 100"/>
                <a:gd name="T27" fmla="*/ 52 h 100"/>
                <a:gd name="T28" fmla="*/ 11 w 100"/>
                <a:gd name="T29" fmla="*/ 57 h 100"/>
                <a:gd name="T30" fmla="*/ 16 w 100"/>
                <a:gd name="T31" fmla="*/ 62 h 100"/>
                <a:gd name="T32" fmla="*/ 25 w 100"/>
                <a:gd name="T33" fmla="*/ 68 h 100"/>
                <a:gd name="T34" fmla="*/ 28 w 100"/>
                <a:gd name="T35" fmla="*/ 71 h 100"/>
                <a:gd name="T36" fmla="*/ 32 w 100"/>
                <a:gd name="T37" fmla="*/ 73 h 100"/>
                <a:gd name="T38" fmla="*/ 32 w 100"/>
                <a:gd name="T39" fmla="*/ 78 h 100"/>
                <a:gd name="T40" fmla="*/ 32 w 100"/>
                <a:gd name="T41" fmla="*/ 84 h 100"/>
                <a:gd name="T42" fmla="*/ 40 w 100"/>
                <a:gd name="T43" fmla="*/ 89 h 100"/>
                <a:gd name="T44" fmla="*/ 46 w 100"/>
                <a:gd name="T45" fmla="*/ 90 h 100"/>
                <a:gd name="T46" fmla="*/ 46 w 100"/>
                <a:gd name="T47" fmla="*/ 94 h 100"/>
                <a:gd name="T48" fmla="*/ 49 w 100"/>
                <a:gd name="T49" fmla="*/ 94 h 100"/>
                <a:gd name="T50" fmla="*/ 52 w 100"/>
                <a:gd name="T51" fmla="*/ 97 h 100"/>
                <a:gd name="T52" fmla="*/ 65 w 100"/>
                <a:gd name="T53" fmla="*/ 97 h 100"/>
                <a:gd name="T54" fmla="*/ 74 w 100"/>
                <a:gd name="T55" fmla="*/ 97 h 100"/>
                <a:gd name="T56" fmla="*/ 78 w 100"/>
                <a:gd name="T57" fmla="*/ 97 h 100"/>
                <a:gd name="T58" fmla="*/ 81 w 100"/>
                <a:gd name="T59" fmla="*/ 92 h 100"/>
                <a:gd name="T60" fmla="*/ 87 w 100"/>
                <a:gd name="T61" fmla="*/ 86 h 100"/>
                <a:gd name="T62" fmla="*/ 90 w 100"/>
                <a:gd name="T63" fmla="*/ 84 h 100"/>
                <a:gd name="T64" fmla="*/ 90 w 100"/>
                <a:gd name="T65" fmla="*/ 81 h 100"/>
                <a:gd name="T66" fmla="*/ 90 w 100"/>
                <a:gd name="T67" fmla="*/ 74 h 100"/>
                <a:gd name="T68" fmla="*/ 92 w 100"/>
                <a:gd name="T69" fmla="*/ 73 h 100"/>
                <a:gd name="T70" fmla="*/ 97 w 100"/>
                <a:gd name="T71" fmla="*/ 68 h 100"/>
                <a:gd name="T72" fmla="*/ 97 w 100"/>
                <a:gd name="T73" fmla="*/ 65 h 100"/>
                <a:gd name="T74" fmla="*/ 97 w 100"/>
                <a:gd name="T75" fmla="*/ 59 h 100"/>
                <a:gd name="T76" fmla="*/ 97 w 100"/>
                <a:gd name="T77" fmla="*/ 54 h 100"/>
                <a:gd name="T78" fmla="*/ 95 w 100"/>
                <a:gd name="T79" fmla="*/ 51 h 100"/>
                <a:gd name="T80" fmla="*/ 97 w 100"/>
                <a:gd name="T81" fmla="*/ 48 h 100"/>
                <a:gd name="T82" fmla="*/ 97 w 100"/>
                <a:gd name="T83" fmla="*/ 46 h 100"/>
                <a:gd name="T84" fmla="*/ 98 w 100"/>
                <a:gd name="T85" fmla="*/ 43 h 100"/>
                <a:gd name="T86" fmla="*/ 100 w 100"/>
                <a:gd name="T87" fmla="*/ 40 h 100"/>
                <a:gd name="T88" fmla="*/ 98 w 100"/>
                <a:gd name="T89" fmla="*/ 36 h 100"/>
                <a:gd name="T90" fmla="*/ 100 w 100"/>
                <a:gd name="T91" fmla="*/ 32 h 100"/>
                <a:gd name="T92" fmla="*/ 98 w 100"/>
                <a:gd name="T93" fmla="*/ 24 h 100"/>
                <a:gd name="T94" fmla="*/ 98 w 100"/>
                <a:gd name="T95" fmla="*/ 21 h 100"/>
                <a:gd name="T96" fmla="*/ 100 w 100"/>
                <a:gd name="T97" fmla="*/ 17 h 100"/>
                <a:gd name="T98" fmla="*/ 95 w 100"/>
                <a:gd name="T99" fmla="*/ 16 h 100"/>
                <a:gd name="T100" fmla="*/ 87 w 100"/>
                <a:gd name="T101" fmla="*/ 13 h 100"/>
                <a:gd name="T102" fmla="*/ 81 w 100"/>
                <a:gd name="T103" fmla="*/ 9 h 100"/>
                <a:gd name="T104" fmla="*/ 71 w 100"/>
                <a:gd name="T105" fmla="*/ 6 h 100"/>
                <a:gd name="T106" fmla="*/ 68 w 100"/>
                <a:gd name="T107" fmla="*/ 6 h 100"/>
                <a:gd name="T108" fmla="*/ 66 w 100"/>
                <a:gd name="T109" fmla="*/ 0 h 100"/>
                <a:gd name="T110" fmla="*/ 62 w 100"/>
                <a:gd name="T111" fmla="*/ 3 h 100"/>
                <a:gd name="T112" fmla="*/ 59 w 100"/>
                <a:gd name="T113" fmla="*/ 3 h 100"/>
                <a:gd name="T114" fmla="*/ 59 w 100"/>
                <a:gd name="T115" fmla="*/ 3 h 100"/>
                <a:gd name="T116" fmla="*/ 59 w 100"/>
                <a:gd name="T117" fmla="*/ 3 h 100"/>
                <a:gd name="T118" fmla="*/ 59 w 100"/>
                <a:gd name="T119" fmla="*/ 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100">
                  <a:moveTo>
                    <a:pt x="59" y="3"/>
                  </a:moveTo>
                  <a:lnTo>
                    <a:pt x="57" y="3"/>
                  </a:lnTo>
                  <a:lnTo>
                    <a:pt x="57" y="3"/>
                  </a:lnTo>
                  <a:lnTo>
                    <a:pt x="54" y="3"/>
                  </a:lnTo>
                  <a:lnTo>
                    <a:pt x="49" y="6"/>
                  </a:lnTo>
                  <a:lnTo>
                    <a:pt x="47" y="6"/>
                  </a:lnTo>
                  <a:lnTo>
                    <a:pt x="46" y="9"/>
                  </a:lnTo>
                  <a:lnTo>
                    <a:pt x="46" y="13"/>
                  </a:lnTo>
                  <a:lnTo>
                    <a:pt x="43" y="16"/>
                  </a:lnTo>
                  <a:lnTo>
                    <a:pt x="41" y="16"/>
                  </a:lnTo>
                  <a:lnTo>
                    <a:pt x="35" y="19"/>
                  </a:lnTo>
                  <a:lnTo>
                    <a:pt x="32" y="24"/>
                  </a:lnTo>
                  <a:lnTo>
                    <a:pt x="25" y="33"/>
                  </a:lnTo>
                  <a:lnTo>
                    <a:pt x="22" y="36"/>
                  </a:lnTo>
                  <a:lnTo>
                    <a:pt x="20" y="36"/>
                  </a:lnTo>
                  <a:lnTo>
                    <a:pt x="17" y="36"/>
                  </a:lnTo>
                  <a:lnTo>
                    <a:pt x="14" y="33"/>
                  </a:lnTo>
                  <a:lnTo>
                    <a:pt x="11" y="36"/>
                  </a:lnTo>
                  <a:lnTo>
                    <a:pt x="9" y="36"/>
                  </a:lnTo>
                  <a:lnTo>
                    <a:pt x="8" y="33"/>
                  </a:lnTo>
                  <a:lnTo>
                    <a:pt x="6" y="33"/>
                  </a:lnTo>
                  <a:lnTo>
                    <a:pt x="3" y="33"/>
                  </a:lnTo>
                  <a:lnTo>
                    <a:pt x="0" y="33"/>
                  </a:lnTo>
                  <a:lnTo>
                    <a:pt x="0" y="36"/>
                  </a:lnTo>
                  <a:lnTo>
                    <a:pt x="1" y="38"/>
                  </a:lnTo>
                  <a:lnTo>
                    <a:pt x="5" y="43"/>
                  </a:lnTo>
                  <a:lnTo>
                    <a:pt x="9" y="49"/>
                  </a:lnTo>
                  <a:lnTo>
                    <a:pt x="9" y="52"/>
                  </a:lnTo>
                  <a:lnTo>
                    <a:pt x="9" y="54"/>
                  </a:lnTo>
                  <a:lnTo>
                    <a:pt x="11" y="57"/>
                  </a:lnTo>
                  <a:lnTo>
                    <a:pt x="13" y="59"/>
                  </a:lnTo>
                  <a:lnTo>
                    <a:pt x="16" y="62"/>
                  </a:lnTo>
                  <a:lnTo>
                    <a:pt x="20" y="65"/>
                  </a:lnTo>
                  <a:lnTo>
                    <a:pt x="25" y="68"/>
                  </a:lnTo>
                  <a:lnTo>
                    <a:pt x="25" y="71"/>
                  </a:lnTo>
                  <a:lnTo>
                    <a:pt x="28" y="71"/>
                  </a:lnTo>
                  <a:lnTo>
                    <a:pt x="28" y="71"/>
                  </a:lnTo>
                  <a:lnTo>
                    <a:pt x="32" y="73"/>
                  </a:lnTo>
                  <a:lnTo>
                    <a:pt x="32" y="76"/>
                  </a:lnTo>
                  <a:lnTo>
                    <a:pt x="32" y="78"/>
                  </a:lnTo>
                  <a:lnTo>
                    <a:pt x="32" y="81"/>
                  </a:lnTo>
                  <a:lnTo>
                    <a:pt x="32" y="84"/>
                  </a:lnTo>
                  <a:lnTo>
                    <a:pt x="35" y="87"/>
                  </a:lnTo>
                  <a:lnTo>
                    <a:pt x="40" y="89"/>
                  </a:lnTo>
                  <a:lnTo>
                    <a:pt x="41" y="89"/>
                  </a:lnTo>
                  <a:lnTo>
                    <a:pt x="46" y="90"/>
                  </a:lnTo>
                  <a:lnTo>
                    <a:pt x="46" y="92"/>
                  </a:lnTo>
                  <a:lnTo>
                    <a:pt x="46" y="94"/>
                  </a:lnTo>
                  <a:lnTo>
                    <a:pt x="47" y="94"/>
                  </a:lnTo>
                  <a:lnTo>
                    <a:pt x="49" y="94"/>
                  </a:lnTo>
                  <a:lnTo>
                    <a:pt x="51" y="97"/>
                  </a:lnTo>
                  <a:lnTo>
                    <a:pt x="52" y="97"/>
                  </a:lnTo>
                  <a:lnTo>
                    <a:pt x="59" y="97"/>
                  </a:lnTo>
                  <a:lnTo>
                    <a:pt x="65" y="97"/>
                  </a:lnTo>
                  <a:lnTo>
                    <a:pt x="71" y="97"/>
                  </a:lnTo>
                  <a:lnTo>
                    <a:pt x="74" y="97"/>
                  </a:lnTo>
                  <a:lnTo>
                    <a:pt x="74" y="100"/>
                  </a:lnTo>
                  <a:lnTo>
                    <a:pt x="78" y="97"/>
                  </a:lnTo>
                  <a:lnTo>
                    <a:pt x="81" y="94"/>
                  </a:lnTo>
                  <a:lnTo>
                    <a:pt x="81" y="92"/>
                  </a:lnTo>
                  <a:lnTo>
                    <a:pt x="84" y="89"/>
                  </a:lnTo>
                  <a:lnTo>
                    <a:pt x="87" y="86"/>
                  </a:lnTo>
                  <a:lnTo>
                    <a:pt x="89" y="84"/>
                  </a:lnTo>
                  <a:lnTo>
                    <a:pt x="90" y="84"/>
                  </a:lnTo>
                  <a:lnTo>
                    <a:pt x="90" y="82"/>
                  </a:lnTo>
                  <a:lnTo>
                    <a:pt x="90" y="81"/>
                  </a:lnTo>
                  <a:lnTo>
                    <a:pt x="90" y="78"/>
                  </a:lnTo>
                  <a:lnTo>
                    <a:pt x="90" y="74"/>
                  </a:lnTo>
                  <a:lnTo>
                    <a:pt x="90" y="73"/>
                  </a:lnTo>
                  <a:lnTo>
                    <a:pt x="92" y="73"/>
                  </a:lnTo>
                  <a:lnTo>
                    <a:pt x="95" y="70"/>
                  </a:lnTo>
                  <a:lnTo>
                    <a:pt x="97" y="68"/>
                  </a:lnTo>
                  <a:lnTo>
                    <a:pt x="97" y="65"/>
                  </a:lnTo>
                  <a:lnTo>
                    <a:pt x="97" y="65"/>
                  </a:lnTo>
                  <a:lnTo>
                    <a:pt x="98" y="59"/>
                  </a:lnTo>
                  <a:lnTo>
                    <a:pt x="97" y="59"/>
                  </a:lnTo>
                  <a:lnTo>
                    <a:pt x="95" y="55"/>
                  </a:lnTo>
                  <a:lnTo>
                    <a:pt x="97" y="54"/>
                  </a:lnTo>
                  <a:lnTo>
                    <a:pt x="97" y="52"/>
                  </a:lnTo>
                  <a:lnTo>
                    <a:pt x="95" y="51"/>
                  </a:lnTo>
                  <a:lnTo>
                    <a:pt x="95" y="49"/>
                  </a:lnTo>
                  <a:lnTo>
                    <a:pt x="97" y="48"/>
                  </a:lnTo>
                  <a:lnTo>
                    <a:pt x="97" y="46"/>
                  </a:lnTo>
                  <a:lnTo>
                    <a:pt x="97" y="46"/>
                  </a:lnTo>
                  <a:lnTo>
                    <a:pt x="98" y="44"/>
                  </a:lnTo>
                  <a:lnTo>
                    <a:pt x="98" y="43"/>
                  </a:lnTo>
                  <a:lnTo>
                    <a:pt x="98" y="41"/>
                  </a:lnTo>
                  <a:lnTo>
                    <a:pt x="100" y="40"/>
                  </a:lnTo>
                  <a:lnTo>
                    <a:pt x="98" y="38"/>
                  </a:lnTo>
                  <a:lnTo>
                    <a:pt x="98" y="36"/>
                  </a:lnTo>
                  <a:lnTo>
                    <a:pt x="98" y="36"/>
                  </a:lnTo>
                  <a:lnTo>
                    <a:pt x="100" y="32"/>
                  </a:lnTo>
                  <a:lnTo>
                    <a:pt x="100" y="30"/>
                  </a:lnTo>
                  <a:lnTo>
                    <a:pt x="98" y="24"/>
                  </a:lnTo>
                  <a:lnTo>
                    <a:pt x="98" y="22"/>
                  </a:lnTo>
                  <a:lnTo>
                    <a:pt x="98" y="21"/>
                  </a:lnTo>
                  <a:lnTo>
                    <a:pt x="98" y="19"/>
                  </a:lnTo>
                  <a:lnTo>
                    <a:pt x="100" y="17"/>
                  </a:lnTo>
                  <a:lnTo>
                    <a:pt x="97" y="17"/>
                  </a:lnTo>
                  <a:lnTo>
                    <a:pt x="95" y="16"/>
                  </a:lnTo>
                  <a:lnTo>
                    <a:pt x="92" y="14"/>
                  </a:lnTo>
                  <a:lnTo>
                    <a:pt x="87" y="13"/>
                  </a:lnTo>
                  <a:lnTo>
                    <a:pt x="82" y="9"/>
                  </a:lnTo>
                  <a:lnTo>
                    <a:pt x="81" y="9"/>
                  </a:lnTo>
                  <a:lnTo>
                    <a:pt x="74" y="6"/>
                  </a:lnTo>
                  <a:lnTo>
                    <a:pt x="71" y="6"/>
                  </a:lnTo>
                  <a:lnTo>
                    <a:pt x="70" y="6"/>
                  </a:lnTo>
                  <a:lnTo>
                    <a:pt x="68" y="6"/>
                  </a:lnTo>
                  <a:lnTo>
                    <a:pt x="66" y="3"/>
                  </a:lnTo>
                  <a:lnTo>
                    <a:pt x="66" y="0"/>
                  </a:lnTo>
                  <a:lnTo>
                    <a:pt x="66" y="0"/>
                  </a:lnTo>
                  <a:lnTo>
                    <a:pt x="62" y="3"/>
                  </a:lnTo>
                  <a:lnTo>
                    <a:pt x="59" y="3"/>
                  </a:lnTo>
                  <a:lnTo>
                    <a:pt x="59" y="3"/>
                  </a:lnTo>
                  <a:lnTo>
                    <a:pt x="59" y="3"/>
                  </a:lnTo>
                  <a:lnTo>
                    <a:pt x="59" y="3"/>
                  </a:lnTo>
                  <a:lnTo>
                    <a:pt x="59" y="3"/>
                  </a:lnTo>
                  <a:lnTo>
                    <a:pt x="59" y="3"/>
                  </a:lnTo>
                  <a:lnTo>
                    <a:pt x="59" y="3"/>
                  </a:lnTo>
                  <a:lnTo>
                    <a:pt x="59" y="3"/>
                  </a:lnTo>
                  <a:lnTo>
                    <a:pt x="59"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4" name="Freeform 120">
              <a:extLst>
                <a:ext uri="{FF2B5EF4-FFF2-40B4-BE49-F238E27FC236}">
                  <a16:creationId xmlns:a16="http://schemas.microsoft.com/office/drawing/2014/main" id="{2A984695-A8F8-37CD-333F-735110B40BB4}"/>
                </a:ext>
              </a:extLst>
            </p:cNvPr>
            <p:cNvSpPr>
              <a:spLocks/>
            </p:cNvSpPr>
            <p:nvPr/>
          </p:nvSpPr>
          <p:spPr bwMode="auto">
            <a:xfrm>
              <a:off x="6332184" y="4603821"/>
              <a:ext cx="264682" cy="291599"/>
            </a:xfrm>
            <a:custGeom>
              <a:avLst/>
              <a:gdLst>
                <a:gd name="T0" fmla="*/ 114 w 118"/>
                <a:gd name="T1" fmla="*/ 61 h 130"/>
                <a:gd name="T2" fmla="*/ 113 w 118"/>
                <a:gd name="T3" fmla="*/ 59 h 130"/>
                <a:gd name="T4" fmla="*/ 108 w 118"/>
                <a:gd name="T5" fmla="*/ 56 h 130"/>
                <a:gd name="T6" fmla="*/ 102 w 118"/>
                <a:gd name="T7" fmla="*/ 54 h 130"/>
                <a:gd name="T8" fmla="*/ 99 w 118"/>
                <a:gd name="T9" fmla="*/ 48 h 130"/>
                <a:gd name="T10" fmla="*/ 99 w 118"/>
                <a:gd name="T11" fmla="*/ 43 h 130"/>
                <a:gd name="T12" fmla="*/ 95 w 118"/>
                <a:gd name="T13" fmla="*/ 38 h 130"/>
                <a:gd name="T14" fmla="*/ 92 w 118"/>
                <a:gd name="T15" fmla="*/ 38 h 130"/>
                <a:gd name="T16" fmla="*/ 87 w 118"/>
                <a:gd name="T17" fmla="*/ 32 h 130"/>
                <a:gd name="T18" fmla="*/ 78 w 118"/>
                <a:gd name="T19" fmla="*/ 24 h 130"/>
                <a:gd name="T20" fmla="*/ 78 w 118"/>
                <a:gd name="T21" fmla="*/ 19 h 130"/>
                <a:gd name="T22" fmla="*/ 72 w 118"/>
                <a:gd name="T23" fmla="*/ 10 h 130"/>
                <a:gd name="T24" fmla="*/ 68 w 118"/>
                <a:gd name="T25" fmla="*/ 3 h 130"/>
                <a:gd name="T26" fmla="*/ 67 w 118"/>
                <a:gd name="T27" fmla="*/ 0 h 130"/>
                <a:gd name="T28" fmla="*/ 65 w 118"/>
                <a:gd name="T29" fmla="*/ 0 h 130"/>
                <a:gd name="T30" fmla="*/ 64 w 118"/>
                <a:gd name="T31" fmla="*/ 0 h 130"/>
                <a:gd name="T32" fmla="*/ 60 w 118"/>
                <a:gd name="T33" fmla="*/ 3 h 130"/>
                <a:gd name="T34" fmla="*/ 57 w 118"/>
                <a:gd name="T35" fmla="*/ 0 h 130"/>
                <a:gd name="T36" fmla="*/ 54 w 118"/>
                <a:gd name="T37" fmla="*/ 3 h 130"/>
                <a:gd name="T38" fmla="*/ 48 w 118"/>
                <a:gd name="T39" fmla="*/ 10 h 130"/>
                <a:gd name="T40" fmla="*/ 46 w 118"/>
                <a:gd name="T41" fmla="*/ 5 h 130"/>
                <a:gd name="T42" fmla="*/ 43 w 118"/>
                <a:gd name="T43" fmla="*/ 3 h 130"/>
                <a:gd name="T44" fmla="*/ 37 w 118"/>
                <a:gd name="T45" fmla="*/ 3 h 130"/>
                <a:gd name="T46" fmla="*/ 16 w 118"/>
                <a:gd name="T47" fmla="*/ 7 h 130"/>
                <a:gd name="T48" fmla="*/ 2 w 118"/>
                <a:gd name="T49" fmla="*/ 61 h 130"/>
                <a:gd name="T50" fmla="*/ 2 w 118"/>
                <a:gd name="T51" fmla="*/ 70 h 130"/>
                <a:gd name="T52" fmla="*/ 0 w 118"/>
                <a:gd name="T53" fmla="*/ 99 h 130"/>
                <a:gd name="T54" fmla="*/ 3 w 118"/>
                <a:gd name="T55" fmla="*/ 102 h 130"/>
                <a:gd name="T56" fmla="*/ 6 w 118"/>
                <a:gd name="T57" fmla="*/ 105 h 130"/>
                <a:gd name="T58" fmla="*/ 11 w 118"/>
                <a:gd name="T59" fmla="*/ 119 h 130"/>
                <a:gd name="T60" fmla="*/ 8 w 118"/>
                <a:gd name="T61" fmla="*/ 126 h 130"/>
                <a:gd name="T62" fmla="*/ 13 w 118"/>
                <a:gd name="T63" fmla="*/ 129 h 130"/>
                <a:gd name="T64" fmla="*/ 19 w 118"/>
                <a:gd name="T65" fmla="*/ 130 h 130"/>
                <a:gd name="T66" fmla="*/ 22 w 118"/>
                <a:gd name="T67" fmla="*/ 129 h 130"/>
                <a:gd name="T68" fmla="*/ 24 w 118"/>
                <a:gd name="T69" fmla="*/ 126 h 130"/>
                <a:gd name="T70" fmla="*/ 30 w 118"/>
                <a:gd name="T71" fmla="*/ 122 h 130"/>
                <a:gd name="T72" fmla="*/ 35 w 118"/>
                <a:gd name="T73" fmla="*/ 115 h 130"/>
                <a:gd name="T74" fmla="*/ 40 w 118"/>
                <a:gd name="T75" fmla="*/ 108 h 130"/>
                <a:gd name="T76" fmla="*/ 46 w 118"/>
                <a:gd name="T77" fmla="*/ 110 h 130"/>
                <a:gd name="T78" fmla="*/ 51 w 118"/>
                <a:gd name="T79" fmla="*/ 113 h 130"/>
                <a:gd name="T80" fmla="*/ 60 w 118"/>
                <a:gd name="T81" fmla="*/ 116 h 130"/>
                <a:gd name="T82" fmla="*/ 65 w 118"/>
                <a:gd name="T83" fmla="*/ 115 h 130"/>
                <a:gd name="T84" fmla="*/ 72 w 118"/>
                <a:gd name="T85" fmla="*/ 110 h 130"/>
                <a:gd name="T86" fmla="*/ 75 w 118"/>
                <a:gd name="T87" fmla="*/ 102 h 130"/>
                <a:gd name="T88" fmla="*/ 78 w 118"/>
                <a:gd name="T89" fmla="*/ 99 h 130"/>
                <a:gd name="T90" fmla="*/ 84 w 118"/>
                <a:gd name="T91" fmla="*/ 94 h 130"/>
                <a:gd name="T92" fmla="*/ 87 w 118"/>
                <a:gd name="T93" fmla="*/ 86 h 130"/>
                <a:gd name="T94" fmla="*/ 95 w 118"/>
                <a:gd name="T95" fmla="*/ 80 h 130"/>
                <a:gd name="T96" fmla="*/ 99 w 118"/>
                <a:gd name="T97" fmla="*/ 73 h 130"/>
                <a:gd name="T98" fmla="*/ 105 w 118"/>
                <a:gd name="T99" fmla="*/ 70 h 130"/>
                <a:gd name="T100" fmla="*/ 110 w 118"/>
                <a:gd name="T101" fmla="*/ 67 h 130"/>
                <a:gd name="T102" fmla="*/ 113 w 118"/>
                <a:gd name="T103" fmla="*/ 64 h 130"/>
                <a:gd name="T104" fmla="*/ 116 w 118"/>
                <a:gd name="T105" fmla="*/ 61 h 130"/>
                <a:gd name="T106" fmla="*/ 116 w 118"/>
                <a:gd name="T107" fmla="*/ 61 h 130"/>
                <a:gd name="T108" fmla="*/ 116 w 118"/>
                <a:gd name="T109" fmla="*/ 61 h 130"/>
                <a:gd name="T110" fmla="*/ 116 w 118"/>
                <a:gd name="T111" fmla="*/ 61 h 130"/>
                <a:gd name="T112" fmla="*/ 116 w 118"/>
                <a:gd name="T113" fmla="*/ 6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30">
                  <a:moveTo>
                    <a:pt x="116" y="61"/>
                  </a:moveTo>
                  <a:lnTo>
                    <a:pt x="114" y="61"/>
                  </a:lnTo>
                  <a:lnTo>
                    <a:pt x="113" y="61"/>
                  </a:lnTo>
                  <a:lnTo>
                    <a:pt x="113" y="59"/>
                  </a:lnTo>
                  <a:lnTo>
                    <a:pt x="113" y="57"/>
                  </a:lnTo>
                  <a:lnTo>
                    <a:pt x="108" y="56"/>
                  </a:lnTo>
                  <a:lnTo>
                    <a:pt x="107" y="56"/>
                  </a:lnTo>
                  <a:lnTo>
                    <a:pt x="102" y="54"/>
                  </a:lnTo>
                  <a:lnTo>
                    <a:pt x="99" y="51"/>
                  </a:lnTo>
                  <a:lnTo>
                    <a:pt x="99" y="48"/>
                  </a:lnTo>
                  <a:lnTo>
                    <a:pt x="99" y="45"/>
                  </a:lnTo>
                  <a:lnTo>
                    <a:pt x="99" y="43"/>
                  </a:lnTo>
                  <a:lnTo>
                    <a:pt x="99" y="40"/>
                  </a:lnTo>
                  <a:lnTo>
                    <a:pt x="95" y="38"/>
                  </a:lnTo>
                  <a:lnTo>
                    <a:pt x="95" y="38"/>
                  </a:lnTo>
                  <a:lnTo>
                    <a:pt x="92" y="38"/>
                  </a:lnTo>
                  <a:lnTo>
                    <a:pt x="92" y="35"/>
                  </a:lnTo>
                  <a:lnTo>
                    <a:pt x="87" y="32"/>
                  </a:lnTo>
                  <a:lnTo>
                    <a:pt x="83" y="29"/>
                  </a:lnTo>
                  <a:lnTo>
                    <a:pt x="78" y="24"/>
                  </a:lnTo>
                  <a:lnTo>
                    <a:pt x="78" y="21"/>
                  </a:lnTo>
                  <a:lnTo>
                    <a:pt x="78" y="19"/>
                  </a:lnTo>
                  <a:lnTo>
                    <a:pt x="76" y="16"/>
                  </a:lnTo>
                  <a:lnTo>
                    <a:pt x="72" y="10"/>
                  </a:lnTo>
                  <a:lnTo>
                    <a:pt x="68" y="5"/>
                  </a:lnTo>
                  <a:lnTo>
                    <a:pt x="68" y="3"/>
                  </a:lnTo>
                  <a:lnTo>
                    <a:pt x="68" y="0"/>
                  </a:lnTo>
                  <a:lnTo>
                    <a:pt x="67" y="0"/>
                  </a:lnTo>
                  <a:lnTo>
                    <a:pt x="65" y="0"/>
                  </a:lnTo>
                  <a:lnTo>
                    <a:pt x="65" y="0"/>
                  </a:lnTo>
                  <a:lnTo>
                    <a:pt x="65" y="0"/>
                  </a:lnTo>
                  <a:lnTo>
                    <a:pt x="64" y="0"/>
                  </a:lnTo>
                  <a:lnTo>
                    <a:pt x="64" y="0"/>
                  </a:lnTo>
                  <a:lnTo>
                    <a:pt x="60" y="3"/>
                  </a:lnTo>
                  <a:lnTo>
                    <a:pt x="59" y="3"/>
                  </a:lnTo>
                  <a:lnTo>
                    <a:pt x="57" y="0"/>
                  </a:lnTo>
                  <a:lnTo>
                    <a:pt x="57" y="3"/>
                  </a:lnTo>
                  <a:lnTo>
                    <a:pt x="54" y="3"/>
                  </a:lnTo>
                  <a:lnTo>
                    <a:pt x="48" y="10"/>
                  </a:lnTo>
                  <a:lnTo>
                    <a:pt x="48" y="10"/>
                  </a:lnTo>
                  <a:lnTo>
                    <a:pt x="46" y="7"/>
                  </a:lnTo>
                  <a:lnTo>
                    <a:pt x="46" y="5"/>
                  </a:lnTo>
                  <a:lnTo>
                    <a:pt x="45" y="3"/>
                  </a:lnTo>
                  <a:lnTo>
                    <a:pt x="43" y="3"/>
                  </a:lnTo>
                  <a:lnTo>
                    <a:pt x="38" y="3"/>
                  </a:lnTo>
                  <a:lnTo>
                    <a:pt x="37" y="3"/>
                  </a:lnTo>
                  <a:lnTo>
                    <a:pt x="30" y="5"/>
                  </a:lnTo>
                  <a:lnTo>
                    <a:pt x="16" y="7"/>
                  </a:lnTo>
                  <a:lnTo>
                    <a:pt x="13" y="61"/>
                  </a:lnTo>
                  <a:lnTo>
                    <a:pt x="2" y="61"/>
                  </a:lnTo>
                  <a:lnTo>
                    <a:pt x="2" y="70"/>
                  </a:lnTo>
                  <a:lnTo>
                    <a:pt x="2" y="70"/>
                  </a:lnTo>
                  <a:lnTo>
                    <a:pt x="0" y="89"/>
                  </a:lnTo>
                  <a:lnTo>
                    <a:pt x="0" y="99"/>
                  </a:lnTo>
                  <a:lnTo>
                    <a:pt x="3" y="102"/>
                  </a:lnTo>
                  <a:lnTo>
                    <a:pt x="3" y="102"/>
                  </a:lnTo>
                  <a:lnTo>
                    <a:pt x="3" y="102"/>
                  </a:lnTo>
                  <a:lnTo>
                    <a:pt x="6" y="105"/>
                  </a:lnTo>
                  <a:lnTo>
                    <a:pt x="10" y="115"/>
                  </a:lnTo>
                  <a:lnTo>
                    <a:pt x="11" y="119"/>
                  </a:lnTo>
                  <a:lnTo>
                    <a:pt x="10" y="122"/>
                  </a:lnTo>
                  <a:lnTo>
                    <a:pt x="8" y="126"/>
                  </a:lnTo>
                  <a:lnTo>
                    <a:pt x="10" y="130"/>
                  </a:lnTo>
                  <a:lnTo>
                    <a:pt x="13" y="129"/>
                  </a:lnTo>
                  <a:lnTo>
                    <a:pt x="13" y="129"/>
                  </a:lnTo>
                  <a:lnTo>
                    <a:pt x="19" y="130"/>
                  </a:lnTo>
                  <a:lnTo>
                    <a:pt x="22" y="129"/>
                  </a:lnTo>
                  <a:lnTo>
                    <a:pt x="22" y="129"/>
                  </a:lnTo>
                  <a:lnTo>
                    <a:pt x="22" y="129"/>
                  </a:lnTo>
                  <a:lnTo>
                    <a:pt x="24" y="126"/>
                  </a:lnTo>
                  <a:lnTo>
                    <a:pt x="26" y="126"/>
                  </a:lnTo>
                  <a:lnTo>
                    <a:pt x="30" y="122"/>
                  </a:lnTo>
                  <a:lnTo>
                    <a:pt x="33" y="119"/>
                  </a:lnTo>
                  <a:lnTo>
                    <a:pt x="35" y="115"/>
                  </a:lnTo>
                  <a:lnTo>
                    <a:pt x="37" y="110"/>
                  </a:lnTo>
                  <a:lnTo>
                    <a:pt x="40" y="108"/>
                  </a:lnTo>
                  <a:lnTo>
                    <a:pt x="43" y="107"/>
                  </a:lnTo>
                  <a:lnTo>
                    <a:pt x="46" y="110"/>
                  </a:lnTo>
                  <a:lnTo>
                    <a:pt x="48" y="111"/>
                  </a:lnTo>
                  <a:lnTo>
                    <a:pt x="51" y="113"/>
                  </a:lnTo>
                  <a:lnTo>
                    <a:pt x="57" y="115"/>
                  </a:lnTo>
                  <a:lnTo>
                    <a:pt x="60" y="116"/>
                  </a:lnTo>
                  <a:lnTo>
                    <a:pt x="62" y="115"/>
                  </a:lnTo>
                  <a:lnTo>
                    <a:pt x="65" y="115"/>
                  </a:lnTo>
                  <a:lnTo>
                    <a:pt x="68" y="113"/>
                  </a:lnTo>
                  <a:lnTo>
                    <a:pt x="72" y="110"/>
                  </a:lnTo>
                  <a:lnTo>
                    <a:pt x="75" y="102"/>
                  </a:lnTo>
                  <a:lnTo>
                    <a:pt x="75" y="102"/>
                  </a:lnTo>
                  <a:lnTo>
                    <a:pt x="75" y="99"/>
                  </a:lnTo>
                  <a:lnTo>
                    <a:pt x="78" y="99"/>
                  </a:lnTo>
                  <a:lnTo>
                    <a:pt x="81" y="95"/>
                  </a:lnTo>
                  <a:lnTo>
                    <a:pt x="84" y="94"/>
                  </a:lnTo>
                  <a:lnTo>
                    <a:pt x="87" y="89"/>
                  </a:lnTo>
                  <a:lnTo>
                    <a:pt x="87" y="86"/>
                  </a:lnTo>
                  <a:lnTo>
                    <a:pt x="89" y="83"/>
                  </a:lnTo>
                  <a:lnTo>
                    <a:pt x="95" y="80"/>
                  </a:lnTo>
                  <a:lnTo>
                    <a:pt x="95" y="78"/>
                  </a:lnTo>
                  <a:lnTo>
                    <a:pt x="99" y="73"/>
                  </a:lnTo>
                  <a:lnTo>
                    <a:pt x="102" y="70"/>
                  </a:lnTo>
                  <a:lnTo>
                    <a:pt x="105" y="70"/>
                  </a:lnTo>
                  <a:lnTo>
                    <a:pt x="107" y="67"/>
                  </a:lnTo>
                  <a:lnTo>
                    <a:pt x="110" y="67"/>
                  </a:lnTo>
                  <a:lnTo>
                    <a:pt x="111" y="67"/>
                  </a:lnTo>
                  <a:lnTo>
                    <a:pt x="113" y="64"/>
                  </a:lnTo>
                  <a:lnTo>
                    <a:pt x="118" y="64"/>
                  </a:lnTo>
                  <a:lnTo>
                    <a:pt x="116" y="61"/>
                  </a:lnTo>
                  <a:lnTo>
                    <a:pt x="116" y="61"/>
                  </a:lnTo>
                  <a:lnTo>
                    <a:pt x="116" y="61"/>
                  </a:lnTo>
                  <a:lnTo>
                    <a:pt x="116" y="61"/>
                  </a:lnTo>
                  <a:lnTo>
                    <a:pt x="116" y="61"/>
                  </a:lnTo>
                  <a:lnTo>
                    <a:pt x="116" y="61"/>
                  </a:lnTo>
                  <a:lnTo>
                    <a:pt x="116" y="61"/>
                  </a:lnTo>
                  <a:lnTo>
                    <a:pt x="116" y="61"/>
                  </a:lnTo>
                  <a:lnTo>
                    <a:pt x="116" y="6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5" name="Freeform 122">
              <a:extLst>
                <a:ext uri="{FF2B5EF4-FFF2-40B4-BE49-F238E27FC236}">
                  <a16:creationId xmlns:a16="http://schemas.microsoft.com/office/drawing/2014/main" id="{84B9B33C-EFD0-32D9-B236-A2A6E5002821}"/>
                </a:ext>
              </a:extLst>
            </p:cNvPr>
            <p:cNvSpPr>
              <a:spLocks/>
            </p:cNvSpPr>
            <p:nvPr/>
          </p:nvSpPr>
          <p:spPr bwMode="auto">
            <a:xfrm>
              <a:off x="6614811" y="4058755"/>
              <a:ext cx="305058" cy="349919"/>
            </a:xfrm>
            <a:custGeom>
              <a:avLst/>
              <a:gdLst>
                <a:gd name="T0" fmla="*/ 130 w 136"/>
                <a:gd name="T1" fmla="*/ 130 h 156"/>
                <a:gd name="T2" fmla="*/ 128 w 136"/>
                <a:gd name="T3" fmla="*/ 126 h 156"/>
                <a:gd name="T4" fmla="*/ 125 w 136"/>
                <a:gd name="T5" fmla="*/ 118 h 156"/>
                <a:gd name="T6" fmla="*/ 123 w 136"/>
                <a:gd name="T7" fmla="*/ 113 h 156"/>
                <a:gd name="T8" fmla="*/ 125 w 136"/>
                <a:gd name="T9" fmla="*/ 99 h 156"/>
                <a:gd name="T10" fmla="*/ 123 w 136"/>
                <a:gd name="T11" fmla="*/ 94 h 156"/>
                <a:gd name="T12" fmla="*/ 123 w 136"/>
                <a:gd name="T13" fmla="*/ 86 h 156"/>
                <a:gd name="T14" fmla="*/ 117 w 136"/>
                <a:gd name="T15" fmla="*/ 77 h 156"/>
                <a:gd name="T16" fmla="*/ 119 w 136"/>
                <a:gd name="T17" fmla="*/ 64 h 156"/>
                <a:gd name="T18" fmla="*/ 120 w 136"/>
                <a:gd name="T19" fmla="*/ 53 h 156"/>
                <a:gd name="T20" fmla="*/ 103 w 136"/>
                <a:gd name="T21" fmla="*/ 37 h 156"/>
                <a:gd name="T22" fmla="*/ 100 w 136"/>
                <a:gd name="T23" fmla="*/ 27 h 156"/>
                <a:gd name="T24" fmla="*/ 54 w 136"/>
                <a:gd name="T25" fmla="*/ 7 h 156"/>
                <a:gd name="T26" fmla="*/ 52 w 136"/>
                <a:gd name="T27" fmla="*/ 10 h 156"/>
                <a:gd name="T28" fmla="*/ 47 w 136"/>
                <a:gd name="T29" fmla="*/ 15 h 156"/>
                <a:gd name="T30" fmla="*/ 46 w 136"/>
                <a:gd name="T31" fmla="*/ 16 h 156"/>
                <a:gd name="T32" fmla="*/ 52 w 136"/>
                <a:gd name="T33" fmla="*/ 19 h 156"/>
                <a:gd name="T34" fmla="*/ 42 w 136"/>
                <a:gd name="T35" fmla="*/ 21 h 156"/>
                <a:gd name="T36" fmla="*/ 38 w 136"/>
                <a:gd name="T37" fmla="*/ 21 h 156"/>
                <a:gd name="T38" fmla="*/ 31 w 136"/>
                <a:gd name="T39" fmla="*/ 21 h 156"/>
                <a:gd name="T40" fmla="*/ 28 w 136"/>
                <a:gd name="T41" fmla="*/ 24 h 156"/>
                <a:gd name="T42" fmla="*/ 25 w 136"/>
                <a:gd name="T43" fmla="*/ 18 h 156"/>
                <a:gd name="T44" fmla="*/ 28 w 136"/>
                <a:gd name="T45" fmla="*/ 7 h 156"/>
                <a:gd name="T46" fmla="*/ 20 w 136"/>
                <a:gd name="T47" fmla="*/ 0 h 156"/>
                <a:gd name="T48" fmla="*/ 11 w 136"/>
                <a:gd name="T49" fmla="*/ 3 h 156"/>
                <a:gd name="T50" fmla="*/ 15 w 136"/>
                <a:gd name="T51" fmla="*/ 13 h 156"/>
                <a:gd name="T52" fmla="*/ 14 w 136"/>
                <a:gd name="T53" fmla="*/ 21 h 156"/>
                <a:gd name="T54" fmla="*/ 11 w 136"/>
                <a:gd name="T55" fmla="*/ 27 h 156"/>
                <a:gd name="T56" fmla="*/ 15 w 136"/>
                <a:gd name="T57" fmla="*/ 30 h 156"/>
                <a:gd name="T58" fmla="*/ 12 w 136"/>
                <a:gd name="T59" fmla="*/ 35 h 156"/>
                <a:gd name="T60" fmla="*/ 11 w 136"/>
                <a:gd name="T61" fmla="*/ 42 h 156"/>
                <a:gd name="T62" fmla="*/ 3 w 136"/>
                <a:gd name="T63" fmla="*/ 50 h 156"/>
                <a:gd name="T64" fmla="*/ 1 w 136"/>
                <a:gd name="T65" fmla="*/ 59 h 156"/>
                <a:gd name="T66" fmla="*/ 3 w 136"/>
                <a:gd name="T67" fmla="*/ 72 h 156"/>
                <a:gd name="T68" fmla="*/ 3 w 136"/>
                <a:gd name="T69" fmla="*/ 80 h 156"/>
                <a:gd name="T70" fmla="*/ 12 w 136"/>
                <a:gd name="T71" fmla="*/ 94 h 156"/>
                <a:gd name="T72" fmla="*/ 25 w 136"/>
                <a:gd name="T73" fmla="*/ 115 h 156"/>
                <a:gd name="T74" fmla="*/ 33 w 136"/>
                <a:gd name="T75" fmla="*/ 118 h 156"/>
                <a:gd name="T76" fmla="*/ 39 w 136"/>
                <a:gd name="T77" fmla="*/ 121 h 156"/>
                <a:gd name="T78" fmla="*/ 49 w 136"/>
                <a:gd name="T79" fmla="*/ 126 h 156"/>
                <a:gd name="T80" fmla="*/ 54 w 136"/>
                <a:gd name="T81" fmla="*/ 126 h 156"/>
                <a:gd name="T82" fmla="*/ 57 w 136"/>
                <a:gd name="T83" fmla="*/ 123 h 156"/>
                <a:gd name="T84" fmla="*/ 63 w 136"/>
                <a:gd name="T85" fmla="*/ 143 h 156"/>
                <a:gd name="T86" fmla="*/ 66 w 136"/>
                <a:gd name="T87" fmla="*/ 153 h 156"/>
                <a:gd name="T88" fmla="*/ 79 w 136"/>
                <a:gd name="T89" fmla="*/ 153 h 156"/>
                <a:gd name="T90" fmla="*/ 92 w 136"/>
                <a:gd name="T91" fmla="*/ 153 h 156"/>
                <a:gd name="T92" fmla="*/ 103 w 136"/>
                <a:gd name="T93" fmla="*/ 150 h 156"/>
                <a:gd name="T94" fmla="*/ 114 w 136"/>
                <a:gd name="T95" fmla="*/ 150 h 156"/>
                <a:gd name="T96" fmla="*/ 127 w 136"/>
                <a:gd name="T97" fmla="*/ 143 h 156"/>
                <a:gd name="T98" fmla="*/ 135 w 136"/>
                <a:gd name="T99" fmla="*/ 134 h 156"/>
                <a:gd name="T100" fmla="*/ 135 w 136"/>
                <a:gd name="T101" fmla="*/ 134 h 156"/>
                <a:gd name="T102" fmla="*/ 135 w 136"/>
                <a:gd name="T103" fmla="*/ 13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156">
                  <a:moveTo>
                    <a:pt x="135" y="134"/>
                  </a:moveTo>
                  <a:lnTo>
                    <a:pt x="131" y="132"/>
                  </a:lnTo>
                  <a:lnTo>
                    <a:pt x="131" y="134"/>
                  </a:lnTo>
                  <a:lnTo>
                    <a:pt x="130" y="130"/>
                  </a:lnTo>
                  <a:lnTo>
                    <a:pt x="128" y="130"/>
                  </a:lnTo>
                  <a:lnTo>
                    <a:pt x="128" y="129"/>
                  </a:lnTo>
                  <a:lnTo>
                    <a:pt x="128" y="127"/>
                  </a:lnTo>
                  <a:lnTo>
                    <a:pt x="128" y="126"/>
                  </a:lnTo>
                  <a:lnTo>
                    <a:pt x="127" y="123"/>
                  </a:lnTo>
                  <a:lnTo>
                    <a:pt x="127" y="121"/>
                  </a:lnTo>
                  <a:lnTo>
                    <a:pt x="127" y="119"/>
                  </a:lnTo>
                  <a:lnTo>
                    <a:pt x="125" y="118"/>
                  </a:lnTo>
                  <a:lnTo>
                    <a:pt x="125" y="116"/>
                  </a:lnTo>
                  <a:lnTo>
                    <a:pt x="123" y="115"/>
                  </a:lnTo>
                  <a:lnTo>
                    <a:pt x="125" y="115"/>
                  </a:lnTo>
                  <a:lnTo>
                    <a:pt x="123" y="113"/>
                  </a:lnTo>
                  <a:lnTo>
                    <a:pt x="122" y="110"/>
                  </a:lnTo>
                  <a:lnTo>
                    <a:pt x="123" y="107"/>
                  </a:lnTo>
                  <a:lnTo>
                    <a:pt x="123" y="104"/>
                  </a:lnTo>
                  <a:lnTo>
                    <a:pt x="125" y="99"/>
                  </a:lnTo>
                  <a:lnTo>
                    <a:pt x="123" y="99"/>
                  </a:lnTo>
                  <a:lnTo>
                    <a:pt x="122" y="99"/>
                  </a:lnTo>
                  <a:lnTo>
                    <a:pt x="123" y="94"/>
                  </a:lnTo>
                  <a:lnTo>
                    <a:pt x="123" y="94"/>
                  </a:lnTo>
                  <a:lnTo>
                    <a:pt x="125" y="91"/>
                  </a:lnTo>
                  <a:lnTo>
                    <a:pt x="125" y="88"/>
                  </a:lnTo>
                  <a:lnTo>
                    <a:pt x="125" y="86"/>
                  </a:lnTo>
                  <a:lnTo>
                    <a:pt x="123" y="86"/>
                  </a:lnTo>
                  <a:lnTo>
                    <a:pt x="122" y="83"/>
                  </a:lnTo>
                  <a:lnTo>
                    <a:pt x="120" y="81"/>
                  </a:lnTo>
                  <a:lnTo>
                    <a:pt x="117" y="78"/>
                  </a:lnTo>
                  <a:lnTo>
                    <a:pt x="117" y="77"/>
                  </a:lnTo>
                  <a:lnTo>
                    <a:pt x="115" y="73"/>
                  </a:lnTo>
                  <a:lnTo>
                    <a:pt x="117" y="70"/>
                  </a:lnTo>
                  <a:lnTo>
                    <a:pt x="119" y="65"/>
                  </a:lnTo>
                  <a:lnTo>
                    <a:pt x="119" y="64"/>
                  </a:lnTo>
                  <a:lnTo>
                    <a:pt x="125" y="53"/>
                  </a:lnTo>
                  <a:lnTo>
                    <a:pt x="123" y="53"/>
                  </a:lnTo>
                  <a:lnTo>
                    <a:pt x="122" y="53"/>
                  </a:lnTo>
                  <a:lnTo>
                    <a:pt x="120" y="53"/>
                  </a:lnTo>
                  <a:lnTo>
                    <a:pt x="117" y="50"/>
                  </a:lnTo>
                  <a:lnTo>
                    <a:pt x="109" y="45"/>
                  </a:lnTo>
                  <a:lnTo>
                    <a:pt x="103" y="37"/>
                  </a:lnTo>
                  <a:lnTo>
                    <a:pt x="103" y="37"/>
                  </a:lnTo>
                  <a:lnTo>
                    <a:pt x="103" y="34"/>
                  </a:lnTo>
                  <a:lnTo>
                    <a:pt x="103" y="32"/>
                  </a:lnTo>
                  <a:lnTo>
                    <a:pt x="103" y="30"/>
                  </a:lnTo>
                  <a:lnTo>
                    <a:pt x="100" y="27"/>
                  </a:lnTo>
                  <a:lnTo>
                    <a:pt x="57" y="0"/>
                  </a:lnTo>
                  <a:lnTo>
                    <a:pt x="55" y="3"/>
                  </a:lnTo>
                  <a:lnTo>
                    <a:pt x="55" y="7"/>
                  </a:lnTo>
                  <a:lnTo>
                    <a:pt x="54" y="7"/>
                  </a:lnTo>
                  <a:lnTo>
                    <a:pt x="55" y="8"/>
                  </a:lnTo>
                  <a:lnTo>
                    <a:pt x="52" y="7"/>
                  </a:lnTo>
                  <a:lnTo>
                    <a:pt x="50" y="8"/>
                  </a:lnTo>
                  <a:lnTo>
                    <a:pt x="52" y="10"/>
                  </a:lnTo>
                  <a:lnTo>
                    <a:pt x="50" y="11"/>
                  </a:lnTo>
                  <a:lnTo>
                    <a:pt x="50" y="13"/>
                  </a:lnTo>
                  <a:lnTo>
                    <a:pt x="47" y="13"/>
                  </a:lnTo>
                  <a:lnTo>
                    <a:pt x="47" y="15"/>
                  </a:lnTo>
                  <a:lnTo>
                    <a:pt x="49" y="15"/>
                  </a:lnTo>
                  <a:lnTo>
                    <a:pt x="50" y="15"/>
                  </a:lnTo>
                  <a:lnTo>
                    <a:pt x="47" y="16"/>
                  </a:lnTo>
                  <a:lnTo>
                    <a:pt x="46" y="16"/>
                  </a:lnTo>
                  <a:lnTo>
                    <a:pt x="50" y="18"/>
                  </a:lnTo>
                  <a:lnTo>
                    <a:pt x="52" y="18"/>
                  </a:lnTo>
                  <a:lnTo>
                    <a:pt x="54" y="18"/>
                  </a:lnTo>
                  <a:lnTo>
                    <a:pt x="52" y="19"/>
                  </a:lnTo>
                  <a:lnTo>
                    <a:pt x="49" y="21"/>
                  </a:lnTo>
                  <a:lnTo>
                    <a:pt x="49" y="24"/>
                  </a:lnTo>
                  <a:lnTo>
                    <a:pt x="44" y="21"/>
                  </a:lnTo>
                  <a:lnTo>
                    <a:pt x="42" y="21"/>
                  </a:lnTo>
                  <a:lnTo>
                    <a:pt x="41" y="21"/>
                  </a:lnTo>
                  <a:lnTo>
                    <a:pt x="41" y="24"/>
                  </a:lnTo>
                  <a:lnTo>
                    <a:pt x="39" y="21"/>
                  </a:lnTo>
                  <a:lnTo>
                    <a:pt x="38" y="21"/>
                  </a:lnTo>
                  <a:lnTo>
                    <a:pt x="36" y="21"/>
                  </a:lnTo>
                  <a:lnTo>
                    <a:pt x="34" y="21"/>
                  </a:lnTo>
                  <a:lnTo>
                    <a:pt x="33" y="19"/>
                  </a:lnTo>
                  <a:lnTo>
                    <a:pt x="31" y="21"/>
                  </a:lnTo>
                  <a:lnTo>
                    <a:pt x="31" y="24"/>
                  </a:lnTo>
                  <a:lnTo>
                    <a:pt x="31" y="24"/>
                  </a:lnTo>
                  <a:lnTo>
                    <a:pt x="31" y="27"/>
                  </a:lnTo>
                  <a:lnTo>
                    <a:pt x="28" y="24"/>
                  </a:lnTo>
                  <a:lnTo>
                    <a:pt x="28" y="27"/>
                  </a:lnTo>
                  <a:lnTo>
                    <a:pt x="28" y="21"/>
                  </a:lnTo>
                  <a:lnTo>
                    <a:pt x="25" y="19"/>
                  </a:lnTo>
                  <a:lnTo>
                    <a:pt x="25" y="18"/>
                  </a:lnTo>
                  <a:lnTo>
                    <a:pt x="25" y="15"/>
                  </a:lnTo>
                  <a:lnTo>
                    <a:pt x="25" y="11"/>
                  </a:lnTo>
                  <a:lnTo>
                    <a:pt x="28" y="8"/>
                  </a:lnTo>
                  <a:lnTo>
                    <a:pt x="28" y="7"/>
                  </a:lnTo>
                  <a:lnTo>
                    <a:pt x="28" y="7"/>
                  </a:lnTo>
                  <a:lnTo>
                    <a:pt x="28" y="0"/>
                  </a:lnTo>
                  <a:lnTo>
                    <a:pt x="27" y="0"/>
                  </a:lnTo>
                  <a:lnTo>
                    <a:pt x="20" y="0"/>
                  </a:lnTo>
                  <a:lnTo>
                    <a:pt x="12" y="0"/>
                  </a:lnTo>
                  <a:lnTo>
                    <a:pt x="12" y="2"/>
                  </a:lnTo>
                  <a:lnTo>
                    <a:pt x="11" y="3"/>
                  </a:lnTo>
                  <a:lnTo>
                    <a:pt x="11" y="3"/>
                  </a:lnTo>
                  <a:lnTo>
                    <a:pt x="11" y="3"/>
                  </a:lnTo>
                  <a:lnTo>
                    <a:pt x="12" y="7"/>
                  </a:lnTo>
                  <a:lnTo>
                    <a:pt x="14" y="8"/>
                  </a:lnTo>
                  <a:lnTo>
                    <a:pt x="15" y="13"/>
                  </a:lnTo>
                  <a:lnTo>
                    <a:pt x="15" y="15"/>
                  </a:lnTo>
                  <a:lnTo>
                    <a:pt x="15" y="18"/>
                  </a:lnTo>
                  <a:lnTo>
                    <a:pt x="15" y="19"/>
                  </a:lnTo>
                  <a:lnTo>
                    <a:pt x="14" y="21"/>
                  </a:lnTo>
                  <a:lnTo>
                    <a:pt x="12" y="21"/>
                  </a:lnTo>
                  <a:lnTo>
                    <a:pt x="11" y="24"/>
                  </a:lnTo>
                  <a:lnTo>
                    <a:pt x="11" y="24"/>
                  </a:lnTo>
                  <a:lnTo>
                    <a:pt x="11" y="27"/>
                  </a:lnTo>
                  <a:lnTo>
                    <a:pt x="11" y="27"/>
                  </a:lnTo>
                  <a:lnTo>
                    <a:pt x="12" y="30"/>
                  </a:lnTo>
                  <a:lnTo>
                    <a:pt x="15" y="30"/>
                  </a:lnTo>
                  <a:lnTo>
                    <a:pt x="15" y="30"/>
                  </a:lnTo>
                  <a:lnTo>
                    <a:pt x="15" y="30"/>
                  </a:lnTo>
                  <a:lnTo>
                    <a:pt x="15" y="32"/>
                  </a:lnTo>
                  <a:lnTo>
                    <a:pt x="14" y="34"/>
                  </a:lnTo>
                  <a:lnTo>
                    <a:pt x="12" y="35"/>
                  </a:lnTo>
                  <a:lnTo>
                    <a:pt x="12" y="37"/>
                  </a:lnTo>
                  <a:lnTo>
                    <a:pt x="9" y="38"/>
                  </a:lnTo>
                  <a:lnTo>
                    <a:pt x="9" y="40"/>
                  </a:lnTo>
                  <a:lnTo>
                    <a:pt x="11" y="42"/>
                  </a:lnTo>
                  <a:lnTo>
                    <a:pt x="7" y="45"/>
                  </a:lnTo>
                  <a:lnTo>
                    <a:pt x="6" y="46"/>
                  </a:lnTo>
                  <a:lnTo>
                    <a:pt x="3" y="50"/>
                  </a:lnTo>
                  <a:lnTo>
                    <a:pt x="3" y="50"/>
                  </a:lnTo>
                  <a:lnTo>
                    <a:pt x="1" y="51"/>
                  </a:lnTo>
                  <a:lnTo>
                    <a:pt x="0" y="53"/>
                  </a:lnTo>
                  <a:lnTo>
                    <a:pt x="0" y="56"/>
                  </a:lnTo>
                  <a:lnTo>
                    <a:pt x="1" y="59"/>
                  </a:lnTo>
                  <a:lnTo>
                    <a:pt x="1" y="65"/>
                  </a:lnTo>
                  <a:lnTo>
                    <a:pt x="3" y="69"/>
                  </a:lnTo>
                  <a:lnTo>
                    <a:pt x="3" y="70"/>
                  </a:lnTo>
                  <a:lnTo>
                    <a:pt x="3" y="72"/>
                  </a:lnTo>
                  <a:lnTo>
                    <a:pt x="1" y="75"/>
                  </a:lnTo>
                  <a:lnTo>
                    <a:pt x="1" y="77"/>
                  </a:lnTo>
                  <a:lnTo>
                    <a:pt x="1" y="78"/>
                  </a:lnTo>
                  <a:lnTo>
                    <a:pt x="3" y="80"/>
                  </a:lnTo>
                  <a:lnTo>
                    <a:pt x="4" y="80"/>
                  </a:lnTo>
                  <a:lnTo>
                    <a:pt x="7" y="83"/>
                  </a:lnTo>
                  <a:lnTo>
                    <a:pt x="11" y="88"/>
                  </a:lnTo>
                  <a:lnTo>
                    <a:pt x="12" y="94"/>
                  </a:lnTo>
                  <a:lnTo>
                    <a:pt x="19" y="111"/>
                  </a:lnTo>
                  <a:lnTo>
                    <a:pt x="19" y="110"/>
                  </a:lnTo>
                  <a:lnTo>
                    <a:pt x="22" y="111"/>
                  </a:lnTo>
                  <a:lnTo>
                    <a:pt x="25" y="115"/>
                  </a:lnTo>
                  <a:lnTo>
                    <a:pt x="25" y="115"/>
                  </a:lnTo>
                  <a:lnTo>
                    <a:pt x="28" y="116"/>
                  </a:lnTo>
                  <a:lnTo>
                    <a:pt x="28" y="116"/>
                  </a:lnTo>
                  <a:lnTo>
                    <a:pt x="33" y="118"/>
                  </a:lnTo>
                  <a:lnTo>
                    <a:pt x="34" y="119"/>
                  </a:lnTo>
                  <a:lnTo>
                    <a:pt x="36" y="121"/>
                  </a:lnTo>
                  <a:lnTo>
                    <a:pt x="38" y="121"/>
                  </a:lnTo>
                  <a:lnTo>
                    <a:pt x="39" y="121"/>
                  </a:lnTo>
                  <a:lnTo>
                    <a:pt x="41" y="123"/>
                  </a:lnTo>
                  <a:lnTo>
                    <a:pt x="46" y="123"/>
                  </a:lnTo>
                  <a:lnTo>
                    <a:pt x="47" y="123"/>
                  </a:lnTo>
                  <a:lnTo>
                    <a:pt x="49" y="126"/>
                  </a:lnTo>
                  <a:lnTo>
                    <a:pt x="50" y="126"/>
                  </a:lnTo>
                  <a:lnTo>
                    <a:pt x="54" y="126"/>
                  </a:lnTo>
                  <a:lnTo>
                    <a:pt x="54" y="126"/>
                  </a:lnTo>
                  <a:lnTo>
                    <a:pt x="54" y="126"/>
                  </a:lnTo>
                  <a:lnTo>
                    <a:pt x="54" y="126"/>
                  </a:lnTo>
                  <a:lnTo>
                    <a:pt x="54" y="126"/>
                  </a:lnTo>
                  <a:lnTo>
                    <a:pt x="55" y="123"/>
                  </a:lnTo>
                  <a:lnTo>
                    <a:pt x="57" y="123"/>
                  </a:lnTo>
                  <a:lnTo>
                    <a:pt x="60" y="127"/>
                  </a:lnTo>
                  <a:lnTo>
                    <a:pt x="60" y="132"/>
                  </a:lnTo>
                  <a:lnTo>
                    <a:pt x="63" y="140"/>
                  </a:lnTo>
                  <a:lnTo>
                    <a:pt x="63" y="143"/>
                  </a:lnTo>
                  <a:lnTo>
                    <a:pt x="63" y="146"/>
                  </a:lnTo>
                  <a:lnTo>
                    <a:pt x="66" y="150"/>
                  </a:lnTo>
                  <a:lnTo>
                    <a:pt x="66" y="153"/>
                  </a:lnTo>
                  <a:lnTo>
                    <a:pt x="66" y="153"/>
                  </a:lnTo>
                  <a:lnTo>
                    <a:pt x="69" y="153"/>
                  </a:lnTo>
                  <a:lnTo>
                    <a:pt x="73" y="153"/>
                  </a:lnTo>
                  <a:lnTo>
                    <a:pt x="77" y="153"/>
                  </a:lnTo>
                  <a:lnTo>
                    <a:pt x="79" y="153"/>
                  </a:lnTo>
                  <a:lnTo>
                    <a:pt x="82" y="156"/>
                  </a:lnTo>
                  <a:lnTo>
                    <a:pt x="88" y="156"/>
                  </a:lnTo>
                  <a:lnTo>
                    <a:pt x="90" y="153"/>
                  </a:lnTo>
                  <a:lnTo>
                    <a:pt x="92" y="153"/>
                  </a:lnTo>
                  <a:lnTo>
                    <a:pt x="93" y="153"/>
                  </a:lnTo>
                  <a:lnTo>
                    <a:pt x="96" y="156"/>
                  </a:lnTo>
                  <a:lnTo>
                    <a:pt x="100" y="156"/>
                  </a:lnTo>
                  <a:lnTo>
                    <a:pt x="103" y="150"/>
                  </a:lnTo>
                  <a:lnTo>
                    <a:pt x="106" y="150"/>
                  </a:lnTo>
                  <a:lnTo>
                    <a:pt x="109" y="150"/>
                  </a:lnTo>
                  <a:lnTo>
                    <a:pt x="112" y="150"/>
                  </a:lnTo>
                  <a:lnTo>
                    <a:pt x="114" y="150"/>
                  </a:lnTo>
                  <a:lnTo>
                    <a:pt x="117" y="146"/>
                  </a:lnTo>
                  <a:lnTo>
                    <a:pt x="120" y="146"/>
                  </a:lnTo>
                  <a:lnTo>
                    <a:pt x="123" y="146"/>
                  </a:lnTo>
                  <a:lnTo>
                    <a:pt x="127" y="143"/>
                  </a:lnTo>
                  <a:lnTo>
                    <a:pt x="135" y="138"/>
                  </a:lnTo>
                  <a:lnTo>
                    <a:pt x="136" y="138"/>
                  </a:lnTo>
                  <a:lnTo>
                    <a:pt x="136" y="135"/>
                  </a:lnTo>
                  <a:lnTo>
                    <a:pt x="135" y="134"/>
                  </a:lnTo>
                  <a:lnTo>
                    <a:pt x="135" y="134"/>
                  </a:lnTo>
                  <a:lnTo>
                    <a:pt x="135" y="134"/>
                  </a:lnTo>
                  <a:lnTo>
                    <a:pt x="135" y="134"/>
                  </a:lnTo>
                  <a:lnTo>
                    <a:pt x="135" y="134"/>
                  </a:lnTo>
                  <a:lnTo>
                    <a:pt x="135" y="134"/>
                  </a:lnTo>
                  <a:lnTo>
                    <a:pt x="135" y="134"/>
                  </a:lnTo>
                  <a:lnTo>
                    <a:pt x="135" y="134"/>
                  </a:lnTo>
                  <a:lnTo>
                    <a:pt x="135" y="13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6" name="Freeform 124">
              <a:extLst>
                <a:ext uri="{FF2B5EF4-FFF2-40B4-BE49-F238E27FC236}">
                  <a16:creationId xmlns:a16="http://schemas.microsoft.com/office/drawing/2014/main" id="{CBA12A9E-95BF-D8C3-F6AF-76FC3CA8CF91}"/>
                </a:ext>
              </a:extLst>
            </p:cNvPr>
            <p:cNvSpPr>
              <a:spLocks/>
            </p:cNvSpPr>
            <p:nvPr/>
          </p:nvSpPr>
          <p:spPr bwMode="auto">
            <a:xfrm>
              <a:off x="6179654" y="3675190"/>
              <a:ext cx="374593" cy="280384"/>
            </a:xfrm>
            <a:custGeom>
              <a:avLst/>
              <a:gdLst>
                <a:gd name="T0" fmla="*/ 160 w 167"/>
                <a:gd name="T1" fmla="*/ 73 h 125"/>
                <a:gd name="T2" fmla="*/ 154 w 167"/>
                <a:gd name="T3" fmla="*/ 67 h 125"/>
                <a:gd name="T4" fmla="*/ 152 w 167"/>
                <a:gd name="T5" fmla="*/ 65 h 125"/>
                <a:gd name="T6" fmla="*/ 149 w 167"/>
                <a:gd name="T7" fmla="*/ 59 h 125"/>
                <a:gd name="T8" fmla="*/ 138 w 167"/>
                <a:gd name="T9" fmla="*/ 51 h 125"/>
                <a:gd name="T10" fmla="*/ 136 w 167"/>
                <a:gd name="T11" fmla="*/ 46 h 125"/>
                <a:gd name="T12" fmla="*/ 128 w 167"/>
                <a:gd name="T13" fmla="*/ 40 h 125"/>
                <a:gd name="T14" fmla="*/ 125 w 167"/>
                <a:gd name="T15" fmla="*/ 36 h 125"/>
                <a:gd name="T16" fmla="*/ 116 w 167"/>
                <a:gd name="T17" fmla="*/ 32 h 125"/>
                <a:gd name="T18" fmla="*/ 117 w 167"/>
                <a:gd name="T19" fmla="*/ 24 h 125"/>
                <a:gd name="T20" fmla="*/ 113 w 167"/>
                <a:gd name="T21" fmla="*/ 6 h 125"/>
                <a:gd name="T22" fmla="*/ 106 w 167"/>
                <a:gd name="T23" fmla="*/ 1 h 125"/>
                <a:gd name="T24" fmla="*/ 100 w 167"/>
                <a:gd name="T25" fmla="*/ 1 h 125"/>
                <a:gd name="T26" fmla="*/ 94 w 167"/>
                <a:gd name="T27" fmla="*/ 8 h 125"/>
                <a:gd name="T28" fmla="*/ 89 w 167"/>
                <a:gd name="T29" fmla="*/ 14 h 125"/>
                <a:gd name="T30" fmla="*/ 79 w 167"/>
                <a:gd name="T31" fmla="*/ 24 h 125"/>
                <a:gd name="T32" fmla="*/ 62 w 167"/>
                <a:gd name="T33" fmla="*/ 28 h 125"/>
                <a:gd name="T34" fmla="*/ 60 w 167"/>
                <a:gd name="T35" fmla="*/ 33 h 125"/>
                <a:gd name="T36" fmla="*/ 51 w 167"/>
                <a:gd name="T37" fmla="*/ 43 h 125"/>
                <a:gd name="T38" fmla="*/ 35 w 167"/>
                <a:gd name="T39" fmla="*/ 46 h 125"/>
                <a:gd name="T40" fmla="*/ 28 w 167"/>
                <a:gd name="T41" fmla="*/ 43 h 125"/>
                <a:gd name="T42" fmla="*/ 24 w 167"/>
                <a:gd name="T43" fmla="*/ 47 h 125"/>
                <a:gd name="T44" fmla="*/ 14 w 167"/>
                <a:gd name="T45" fmla="*/ 49 h 125"/>
                <a:gd name="T46" fmla="*/ 6 w 167"/>
                <a:gd name="T47" fmla="*/ 62 h 125"/>
                <a:gd name="T48" fmla="*/ 0 w 167"/>
                <a:gd name="T49" fmla="*/ 73 h 125"/>
                <a:gd name="T50" fmla="*/ 3 w 167"/>
                <a:gd name="T51" fmla="*/ 84 h 125"/>
                <a:gd name="T52" fmla="*/ 9 w 167"/>
                <a:gd name="T53" fmla="*/ 97 h 125"/>
                <a:gd name="T54" fmla="*/ 13 w 167"/>
                <a:gd name="T55" fmla="*/ 105 h 125"/>
                <a:gd name="T56" fmla="*/ 22 w 167"/>
                <a:gd name="T57" fmla="*/ 116 h 125"/>
                <a:gd name="T58" fmla="*/ 27 w 167"/>
                <a:gd name="T59" fmla="*/ 117 h 125"/>
                <a:gd name="T60" fmla="*/ 33 w 167"/>
                <a:gd name="T61" fmla="*/ 108 h 125"/>
                <a:gd name="T62" fmla="*/ 44 w 167"/>
                <a:gd name="T63" fmla="*/ 108 h 125"/>
                <a:gd name="T64" fmla="*/ 54 w 167"/>
                <a:gd name="T65" fmla="*/ 98 h 125"/>
                <a:gd name="T66" fmla="*/ 55 w 167"/>
                <a:gd name="T67" fmla="*/ 94 h 125"/>
                <a:gd name="T68" fmla="*/ 68 w 167"/>
                <a:gd name="T69" fmla="*/ 84 h 125"/>
                <a:gd name="T70" fmla="*/ 78 w 167"/>
                <a:gd name="T71" fmla="*/ 94 h 125"/>
                <a:gd name="T72" fmla="*/ 86 w 167"/>
                <a:gd name="T73" fmla="*/ 95 h 125"/>
                <a:gd name="T74" fmla="*/ 97 w 167"/>
                <a:gd name="T75" fmla="*/ 98 h 125"/>
                <a:gd name="T76" fmla="*/ 105 w 167"/>
                <a:gd name="T77" fmla="*/ 94 h 125"/>
                <a:gd name="T78" fmla="*/ 113 w 167"/>
                <a:gd name="T79" fmla="*/ 90 h 125"/>
                <a:gd name="T80" fmla="*/ 124 w 167"/>
                <a:gd name="T81" fmla="*/ 87 h 125"/>
                <a:gd name="T82" fmla="*/ 135 w 167"/>
                <a:gd name="T83" fmla="*/ 86 h 125"/>
                <a:gd name="T84" fmla="*/ 140 w 167"/>
                <a:gd name="T85" fmla="*/ 81 h 125"/>
                <a:gd name="T86" fmla="*/ 148 w 167"/>
                <a:gd name="T87" fmla="*/ 82 h 125"/>
                <a:gd name="T88" fmla="*/ 155 w 167"/>
                <a:gd name="T89" fmla="*/ 84 h 125"/>
                <a:gd name="T90" fmla="*/ 160 w 167"/>
                <a:gd name="T91" fmla="*/ 82 h 125"/>
                <a:gd name="T92" fmla="*/ 165 w 167"/>
                <a:gd name="T93" fmla="*/ 86 h 125"/>
                <a:gd name="T94" fmla="*/ 163 w 167"/>
                <a:gd name="T95" fmla="*/ 78 h 125"/>
                <a:gd name="T96" fmla="*/ 163 w 167"/>
                <a:gd name="T97"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7" h="125">
                  <a:moveTo>
                    <a:pt x="163" y="78"/>
                  </a:moveTo>
                  <a:lnTo>
                    <a:pt x="163" y="76"/>
                  </a:lnTo>
                  <a:lnTo>
                    <a:pt x="163" y="76"/>
                  </a:lnTo>
                  <a:lnTo>
                    <a:pt x="160" y="73"/>
                  </a:lnTo>
                  <a:lnTo>
                    <a:pt x="159" y="73"/>
                  </a:lnTo>
                  <a:lnTo>
                    <a:pt x="155" y="70"/>
                  </a:lnTo>
                  <a:lnTo>
                    <a:pt x="154" y="70"/>
                  </a:lnTo>
                  <a:lnTo>
                    <a:pt x="154" y="67"/>
                  </a:lnTo>
                  <a:lnTo>
                    <a:pt x="154" y="67"/>
                  </a:lnTo>
                  <a:lnTo>
                    <a:pt x="154" y="67"/>
                  </a:lnTo>
                  <a:lnTo>
                    <a:pt x="152" y="67"/>
                  </a:lnTo>
                  <a:lnTo>
                    <a:pt x="152" y="65"/>
                  </a:lnTo>
                  <a:lnTo>
                    <a:pt x="152" y="63"/>
                  </a:lnTo>
                  <a:lnTo>
                    <a:pt x="152" y="62"/>
                  </a:lnTo>
                  <a:lnTo>
                    <a:pt x="151" y="60"/>
                  </a:lnTo>
                  <a:lnTo>
                    <a:pt x="149" y="59"/>
                  </a:lnTo>
                  <a:lnTo>
                    <a:pt x="148" y="57"/>
                  </a:lnTo>
                  <a:lnTo>
                    <a:pt x="146" y="55"/>
                  </a:lnTo>
                  <a:lnTo>
                    <a:pt x="141" y="52"/>
                  </a:lnTo>
                  <a:lnTo>
                    <a:pt x="138" y="51"/>
                  </a:lnTo>
                  <a:lnTo>
                    <a:pt x="136" y="49"/>
                  </a:lnTo>
                  <a:lnTo>
                    <a:pt x="136" y="49"/>
                  </a:lnTo>
                  <a:lnTo>
                    <a:pt x="138" y="46"/>
                  </a:lnTo>
                  <a:lnTo>
                    <a:pt x="136" y="46"/>
                  </a:lnTo>
                  <a:lnTo>
                    <a:pt x="135" y="43"/>
                  </a:lnTo>
                  <a:lnTo>
                    <a:pt x="135" y="43"/>
                  </a:lnTo>
                  <a:lnTo>
                    <a:pt x="135" y="41"/>
                  </a:lnTo>
                  <a:lnTo>
                    <a:pt x="128" y="40"/>
                  </a:lnTo>
                  <a:lnTo>
                    <a:pt x="128" y="40"/>
                  </a:lnTo>
                  <a:lnTo>
                    <a:pt x="125" y="40"/>
                  </a:lnTo>
                  <a:lnTo>
                    <a:pt x="125" y="38"/>
                  </a:lnTo>
                  <a:lnTo>
                    <a:pt x="125" y="36"/>
                  </a:lnTo>
                  <a:lnTo>
                    <a:pt x="125" y="35"/>
                  </a:lnTo>
                  <a:lnTo>
                    <a:pt x="125" y="33"/>
                  </a:lnTo>
                  <a:lnTo>
                    <a:pt x="121" y="32"/>
                  </a:lnTo>
                  <a:lnTo>
                    <a:pt x="116" y="32"/>
                  </a:lnTo>
                  <a:lnTo>
                    <a:pt x="116" y="30"/>
                  </a:lnTo>
                  <a:lnTo>
                    <a:pt x="116" y="28"/>
                  </a:lnTo>
                  <a:lnTo>
                    <a:pt x="116" y="27"/>
                  </a:lnTo>
                  <a:lnTo>
                    <a:pt x="117" y="24"/>
                  </a:lnTo>
                  <a:lnTo>
                    <a:pt x="117" y="22"/>
                  </a:lnTo>
                  <a:lnTo>
                    <a:pt x="117" y="17"/>
                  </a:lnTo>
                  <a:lnTo>
                    <a:pt x="116" y="11"/>
                  </a:lnTo>
                  <a:lnTo>
                    <a:pt x="113" y="6"/>
                  </a:lnTo>
                  <a:lnTo>
                    <a:pt x="111" y="5"/>
                  </a:lnTo>
                  <a:lnTo>
                    <a:pt x="109" y="5"/>
                  </a:lnTo>
                  <a:lnTo>
                    <a:pt x="106" y="1"/>
                  </a:lnTo>
                  <a:lnTo>
                    <a:pt x="106" y="1"/>
                  </a:lnTo>
                  <a:lnTo>
                    <a:pt x="105" y="0"/>
                  </a:lnTo>
                  <a:lnTo>
                    <a:pt x="103" y="0"/>
                  </a:lnTo>
                  <a:lnTo>
                    <a:pt x="101" y="0"/>
                  </a:lnTo>
                  <a:lnTo>
                    <a:pt x="100" y="1"/>
                  </a:lnTo>
                  <a:lnTo>
                    <a:pt x="97" y="3"/>
                  </a:lnTo>
                  <a:lnTo>
                    <a:pt x="94" y="5"/>
                  </a:lnTo>
                  <a:lnTo>
                    <a:pt x="94" y="6"/>
                  </a:lnTo>
                  <a:lnTo>
                    <a:pt x="94" y="8"/>
                  </a:lnTo>
                  <a:lnTo>
                    <a:pt x="90" y="8"/>
                  </a:lnTo>
                  <a:lnTo>
                    <a:pt x="90" y="11"/>
                  </a:lnTo>
                  <a:lnTo>
                    <a:pt x="90" y="11"/>
                  </a:lnTo>
                  <a:lnTo>
                    <a:pt x="89" y="14"/>
                  </a:lnTo>
                  <a:lnTo>
                    <a:pt x="87" y="14"/>
                  </a:lnTo>
                  <a:lnTo>
                    <a:pt x="86" y="17"/>
                  </a:lnTo>
                  <a:lnTo>
                    <a:pt x="82" y="20"/>
                  </a:lnTo>
                  <a:lnTo>
                    <a:pt x="79" y="24"/>
                  </a:lnTo>
                  <a:lnTo>
                    <a:pt x="74" y="25"/>
                  </a:lnTo>
                  <a:lnTo>
                    <a:pt x="70" y="27"/>
                  </a:lnTo>
                  <a:lnTo>
                    <a:pt x="65" y="28"/>
                  </a:lnTo>
                  <a:lnTo>
                    <a:pt x="62" y="28"/>
                  </a:lnTo>
                  <a:lnTo>
                    <a:pt x="59" y="28"/>
                  </a:lnTo>
                  <a:lnTo>
                    <a:pt x="57" y="30"/>
                  </a:lnTo>
                  <a:lnTo>
                    <a:pt x="59" y="32"/>
                  </a:lnTo>
                  <a:lnTo>
                    <a:pt x="60" y="33"/>
                  </a:lnTo>
                  <a:lnTo>
                    <a:pt x="55" y="40"/>
                  </a:lnTo>
                  <a:lnTo>
                    <a:pt x="54" y="41"/>
                  </a:lnTo>
                  <a:lnTo>
                    <a:pt x="52" y="43"/>
                  </a:lnTo>
                  <a:lnTo>
                    <a:pt x="51" y="43"/>
                  </a:lnTo>
                  <a:lnTo>
                    <a:pt x="47" y="43"/>
                  </a:lnTo>
                  <a:lnTo>
                    <a:pt x="44" y="43"/>
                  </a:lnTo>
                  <a:lnTo>
                    <a:pt x="41" y="43"/>
                  </a:lnTo>
                  <a:lnTo>
                    <a:pt x="35" y="46"/>
                  </a:lnTo>
                  <a:lnTo>
                    <a:pt x="33" y="46"/>
                  </a:lnTo>
                  <a:lnTo>
                    <a:pt x="32" y="49"/>
                  </a:lnTo>
                  <a:lnTo>
                    <a:pt x="30" y="46"/>
                  </a:lnTo>
                  <a:lnTo>
                    <a:pt x="28" y="43"/>
                  </a:lnTo>
                  <a:lnTo>
                    <a:pt x="27" y="46"/>
                  </a:lnTo>
                  <a:lnTo>
                    <a:pt x="27" y="46"/>
                  </a:lnTo>
                  <a:lnTo>
                    <a:pt x="25" y="46"/>
                  </a:lnTo>
                  <a:lnTo>
                    <a:pt x="24" y="47"/>
                  </a:lnTo>
                  <a:lnTo>
                    <a:pt x="22" y="49"/>
                  </a:lnTo>
                  <a:lnTo>
                    <a:pt x="19" y="49"/>
                  </a:lnTo>
                  <a:lnTo>
                    <a:pt x="16" y="49"/>
                  </a:lnTo>
                  <a:lnTo>
                    <a:pt x="14" y="49"/>
                  </a:lnTo>
                  <a:lnTo>
                    <a:pt x="14" y="51"/>
                  </a:lnTo>
                  <a:lnTo>
                    <a:pt x="13" y="52"/>
                  </a:lnTo>
                  <a:lnTo>
                    <a:pt x="9" y="57"/>
                  </a:lnTo>
                  <a:lnTo>
                    <a:pt x="6" y="62"/>
                  </a:lnTo>
                  <a:lnTo>
                    <a:pt x="6" y="65"/>
                  </a:lnTo>
                  <a:lnTo>
                    <a:pt x="3" y="67"/>
                  </a:lnTo>
                  <a:lnTo>
                    <a:pt x="0" y="70"/>
                  </a:lnTo>
                  <a:lnTo>
                    <a:pt x="0" y="73"/>
                  </a:lnTo>
                  <a:lnTo>
                    <a:pt x="3" y="73"/>
                  </a:lnTo>
                  <a:lnTo>
                    <a:pt x="3" y="76"/>
                  </a:lnTo>
                  <a:lnTo>
                    <a:pt x="3" y="81"/>
                  </a:lnTo>
                  <a:lnTo>
                    <a:pt x="3" y="84"/>
                  </a:lnTo>
                  <a:lnTo>
                    <a:pt x="3" y="89"/>
                  </a:lnTo>
                  <a:lnTo>
                    <a:pt x="6" y="90"/>
                  </a:lnTo>
                  <a:lnTo>
                    <a:pt x="6" y="94"/>
                  </a:lnTo>
                  <a:lnTo>
                    <a:pt x="9" y="97"/>
                  </a:lnTo>
                  <a:lnTo>
                    <a:pt x="9" y="98"/>
                  </a:lnTo>
                  <a:lnTo>
                    <a:pt x="9" y="101"/>
                  </a:lnTo>
                  <a:lnTo>
                    <a:pt x="11" y="105"/>
                  </a:lnTo>
                  <a:lnTo>
                    <a:pt x="13" y="105"/>
                  </a:lnTo>
                  <a:lnTo>
                    <a:pt x="16" y="111"/>
                  </a:lnTo>
                  <a:lnTo>
                    <a:pt x="19" y="113"/>
                  </a:lnTo>
                  <a:lnTo>
                    <a:pt x="21" y="114"/>
                  </a:lnTo>
                  <a:lnTo>
                    <a:pt x="22" y="116"/>
                  </a:lnTo>
                  <a:lnTo>
                    <a:pt x="24" y="124"/>
                  </a:lnTo>
                  <a:lnTo>
                    <a:pt x="24" y="125"/>
                  </a:lnTo>
                  <a:lnTo>
                    <a:pt x="25" y="122"/>
                  </a:lnTo>
                  <a:lnTo>
                    <a:pt x="27" y="117"/>
                  </a:lnTo>
                  <a:lnTo>
                    <a:pt x="28" y="111"/>
                  </a:lnTo>
                  <a:lnTo>
                    <a:pt x="28" y="108"/>
                  </a:lnTo>
                  <a:lnTo>
                    <a:pt x="30" y="108"/>
                  </a:lnTo>
                  <a:lnTo>
                    <a:pt x="33" y="108"/>
                  </a:lnTo>
                  <a:lnTo>
                    <a:pt x="35" y="108"/>
                  </a:lnTo>
                  <a:lnTo>
                    <a:pt x="38" y="105"/>
                  </a:lnTo>
                  <a:lnTo>
                    <a:pt x="41" y="105"/>
                  </a:lnTo>
                  <a:lnTo>
                    <a:pt x="44" y="108"/>
                  </a:lnTo>
                  <a:lnTo>
                    <a:pt x="47" y="108"/>
                  </a:lnTo>
                  <a:lnTo>
                    <a:pt x="52" y="105"/>
                  </a:lnTo>
                  <a:lnTo>
                    <a:pt x="54" y="108"/>
                  </a:lnTo>
                  <a:lnTo>
                    <a:pt x="54" y="98"/>
                  </a:lnTo>
                  <a:lnTo>
                    <a:pt x="54" y="98"/>
                  </a:lnTo>
                  <a:lnTo>
                    <a:pt x="54" y="95"/>
                  </a:lnTo>
                  <a:lnTo>
                    <a:pt x="55" y="95"/>
                  </a:lnTo>
                  <a:lnTo>
                    <a:pt x="55" y="94"/>
                  </a:lnTo>
                  <a:lnTo>
                    <a:pt x="59" y="89"/>
                  </a:lnTo>
                  <a:lnTo>
                    <a:pt x="63" y="84"/>
                  </a:lnTo>
                  <a:lnTo>
                    <a:pt x="65" y="84"/>
                  </a:lnTo>
                  <a:lnTo>
                    <a:pt x="68" y="84"/>
                  </a:lnTo>
                  <a:lnTo>
                    <a:pt x="71" y="86"/>
                  </a:lnTo>
                  <a:lnTo>
                    <a:pt x="74" y="89"/>
                  </a:lnTo>
                  <a:lnTo>
                    <a:pt x="76" y="92"/>
                  </a:lnTo>
                  <a:lnTo>
                    <a:pt x="78" y="94"/>
                  </a:lnTo>
                  <a:lnTo>
                    <a:pt x="79" y="94"/>
                  </a:lnTo>
                  <a:lnTo>
                    <a:pt x="82" y="94"/>
                  </a:lnTo>
                  <a:lnTo>
                    <a:pt x="84" y="94"/>
                  </a:lnTo>
                  <a:lnTo>
                    <a:pt x="86" y="95"/>
                  </a:lnTo>
                  <a:lnTo>
                    <a:pt x="87" y="95"/>
                  </a:lnTo>
                  <a:lnTo>
                    <a:pt x="89" y="97"/>
                  </a:lnTo>
                  <a:lnTo>
                    <a:pt x="94" y="97"/>
                  </a:lnTo>
                  <a:lnTo>
                    <a:pt x="97" y="98"/>
                  </a:lnTo>
                  <a:lnTo>
                    <a:pt x="100" y="98"/>
                  </a:lnTo>
                  <a:lnTo>
                    <a:pt x="101" y="98"/>
                  </a:lnTo>
                  <a:lnTo>
                    <a:pt x="103" y="95"/>
                  </a:lnTo>
                  <a:lnTo>
                    <a:pt x="105" y="94"/>
                  </a:lnTo>
                  <a:lnTo>
                    <a:pt x="106" y="90"/>
                  </a:lnTo>
                  <a:lnTo>
                    <a:pt x="108" y="89"/>
                  </a:lnTo>
                  <a:lnTo>
                    <a:pt x="109" y="89"/>
                  </a:lnTo>
                  <a:lnTo>
                    <a:pt x="113" y="90"/>
                  </a:lnTo>
                  <a:lnTo>
                    <a:pt x="114" y="92"/>
                  </a:lnTo>
                  <a:lnTo>
                    <a:pt x="116" y="90"/>
                  </a:lnTo>
                  <a:lnTo>
                    <a:pt x="121" y="89"/>
                  </a:lnTo>
                  <a:lnTo>
                    <a:pt x="124" y="87"/>
                  </a:lnTo>
                  <a:lnTo>
                    <a:pt x="128" y="84"/>
                  </a:lnTo>
                  <a:lnTo>
                    <a:pt x="132" y="86"/>
                  </a:lnTo>
                  <a:lnTo>
                    <a:pt x="132" y="87"/>
                  </a:lnTo>
                  <a:lnTo>
                    <a:pt x="135" y="86"/>
                  </a:lnTo>
                  <a:lnTo>
                    <a:pt x="138" y="86"/>
                  </a:lnTo>
                  <a:lnTo>
                    <a:pt x="140" y="84"/>
                  </a:lnTo>
                  <a:lnTo>
                    <a:pt x="140" y="82"/>
                  </a:lnTo>
                  <a:lnTo>
                    <a:pt x="140" y="81"/>
                  </a:lnTo>
                  <a:lnTo>
                    <a:pt x="141" y="81"/>
                  </a:lnTo>
                  <a:lnTo>
                    <a:pt x="144" y="82"/>
                  </a:lnTo>
                  <a:lnTo>
                    <a:pt x="146" y="82"/>
                  </a:lnTo>
                  <a:lnTo>
                    <a:pt x="148" y="82"/>
                  </a:lnTo>
                  <a:lnTo>
                    <a:pt x="151" y="82"/>
                  </a:lnTo>
                  <a:lnTo>
                    <a:pt x="152" y="84"/>
                  </a:lnTo>
                  <a:lnTo>
                    <a:pt x="154" y="84"/>
                  </a:lnTo>
                  <a:lnTo>
                    <a:pt x="155" y="84"/>
                  </a:lnTo>
                  <a:lnTo>
                    <a:pt x="157" y="84"/>
                  </a:lnTo>
                  <a:lnTo>
                    <a:pt x="159" y="84"/>
                  </a:lnTo>
                  <a:lnTo>
                    <a:pt x="160" y="84"/>
                  </a:lnTo>
                  <a:lnTo>
                    <a:pt x="160" y="82"/>
                  </a:lnTo>
                  <a:lnTo>
                    <a:pt x="163" y="82"/>
                  </a:lnTo>
                  <a:lnTo>
                    <a:pt x="165" y="86"/>
                  </a:lnTo>
                  <a:lnTo>
                    <a:pt x="167" y="86"/>
                  </a:lnTo>
                  <a:lnTo>
                    <a:pt x="165" y="86"/>
                  </a:lnTo>
                  <a:lnTo>
                    <a:pt x="163" y="82"/>
                  </a:lnTo>
                  <a:lnTo>
                    <a:pt x="163" y="79"/>
                  </a:lnTo>
                  <a:lnTo>
                    <a:pt x="163" y="78"/>
                  </a:lnTo>
                  <a:lnTo>
                    <a:pt x="163" y="78"/>
                  </a:lnTo>
                  <a:lnTo>
                    <a:pt x="163" y="78"/>
                  </a:lnTo>
                  <a:lnTo>
                    <a:pt x="163" y="78"/>
                  </a:lnTo>
                  <a:lnTo>
                    <a:pt x="163" y="78"/>
                  </a:lnTo>
                  <a:lnTo>
                    <a:pt x="163" y="78"/>
                  </a:lnTo>
                  <a:lnTo>
                    <a:pt x="163" y="78"/>
                  </a:lnTo>
                  <a:lnTo>
                    <a:pt x="163" y="78"/>
                  </a:lnTo>
                  <a:lnTo>
                    <a:pt x="163" y="7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7" name="Freeform 128">
              <a:extLst>
                <a:ext uri="{FF2B5EF4-FFF2-40B4-BE49-F238E27FC236}">
                  <a16:creationId xmlns:a16="http://schemas.microsoft.com/office/drawing/2014/main" id="{3DAABBC1-0D05-1995-8DB6-C2713F614021}"/>
                </a:ext>
              </a:extLst>
            </p:cNvPr>
            <p:cNvSpPr>
              <a:spLocks/>
            </p:cNvSpPr>
            <p:nvPr/>
          </p:nvSpPr>
          <p:spPr bwMode="auto">
            <a:xfrm>
              <a:off x="6119091" y="3856878"/>
              <a:ext cx="545066" cy="607872"/>
            </a:xfrm>
            <a:custGeom>
              <a:avLst/>
              <a:gdLst>
                <a:gd name="T0" fmla="*/ 225 w 243"/>
                <a:gd name="T1" fmla="*/ 14 h 271"/>
                <a:gd name="T2" fmla="*/ 217 w 243"/>
                <a:gd name="T3" fmla="*/ 13 h 271"/>
                <a:gd name="T4" fmla="*/ 208 w 243"/>
                <a:gd name="T5" fmla="*/ 14 h 271"/>
                <a:gd name="T6" fmla="*/ 197 w 243"/>
                <a:gd name="T7" fmla="*/ 8 h 271"/>
                <a:gd name="T8" fmla="*/ 192 w 243"/>
                <a:gd name="T9" fmla="*/ 5 h 271"/>
                <a:gd name="T10" fmla="*/ 184 w 243"/>
                <a:gd name="T11" fmla="*/ 3 h 271"/>
                <a:gd name="T12" fmla="*/ 173 w 243"/>
                <a:gd name="T13" fmla="*/ 3 h 271"/>
                <a:gd name="T14" fmla="*/ 167 w 243"/>
                <a:gd name="T15" fmla="*/ 3 h 271"/>
                <a:gd name="T16" fmla="*/ 151 w 243"/>
                <a:gd name="T17" fmla="*/ 6 h 271"/>
                <a:gd name="T18" fmla="*/ 138 w 243"/>
                <a:gd name="T19" fmla="*/ 8 h 271"/>
                <a:gd name="T20" fmla="*/ 128 w 243"/>
                <a:gd name="T21" fmla="*/ 17 h 271"/>
                <a:gd name="T22" fmla="*/ 113 w 243"/>
                <a:gd name="T23" fmla="*/ 14 h 271"/>
                <a:gd name="T24" fmla="*/ 103 w 243"/>
                <a:gd name="T25" fmla="*/ 8 h 271"/>
                <a:gd name="T26" fmla="*/ 86 w 243"/>
                <a:gd name="T27" fmla="*/ 8 h 271"/>
                <a:gd name="T28" fmla="*/ 81 w 243"/>
                <a:gd name="T29" fmla="*/ 27 h 271"/>
                <a:gd name="T30" fmla="*/ 74 w 243"/>
                <a:gd name="T31" fmla="*/ 52 h 271"/>
                <a:gd name="T32" fmla="*/ 68 w 243"/>
                <a:gd name="T33" fmla="*/ 86 h 271"/>
                <a:gd name="T34" fmla="*/ 54 w 243"/>
                <a:gd name="T35" fmla="*/ 106 h 271"/>
                <a:gd name="T36" fmla="*/ 48 w 243"/>
                <a:gd name="T37" fmla="*/ 132 h 271"/>
                <a:gd name="T38" fmla="*/ 33 w 243"/>
                <a:gd name="T39" fmla="*/ 146 h 271"/>
                <a:gd name="T40" fmla="*/ 28 w 243"/>
                <a:gd name="T41" fmla="*/ 140 h 271"/>
                <a:gd name="T42" fmla="*/ 21 w 243"/>
                <a:gd name="T43" fmla="*/ 141 h 271"/>
                <a:gd name="T44" fmla="*/ 9 w 243"/>
                <a:gd name="T45" fmla="*/ 143 h 271"/>
                <a:gd name="T46" fmla="*/ 3 w 243"/>
                <a:gd name="T47" fmla="*/ 144 h 271"/>
                <a:gd name="T48" fmla="*/ 3 w 243"/>
                <a:gd name="T49" fmla="*/ 162 h 271"/>
                <a:gd name="T50" fmla="*/ 27 w 243"/>
                <a:gd name="T51" fmla="*/ 160 h 271"/>
                <a:gd name="T52" fmla="*/ 55 w 243"/>
                <a:gd name="T53" fmla="*/ 163 h 271"/>
                <a:gd name="T54" fmla="*/ 59 w 243"/>
                <a:gd name="T55" fmla="*/ 174 h 271"/>
                <a:gd name="T56" fmla="*/ 65 w 243"/>
                <a:gd name="T57" fmla="*/ 190 h 271"/>
                <a:gd name="T58" fmla="*/ 81 w 243"/>
                <a:gd name="T59" fmla="*/ 190 h 271"/>
                <a:gd name="T60" fmla="*/ 94 w 243"/>
                <a:gd name="T61" fmla="*/ 184 h 271"/>
                <a:gd name="T62" fmla="*/ 103 w 243"/>
                <a:gd name="T63" fmla="*/ 176 h 271"/>
                <a:gd name="T64" fmla="*/ 117 w 243"/>
                <a:gd name="T65" fmla="*/ 181 h 271"/>
                <a:gd name="T66" fmla="*/ 122 w 243"/>
                <a:gd name="T67" fmla="*/ 195 h 271"/>
                <a:gd name="T68" fmla="*/ 125 w 243"/>
                <a:gd name="T69" fmla="*/ 219 h 271"/>
                <a:gd name="T70" fmla="*/ 127 w 243"/>
                <a:gd name="T71" fmla="*/ 236 h 271"/>
                <a:gd name="T72" fmla="*/ 138 w 243"/>
                <a:gd name="T73" fmla="*/ 236 h 271"/>
                <a:gd name="T74" fmla="*/ 149 w 243"/>
                <a:gd name="T75" fmla="*/ 233 h 271"/>
                <a:gd name="T76" fmla="*/ 157 w 243"/>
                <a:gd name="T77" fmla="*/ 241 h 271"/>
                <a:gd name="T78" fmla="*/ 167 w 243"/>
                <a:gd name="T79" fmla="*/ 246 h 271"/>
                <a:gd name="T80" fmla="*/ 186 w 243"/>
                <a:gd name="T81" fmla="*/ 247 h 271"/>
                <a:gd name="T82" fmla="*/ 195 w 243"/>
                <a:gd name="T83" fmla="*/ 254 h 271"/>
                <a:gd name="T84" fmla="*/ 205 w 243"/>
                <a:gd name="T85" fmla="*/ 257 h 271"/>
                <a:gd name="T86" fmla="*/ 213 w 243"/>
                <a:gd name="T87" fmla="*/ 268 h 271"/>
                <a:gd name="T88" fmla="*/ 222 w 243"/>
                <a:gd name="T89" fmla="*/ 268 h 271"/>
                <a:gd name="T90" fmla="*/ 217 w 243"/>
                <a:gd name="T91" fmla="*/ 255 h 271"/>
                <a:gd name="T92" fmla="*/ 208 w 243"/>
                <a:gd name="T93" fmla="*/ 233 h 271"/>
                <a:gd name="T94" fmla="*/ 205 w 243"/>
                <a:gd name="T95" fmla="*/ 211 h 271"/>
                <a:gd name="T96" fmla="*/ 233 w 243"/>
                <a:gd name="T97" fmla="*/ 192 h 271"/>
                <a:gd name="T98" fmla="*/ 225 w 243"/>
                <a:gd name="T99" fmla="*/ 181 h 271"/>
                <a:gd name="T100" fmla="*/ 217 w 243"/>
                <a:gd name="T101" fmla="*/ 157 h 271"/>
                <a:gd name="T102" fmla="*/ 216 w 243"/>
                <a:gd name="T103" fmla="*/ 138 h 271"/>
                <a:gd name="T104" fmla="*/ 216 w 243"/>
                <a:gd name="T105" fmla="*/ 122 h 271"/>
                <a:gd name="T106" fmla="*/ 213 w 243"/>
                <a:gd name="T107" fmla="*/ 113 h 271"/>
                <a:gd name="T108" fmla="*/ 217 w 243"/>
                <a:gd name="T109" fmla="*/ 97 h 271"/>
                <a:gd name="T110" fmla="*/ 225 w 243"/>
                <a:gd name="T111" fmla="*/ 70 h 271"/>
                <a:gd name="T112" fmla="*/ 233 w 243"/>
                <a:gd name="T113" fmla="*/ 59 h 271"/>
                <a:gd name="T114" fmla="*/ 236 w 243"/>
                <a:gd name="T115" fmla="*/ 43 h 271"/>
                <a:gd name="T116" fmla="*/ 236 w 243"/>
                <a:gd name="T117" fmla="*/ 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3" h="271">
                  <a:moveTo>
                    <a:pt x="235" y="25"/>
                  </a:moveTo>
                  <a:lnTo>
                    <a:pt x="235" y="25"/>
                  </a:lnTo>
                  <a:lnTo>
                    <a:pt x="233" y="25"/>
                  </a:lnTo>
                  <a:lnTo>
                    <a:pt x="233" y="25"/>
                  </a:lnTo>
                  <a:lnTo>
                    <a:pt x="233" y="22"/>
                  </a:lnTo>
                  <a:lnTo>
                    <a:pt x="233" y="22"/>
                  </a:lnTo>
                  <a:lnTo>
                    <a:pt x="232" y="20"/>
                  </a:lnTo>
                  <a:lnTo>
                    <a:pt x="232" y="20"/>
                  </a:lnTo>
                  <a:lnTo>
                    <a:pt x="227" y="17"/>
                  </a:lnTo>
                  <a:lnTo>
                    <a:pt x="227" y="17"/>
                  </a:lnTo>
                  <a:lnTo>
                    <a:pt x="225" y="14"/>
                  </a:lnTo>
                  <a:lnTo>
                    <a:pt x="225" y="14"/>
                  </a:lnTo>
                  <a:lnTo>
                    <a:pt x="224" y="11"/>
                  </a:lnTo>
                  <a:lnTo>
                    <a:pt x="224" y="11"/>
                  </a:lnTo>
                  <a:lnTo>
                    <a:pt x="222" y="9"/>
                  </a:lnTo>
                  <a:lnTo>
                    <a:pt x="222" y="9"/>
                  </a:lnTo>
                  <a:lnTo>
                    <a:pt x="221" y="9"/>
                  </a:lnTo>
                  <a:lnTo>
                    <a:pt x="221" y="9"/>
                  </a:lnTo>
                  <a:lnTo>
                    <a:pt x="219" y="11"/>
                  </a:lnTo>
                  <a:lnTo>
                    <a:pt x="219" y="11"/>
                  </a:lnTo>
                  <a:lnTo>
                    <a:pt x="217" y="13"/>
                  </a:lnTo>
                  <a:lnTo>
                    <a:pt x="217" y="13"/>
                  </a:lnTo>
                  <a:lnTo>
                    <a:pt x="216" y="13"/>
                  </a:lnTo>
                  <a:lnTo>
                    <a:pt x="216" y="13"/>
                  </a:lnTo>
                  <a:lnTo>
                    <a:pt x="214" y="13"/>
                  </a:lnTo>
                  <a:lnTo>
                    <a:pt x="214" y="13"/>
                  </a:lnTo>
                  <a:lnTo>
                    <a:pt x="213" y="13"/>
                  </a:lnTo>
                  <a:lnTo>
                    <a:pt x="213" y="13"/>
                  </a:lnTo>
                  <a:lnTo>
                    <a:pt x="211" y="11"/>
                  </a:lnTo>
                  <a:lnTo>
                    <a:pt x="211" y="11"/>
                  </a:lnTo>
                  <a:lnTo>
                    <a:pt x="208" y="13"/>
                  </a:lnTo>
                  <a:lnTo>
                    <a:pt x="208" y="13"/>
                  </a:lnTo>
                  <a:lnTo>
                    <a:pt x="208" y="14"/>
                  </a:lnTo>
                  <a:lnTo>
                    <a:pt x="208" y="14"/>
                  </a:lnTo>
                  <a:lnTo>
                    <a:pt x="205" y="14"/>
                  </a:lnTo>
                  <a:lnTo>
                    <a:pt x="205" y="14"/>
                  </a:lnTo>
                  <a:lnTo>
                    <a:pt x="205" y="14"/>
                  </a:lnTo>
                  <a:lnTo>
                    <a:pt x="205" y="14"/>
                  </a:lnTo>
                  <a:lnTo>
                    <a:pt x="202" y="13"/>
                  </a:lnTo>
                  <a:lnTo>
                    <a:pt x="202" y="13"/>
                  </a:lnTo>
                  <a:lnTo>
                    <a:pt x="198" y="11"/>
                  </a:lnTo>
                  <a:lnTo>
                    <a:pt x="198" y="11"/>
                  </a:lnTo>
                  <a:lnTo>
                    <a:pt x="197" y="8"/>
                  </a:lnTo>
                  <a:lnTo>
                    <a:pt x="197" y="8"/>
                  </a:lnTo>
                  <a:lnTo>
                    <a:pt x="197" y="6"/>
                  </a:lnTo>
                  <a:lnTo>
                    <a:pt x="197" y="6"/>
                  </a:lnTo>
                  <a:lnTo>
                    <a:pt x="195" y="6"/>
                  </a:lnTo>
                  <a:lnTo>
                    <a:pt x="195" y="6"/>
                  </a:lnTo>
                  <a:lnTo>
                    <a:pt x="192" y="3"/>
                  </a:lnTo>
                  <a:lnTo>
                    <a:pt x="192" y="3"/>
                  </a:lnTo>
                  <a:lnTo>
                    <a:pt x="192" y="5"/>
                  </a:lnTo>
                  <a:lnTo>
                    <a:pt x="192" y="5"/>
                  </a:lnTo>
                  <a:lnTo>
                    <a:pt x="194" y="6"/>
                  </a:lnTo>
                  <a:lnTo>
                    <a:pt x="194" y="6"/>
                  </a:lnTo>
                  <a:lnTo>
                    <a:pt x="192" y="5"/>
                  </a:lnTo>
                  <a:lnTo>
                    <a:pt x="192" y="5"/>
                  </a:lnTo>
                  <a:lnTo>
                    <a:pt x="190" y="3"/>
                  </a:lnTo>
                  <a:lnTo>
                    <a:pt x="190" y="3"/>
                  </a:lnTo>
                  <a:lnTo>
                    <a:pt x="189" y="3"/>
                  </a:lnTo>
                  <a:lnTo>
                    <a:pt x="189" y="3"/>
                  </a:lnTo>
                  <a:lnTo>
                    <a:pt x="187" y="3"/>
                  </a:lnTo>
                  <a:lnTo>
                    <a:pt x="187" y="3"/>
                  </a:lnTo>
                  <a:lnTo>
                    <a:pt x="186" y="3"/>
                  </a:lnTo>
                  <a:lnTo>
                    <a:pt x="186" y="3"/>
                  </a:lnTo>
                  <a:lnTo>
                    <a:pt x="184" y="3"/>
                  </a:lnTo>
                  <a:lnTo>
                    <a:pt x="184" y="3"/>
                  </a:lnTo>
                  <a:lnTo>
                    <a:pt x="182" y="3"/>
                  </a:lnTo>
                  <a:lnTo>
                    <a:pt x="182" y="3"/>
                  </a:lnTo>
                  <a:lnTo>
                    <a:pt x="181" y="3"/>
                  </a:lnTo>
                  <a:lnTo>
                    <a:pt x="181" y="3"/>
                  </a:lnTo>
                  <a:lnTo>
                    <a:pt x="179" y="3"/>
                  </a:lnTo>
                  <a:lnTo>
                    <a:pt x="179" y="3"/>
                  </a:lnTo>
                  <a:lnTo>
                    <a:pt x="178" y="3"/>
                  </a:lnTo>
                  <a:lnTo>
                    <a:pt x="178" y="3"/>
                  </a:lnTo>
                  <a:lnTo>
                    <a:pt x="176" y="3"/>
                  </a:lnTo>
                  <a:lnTo>
                    <a:pt x="176" y="3"/>
                  </a:lnTo>
                  <a:lnTo>
                    <a:pt x="173" y="3"/>
                  </a:lnTo>
                  <a:lnTo>
                    <a:pt x="173" y="3"/>
                  </a:lnTo>
                  <a:lnTo>
                    <a:pt x="173" y="3"/>
                  </a:lnTo>
                  <a:lnTo>
                    <a:pt x="173" y="3"/>
                  </a:lnTo>
                  <a:lnTo>
                    <a:pt x="170" y="0"/>
                  </a:lnTo>
                  <a:lnTo>
                    <a:pt x="170" y="0"/>
                  </a:lnTo>
                  <a:lnTo>
                    <a:pt x="167" y="0"/>
                  </a:lnTo>
                  <a:lnTo>
                    <a:pt x="167" y="0"/>
                  </a:lnTo>
                  <a:lnTo>
                    <a:pt x="167" y="3"/>
                  </a:lnTo>
                  <a:lnTo>
                    <a:pt x="167" y="3"/>
                  </a:lnTo>
                  <a:lnTo>
                    <a:pt x="167" y="3"/>
                  </a:lnTo>
                  <a:lnTo>
                    <a:pt x="167" y="3"/>
                  </a:lnTo>
                  <a:lnTo>
                    <a:pt x="167" y="6"/>
                  </a:lnTo>
                  <a:lnTo>
                    <a:pt x="167" y="6"/>
                  </a:lnTo>
                  <a:lnTo>
                    <a:pt x="163" y="6"/>
                  </a:lnTo>
                  <a:lnTo>
                    <a:pt x="163" y="6"/>
                  </a:lnTo>
                  <a:lnTo>
                    <a:pt x="160" y="6"/>
                  </a:lnTo>
                  <a:lnTo>
                    <a:pt x="160" y="6"/>
                  </a:lnTo>
                  <a:lnTo>
                    <a:pt x="159" y="6"/>
                  </a:lnTo>
                  <a:lnTo>
                    <a:pt x="159" y="6"/>
                  </a:lnTo>
                  <a:lnTo>
                    <a:pt x="155" y="3"/>
                  </a:lnTo>
                  <a:lnTo>
                    <a:pt x="155" y="3"/>
                  </a:lnTo>
                  <a:lnTo>
                    <a:pt x="151" y="6"/>
                  </a:lnTo>
                  <a:lnTo>
                    <a:pt x="151" y="6"/>
                  </a:lnTo>
                  <a:lnTo>
                    <a:pt x="148" y="8"/>
                  </a:lnTo>
                  <a:lnTo>
                    <a:pt x="148" y="8"/>
                  </a:lnTo>
                  <a:lnTo>
                    <a:pt x="143" y="9"/>
                  </a:lnTo>
                  <a:lnTo>
                    <a:pt x="143" y="9"/>
                  </a:lnTo>
                  <a:lnTo>
                    <a:pt x="141" y="11"/>
                  </a:lnTo>
                  <a:lnTo>
                    <a:pt x="141" y="11"/>
                  </a:lnTo>
                  <a:lnTo>
                    <a:pt x="141" y="9"/>
                  </a:lnTo>
                  <a:lnTo>
                    <a:pt x="141" y="9"/>
                  </a:lnTo>
                  <a:lnTo>
                    <a:pt x="138" y="8"/>
                  </a:lnTo>
                  <a:lnTo>
                    <a:pt x="138" y="8"/>
                  </a:lnTo>
                  <a:lnTo>
                    <a:pt x="135" y="8"/>
                  </a:lnTo>
                  <a:lnTo>
                    <a:pt x="135" y="8"/>
                  </a:lnTo>
                  <a:lnTo>
                    <a:pt x="135" y="9"/>
                  </a:lnTo>
                  <a:lnTo>
                    <a:pt x="135" y="9"/>
                  </a:lnTo>
                  <a:lnTo>
                    <a:pt x="132" y="13"/>
                  </a:lnTo>
                  <a:lnTo>
                    <a:pt x="132" y="13"/>
                  </a:lnTo>
                  <a:lnTo>
                    <a:pt x="132" y="14"/>
                  </a:lnTo>
                  <a:lnTo>
                    <a:pt x="132" y="14"/>
                  </a:lnTo>
                  <a:lnTo>
                    <a:pt x="128" y="17"/>
                  </a:lnTo>
                  <a:lnTo>
                    <a:pt x="128" y="17"/>
                  </a:lnTo>
                  <a:lnTo>
                    <a:pt x="128" y="17"/>
                  </a:lnTo>
                  <a:lnTo>
                    <a:pt x="128" y="17"/>
                  </a:lnTo>
                  <a:lnTo>
                    <a:pt x="125" y="17"/>
                  </a:lnTo>
                  <a:lnTo>
                    <a:pt x="125" y="17"/>
                  </a:lnTo>
                  <a:lnTo>
                    <a:pt x="121" y="16"/>
                  </a:lnTo>
                  <a:lnTo>
                    <a:pt x="121" y="16"/>
                  </a:lnTo>
                  <a:lnTo>
                    <a:pt x="116" y="16"/>
                  </a:lnTo>
                  <a:lnTo>
                    <a:pt x="116" y="16"/>
                  </a:lnTo>
                  <a:lnTo>
                    <a:pt x="114" y="14"/>
                  </a:lnTo>
                  <a:lnTo>
                    <a:pt x="114" y="14"/>
                  </a:lnTo>
                  <a:lnTo>
                    <a:pt x="113" y="14"/>
                  </a:lnTo>
                  <a:lnTo>
                    <a:pt x="113" y="14"/>
                  </a:lnTo>
                  <a:lnTo>
                    <a:pt x="111" y="13"/>
                  </a:lnTo>
                  <a:lnTo>
                    <a:pt x="111" y="13"/>
                  </a:lnTo>
                  <a:lnTo>
                    <a:pt x="109" y="13"/>
                  </a:lnTo>
                  <a:lnTo>
                    <a:pt x="109" y="13"/>
                  </a:lnTo>
                  <a:lnTo>
                    <a:pt x="106" y="13"/>
                  </a:lnTo>
                  <a:lnTo>
                    <a:pt x="106" y="13"/>
                  </a:lnTo>
                  <a:lnTo>
                    <a:pt x="106" y="13"/>
                  </a:lnTo>
                  <a:lnTo>
                    <a:pt x="106" y="13"/>
                  </a:lnTo>
                  <a:lnTo>
                    <a:pt x="103" y="11"/>
                  </a:lnTo>
                  <a:lnTo>
                    <a:pt x="103" y="11"/>
                  </a:lnTo>
                  <a:lnTo>
                    <a:pt x="103" y="8"/>
                  </a:lnTo>
                  <a:lnTo>
                    <a:pt x="103" y="8"/>
                  </a:lnTo>
                  <a:lnTo>
                    <a:pt x="100" y="6"/>
                  </a:lnTo>
                  <a:lnTo>
                    <a:pt x="100" y="6"/>
                  </a:lnTo>
                  <a:lnTo>
                    <a:pt x="95" y="3"/>
                  </a:lnTo>
                  <a:lnTo>
                    <a:pt x="95" y="3"/>
                  </a:lnTo>
                  <a:lnTo>
                    <a:pt x="94" y="3"/>
                  </a:lnTo>
                  <a:lnTo>
                    <a:pt x="94" y="3"/>
                  </a:lnTo>
                  <a:lnTo>
                    <a:pt x="90" y="3"/>
                  </a:lnTo>
                  <a:lnTo>
                    <a:pt x="90" y="3"/>
                  </a:lnTo>
                  <a:lnTo>
                    <a:pt x="86" y="8"/>
                  </a:lnTo>
                  <a:lnTo>
                    <a:pt x="86" y="8"/>
                  </a:lnTo>
                  <a:lnTo>
                    <a:pt x="82" y="13"/>
                  </a:lnTo>
                  <a:lnTo>
                    <a:pt x="82" y="13"/>
                  </a:lnTo>
                  <a:lnTo>
                    <a:pt x="82" y="14"/>
                  </a:lnTo>
                  <a:lnTo>
                    <a:pt x="82" y="14"/>
                  </a:lnTo>
                  <a:lnTo>
                    <a:pt x="81" y="14"/>
                  </a:lnTo>
                  <a:lnTo>
                    <a:pt x="81" y="14"/>
                  </a:lnTo>
                  <a:lnTo>
                    <a:pt x="81" y="17"/>
                  </a:lnTo>
                  <a:lnTo>
                    <a:pt x="81" y="17"/>
                  </a:lnTo>
                  <a:lnTo>
                    <a:pt x="81" y="19"/>
                  </a:lnTo>
                  <a:lnTo>
                    <a:pt x="81" y="19"/>
                  </a:lnTo>
                  <a:lnTo>
                    <a:pt x="81" y="27"/>
                  </a:lnTo>
                  <a:lnTo>
                    <a:pt x="81" y="27"/>
                  </a:lnTo>
                  <a:lnTo>
                    <a:pt x="81" y="28"/>
                  </a:lnTo>
                  <a:lnTo>
                    <a:pt x="81" y="28"/>
                  </a:lnTo>
                  <a:lnTo>
                    <a:pt x="79" y="35"/>
                  </a:lnTo>
                  <a:lnTo>
                    <a:pt x="79" y="35"/>
                  </a:lnTo>
                  <a:lnTo>
                    <a:pt x="76" y="41"/>
                  </a:lnTo>
                  <a:lnTo>
                    <a:pt x="76" y="41"/>
                  </a:lnTo>
                  <a:lnTo>
                    <a:pt x="74" y="46"/>
                  </a:lnTo>
                  <a:lnTo>
                    <a:pt x="74" y="46"/>
                  </a:lnTo>
                  <a:lnTo>
                    <a:pt x="74" y="52"/>
                  </a:lnTo>
                  <a:lnTo>
                    <a:pt x="74" y="52"/>
                  </a:lnTo>
                  <a:lnTo>
                    <a:pt x="73" y="59"/>
                  </a:lnTo>
                  <a:lnTo>
                    <a:pt x="73" y="59"/>
                  </a:lnTo>
                  <a:lnTo>
                    <a:pt x="71" y="65"/>
                  </a:lnTo>
                  <a:lnTo>
                    <a:pt x="71" y="65"/>
                  </a:lnTo>
                  <a:lnTo>
                    <a:pt x="71" y="70"/>
                  </a:lnTo>
                  <a:lnTo>
                    <a:pt x="71" y="70"/>
                  </a:lnTo>
                  <a:lnTo>
                    <a:pt x="71" y="76"/>
                  </a:lnTo>
                  <a:lnTo>
                    <a:pt x="71" y="76"/>
                  </a:lnTo>
                  <a:lnTo>
                    <a:pt x="71" y="82"/>
                  </a:lnTo>
                  <a:lnTo>
                    <a:pt x="71" y="82"/>
                  </a:lnTo>
                  <a:lnTo>
                    <a:pt x="68" y="86"/>
                  </a:lnTo>
                  <a:lnTo>
                    <a:pt x="68" y="86"/>
                  </a:lnTo>
                  <a:lnTo>
                    <a:pt x="68" y="87"/>
                  </a:lnTo>
                  <a:lnTo>
                    <a:pt x="68" y="87"/>
                  </a:lnTo>
                  <a:lnTo>
                    <a:pt x="62" y="93"/>
                  </a:lnTo>
                  <a:lnTo>
                    <a:pt x="62" y="93"/>
                  </a:lnTo>
                  <a:lnTo>
                    <a:pt x="59" y="97"/>
                  </a:lnTo>
                  <a:lnTo>
                    <a:pt x="59" y="97"/>
                  </a:lnTo>
                  <a:lnTo>
                    <a:pt x="55" y="103"/>
                  </a:lnTo>
                  <a:lnTo>
                    <a:pt x="55" y="103"/>
                  </a:lnTo>
                  <a:lnTo>
                    <a:pt x="54" y="106"/>
                  </a:lnTo>
                  <a:lnTo>
                    <a:pt x="54" y="106"/>
                  </a:lnTo>
                  <a:lnTo>
                    <a:pt x="52" y="108"/>
                  </a:lnTo>
                  <a:lnTo>
                    <a:pt x="52" y="108"/>
                  </a:lnTo>
                  <a:lnTo>
                    <a:pt x="51" y="109"/>
                  </a:lnTo>
                  <a:lnTo>
                    <a:pt x="51" y="109"/>
                  </a:lnTo>
                  <a:lnTo>
                    <a:pt x="51" y="111"/>
                  </a:lnTo>
                  <a:lnTo>
                    <a:pt x="51" y="111"/>
                  </a:lnTo>
                  <a:lnTo>
                    <a:pt x="51" y="122"/>
                  </a:lnTo>
                  <a:lnTo>
                    <a:pt x="51" y="122"/>
                  </a:lnTo>
                  <a:lnTo>
                    <a:pt x="49" y="128"/>
                  </a:lnTo>
                  <a:lnTo>
                    <a:pt x="49" y="128"/>
                  </a:lnTo>
                  <a:lnTo>
                    <a:pt x="48" y="132"/>
                  </a:lnTo>
                  <a:lnTo>
                    <a:pt x="48" y="132"/>
                  </a:lnTo>
                  <a:lnTo>
                    <a:pt x="44" y="133"/>
                  </a:lnTo>
                  <a:lnTo>
                    <a:pt x="44" y="133"/>
                  </a:lnTo>
                  <a:lnTo>
                    <a:pt x="41" y="135"/>
                  </a:lnTo>
                  <a:lnTo>
                    <a:pt x="41" y="135"/>
                  </a:lnTo>
                  <a:lnTo>
                    <a:pt x="41" y="138"/>
                  </a:lnTo>
                  <a:lnTo>
                    <a:pt x="41" y="138"/>
                  </a:lnTo>
                  <a:lnTo>
                    <a:pt x="38" y="141"/>
                  </a:lnTo>
                  <a:lnTo>
                    <a:pt x="38" y="141"/>
                  </a:lnTo>
                  <a:lnTo>
                    <a:pt x="33" y="146"/>
                  </a:lnTo>
                  <a:lnTo>
                    <a:pt x="33" y="146"/>
                  </a:lnTo>
                  <a:lnTo>
                    <a:pt x="32" y="147"/>
                  </a:lnTo>
                  <a:lnTo>
                    <a:pt x="32" y="147"/>
                  </a:lnTo>
                  <a:lnTo>
                    <a:pt x="30" y="147"/>
                  </a:lnTo>
                  <a:lnTo>
                    <a:pt x="30" y="147"/>
                  </a:lnTo>
                  <a:lnTo>
                    <a:pt x="28" y="147"/>
                  </a:lnTo>
                  <a:lnTo>
                    <a:pt x="28" y="147"/>
                  </a:lnTo>
                  <a:lnTo>
                    <a:pt x="27" y="144"/>
                  </a:lnTo>
                  <a:lnTo>
                    <a:pt x="27" y="144"/>
                  </a:lnTo>
                  <a:lnTo>
                    <a:pt x="28" y="141"/>
                  </a:lnTo>
                  <a:lnTo>
                    <a:pt x="28" y="141"/>
                  </a:lnTo>
                  <a:lnTo>
                    <a:pt x="28" y="140"/>
                  </a:lnTo>
                  <a:lnTo>
                    <a:pt x="28" y="140"/>
                  </a:lnTo>
                  <a:lnTo>
                    <a:pt x="27" y="140"/>
                  </a:lnTo>
                  <a:lnTo>
                    <a:pt x="27" y="140"/>
                  </a:lnTo>
                  <a:lnTo>
                    <a:pt x="25" y="140"/>
                  </a:lnTo>
                  <a:lnTo>
                    <a:pt x="25" y="140"/>
                  </a:lnTo>
                  <a:lnTo>
                    <a:pt x="24" y="141"/>
                  </a:lnTo>
                  <a:lnTo>
                    <a:pt x="24" y="141"/>
                  </a:lnTo>
                  <a:lnTo>
                    <a:pt x="22" y="141"/>
                  </a:lnTo>
                  <a:lnTo>
                    <a:pt x="22" y="141"/>
                  </a:lnTo>
                  <a:lnTo>
                    <a:pt x="21" y="141"/>
                  </a:lnTo>
                  <a:lnTo>
                    <a:pt x="21" y="141"/>
                  </a:lnTo>
                  <a:lnTo>
                    <a:pt x="19" y="144"/>
                  </a:lnTo>
                  <a:lnTo>
                    <a:pt x="19" y="144"/>
                  </a:lnTo>
                  <a:lnTo>
                    <a:pt x="17" y="146"/>
                  </a:lnTo>
                  <a:lnTo>
                    <a:pt x="17" y="146"/>
                  </a:lnTo>
                  <a:lnTo>
                    <a:pt x="16" y="147"/>
                  </a:lnTo>
                  <a:lnTo>
                    <a:pt x="16" y="147"/>
                  </a:lnTo>
                  <a:lnTo>
                    <a:pt x="13" y="146"/>
                  </a:lnTo>
                  <a:lnTo>
                    <a:pt x="13" y="146"/>
                  </a:lnTo>
                  <a:lnTo>
                    <a:pt x="13" y="143"/>
                  </a:lnTo>
                  <a:lnTo>
                    <a:pt x="13" y="143"/>
                  </a:lnTo>
                  <a:lnTo>
                    <a:pt x="9" y="143"/>
                  </a:lnTo>
                  <a:lnTo>
                    <a:pt x="9" y="143"/>
                  </a:lnTo>
                  <a:lnTo>
                    <a:pt x="9" y="141"/>
                  </a:lnTo>
                  <a:lnTo>
                    <a:pt x="9" y="141"/>
                  </a:lnTo>
                  <a:lnTo>
                    <a:pt x="6" y="141"/>
                  </a:lnTo>
                  <a:lnTo>
                    <a:pt x="6" y="141"/>
                  </a:lnTo>
                  <a:lnTo>
                    <a:pt x="6" y="141"/>
                  </a:lnTo>
                  <a:lnTo>
                    <a:pt x="6" y="141"/>
                  </a:lnTo>
                  <a:lnTo>
                    <a:pt x="5" y="143"/>
                  </a:lnTo>
                  <a:lnTo>
                    <a:pt x="5" y="143"/>
                  </a:lnTo>
                  <a:lnTo>
                    <a:pt x="3" y="144"/>
                  </a:lnTo>
                  <a:lnTo>
                    <a:pt x="3" y="144"/>
                  </a:lnTo>
                  <a:lnTo>
                    <a:pt x="1" y="144"/>
                  </a:lnTo>
                  <a:lnTo>
                    <a:pt x="1" y="144"/>
                  </a:lnTo>
                  <a:lnTo>
                    <a:pt x="1" y="154"/>
                  </a:lnTo>
                  <a:lnTo>
                    <a:pt x="1" y="154"/>
                  </a:lnTo>
                  <a:lnTo>
                    <a:pt x="3" y="157"/>
                  </a:lnTo>
                  <a:lnTo>
                    <a:pt x="3" y="157"/>
                  </a:lnTo>
                  <a:lnTo>
                    <a:pt x="1" y="159"/>
                  </a:lnTo>
                  <a:lnTo>
                    <a:pt x="1" y="159"/>
                  </a:lnTo>
                  <a:lnTo>
                    <a:pt x="0" y="159"/>
                  </a:lnTo>
                  <a:lnTo>
                    <a:pt x="0" y="159"/>
                  </a:lnTo>
                  <a:lnTo>
                    <a:pt x="3" y="162"/>
                  </a:lnTo>
                  <a:lnTo>
                    <a:pt x="3" y="162"/>
                  </a:lnTo>
                  <a:lnTo>
                    <a:pt x="5" y="162"/>
                  </a:lnTo>
                  <a:lnTo>
                    <a:pt x="5" y="162"/>
                  </a:lnTo>
                  <a:lnTo>
                    <a:pt x="6" y="160"/>
                  </a:lnTo>
                  <a:lnTo>
                    <a:pt x="6" y="160"/>
                  </a:lnTo>
                  <a:lnTo>
                    <a:pt x="13" y="160"/>
                  </a:lnTo>
                  <a:lnTo>
                    <a:pt x="13" y="160"/>
                  </a:lnTo>
                  <a:lnTo>
                    <a:pt x="21" y="160"/>
                  </a:lnTo>
                  <a:lnTo>
                    <a:pt x="21" y="160"/>
                  </a:lnTo>
                  <a:lnTo>
                    <a:pt x="27" y="160"/>
                  </a:lnTo>
                  <a:lnTo>
                    <a:pt x="27" y="160"/>
                  </a:lnTo>
                  <a:lnTo>
                    <a:pt x="30" y="160"/>
                  </a:lnTo>
                  <a:lnTo>
                    <a:pt x="30" y="160"/>
                  </a:lnTo>
                  <a:lnTo>
                    <a:pt x="41" y="160"/>
                  </a:lnTo>
                  <a:lnTo>
                    <a:pt x="41" y="160"/>
                  </a:lnTo>
                  <a:lnTo>
                    <a:pt x="49" y="160"/>
                  </a:lnTo>
                  <a:lnTo>
                    <a:pt x="49" y="160"/>
                  </a:lnTo>
                  <a:lnTo>
                    <a:pt x="51" y="160"/>
                  </a:lnTo>
                  <a:lnTo>
                    <a:pt x="51" y="160"/>
                  </a:lnTo>
                  <a:lnTo>
                    <a:pt x="54" y="162"/>
                  </a:lnTo>
                  <a:lnTo>
                    <a:pt x="54" y="162"/>
                  </a:lnTo>
                  <a:lnTo>
                    <a:pt x="55" y="163"/>
                  </a:lnTo>
                  <a:lnTo>
                    <a:pt x="55" y="163"/>
                  </a:lnTo>
                  <a:lnTo>
                    <a:pt x="57" y="167"/>
                  </a:lnTo>
                  <a:lnTo>
                    <a:pt x="57" y="167"/>
                  </a:lnTo>
                  <a:lnTo>
                    <a:pt x="57" y="170"/>
                  </a:lnTo>
                  <a:lnTo>
                    <a:pt x="57" y="170"/>
                  </a:lnTo>
                  <a:lnTo>
                    <a:pt x="57" y="171"/>
                  </a:lnTo>
                  <a:lnTo>
                    <a:pt x="57" y="171"/>
                  </a:lnTo>
                  <a:lnTo>
                    <a:pt x="57" y="173"/>
                  </a:lnTo>
                  <a:lnTo>
                    <a:pt x="57" y="173"/>
                  </a:lnTo>
                  <a:lnTo>
                    <a:pt x="59" y="174"/>
                  </a:lnTo>
                  <a:lnTo>
                    <a:pt x="59" y="174"/>
                  </a:lnTo>
                  <a:lnTo>
                    <a:pt x="60" y="178"/>
                  </a:lnTo>
                  <a:lnTo>
                    <a:pt x="60" y="178"/>
                  </a:lnTo>
                  <a:lnTo>
                    <a:pt x="60" y="181"/>
                  </a:lnTo>
                  <a:lnTo>
                    <a:pt x="60" y="181"/>
                  </a:lnTo>
                  <a:lnTo>
                    <a:pt x="60" y="181"/>
                  </a:lnTo>
                  <a:lnTo>
                    <a:pt x="60" y="181"/>
                  </a:lnTo>
                  <a:lnTo>
                    <a:pt x="62" y="184"/>
                  </a:lnTo>
                  <a:lnTo>
                    <a:pt x="62" y="184"/>
                  </a:lnTo>
                  <a:lnTo>
                    <a:pt x="65" y="189"/>
                  </a:lnTo>
                  <a:lnTo>
                    <a:pt x="65" y="189"/>
                  </a:lnTo>
                  <a:lnTo>
                    <a:pt x="65" y="190"/>
                  </a:lnTo>
                  <a:lnTo>
                    <a:pt x="65" y="190"/>
                  </a:lnTo>
                  <a:lnTo>
                    <a:pt x="68" y="192"/>
                  </a:lnTo>
                  <a:lnTo>
                    <a:pt x="68" y="192"/>
                  </a:lnTo>
                  <a:lnTo>
                    <a:pt x="68" y="192"/>
                  </a:lnTo>
                  <a:lnTo>
                    <a:pt x="68" y="192"/>
                  </a:lnTo>
                  <a:lnTo>
                    <a:pt x="74" y="192"/>
                  </a:lnTo>
                  <a:lnTo>
                    <a:pt x="74" y="192"/>
                  </a:lnTo>
                  <a:lnTo>
                    <a:pt x="78" y="192"/>
                  </a:lnTo>
                  <a:lnTo>
                    <a:pt x="78" y="192"/>
                  </a:lnTo>
                  <a:lnTo>
                    <a:pt x="81" y="190"/>
                  </a:lnTo>
                  <a:lnTo>
                    <a:pt x="81" y="190"/>
                  </a:lnTo>
                  <a:lnTo>
                    <a:pt x="90" y="192"/>
                  </a:lnTo>
                  <a:lnTo>
                    <a:pt x="90" y="192"/>
                  </a:lnTo>
                  <a:lnTo>
                    <a:pt x="90" y="189"/>
                  </a:lnTo>
                  <a:lnTo>
                    <a:pt x="90" y="189"/>
                  </a:lnTo>
                  <a:lnTo>
                    <a:pt x="90" y="187"/>
                  </a:lnTo>
                  <a:lnTo>
                    <a:pt x="90" y="187"/>
                  </a:lnTo>
                  <a:lnTo>
                    <a:pt x="92" y="187"/>
                  </a:lnTo>
                  <a:lnTo>
                    <a:pt x="92" y="187"/>
                  </a:lnTo>
                  <a:lnTo>
                    <a:pt x="94" y="184"/>
                  </a:lnTo>
                  <a:lnTo>
                    <a:pt x="94" y="184"/>
                  </a:lnTo>
                  <a:lnTo>
                    <a:pt x="94" y="184"/>
                  </a:lnTo>
                  <a:lnTo>
                    <a:pt x="94" y="184"/>
                  </a:lnTo>
                  <a:lnTo>
                    <a:pt x="94" y="181"/>
                  </a:lnTo>
                  <a:lnTo>
                    <a:pt x="94" y="181"/>
                  </a:lnTo>
                  <a:lnTo>
                    <a:pt x="94" y="178"/>
                  </a:lnTo>
                  <a:lnTo>
                    <a:pt x="94" y="178"/>
                  </a:lnTo>
                  <a:lnTo>
                    <a:pt x="97" y="178"/>
                  </a:lnTo>
                  <a:lnTo>
                    <a:pt x="97" y="178"/>
                  </a:lnTo>
                  <a:lnTo>
                    <a:pt x="103" y="178"/>
                  </a:lnTo>
                  <a:lnTo>
                    <a:pt x="103" y="178"/>
                  </a:lnTo>
                  <a:lnTo>
                    <a:pt x="103" y="176"/>
                  </a:lnTo>
                  <a:lnTo>
                    <a:pt x="103" y="176"/>
                  </a:lnTo>
                  <a:lnTo>
                    <a:pt x="106" y="176"/>
                  </a:lnTo>
                  <a:lnTo>
                    <a:pt x="106" y="176"/>
                  </a:lnTo>
                  <a:lnTo>
                    <a:pt x="106" y="181"/>
                  </a:lnTo>
                  <a:lnTo>
                    <a:pt x="106" y="181"/>
                  </a:lnTo>
                  <a:lnTo>
                    <a:pt x="106" y="181"/>
                  </a:lnTo>
                  <a:lnTo>
                    <a:pt x="106" y="181"/>
                  </a:lnTo>
                  <a:lnTo>
                    <a:pt x="108" y="181"/>
                  </a:lnTo>
                  <a:lnTo>
                    <a:pt x="108" y="181"/>
                  </a:lnTo>
                  <a:lnTo>
                    <a:pt x="109" y="181"/>
                  </a:lnTo>
                  <a:lnTo>
                    <a:pt x="109" y="181"/>
                  </a:lnTo>
                  <a:lnTo>
                    <a:pt x="117" y="181"/>
                  </a:lnTo>
                  <a:lnTo>
                    <a:pt x="117" y="181"/>
                  </a:lnTo>
                  <a:lnTo>
                    <a:pt x="121" y="181"/>
                  </a:lnTo>
                  <a:lnTo>
                    <a:pt x="121" y="181"/>
                  </a:lnTo>
                  <a:lnTo>
                    <a:pt x="122" y="184"/>
                  </a:lnTo>
                  <a:lnTo>
                    <a:pt x="122" y="184"/>
                  </a:lnTo>
                  <a:lnTo>
                    <a:pt x="122" y="184"/>
                  </a:lnTo>
                  <a:lnTo>
                    <a:pt x="122" y="184"/>
                  </a:lnTo>
                  <a:lnTo>
                    <a:pt x="121" y="190"/>
                  </a:lnTo>
                  <a:lnTo>
                    <a:pt x="121" y="190"/>
                  </a:lnTo>
                  <a:lnTo>
                    <a:pt x="122" y="195"/>
                  </a:lnTo>
                  <a:lnTo>
                    <a:pt x="122" y="195"/>
                  </a:lnTo>
                  <a:lnTo>
                    <a:pt x="122" y="197"/>
                  </a:lnTo>
                  <a:lnTo>
                    <a:pt x="122" y="197"/>
                  </a:lnTo>
                  <a:lnTo>
                    <a:pt x="122" y="203"/>
                  </a:lnTo>
                  <a:lnTo>
                    <a:pt x="122" y="203"/>
                  </a:lnTo>
                  <a:lnTo>
                    <a:pt x="122" y="209"/>
                  </a:lnTo>
                  <a:lnTo>
                    <a:pt x="122" y="209"/>
                  </a:lnTo>
                  <a:lnTo>
                    <a:pt x="122" y="211"/>
                  </a:lnTo>
                  <a:lnTo>
                    <a:pt x="122" y="211"/>
                  </a:lnTo>
                  <a:lnTo>
                    <a:pt x="122" y="216"/>
                  </a:lnTo>
                  <a:lnTo>
                    <a:pt x="122" y="216"/>
                  </a:lnTo>
                  <a:lnTo>
                    <a:pt x="125" y="219"/>
                  </a:lnTo>
                  <a:lnTo>
                    <a:pt x="125" y="219"/>
                  </a:lnTo>
                  <a:lnTo>
                    <a:pt x="127" y="224"/>
                  </a:lnTo>
                  <a:lnTo>
                    <a:pt x="127" y="224"/>
                  </a:lnTo>
                  <a:lnTo>
                    <a:pt x="127" y="230"/>
                  </a:lnTo>
                  <a:lnTo>
                    <a:pt x="127" y="230"/>
                  </a:lnTo>
                  <a:lnTo>
                    <a:pt x="127" y="233"/>
                  </a:lnTo>
                  <a:lnTo>
                    <a:pt x="127" y="233"/>
                  </a:lnTo>
                  <a:lnTo>
                    <a:pt x="127" y="235"/>
                  </a:lnTo>
                  <a:lnTo>
                    <a:pt x="127" y="235"/>
                  </a:lnTo>
                  <a:lnTo>
                    <a:pt x="127" y="236"/>
                  </a:lnTo>
                  <a:lnTo>
                    <a:pt x="127" y="236"/>
                  </a:lnTo>
                  <a:lnTo>
                    <a:pt x="127" y="240"/>
                  </a:lnTo>
                  <a:lnTo>
                    <a:pt x="127" y="240"/>
                  </a:lnTo>
                  <a:lnTo>
                    <a:pt x="128" y="238"/>
                  </a:lnTo>
                  <a:lnTo>
                    <a:pt x="128" y="238"/>
                  </a:lnTo>
                  <a:lnTo>
                    <a:pt x="132" y="236"/>
                  </a:lnTo>
                  <a:lnTo>
                    <a:pt x="132" y="236"/>
                  </a:lnTo>
                  <a:lnTo>
                    <a:pt x="135" y="236"/>
                  </a:lnTo>
                  <a:lnTo>
                    <a:pt x="135" y="236"/>
                  </a:lnTo>
                  <a:lnTo>
                    <a:pt x="135" y="236"/>
                  </a:lnTo>
                  <a:lnTo>
                    <a:pt x="135" y="236"/>
                  </a:lnTo>
                  <a:lnTo>
                    <a:pt x="138" y="236"/>
                  </a:lnTo>
                  <a:lnTo>
                    <a:pt x="138" y="236"/>
                  </a:lnTo>
                  <a:lnTo>
                    <a:pt x="141" y="236"/>
                  </a:lnTo>
                  <a:lnTo>
                    <a:pt x="141" y="236"/>
                  </a:lnTo>
                  <a:lnTo>
                    <a:pt x="143" y="235"/>
                  </a:lnTo>
                  <a:lnTo>
                    <a:pt x="143" y="235"/>
                  </a:lnTo>
                  <a:lnTo>
                    <a:pt x="146" y="235"/>
                  </a:lnTo>
                  <a:lnTo>
                    <a:pt x="146" y="235"/>
                  </a:lnTo>
                  <a:lnTo>
                    <a:pt x="148" y="235"/>
                  </a:lnTo>
                  <a:lnTo>
                    <a:pt x="148" y="235"/>
                  </a:lnTo>
                  <a:lnTo>
                    <a:pt x="149" y="233"/>
                  </a:lnTo>
                  <a:lnTo>
                    <a:pt x="149" y="233"/>
                  </a:lnTo>
                  <a:lnTo>
                    <a:pt x="151" y="235"/>
                  </a:lnTo>
                  <a:lnTo>
                    <a:pt x="151" y="235"/>
                  </a:lnTo>
                  <a:lnTo>
                    <a:pt x="152" y="236"/>
                  </a:lnTo>
                  <a:lnTo>
                    <a:pt x="152" y="236"/>
                  </a:lnTo>
                  <a:lnTo>
                    <a:pt x="154" y="236"/>
                  </a:lnTo>
                  <a:lnTo>
                    <a:pt x="154" y="236"/>
                  </a:lnTo>
                  <a:lnTo>
                    <a:pt x="154" y="238"/>
                  </a:lnTo>
                  <a:lnTo>
                    <a:pt x="154" y="238"/>
                  </a:lnTo>
                  <a:lnTo>
                    <a:pt x="152" y="241"/>
                  </a:lnTo>
                  <a:lnTo>
                    <a:pt x="152" y="241"/>
                  </a:lnTo>
                  <a:lnTo>
                    <a:pt x="157" y="241"/>
                  </a:lnTo>
                  <a:lnTo>
                    <a:pt x="157" y="241"/>
                  </a:lnTo>
                  <a:lnTo>
                    <a:pt x="159" y="240"/>
                  </a:lnTo>
                  <a:lnTo>
                    <a:pt x="159" y="240"/>
                  </a:lnTo>
                  <a:lnTo>
                    <a:pt x="167" y="238"/>
                  </a:lnTo>
                  <a:lnTo>
                    <a:pt x="167" y="238"/>
                  </a:lnTo>
                  <a:lnTo>
                    <a:pt x="167" y="241"/>
                  </a:lnTo>
                  <a:lnTo>
                    <a:pt x="167" y="241"/>
                  </a:lnTo>
                  <a:lnTo>
                    <a:pt x="167" y="244"/>
                  </a:lnTo>
                  <a:lnTo>
                    <a:pt x="167" y="244"/>
                  </a:lnTo>
                  <a:lnTo>
                    <a:pt x="167" y="246"/>
                  </a:lnTo>
                  <a:lnTo>
                    <a:pt x="167" y="246"/>
                  </a:lnTo>
                  <a:lnTo>
                    <a:pt x="170" y="246"/>
                  </a:lnTo>
                  <a:lnTo>
                    <a:pt x="170" y="246"/>
                  </a:lnTo>
                  <a:lnTo>
                    <a:pt x="173" y="247"/>
                  </a:lnTo>
                  <a:lnTo>
                    <a:pt x="173" y="247"/>
                  </a:lnTo>
                  <a:lnTo>
                    <a:pt x="176" y="247"/>
                  </a:lnTo>
                  <a:lnTo>
                    <a:pt x="176" y="247"/>
                  </a:lnTo>
                  <a:lnTo>
                    <a:pt x="178" y="247"/>
                  </a:lnTo>
                  <a:lnTo>
                    <a:pt x="178" y="247"/>
                  </a:lnTo>
                  <a:lnTo>
                    <a:pt x="184" y="251"/>
                  </a:lnTo>
                  <a:lnTo>
                    <a:pt x="184" y="251"/>
                  </a:lnTo>
                  <a:lnTo>
                    <a:pt x="186" y="247"/>
                  </a:lnTo>
                  <a:lnTo>
                    <a:pt x="186" y="247"/>
                  </a:lnTo>
                  <a:lnTo>
                    <a:pt x="187" y="246"/>
                  </a:lnTo>
                  <a:lnTo>
                    <a:pt x="187" y="246"/>
                  </a:lnTo>
                  <a:lnTo>
                    <a:pt x="189" y="244"/>
                  </a:lnTo>
                  <a:lnTo>
                    <a:pt x="189" y="244"/>
                  </a:lnTo>
                  <a:lnTo>
                    <a:pt x="192" y="247"/>
                  </a:lnTo>
                  <a:lnTo>
                    <a:pt x="192" y="247"/>
                  </a:lnTo>
                  <a:lnTo>
                    <a:pt x="194" y="251"/>
                  </a:lnTo>
                  <a:lnTo>
                    <a:pt x="194" y="251"/>
                  </a:lnTo>
                  <a:lnTo>
                    <a:pt x="195" y="254"/>
                  </a:lnTo>
                  <a:lnTo>
                    <a:pt x="195" y="254"/>
                  </a:lnTo>
                  <a:lnTo>
                    <a:pt x="197" y="254"/>
                  </a:lnTo>
                  <a:lnTo>
                    <a:pt x="197" y="254"/>
                  </a:lnTo>
                  <a:lnTo>
                    <a:pt x="198" y="254"/>
                  </a:lnTo>
                  <a:lnTo>
                    <a:pt x="198" y="254"/>
                  </a:lnTo>
                  <a:lnTo>
                    <a:pt x="202" y="254"/>
                  </a:lnTo>
                  <a:lnTo>
                    <a:pt x="202" y="254"/>
                  </a:lnTo>
                  <a:lnTo>
                    <a:pt x="202" y="255"/>
                  </a:lnTo>
                  <a:lnTo>
                    <a:pt x="202" y="255"/>
                  </a:lnTo>
                  <a:lnTo>
                    <a:pt x="205" y="255"/>
                  </a:lnTo>
                  <a:lnTo>
                    <a:pt x="205" y="255"/>
                  </a:lnTo>
                  <a:lnTo>
                    <a:pt x="205" y="257"/>
                  </a:lnTo>
                  <a:lnTo>
                    <a:pt x="205" y="257"/>
                  </a:lnTo>
                  <a:lnTo>
                    <a:pt x="205" y="259"/>
                  </a:lnTo>
                  <a:lnTo>
                    <a:pt x="205" y="259"/>
                  </a:lnTo>
                  <a:lnTo>
                    <a:pt x="205" y="260"/>
                  </a:lnTo>
                  <a:lnTo>
                    <a:pt x="205" y="260"/>
                  </a:lnTo>
                  <a:lnTo>
                    <a:pt x="208" y="263"/>
                  </a:lnTo>
                  <a:lnTo>
                    <a:pt x="208" y="263"/>
                  </a:lnTo>
                  <a:lnTo>
                    <a:pt x="211" y="268"/>
                  </a:lnTo>
                  <a:lnTo>
                    <a:pt x="211" y="268"/>
                  </a:lnTo>
                  <a:lnTo>
                    <a:pt x="213" y="268"/>
                  </a:lnTo>
                  <a:lnTo>
                    <a:pt x="213" y="268"/>
                  </a:lnTo>
                  <a:lnTo>
                    <a:pt x="216" y="268"/>
                  </a:lnTo>
                  <a:lnTo>
                    <a:pt x="216" y="268"/>
                  </a:lnTo>
                  <a:lnTo>
                    <a:pt x="219" y="268"/>
                  </a:lnTo>
                  <a:lnTo>
                    <a:pt x="219" y="268"/>
                  </a:lnTo>
                  <a:lnTo>
                    <a:pt x="221" y="268"/>
                  </a:lnTo>
                  <a:lnTo>
                    <a:pt x="221" y="268"/>
                  </a:lnTo>
                  <a:lnTo>
                    <a:pt x="221" y="268"/>
                  </a:lnTo>
                  <a:lnTo>
                    <a:pt x="221" y="268"/>
                  </a:lnTo>
                  <a:lnTo>
                    <a:pt x="222" y="271"/>
                  </a:lnTo>
                  <a:lnTo>
                    <a:pt x="222" y="271"/>
                  </a:lnTo>
                  <a:lnTo>
                    <a:pt x="222" y="268"/>
                  </a:lnTo>
                  <a:lnTo>
                    <a:pt x="222" y="268"/>
                  </a:lnTo>
                  <a:lnTo>
                    <a:pt x="222" y="267"/>
                  </a:lnTo>
                  <a:lnTo>
                    <a:pt x="222" y="267"/>
                  </a:lnTo>
                  <a:lnTo>
                    <a:pt x="222" y="251"/>
                  </a:lnTo>
                  <a:lnTo>
                    <a:pt x="222" y="251"/>
                  </a:lnTo>
                  <a:lnTo>
                    <a:pt x="219" y="254"/>
                  </a:lnTo>
                  <a:lnTo>
                    <a:pt x="219" y="254"/>
                  </a:lnTo>
                  <a:lnTo>
                    <a:pt x="217" y="254"/>
                  </a:lnTo>
                  <a:lnTo>
                    <a:pt x="217" y="254"/>
                  </a:lnTo>
                  <a:lnTo>
                    <a:pt x="217" y="255"/>
                  </a:lnTo>
                  <a:lnTo>
                    <a:pt x="217" y="255"/>
                  </a:lnTo>
                  <a:lnTo>
                    <a:pt x="214" y="254"/>
                  </a:lnTo>
                  <a:lnTo>
                    <a:pt x="214" y="254"/>
                  </a:lnTo>
                  <a:lnTo>
                    <a:pt x="211" y="254"/>
                  </a:lnTo>
                  <a:lnTo>
                    <a:pt x="211" y="254"/>
                  </a:lnTo>
                  <a:lnTo>
                    <a:pt x="205" y="247"/>
                  </a:lnTo>
                  <a:lnTo>
                    <a:pt x="205" y="247"/>
                  </a:lnTo>
                  <a:lnTo>
                    <a:pt x="205" y="243"/>
                  </a:lnTo>
                  <a:lnTo>
                    <a:pt x="205" y="243"/>
                  </a:lnTo>
                  <a:lnTo>
                    <a:pt x="205" y="238"/>
                  </a:lnTo>
                  <a:lnTo>
                    <a:pt x="205" y="238"/>
                  </a:lnTo>
                  <a:lnTo>
                    <a:pt x="208" y="233"/>
                  </a:lnTo>
                  <a:lnTo>
                    <a:pt x="208" y="233"/>
                  </a:lnTo>
                  <a:lnTo>
                    <a:pt x="208" y="230"/>
                  </a:lnTo>
                  <a:lnTo>
                    <a:pt x="208" y="230"/>
                  </a:lnTo>
                  <a:lnTo>
                    <a:pt x="208" y="222"/>
                  </a:lnTo>
                  <a:lnTo>
                    <a:pt x="208" y="222"/>
                  </a:lnTo>
                  <a:lnTo>
                    <a:pt x="208" y="216"/>
                  </a:lnTo>
                  <a:lnTo>
                    <a:pt x="208" y="216"/>
                  </a:lnTo>
                  <a:lnTo>
                    <a:pt x="208" y="213"/>
                  </a:lnTo>
                  <a:lnTo>
                    <a:pt x="208" y="213"/>
                  </a:lnTo>
                  <a:lnTo>
                    <a:pt x="205" y="211"/>
                  </a:lnTo>
                  <a:lnTo>
                    <a:pt x="205" y="211"/>
                  </a:lnTo>
                  <a:lnTo>
                    <a:pt x="208" y="208"/>
                  </a:lnTo>
                  <a:lnTo>
                    <a:pt x="208" y="208"/>
                  </a:lnTo>
                  <a:lnTo>
                    <a:pt x="209" y="205"/>
                  </a:lnTo>
                  <a:lnTo>
                    <a:pt x="209" y="205"/>
                  </a:lnTo>
                  <a:lnTo>
                    <a:pt x="211" y="203"/>
                  </a:lnTo>
                  <a:lnTo>
                    <a:pt x="211" y="203"/>
                  </a:lnTo>
                  <a:lnTo>
                    <a:pt x="211" y="198"/>
                  </a:lnTo>
                  <a:lnTo>
                    <a:pt x="211" y="198"/>
                  </a:lnTo>
                  <a:lnTo>
                    <a:pt x="233" y="195"/>
                  </a:lnTo>
                  <a:lnTo>
                    <a:pt x="233" y="195"/>
                  </a:lnTo>
                  <a:lnTo>
                    <a:pt x="233" y="192"/>
                  </a:lnTo>
                  <a:lnTo>
                    <a:pt x="233" y="192"/>
                  </a:lnTo>
                  <a:lnTo>
                    <a:pt x="232" y="190"/>
                  </a:lnTo>
                  <a:lnTo>
                    <a:pt x="232" y="190"/>
                  </a:lnTo>
                  <a:lnTo>
                    <a:pt x="230" y="189"/>
                  </a:lnTo>
                  <a:lnTo>
                    <a:pt x="230" y="189"/>
                  </a:lnTo>
                  <a:lnTo>
                    <a:pt x="230" y="187"/>
                  </a:lnTo>
                  <a:lnTo>
                    <a:pt x="230" y="187"/>
                  </a:lnTo>
                  <a:lnTo>
                    <a:pt x="228" y="184"/>
                  </a:lnTo>
                  <a:lnTo>
                    <a:pt x="228" y="184"/>
                  </a:lnTo>
                  <a:lnTo>
                    <a:pt x="225" y="181"/>
                  </a:lnTo>
                  <a:lnTo>
                    <a:pt x="225" y="181"/>
                  </a:lnTo>
                  <a:lnTo>
                    <a:pt x="224" y="178"/>
                  </a:lnTo>
                  <a:lnTo>
                    <a:pt x="224" y="178"/>
                  </a:lnTo>
                  <a:lnTo>
                    <a:pt x="221" y="176"/>
                  </a:lnTo>
                  <a:lnTo>
                    <a:pt x="221" y="176"/>
                  </a:lnTo>
                  <a:lnTo>
                    <a:pt x="216" y="163"/>
                  </a:lnTo>
                  <a:lnTo>
                    <a:pt x="216" y="163"/>
                  </a:lnTo>
                  <a:lnTo>
                    <a:pt x="216" y="162"/>
                  </a:lnTo>
                  <a:lnTo>
                    <a:pt x="216" y="162"/>
                  </a:lnTo>
                  <a:lnTo>
                    <a:pt x="217" y="159"/>
                  </a:lnTo>
                  <a:lnTo>
                    <a:pt x="217" y="159"/>
                  </a:lnTo>
                  <a:lnTo>
                    <a:pt x="217" y="157"/>
                  </a:lnTo>
                  <a:lnTo>
                    <a:pt x="217" y="157"/>
                  </a:lnTo>
                  <a:lnTo>
                    <a:pt x="216" y="155"/>
                  </a:lnTo>
                  <a:lnTo>
                    <a:pt x="216" y="155"/>
                  </a:lnTo>
                  <a:lnTo>
                    <a:pt x="216" y="152"/>
                  </a:lnTo>
                  <a:lnTo>
                    <a:pt x="216" y="152"/>
                  </a:lnTo>
                  <a:lnTo>
                    <a:pt x="214" y="147"/>
                  </a:lnTo>
                  <a:lnTo>
                    <a:pt x="214" y="147"/>
                  </a:lnTo>
                  <a:lnTo>
                    <a:pt x="216" y="141"/>
                  </a:lnTo>
                  <a:lnTo>
                    <a:pt x="216" y="141"/>
                  </a:lnTo>
                  <a:lnTo>
                    <a:pt x="216" y="138"/>
                  </a:lnTo>
                  <a:lnTo>
                    <a:pt x="216" y="138"/>
                  </a:lnTo>
                  <a:lnTo>
                    <a:pt x="214" y="140"/>
                  </a:lnTo>
                  <a:lnTo>
                    <a:pt x="214" y="140"/>
                  </a:lnTo>
                  <a:lnTo>
                    <a:pt x="216" y="135"/>
                  </a:lnTo>
                  <a:lnTo>
                    <a:pt x="216" y="135"/>
                  </a:lnTo>
                  <a:lnTo>
                    <a:pt x="216" y="132"/>
                  </a:lnTo>
                  <a:lnTo>
                    <a:pt x="216" y="132"/>
                  </a:lnTo>
                  <a:lnTo>
                    <a:pt x="214" y="128"/>
                  </a:lnTo>
                  <a:lnTo>
                    <a:pt x="214" y="128"/>
                  </a:lnTo>
                  <a:lnTo>
                    <a:pt x="216" y="125"/>
                  </a:lnTo>
                  <a:lnTo>
                    <a:pt x="216" y="125"/>
                  </a:lnTo>
                  <a:lnTo>
                    <a:pt x="216" y="122"/>
                  </a:lnTo>
                  <a:lnTo>
                    <a:pt x="216" y="122"/>
                  </a:lnTo>
                  <a:lnTo>
                    <a:pt x="216" y="120"/>
                  </a:lnTo>
                  <a:lnTo>
                    <a:pt x="216" y="120"/>
                  </a:lnTo>
                  <a:lnTo>
                    <a:pt x="214" y="117"/>
                  </a:lnTo>
                  <a:lnTo>
                    <a:pt x="214" y="117"/>
                  </a:lnTo>
                  <a:lnTo>
                    <a:pt x="214" y="116"/>
                  </a:lnTo>
                  <a:lnTo>
                    <a:pt x="214" y="116"/>
                  </a:lnTo>
                  <a:lnTo>
                    <a:pt x="213" y="114"/>
                  </a:lnTo>
                  <a:lnTo>
                    <a:pt x="213" y="114"/>
                  </a:lnTo>
                  <a:lnTo>
                    <a:pt x="213" y="113"/>
                  </a:lnTo>
                  <a:lnTo>
                    <a:pt x="213" y="113"/>
                  </a:lnTo>
                  <a:lnTo>
                    <a:pt x="213" y="111"/>
                  </a:lnTo>
                  <a:lnTo>
                    <a:pt x="213" y="111"/>
                  </a:lnTo>
                  <a:lnTo>
                    <a:pt x="214" y="108"/>
                  </a:lnTo>
                  <a:lnTo>
                    <a:pt x="214" y="108"/>
                  </a:lnTo>
                  <a:lnTo>
                    <a:pt x="216" y="106"/>
                  </a:lnTo>
                  <a:lnTo>
                    <a:pt x="216" y="106"/>
                  </a:lnTo>
                  <a:lnTo>
                    <a:pt x="216" y="103"/>
                  </a:lnTo>
                  <a:lnTo>
                    <a:pt x="217" y="100"/>
                  </a:lnTo>
                  <a:lnTo>
                    <a:pt x="217" y="100"/>
                  </a:lnTo>
                  <a:lnTo>
                    <a:pt x="217" y="97"/>
                  </a:lnTo>
                  <a:lnTo>
                    <a:pt x="217" y="97"/>
                  </a:lnTo>
                  <a:lnTo>
                    <a:pt x="221" y="97"/>
                  </a:lnTo>
                  <a:lnTo>
                    <a:pt x="221" y="97"/>
                  </a:lnTo>
                  <a:lnTo>
                    <a:pt x="222" y="93"/>
                  </a:lnTo>
                  <a:lnTo>
                    <a:pt x="222" y="93"/>
                  </a:lnTo>
                  <a:lnTo>
                    <a:pt x="222" y="90"/>
                  </a:lnTo>
                  <a:lnTo>
                    <a:pt x="222" y="90"/>
                  </a:lnTo>
                  <a:lnTo>
                    <a:pt x="222" y="84"/>
                  </a:lnTo>
                  <a:lnTo>
                    <a:pt x="222" y="84"/>
                  </a:lnTo>
                  <a:lnTo>
                    <a:pt x="224" y="78"/>
                  </a:lnTo>
                  <a:lnTo>
                    <a:pt x="224" y="78"/>
                  </a:lnTo>
                  <a:lnTo>
                    <a:pt x="225" y="70"/>
                  </a:lnTo>
                  <a:lnTo>
                    <a:pt x="225" y="70"/>
                  </a:lnTo>
                  <a:lnTo>
                    <a:pt x="227" y="68"/>
                  </a:lnTo>
                  <a:lnTo>
                    <a:pt x="227" y="68"/>
                  </a:lnTo>
                  <a:lnTo>
                    <a:pt x="227" y="65"/>
                  </a:lnTo>
                  <a:lnTo>
                    <a:pt x="227" y="65"/>
                  </a:lnTo>
                  <a:lnTo>
                    <a:pt x="227" y="63"/>
                  </a:lnTo>
                  <a:lnTo>
                    <a:pt x="227" y="63"/>
                  </a:lnTo>
                  <a:lnTo>
                    <a:pt x="228" y="63"/>
                  </a:lnTo>
                  <a:lnTo>
                    <a:pt x="228" y="63"/>
                  </a:lnTo>
                  <a:lnTo>
                    <a:pt x="233" y="59"/>
                  </a:lnTo>
                  <a:lnTo>
                    <a:pt x="233" y="59"/>
                  </a:lnTo>
                  <a:lnTo>
                    <a:pt x="240" y="54"/>
                  </a:lnTo>
                  <a:lnTo>
                    <a:pt x="240" y="54"/>
                  </a:lnTo>
                  <a:lnTo>
                    <a:pt x="243" y="51"/>
                  </a:lnTo>
                  <a:lnTo>
                    <a:pt x="243" y="51"/>
                  </a:lnTo>
                  <a:lnTo>
                    <a:pt x="243" y="46"/>
                  </a:lnTo>
                  <a:lnTo>
                    <a:pt x="243" y="46"/>
                  </a:lnTo>
                  <a:lnTo>
                    <a:pt x="243" y="44"/>
                  </a:lnTo>
                  <a:lnTo>
                    <a:pt x="243" y="44"/>
                  </a:lnTo>
                  <a:lnTo>
                    <a:pt x="240" y="43"/>
                  </a:lnTo>
                  <a:lnTo>
                    <a:pt x="240" y="43"/>
                  </a:lnTo>
                  <a:lnTo>
                    <a:pt x="236" y="43"/>
                  </a:lnTo>
                  <a:lnTo>
                    <a:pt x="236" y="43"/>
                  </a:lnTo>
                  <a:lnTo>
                    <a:pt x="236" y="41"/>
                  </a:lnTo>
                  <a:lnTo>
                    <a:pt x="236" y="41"/>
                  </a:lnTo>
                  <a:lnTo>
                    <a:pt x="236" y="38"/>
                  </a:lnTo>
                  <a:lnTo>
                    <a:pt x="236" y="38"/>
                  </a:lnTo>
                  <a:lnTo>
                    <a:pt x="236" y="32"/>
                  </a:lnTo>
                  <a:lnTo>
                    <a:pt x="236" y="32"/>
                  </a:lnTo>
                  <a:lnTo>
                    <a:pt x="240" y="28"/>
                  </a:lnTo>
                  <a:lnTo>
                    <a:pt x="240" y="28"/>
                  </a:lnTo>
                  <a:lnTo>
                    <a:pt x="236" y="27"/>
                  </a:lnTo>
                  <a:lnTo>
                    <a:pt x="236" y="27"/>
                  </a:lnTo>
                  <a:lnTo>
                    <a:pt x="236" y="25"/>
                  </a:lnTo>
                  <a:lnTo>
                    <a:pt x="235" y="25"/>
                  </a:lnTo>
                  <a:lnTo>
                    <a:pt x="235" y="25"/>
                  </a:lnTo>
                  <a:lnTo>
                    <a:pt x="235" y="2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8" name="Freeform 130">
              <a:extLst>
                <a:ext uri="{FF2B5EF4-FFF2-40B4-BE49-F238E27FC236}">
                  <a16:creationId xmlns:a16="http://schemas.microsoft.com/office/drawing/2014/main" id="{6F6EB76F-7660-E7AF-4DB4-4ACB7B860BB6}"/>
                </a:ext>
              </a:extLst>
            </p:cNvPr>
            <p:cNvSpPr>
              <a:spLocks/>
            </p:cNvSpPr>
            <p:nvPr/>
          </p:nvSpPr>
          <p:spPr bwMode="auto">
            <a:xfrm>
              <a:off x="6614811" y="3892767"/>
              <a:ext cx="154772" cy="181689"/>
            </a:xfrm>
            <a:custGeom>
              <a:avLst/>
              <a:gdLst>
                <a:gd name="T0" fmla="*/ 15 w 69"/>
                <a:gd name="T1" fmla="*/ 20 h 81"/>
                <a:gd name="T2" fmla="*/ 15 w 69"/>
                <a:gd name="T3" fmla="*/ 27 h 81"/>
                <a:gd name="T4" fmla="*/ 20 w 69"/>
                <a:gd name="T5" fmla="*/ 28 h 81"/>
                <a:gd name="T6" fmla="*/ 20 w 69"/>
                <a:gd name="T7" fmla="*/ 35 h 81"/>
                <a:gd name="T8" fmla="*/ 11 w 69"/>
                <a:gd name="T9" fmla="*/ 43 h 81"/>
                <a:gd name="T10" fmla="*/ 4 w 69"/>
                <a:gd name="T11" fmla="*/ 47 h 81"/>
                <a:gd name="T12" fmla="*/ 4 w 69"/>
                <a:gd name="T13" fmla="*/ 52 h 81"/>
                <a:gd name="T14" fmla="*/ 1 w 69"/>
                <a:gd name="T15" fmla="*/ 62 h 81"/>
                <a:gd name="T16" fmla="*/ 1 w 69"/>
                <a:gd name="T17" fmla="*/ 74 h 81"/>
                <a:gd name="T18" fmla="*/ 0 w 69"/>
                <a:gd name="T19" fmla="*/ 81 h 81"/>
                <a:gd name="T20" fmla="*/ 1 w 69"/>
                <a:gd name="T21" fmla="*/ 81 h 81"/>
                <a:gd name="T22" fmla="*/ 3 w 69"/>
                <a:gd name="T23" fmla="*/ 81 h 81"/>
                <a:gd name="T24" fmla="*/ 7 w 69"/>
                <a:gd name="T25" fmla="*/ 77 h 81"/>
                <a:gd name="T26" fmla="*/ 11 w 69"/>
                <a:gd name="T27" fmla="*/ 77 h 81"/>
                <a:gd name="T28" fmla="*/ 12 w 69"/>
                <a:gd name="T29" fmla="*/ 74 h 81"/>
                <a:gd name="T30" fmla="*/ 27 w 69"/>
                <a:gd name="T31" fmla="*/ 74 h 81"/>
                <a:gd name="T32" fmla="*/ 28 w 69"/>
                <a:gd name="T33" fmla="*/ 74 h 81"/>
                <a:gd name="T34" fmla="*/ 28 w 69"/>
                <a:gd name="T35" fmla="*/ 68 h 81"/>
                <a:gd name="T36" fmla="*/ 28 w 69"/>
                <a:gd name="T37" fmla="*/ 63 h 81"/>
                <a:gd name="T38" fmla="*/ 31 w 69"/>
                <a:gd name="T39" fmla="*/ 62 h 81"/>
                <a:gd name="T40" fmla="*/ 36 w 69"/>
                <a:gd name="T41" fmla="*/ 60 h 81"/>
                <a:gd name="T42" fmla="*/ 38 w 69"/>
                <a:gd name="T43" fmla="*/ 58 h 81"/>
                <a:gd name="T44" fmla="*/ 42 w 69"/>
                <a:gd name="T45" fmla="*/ 58 h 81"/>
                <a:gd name="T46" fmla="*/ 46 w 69"/>
                <a:gd name="T47" fmla="*/ 57 h 81"/>
                <a:gd name="T48" fmla="*/ 46 w 69"/>
                <a:gd name="T49" fmla="*/ 54 h 81"/>
                <a:gd name="T50" fmla="*/ 49 w 69"/>
                <a:gd name="T51" fmla="*/ 55 h 81"/>
                <a:gd name="T52" fmla="*/ 50 w 69"/>
                <a:gd name="T53" fmla="*/ 57 h 81"/>
                <a:gd name="T54" fmla="*/ 52 w 69"/>
                <a:gd name="T55" fmla="*/ 57 h 81"/>
                <a:gd name="T56" fmla="*/ 55 w 69"/>
                <a:gd name="T57" fmla="*/ 58 h 81"/>
                <a:gd name="T58" fmla="*/ 60 w 69"/>
                <a:gd name="T59" fmla="*/ 49 h 81"/>
                <a:gd name="T60" fmla="*/ 63 w 69"/>
                <a:gd name="T61" fmla="*/ 46 h 81"/>
                <a:gd name="T62" fmla="*/ 66 w 69"/>
                <a:gd name="T63" fmla="*/ 43 h 81"/>
                <a:gd name="T64" fmla="*/ 68 w 69"/>
                <a:gd name="T65" fmla="*/ 36 h 81"/>
                <a:gd name="T66" fmla="*/ 68 w 69"/>
                <a:gd name="T67" fmla="*/ 30 h 81"/>
                <a:gd name="T68" fmla="*/ 66 w 69"/>
                <a:gd name="T69" fmla="*/ 20 h 81"/>
                <a:gd name="T70" fmla="*/ 60 w 69"/>
                <a:gd name="T71" fmla="*/ 14 h 81"/>
                <a:gd name="T72" fmla="*/ 60 w 69"/>
                <a:gd name="T73" fmla="*/ 8 h 81"/>
                <a:gd name="T74" fmla="*/ 57 w 69"/>
                <a:gd name="T75" fmla="*/ 4 h 81"/>
                <a:gd name="T76" fmla="*/ 57 w 69"/>
                <a:gd name="T77" fmla="*/ 1 h 81"/>
                <a:gd name="T78" fmla="*/ 54 w 69"/>
                <a:gd name="T79" fmla="*/ 3 h 81"/>
                <a:gd name="T80" fmla="*/ 49 w 69"/>
                <a:gd name="T81" fmla="*/ 8 h 81"/>
                <a:gd name="T82" fmla="*/ 47 w 69"/>
                <a:gd name="T83" fmla="*/ 6 h 81"/>
                <a:gd name="T84" fmla="*/ 44 w 69"/>
                <a:gd name="T85" fmla="*/ 4 h 81"/>
                <a:gd name="T86" fmla="*/ 41 w 69"/>
                <a:gd name="T87" fmla="*/ 4 h 81"/>
                <a:gd name="T88" fmla="*/ 34 w 69"/>
                <a:gd name="T89" fmla="*/ 8 h 81"/>
                <a:gd name="T90" fmla="*/ 31 w 69"/>
                <a:gd name="T91" fmla="*/ 11 h 81"/>
                <a:gd name="T92" fmla="*/ 28 w 69"/>
                <a:gd name="T93" fmla="*/ 8 h 81"/>
                <a:gd name="T94" fmla="*/ 25 w 69"/>
                <a:gd name="T95" fmla="*/ 8 h 81"/>
                <a:gd name="T96" fmla="*/ 22 w 69"/>
                <a:gd name="T97" fmla="*/ 8 h 81"/>
                <a:gd name="T98" fmla="*/ 20 w 69"/>
                <a:gd name="T99" fmla="*/ 6 h 81"/>
                <a:gd name="T100" fmla="*/ 17 w 69"/>
                <a:gd name="T101" fmla="*/ 8 h 81"/>
                <a:gd name="T102" fmla="*/ 17 w 69"/>
                <a:gd name="T103" fmla="*/ 11 h 81"/>
                <a:gd name="T104" fmla="*/ 15 w 69"/>
                <a:gd name="T105" fmla="*/ 16 h 81"/>
                <a:gd name="T106" fmla="*/ 15 w 69"/>
                <a:gd name="T107" fmla="*/ 16 h 81"/>
                <a:gd name="T108" fmla="*/ 15 w 69"/>
                <a:gd name="T109" fmla="*/ 16 h 81"/>
                <a:gd name="T110" fmla="*/ 15 w 69"/>
                <a:gd name="T111" fmla="*/ 1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81">
                  <a:moveTo>
                    <a:pt x="15" y="16"/>
                  </a:moveTo>
                  <a:lnTo>
                    <a:pt x="15" y="20"/>
                  </a:lnTo>
                  <a:lnTo>
                    <a:pt x="14" y="25"/>
                  </a:lnTo>
                  <a:lnTo>
                    <a:pt x="15" y="27"/>
                  </a:lnTo>
                  <a:lnTo>
                    <a:pt x="17" y="27"/>
                  </a:lnTo>
                  <a:lnTo>
                    <a:pt x="20" y="28"/>
                  </a:lnTo>
                  <a:lnTo>
                    <a:pt x="22" y="30"/>
                  </a:lnTo>
                  <a:lnTo>
                    <a:pt x="20" y="35"/>
                  </a:lnTo>
                  <a:lnTo>
                    <a:pt x="17" y="36"/>
                  </a:lnTo>
                  <a:lnTo>
                    <a:pt x="11" y="43"/>
                  </a:lnTo>
                  <a:lnTo>
                    <a:pt x="6" y="47"/>
                  </a:lnTo>
                  <a:lnTo>
                    <a:pt x="4" y="47"/>
                  </a:lnTo>
                  <a:lnTo>
                    <a:pt x="4" y="49"/>
                  </a:lnTo>
                  <a:lnTo>
                    <a:pt x="4" y="52"/>
                  </a:lnTo>
                  <a:lnTo>
                    <a:pt x="3" y="54"/>
                  </a:lnTo>
                  <a:lnTo>
                    <a:pt x="1" y="62"/>
                  </a:lnTo>
                  <a:lnTo>
                    <a:pt x="1" y="68"/>
                  </a:lnTo>
                  <a:lnTo>
                    <a:pt x="1" y="74"/>
                  </a:lnTo>
                  <a:lnTo>
                    <a:pt x="1" y="77"/>
                  </a:lnTo>
                  <a:lnTo>
                    <a:pt x="0" y="81"/>
                  </a:lnTo>
                  <a:lnTo>
                    <a:pt x="1" y="81"/>
                  </a:lnTo>
                  <a:lnTo>
                    <a:pt x="1" y="81"/>
                  </a:lnTo>
                  <a:lnTo>
                    <a:pt x="3" y="81"/>
                  </a:lnTo>
                  <a:lnTo>
                    <a:pt x="3" y="81"/>
                  </a:lnTo>
                  <a:lnTo>
                    <a:pt x="4" y="81"/>
                  </a:lnTo>
                  <a:lnTo>
                    <a:pt x="7" y="77"/>
                  </a:lnTo>
                  <a:lnTo>
                    <a:pt x="9" y="77"/>
                  </a:lnTo>
                  <a:lnTo>
                    <a:pt x="11" y="77"/>
                  </a:lnTo>
                  <a:lnTo>
                    <a:pt x="12" y="76"/>
                  </a:lnTo>
                  <a:lnTo>
                    <a:pt x="12" y="74"/>
                  </a:lnTo>
                  <a:lnTo>
                    <a:pt x="20" y="74"/>
                  </a:lnTo>
                  <a:lnTo>
                    <a:pt x="27" y="74"/>
                  </a:lnTo>
                  <a:lnTo>
                    <a:pt x="28" y="74"/>
                  </a:lnTo>
                  <a:lnTo>
                    <a:pt x="28" y="74"/>
                  </a:lnTo>
                  <a:lnTo>
                    <a:pt x="28" y="71"/>
                  </a:lnTo>
                  <a:lnTo>
                    <a:pt x="28" y="68"/>
                  </a:lnTo>
                  <a:lnTo>
                    <a:pt x="31" y="65"/>
                  </a:lnTo>
                  <a:lnTo>
                    <a:pt x="28" y="63"/>
                  </a:lnTo>
                  <a:lnTo>
                    <a:pt x="31" y="62"/>
                  </a:lnTo>
                  <a:lnTo>
                    <a:pt x="31" y="62"/>
                  </a:lnTo>
                  <a:lnTo>
                    <a:pt x="34" y="60"/>
                  </a:lnTo>
                  <a:lnTo>
                    <a:pt x="36" y="60"/>
                  </a:lnTo>
                  <a:lnTo>
                    <a:pt x="38" y="57"/>
                  </a:lnTo>
                  <a:lnTo>
                    <a:pt x="38" y="58"/>
                  </a:lnTo>
                  <a:lnTo>
                    <a:pt x="41" y="60"/>
                  </a:lnTo>
                  <a:lnTo>
                    <a:pt x="42" y="58"/>
                  </a:lnTo>
                  <a:lnTo>
                    <a:pt x="44" y="57"/>
                  </a:lnTo>
                  <a:lnTo>
                    <a:pt x="46" y="57"/>
                  </a:lnTo>
                  <a:lnTo>
                    <a:pt x="46" y="55"/>
                  </a:lnTo>
                  <a:lnTo>
                    <a:pt x="46" y="54"/>
                  </a:lnTo>
                  <a:lnTo>
                    <a:pt x="47" y="54"/>
                  </a:lnTo>
                  <a:lnTo>
                    <a:pt x="49" y="55"/>
                  </a:lnTo>
                  <a:lnTo>
                    <a:pt x="49" y="57"/>
                  </a:lnTo>
                  <a:lnTo>
                    <a:pt x="50" y="57"/>
                  </a:lnTo>
                  <a:lnTo>
                    <a:pt x="52" y="55"/>
                  </a:lnTo>
                  <a:lnTo>
                    <a:pt x="52" y="57"/>
                  </a:lnTo>
                  <a:lnTo>
                    <a:pt x="54" y="58"/>
                  </a:lnTo>
                  <a:lnTo>
                    <a:pt x="55" y="58"/>
                  </a:lnTo>
                  <a:lnTo>
                    <a:pt x="57" y="52"/>
                  </a:lnTo>
                  <a:lnTo>
                    <a:pt x="60" y="49"/>
                  </a:lnTo>
                  <a:lnTo>
                    <a:pt x="60" y="46"/>
                  </a:lnTo>
                  <a:lnTo>
                    <a:pt x="63" y="46"/>
                  </a:lnTo>
                  <a:lnTo>
                    <a:pt x="66" y="43"/>
                  </a:lnTo>
                  <a:lnTo>
                    <a:pt x="66" y="43"/>
                  </a:lnTo>
                  <a:lnTo>
                    <a:pt x="66" y="39"/>
                  </a:lnTo>
                  <a:lnTo>
                    <a:pt x="68" y="36"/>
                  </a:lnTo>
                  <a:lnTo>
                    <a:pt x="69" y="33"/>
                  </a:lnTo>
                  <a:lnTo>
                    <a:pt x="68" y="30"/>
                  </a:lnTo>
                  <a:lnTo>
                    <a:pt x="66" y="24"/>
                  </a:lnTo>
                  <a:lnTo>
                    <a:pt x="66" y="20"/>
                  </a:lnTo>
                  <a:lnTo>
                    <a:pt x="63" y="14"/>
                  </a:lnTo>
                  <a:lnTo>
                    <a:pt x="60" y="14"/>
                  </a:lnTo>
                  <a:lnTo>
                    <a:pt x="60" y="11"/>
                  </a:lnTo>
                  <a:lnTo>
                    <a:pt x="60" y="8"/>
                  </a:lnTo>
                  <a:lnTo>
                    <a:pt x="60" y="8"/>
                  </a:lnTo>
                  <a:lnTo>
                    <a:pt x="57" y="4"/>
                  </a:lnTo>
                  <a:lnTo>
                    <a:pt x="57" y="3"/>
                  </a:lnTo>
                  <a:lnTo>
                    <a:pt x="57" y="1"/>
                  </a:lnTo>
                  <a:lnTo>
                    <a:pt x="55" y="0"/>
                  </a:lnTo>
                  <a:lnTo>
                    <a:pt x="54" y="3"/>
                  </a:lnTo>
                  <a:lnTo>
                    <a:pt x="52" y="3"/>
                  </a:lnTo>
                  <a:lnTo>
                    <a:pt x="49" y="8"/>
                  </a:lnTo>
                  <a:lnTo>
                    <a:pt x="47" y="8"/>
                  </a:lnTo>
                  <a:lnTo>
                    <a:pt x="47" y="6"/>
                  </a:lnTo>
                  <a:lnTo>
                    <a:pt x="47" y="6"/>
                  </a:lnTo>
                  <a:lnTo>
                    <a:pt x="44" y="4"/>
                  </a:lnTo>
                  <a:lnTo>
                    <a:pt x="42" y="4"/>
                  </a:lnTo>
                  <a:lnTo>
                    <a:pt x="41" y="4"/>
                  </a:lnTo>
                  <a:lnTo>
                    <a:pt x="38" y="6"/>
                  </a:lnTo>
                  <a:lnTo>
                    <a:pt x="34" y="8"/>
                  </a:lnTo>
                  <a:lnTo>
                    <a:pt x="33" y="8"/>
                  </a:lnTo>
                  <a:lnTo>
                    <a:pt x="31" y="11"/>
                  </a:lnTo>
                  <a:lnTo>
                    <a:pt x="31" y="8"/>
                  </a:lnTo>
                  <a:lnTo>
                    <a:pt x="28" y="8"/>
                  </a:lnTo>
                  <a:lnTo>
                    <a:pt x="28" y="4"/>
                  </a:lnTo>
                  <a:lnTo>
                    <a:pt x="25" y="8"/>
                  </a:lnTo>
                  <a:lnTo>
                    <a:pt x="25" y="8"/>
                  </a:lnTo>
                  <a:lnTo>
                    <a:pt x="22" y="8"/>
                  </a:lnTo>
                  <a:lnTo>
                    <a:pt x="22" y="4"/>
                  </a:lnTo>
                  <a:lnTo>
                    <a:pt x="20" y="6"/>
                  </a:lnTo>
                  <a:lnTo>
                    <a:pt x="19" y="8"/>
                  </a:lnTo>
                  <a:lnTo>
                    <a:pt x="17" y="8"/>
                  </a:lnTo>
                  <a:lnTo>
                    <a:pt x="15" y="11"/>
                  </a:lnTo>
                  <a:lnTo>
                    <a:pt x="17" y="11"/>
                  </a:lnTo>
                  <a:lnTo>
                    <a:pt x="15" y="16"/>
                  </a:lnTo>
                  <a:lnTo>
                    <a:pt x="15" y="16"/>
                  </a:lnTo>
                  <a:lnTo>
                    <a:pt x="15" y="16"/>
                  </a:lnTo>
                  <a:lnTo>
                    <a:pt x="15" y="16"/>
                  </a:lnTo>
                  <a:lnTo>
                    <a:pt x="15" y="16"/>
                  </a:lnTo>
                  <a:lnTo>
                    <a:pt x="15" y="16"/>
                  </a:lnTo>
                  <a:lnTo>
                    <a:pt x="15" y="16"/>
                  </a:lnTo>
                  <a:lnTo>
                    <a:pt x="15" y="16"/>
                  </a:lnTo>
                  <a:lnTo>
                    <a:pt x="15" y="1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39" name="Freeform 132">
              <a:extLst>
                <a:ext uri="{FF2B5EF4-FFF2-40B4-BE49-F238E27FC236}">
                  <a16:creationId xmlns:a16="http://schemas.microsoft.com/office/drawing/2014/main" id="{79FD271B-B8C0-F62F-85B9-48893C0114CC}"/>
                </a:ext>
              </a:extLst>
            </p:cNvPr>
            <p:cNvSpPr>
              <a:spLocks/>
            </p:cNvSpPr>
            <p:nvPr/>
          </p:nvSpPr>
          <p:spPr bwMode="auto">
            <a:xfrm>
              <a:off x="6599109" y="4101373"/>
              <a:ext cx="49347" cy="71778"/>
            </a:xfrm>
            <a:custGeom>
              <a:avLst/>
              <a:gdLst>
                <a:gd name="T0" fmla="*/ 10 w 22"/>
                <a:gd name="T1" fmla="*/ 31 h 32"/>
                <a:gd name="T2" fmla="*/ 13 w 22"/>
                <a:gd name="T3" fmla="*/ 27 h 32"/>
                <a:gd name="T4" fmla="*/ 14 w 22"/>
                <a:gd name="T5" fmla="*/ 26 h 32"/>
                <a:gd name="T6" fmla="*/ 18 w 22"/>
                <a:gd name="T7" fmla="*/ 23 h 32"/>
                <a:gd name="T8" fmla="*/ 16 w 22"/>
                <a:gd name="T9" fmla="*/ 21 h 32"/>
                <a:gd name="T10" fmla="*/ 16 w 22"/>
                <a:gd name="T11" fmla="*/ 19 h 32"/>
                <a:gd name="T12" fmla="*/ 19 w 22"/>
                <a:gd name="T13" fmla="*/ 18 h 32"/>
                <a:gd name="T14" fmla="*/ 19 w 22"/>
                <a:gd name="T15" fmla="*/ 16 h 32"/>
                <a:gd name="T16" fmla="*/ 21 w 22"/>
                <a:gd name="T17" fmla="*/ 15 h 32"/>
                <a:gd name="T18" fmla="*/ 22 w 22"/>
                <a:gd name="T19" fmla="*/ 13 h 32"/>
                <a:gd name="T20" fmla="*/ 22 w 22"/>
                <a:gd name="T21" fmla="*/ 11 h 32"/>
                <a:gd name="T22" fmla="*/ 22 w 22"/>
                <a:gd name="T23" fmla="*/ 11 h 32"/>
                <a:gd name="T24" fmla="*/ 22 w 22"/>
                <a:gd name="T25" fmla="*/ 11 h 32"/>
                <a:gd name="T26" fmla="*/ 19 w 22"/>
                <a:gd name="T27" fmla="*/ 11 h 32"/>
                <a:gd name="T28" fmla="*/ 18 w 22"/>
                <a:gd name="T29" fmla="*/ 8 h 32"/>
                <a:gd name="T30" fmla="*/ 18 w 22"/>
                <a:gd name="T31" fmla="*/ 8 h 32"/>
                <a:gd name="T32" fmla="*/ 18 w 22"/>
                <a:gd name="T33" fmla="*/ 5 h 32"/>
                <a:gd name="T34" fmla="*/ 18 w 22"/>
                <a:gd name="T35" fmla="*/ 5 h 32"/>
                <a:gd name="T36" fmla="*/ 19 w 22"/>
                <a:gd name="T37" fmla="*/ 2 h 32"/>
                <a:gd name="T38" fmla="*/ 19 w 22"/>
                <a:gd name="T39" fmla="*/ 2 h 32"/>
                <a:gd name="T40" fmla="*/ 18 w 22"/>
                <a:gd name="T41" fmla="*/ 2 h 32"/>
                <a:gd name="T42" fmla="*/ 16 w 22"/>
                <a:gd name="T43" fmla="*/ 2 h 32"/>
                <a:gd name="T44" fmla="*/ 14 w 22"/>
                <a:gd name="T45" fmla="*/ 2 h 32"/>
                <a:gd name="T46" fmla="*/ 13 w 22"/>
                <a:gd name="T47" fmla="*/ 2 h 32"/>
                <a:gd name="T48" fmla="*/ 10 w 22"/>
                <a:gd name="T49" fmla="*/ 0 h 32"/>
                <a:gd name="T50" fmla="*/ 10 w 22"/>
                <a:gd name="T51" fmla="*/ 5 h 32"/>
                <a:gd name="T52" fmla="*/ 8 w 22"/>
                <a:gd name="T53" fmla="*/ 5 h 32"/>
                <a:gd name="T54" fmla="*/ 8 w 22"/>
                <a:gd name="T55" fmla="*/ 8 h 32"/>
                <a:gd name="T56" fmla="*/ 5 w 22"/>
                <a:gd name="T57" fmla="*/ 8 h 32"/>
                <a:gd name="T58" fmla="*/ 3 w 22"/>
                <a:gd name="T59" fmla="*/ 5 h 32"/>
                <a:gd name="T60" fmla="*/ 2 w 22"/>
                <a:gd name="T61" fmla="*/ 5 h 32"/>
                <a:gd name="T62" fmla="*/ 0 w 22"/>
                <a:gd name="T63" fmla="*/ 7 h 32"/>
                <a:gd name="T64" fmla="*/ 0 w 22"/>
                <a:gd name="T65" fmla="*/ 8 h 32"/>
                <a:gd name="T66" fmla="*/ 2 w 22"/>
                <a:gd name="T67" fmla="*/ 11 h 32"/>
                <a:gd name="T68" fmla="*/ 3 w 22"/>
                <a:gd name="T69" fmla="*/ 13 h 32"/>
                <a:gd name="T70" fmla="*/ 2 w 22"/>
                <a:gd name="T71" fmla="*/ 15 h 32"/>
                <a:gd name="T72" fmla="*/ 3 w 22"/>
                <a:gd name="T73" fmla="*/ 18 h 32"/>
                <a:gd name="T74" fmla="*/ 3 w 22"/>
                <a:gd name="T75" fmla="*/ 23 h 32"/>
                <a:gd name="T76" fmla="*/ 8 w 22"/>
                <a:gd name="T77" fmla="*/ 32 h 32"/>
                <a:gd name="T78" fmla="*/ 10 w 22"/>
                <a:gd name="T79" fmla="*/ 31 h 32"/>
                <a:gd name="T80" fmla="*/ 10 w 22"/>
                <a:gd name="T81" fmla="*/ 31 h 32"/>
                <a:gd name="T82" fmla="*/ 10 w 22"/>
                <a:gd name="T83" fmla="*/ 31 h 32"/>
                <a:gd name="T84" fmla="*/ 10 w 22"/>
                <a:gd name="T85" fmla="*/ 31 h 32"/>
                <a:gd name="T86" fmla="*/ 10 w 22"/>
                <a:gd name="T87" fmla="*/ 31 h 32"/>
                <a:gd name="T88" fmla="*/ 10 w 22"/>
                <a:gd name="T89" fmla="*/ 31 h 32"/>
                <a:gd name="T90" fmla="*/ 10 w 22"/>
                <a:gd name="T91" fmla="*/ 31 h 32"/>
                <a:gd name="T92" fmla="*/ 10 w 22"/>
                <a:gd name="T93" fmla="*/ 31 h 32"/>
                <a:gd name="T94" fmla="*/ 10 w 22"/>
                <a:gd name="T95" fmla="*/ 31 h 32"/>
                <a:gd name="T96" fmla="*/ 10 w 22"/>
                <a:gd name="T9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2">
                  <a:moveTo>
                    <a:pt x="10" y="31"/>
                  </a:moveTo>
                  <a:lnTo>
                    <a:pt x="13" y="27"/>
                  </a:lnTo>
                  <a:lnTo>
                    <a:pt x="14" y="26"/>
                  </a:lnTo>
                  <a:lnTo>
                    <a:pt x="18" y="23"/>
                  </a:lnTo>
                  <a:lnTo>
                    <a:pt x="16" y="21"/>
                  </a:lnTo>
                  <a:lnTo>
                    <a:pt x="16" y="19"/>
                  </a:lnTo>
                  <a:lnTo>
                    <a:pt x="19" y="18"/>
                  </a:lnTo>
                  <a:lnTo>
                    <a:pt x="19" y="16"/>
                  </a:lnTo>
                  <a:lnTo>
                    <a:pt x="21" y="15"/>
                  </a:lnTo>
                  <a:lnTo>
                    <a:pt x="22" y="13"/>
                  </a:lnTo>
                  <a:lnTo>
                    <a:pt x="22" y="11"/>
                  </a:lnTo>
                  <a:lnTo>
                    <a:pt x="22" y="11"/>
                  </a:lnTo>
                  <a:lnTo>
                    <a:pt x="22" y="11"/>
                  </a:lnTo>
                  <a:lnTo>
                    <a:pt x="19" y="11"/>
                  </a:lnTo>
                  <a:lnTo>
                    <a:pt x="18" y="8"/>
                  </a:lnTo>
                  <a:lnTo>
                    <a:pt x="18" y="8"/>
                  </a:lnTo>
                  <a:lnTo>
                    <a:pt x="18" y="5"/>
                  </a:lnTo>
                  <a:lnTo>
                    <a:pt x="18" y="5"/>
                  </a:lnTo>
                  <a:lnTo>
                    <a:pt x="19" y="2"/>
                  </a:lnTo>
                  <a:lnTo>
                    <a:pt x="19" y="2"/>
                  </a:lnTo>
                  <a:lnTo>
                    <a:pt x="18" y="2"/>
                  </a:lnTo>
                  <a:lnTo>
                    <a:pt x="16" y="2"/>
                  </a:lnTo>
                  <a:lnTo>
                    <a:pt x="14" y="2"/>
                  </a:lnTo>
                  <a:lnTo>
                    <a:pt x="13" y="2"/>
                  </a:lnTo>
                  <a:lnTo>
                    <a:pt x="10" y="0"/>
                  </a:lnTo>
                  <a:lnTo>
                    <a:pt x="10" y="5"/>
                  </a:lnTo>
                  <a:lnTo>
                    <a:pt x="8" y="5"/>
                  </a:lnTo>
                  <a:lnTo>
                    <a:pt x="8" y="8"/>
                  </a:lnTo>
                  <a:lnTo>
                    <a:pt x="5" y="8"/>
                  </a:lnTo>
                  <a:lnTo>
                    <a:pt x="3" y="5"/>
                  </a:lnTo>
                  <a:lnTo>
                    <a:pt x="2" y="5"/>
                  </a:lnTo>
                  <a:lnTo>
                    <a:pt x="0" y="7"/>
                  </a:lnTo>
                  <a:lnTo>
                    <a:pt x="0" y="8"/>
                  </a:lnTo>
                  <a:lnTo>
                    <a:pt x="2" y="11"/>
                  </a:lnTo>
                  <a:lnTo>
                    <a:pt x="3" y="13"/>
                  </a:lnTo>
                  <a:lnTo>
                    <a:pt x="2" y="15"/>
                  </a:lnTo>
                  <a:lnTo>
                    <a:pt x="3" y="18"/>
                  </a:lnTo>
                  <a:lnTo>
                    <a:pt x="3" y="23"/>
                  </a:lnTo>
                  <a:lnTo>
                    <a:pt x="8" y="32"/>
                  </a:lnTo>
                  <a:lnTo>
                    <a:pt x="10" y="31"/>
                  </a:lnTo>
                  <a:lnTo>
                    <a:pt x="10" y="31"/>
                  </a:lnTo>
                  <a:lnTo>
                    <a:pt x="10" y="31"/>
                  </a:lnTo>
                  <a:lnTo>
                    <a:pt x="10" y="31"/>
                  </a:lnTo>
                  <a:lnTo>
                    <a:pt x="10" y="31"/>
                  </a:lnTo>
                  <a:lnTo>
                    <a:pt x="10" y="31"/>
                  </a:lnTo>
                  <a:lnTo>
                    <a:pt x="10" y="31"/>
                  </a:lnTo>
                  <a:lnTo>
                    <a:pt x="10" y="31"/>
                  </a:lnTo>
                  <a:lnTo>
                    <a:pt x="10" y="31"/>
                  </a:lnTo>
                  <a:lnTo>
                    <a:pt x="10" y="3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0" name="Freeform 134">
              <a:extLst>
                <a:ext uri="{FF2B5EF4-FFF2-40B4-BE49-F238E27FC236}">
                  <a16:creationId xmlns:a16="http://schemas.microsoft.com/office/drawing/2014/main" id="{8FA410E5-7909-C235-EB29-3E6D43635444}"/>
                </a:ext>
              </a:extLst>
            </p:cNvPr>
            <p:cNvSpPr>
              <a:spLocks/>
            </p:cNvSpPr>
            <p:nvPr/>
          </p:nvSpPr>
          <p:spPr bwMode="auto">
            <a:xfrm>
              <a:off x="6596866" y="4065484"/>
              <a:ext cx="51591" cy="53834"/>
            </a:xfrm>
            <a:custGeom>
              <a:avLst/>
              <a:gdLst>
                <a:gd name="T0" fmla="*/ 15 w 23"/>
                <a:gd name="T1" fmla="*/ 2 h 24"/>
                <a:gd name="T2" fmla="*/ 12 w 23"/>
                <a:gd name="T3" fmla="*/ 5 h 24"/>
                <a:gd name="T4" fmla="*/ 12 w 23"/>
                <a:gd name="T5" fmla="*/ 5 h 24"/>
                <a:gd name="T6" fmla="*/ 12 w 23"/>
                <a:gd name="T7" fmla="*/ 4 h 24"/>
                <a:gd name="T8" fmla="*/ 9 w 23"/>
                <a:gd name="T9" fmla="*/ 4 h 24"/>
                <a:gd name="T10" fmla="*/ 9 w 23"/>
                <a:gd name="T11" fmla="*/ 4 h 24"/>
                <a:gd name="T12" fmla="*/ 8 w 23"/>
                <a:gd name="T13" fmla="*/ 4 h 24"/>
                <a:gd name="T14" fmla="*/ 4 w 23"/>
                <a:gd name="T15" fmla="*/ 5 h 24"/>
                <a:gd name="T16" fmla="*/ 4 w 23"/>
                <a:gd name="T17" fmla="*/ 7 h 24"/>
                <a:gd name="T18" fmla="*/ 3 w 23"/>
                <a:gd name="T19" fmla="*/ 10 h 24"/>
                <a:gd name="T20" fmla="*/ 3 w 23"/>
                <a:gd name="T21" fmla="*/ 13 h 24"/>
                <a:gd name="T22" fmla="*/ 1 w 23"/>
                <a:gd name="T23" fmla="*/ 15 h 24"/>
                <a:gd name="T24" fmla="*/ 0 w 23"/>
                <a:gd name="T25" fmla="*/ 18 h 24"/>
                <a:gd name="T26" fmla="*/ 0 w 23"/>
                <a:gd name="T27" fmla="*/ 20 h 24"/>
                <a:gd name="T28" fmla="*/ 0 w 23"/>
                <a:gd name="T29" fmla="*/ 21 h 24"/>
                <a:gd name="T30" fmla="*/ 1 w 23"/>
                <a:gd name="T31" fmla="*/ 23 h 24"/>
                <a:gd name="T32" fmla="*/ 3 w 23"/>
                <a:gd name="T33" fmla="*/ 21 h 24"/>
                <a:gd name="T34" fmla="*/ 4 w 23"/>
                <a:gd name="T35" fmla="*/ 23 h 24"/>
                <a:gd name="T36" fmla="*/ 6 w 23"/>
                <a:gd name="T37" fmla="*/ 24 h 24"/>
                <a:gd name="T38" fmla="*/ 9 w 23"/>
                <a:gd name="T39" fmla="*/ 24 h 24"/>
                <a:gd name="T40" fmla="*/ 9 w 23"/>
                <a:gd name="T41" fmla="*/ 23 h 24"/>
                <a:gd name="T42" fmla="*/ 12 w 23"/>
                <a:gd name="T43" fmla="*/ 21 h 24"/>
                <a:gd name="T44" fmla="*/ 12 w 23"/>
                <a:gd name="T45" fmla="*/ 16 h 24"/>
                <a:gd name="T46" fmla="*/ 15 w 23"/>
                <a:gd name="T47" fmla="*/ 18 h 24"/>
                <a:gd name="T48" fmla="*/ 15 w 23"/>
                <a:gd name="T49" fmla="*/ 18 h 24"/>
                <a:gd name="T50" fmla="*/ 19 w 23"/>
                <a:gd name="T51" fmla="*/ 18 h 24"/>
                <a:gd name="T52" fmla="*/ 19 w 23"/>
                <a:gd name="T53" fmla="*/ 18 h 24"/>
                <a:gd name="T54" fmla="*/ 20 w 23"/>
                <a:gd name="T55" fmla="*/ 18 h 24"/>
                <a:gd name="T56" fmla="*/ 20 w 23"/>
                <a:gd name="T57" fmla="*/ 20 h 24"/>
                <a:gd name="T58" fmla="*/ 22 w 23"/>
                <a:gd name="T59" fmla="*/ 18 h 24"/>
                <a:gd name="T60" fmla="*/ 23 w 23"/>
                <a:gd name="T61" fmla="*/ 16 h 24"/>
                <a:gd name="T62" fmla="*/ 23 w 23"/>
                <a:gd name="T63" fmla="*/ 15 h 24"/>
                <a:gd name="T64" fmla="*/ 23 w 23"/>
                <a:gd name="T65" fmla="*/ 12 h 24"/>
                <a:gd name="T66" fmla="*/ 23 w 23"/>
                <a:gd name="T67" fmla="*/ 10 h 24"/>
                <a:gd name="T68" fmla="*/ 22 w 23"/>
                <a:gd name="T69" fmla="*/ 5 h 24"/>
                <a:gd name="T70" fmla="*/ 20 w 23"/>
                <a:gd name="T71" fmla="*/ 4 h 24"/>
                <a:gd name="T72" fmla="*/ 19 w 23"/>
                <a:gd name="T73" fmla="*/ 2 h 24"/>
                <a:gd name="T74" fmla="*/ 19 w 23"/>
                <a:gd name="T75" fmla="*/ 0 h 24"/>
                <a:gd name="T76" fmla="*/ 19 w 23"/>
                <a:gd name="T77" fmla="*/ 0 h 24"/>
                <a:gd name="T78" fmla="*/ 15 w 23"/>
                <a:gd name="T79" fmla="*/ 2 h 24"/>
                <a:gd name="T80" fmla="*/ 15 w 23"/>
                <a:gd name="T81"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24">
                  <a:moveTo>
                    <a:pt x="15" y="2"/>
                  </a:moveTo>
                  <a:lnTo>
                    <a:pt x="15" y="2"/>
                  </a:lnTo>
                  <a:lnTo>
                    <a:pt x="12" y="5"/>
                  </a:lnTo>
                  <a:lnTo>
                    <a:pt x="12" y="5"/>
                  </a:lnTo>
                  <a:lnTo>
                    <a:pt x="12" y="5"/>
                  </a:lnTo>
                  <a:lnTo>
                    <a:pt x="12" y="5"/>
                  </a:lnTo>
                  <a:lnTo>
                    <a:pt x="12" y="4"/>
                  </a:lnTo>
                  <a:lnTo>
                    <a:pt x="12" y="4"/>
                  </a:lnTo>
                  <a:lnTo>
                    <a:pt x="9" y="4"/>
                  </a:lnTo>
                  <a:lnTo>
                    <a:pt x="9" y="4"/>
                  </a:lnTo>
                  <a:lnTo>
                    <a:pt x="9" y="4"/>
                  </a:lnTo>
                  <a:lnTo>
                    <a:pt x="9" y="4"/>
                  </a:lnTo>
                  <a:lnTo>
                    <a:pt x="9" y="4"/>
                  </a:lnTo>
                  <a:lnTo>
                    <a:pt x="8" y="4"/>
                  </a:lnTo>
                  <a:lnTo>
                    <a:pt x="8" y="4"/>
                  </a:lnTo>
                  <a:lnTo>
                    <a:pt x="4" y="5"/>
                  </a:lnTo>
                  <a:lnTo>
                    <a:pt x="4" y="5"/>
                  </a:lnTo>
                  <a:lnTo>
                    <a:pt x="4" y="7"/>
                  </a:lnTo>
                  <a:lnTo>
                    <a:pt x="4" y="7"/>
                  </a:lnTo>
                  <a:lnTo>
                    <a:pt x="3" y="10"/>
                  </a:lnTo>
                  <a:lnTo>
                    <a:pt x="3" y="13"/>
                  </a:lnTo>
                  <a:lnTo>
                    <a:pt x="3" y="13"/>
                  </a:lnTo>
                  <a:lnTo>
                    <a:pt x="3" y="13"/>
                  </a:lnTo>
                  <a:lnTo>
                    <a:pt x="1" y="15"/>
                  </a:lnTo>
                  <a:lnTo>
                    <a:pt x="1" y="15"/>
                  </a:lnTo>
                  <a:lnTo>
                    <a:pt x="0" y="18"/>
                  </a:lnTo>
                  <a:lnTo>
                    <a:pt x="0" y="18"/>
                  </a:lnTo>
                  <a:lnTo>
                    <a:pt x="0" y="20"/>
                  </a:lnTo>
                  <a:lnTo>
                    <a:pt x="0" y="20"/>
                  </a:lnTo>
                  <a:lnTo>
                    <a:pt x="0" y="21"/>
                  </a:lnTo>
                  <a:lnTo>
                    <a:pt x="0" y="21"/>
                  </a:lnTo>
                  <a:lnTo>
                    <a:pt x="1" y="23"/>
                  </a:lnTo>
                  <a:lnTo>
                    <a:pt x="1" y="23"/>
                  </a:lnTo>
                  <a:lnTo>
                    <a:pt x="3" y="21"/>
                  </a:lnTo>
                  <a:lnTo>
                    <a:pt x="3" y="21"/>
                  </a:lnTo>
                  <a:lnTo>
                    <a:pt x="4" y="23"/>
                  </a:lnTo>
                  <a:lnTo>
                    <a:pt x="4" y="23"/>
                  </a:lnTo>
                  <a:lnTo>
                    <a:pt x="6" y="24"/>
                  </a:lnTo>
                  <a:lnTo>
                    <a:pt x="6" y="24"/>
                  </a:lnTo>
                  <a:lnTo>
                    <a:pt x="9" y="24"/>
                  </a:lnTo>
                  <a:lnTo>
                    <a:pt x="9" y="24"/>
                  </a:lnTo>
                  <a:lnTo>
                    <a:pt x="9" y="23"/>
                  </a:lnTo>
                  <a:lnTo>
                    <a:pt x="9" y="23"/>
                  </a:lnTo>
                  <a:lnTo>
                    <a:pt x="12" y="21"/>
                  </a:lnTo>
                  <a:lnTo>
                    <a:pt x="12" y="21"/>
                  </a:lnTo>
                  <a:lnTo>
                    <a:pt x="12" y="16"/>
                  </a:lnTo>
                  <a:lnTo>
                    <a:pt x="12" y="16"/>
                  </a:lnTo>
                  <a:lnTo>
                    <a:pt x="15" y="18"/>
                  </a:lnTo>
                  <a:lnTo>
                    <a:pt x="15" y="18"/>
                  </a:lnTo>
                  <a:lnTo>
                    <a:pt x="15" y="18"/>
                  </a:lnTo>
                  <a:lnTo>
                    <a:pt x="15" y="18"/>
                  </a:lnTo>
                  <a:lnTo>
                    <a:pt x="19" y="18"/>
                  </a:lnTo>
                  <a:lnTo>
                    <a:pt x="19" y="18"/>
                  </a:lnTo>
                  <a:lnTo>
                    <a:pt x="19" y="18"/>
                  </a:lnTo>
                  <a:lnTo>
                    <a:pt x="19" y="18"/>
                  </a:lnTo>
                  <a:lnTo>
                    <a:pt x="20" y="18"/>
                  </a:lnTo>
                  <a:lnTo>
                    <a:pt x="20" y="18"/>
                  </a:lnTo>
                  <a:lnTo>
                    <a:pt x="20" y="20"/>
                  </a:lnTo>
                  <a:lnTo>
                    <a:pt x="20" y="20"/>
                  </a:lnTo>
                  <a:lnTo>
                    <a:pt x="22" y="18"/>
                  </a:lnTo>
                  <a:lnTo>
                    <a:pt x="22" y="18"/>
                  </a:lnTo>
                  <a:lnTo>
                    <a:pt x="23" y="16"/>
                  </a:lnTo>
                  <a:lnTo>
                    <a:pt x="23" y="16"/>
                  </a:lnTo>
                  <a:lnTo>
                    <a:pt x="23" y="15"/>
                  </a:lnTo>
                  <a:lnTo>
                    <a:pt x="23" y="15"/>
                  </a:lnTo>
                  <a:lnTo>
                    <a:pt x="23" y="12"/>
                  </a:lnTo>
                  <a:lnTo>
                    <a:pt x="23" y="12"/>
                  </a:lnTo>
                  <a:lnTo>
                    <a:pt x="23" y="10"/>
                  </a:lnTo>
                  <a:lnTo>
                    <a:pt x="23" y="10"/>
                  </a:lnTo>
                  <a:lnTo>
                    <a:pt x="22" y="5"/>
                  </a:lnTo>
                  <a:lnTo>
                    <a:pt x="22" y="5"/>
                  </a:lnTo>
                  <a:lnTo>
                    <a:pt x="20" y="4"/>
                  </a:lnTo>
                  <a:lnTo>
                    <a:pt x="20" y="4"/>
                  </a:lnTo>
                  <a:lnTo>
                    <a:pt x="19" y="2"/>
                  </a:lnTo>
                  <a:lnTo>
                    <a:pt x="19" y="2"/>
                  </a:lnTo>
                  <a:lnTo>
                    <a:pt x="19" y="0"/>
                  </a:lnTo>
                  <a:lnTo>
                    <a:pt x="19" y="0"/>
                  </a:lnTo>
                  <a:lnTo>
                    <a:pt x="19" y="0"/>
                  </a:lnTo>
                  <a:lnTo>
                    <a:pt x="19" y="0"/>
                  </a:lnTo>
                  <a:lnTo>
                    <a:pt x="15" y="2"/>
                  </a:lnTo>
                  <a:lnTo>
                    <a:pt x="15" y="2"/>
                  </a:lnTo>
                  <a:lnTo>
                    <a:pt x="15" y="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1" name="Freeform 136">
              <a:extLst>
                <a:ext uri="{FF2B5EF4-FFF2-40B4-BE49-F238E27FC236}">
                  <a16:creationId xmlns:a16="http://schemas.microsoft.com/office/drawing/2014/main" id="{E880AB27-11CE-D00C-DB52-FF0F22903501}"/>
                </a:ext>
              </a:extLst>
            </p:cNvPr>
            <p:cNvSpPr>
              <a:spLocks/>
            </p:cNvSpPr>
            <p:nvPr/>
          </p:nvSpPr>
          <p:spPr bwMode="auto">
            <a:xfrm>
              <a:off x="6101147" y="4572418"/>
              <a:ext cx="381322" cy="392537"/>
            </a:xfrm>
            <a:custGeom>
              <a:avLst/>
              <a:gdLst>
                <a:gd name="T0" fmla="*/ 163 w 170"/>
                <a:gd name="T1" fmla="*/ 11 h 175"/>
                <a:gd name="T2" fmla="*/ 154 w 170"/>
                <a:gd name="T3" fmla="*/ 11 h 175"/>
                <a:gd name="T4" fmla="*/ 148 w 170"/>
                <a:gd name="T5" fmla="*/ 11 h 175"/>
                <a:gd name="T6" fmla="*/ 125 w 170"/>
                <a:gd name="T7" fmla="*/ 14 h 175"/>
                <a:gd name="T8" fmla="*/ 119 w 170"/>
                <a:gd name="T9" fmla="*/ 14 h 175"/>
                <a:gd name="T10" fmla="*/ 114 w 170"/>
                <a:gd name="T11" fmla="*/ 17 h 175"/>
                <a:gd name="T12" fmla="*/ 109 w 170"/>
                <a:gd name="T13" fmla="*/ 14 h 175"/>
                <a:gd name="T14" fmla="*/ 97 w 170"/>
                <a:gd name="T15" fmla="*/ 14 h 175"/>
                <a:gd name="T16" fmla="*/ 89 w 170"/>
                <a:gd name="T17" fmla="*/ 11 h 175"/>
                <a:gd name="T18" fmla="*/ 84 w 170"/>
                <a:gd name="T19" fmla="*/ 8 h 175"/>
                <a:gd name="T20" fmla="*/ 81 w 170"/>
                <a:gd name="T21" fmla="*/ 8 h 175"/>
                <a:gd name="T22" fmla="*/ 56 w 170"/>
                <a:gd name="T23" fmla="*/ 8 h 175"/>
                <a:gd name="T24" fmla="*/ 33 w 170"/>
                <a:gd name="T25" fmla="*/ 8 h 175"/>
                <a:gd name="T26" fmla="*/ 25 w 170"/>
                <a:gd name="T27" fmla="*/ 5 h 175"/>
                <a:gd name="T28" fmla="*/ 19 w 170"/>
                <a:gd name="T29" fmla="*/ 0 h 175"/>
                <a:gd name="T30" fmla="*/ 13 w 170"/>
                <a:gd name="T31" fmla="*/ 5 h 175"/>
                <a:gd name="T32" fmla="*/ 9 w 170"/>
                <a:gd name="T33" fmla="*/ 5 h 175"/>
                <a:gd name="T34" fmla="*/ 3 w 170"/>
                <a:gd name="T35" fmla="*/ 5 h 175"/>
                <a:gd name="T36" fmla="*/ 0 w 170"/>
                <a:gd name="T37" fmla="*/ 5 h 175"/>
                <a:gd name="T38" fmla="*/ 3 w 170"/>
                <a:gd name="T39" fmla="*/ 17 h 175"/>
                <a:gd name="T40" fmla="*/ 6 w 170"/>
                <a:gd name="T41" fmla="*/ 25 h 175"/>
                <a:gd name="T42" fmla="*/ 13 w 170"/>
                <a:gd name="T43" fmla="*/ 35 h 175"/>
                <a:gd name="T44" fmla="*/ 21 w 170"/>
                <a:gd name="T45" fmla="*/ 55 h 175"/>
                <a:gd name="T46" fmla="*/ 27 w 170"/>
                <a:gd name="T47" fmla="*/ 67 h 175"/>
                <a:gd name="T48" fmla="*/ 32 w 170"/>
                <a:gd name="T49" fmla="*/ 75 h 175"/>
                <a:gd name="T50" fmla="*/ 35 w 170"/>
                <a:gd name="T51" fmla="*/ 84 h 175"/>
                <a:gd name="T52" fmla="*/ 35 w 170"/>
                <a:gd name="T53" fmla="*/ 90 h 175"/>
                <a:gd name="T54" fmla="*/ 35 w 170"/>
                <a:gd name="T55" fmla="*/ 103 h 175"/>
                <a:gd name="T56" fmla="*/ 38 w 170"/>
                <a:gd name="T57" fmla="*/ 119 h 175"/>
                <a:gd name="T58" fmla="*/ 41 w 170"/>
                <a:gd name="T59" fmla="*/ 129 h 175"/>
                <a:gd name="T60" fmla="*/ 41 w 170"/>
                <a:gd name="T61" fmla="*/ 136 h 175"/>
                <a:gd name="T62" fmla="*/ 41 w 170"/>
                <a:gd name="T63" fmla="*/ 141 h 175"/>
                <a:gd name="T64" fmla="*/ 44 w 170"/>
                <a:gd name="T65" fmla="*/ 148 h 175"/>
                <a:gd name="T66" fmla="*/ 49 w 170"/>
                <a:gd name="T67" fmla="*/ 160 h 175"/>
                <a:gd name="T68" fmla="*/ 57 w 170"/>
                <a:gd name="T69" fmla="*/ 168 h 175"/>
                <a:gd name="T70" fmla="*/ 59 w 170"/>
                <a:gd name="T71" fmla="*/ 170 h 175"/>
                <a:gd name="T72" fmla="*/ 62 w 170"/>
                <a:gd name="T73" fmla="*/ 165 h 175"/>
                <a:gd name="T74" fmla="*/ 65 w 170"/>
                <a:gd name="T75" fmla="*/ 162 h 175"/>
                <a:gd name="T76" fmla="*/ 68 w 170"/>
                <a:gd name="T77" fmla="*/ 163 h 175"/>
                <a:gd name="T78" fmla="*/ 68 w 170"/>
                <a:gd name="T79" fmla="*/ 167 h 175"/>
                <a:gd name="T80" fmla="*/ 71 w 170"/>
                <a:gd name="T81" fmla="*/ 171 h 175"/>
                <a:gd name="T82" fmla="*/ 82 w 170"/>
                <a:gd name="T83" fmla="*/ 175 h 175"/>
                <a:gd name="T84" fmla="*/ 90 w 170"/>
                <a:gd name="T85" fmla="*/ 175 h 175"/>
                <a:gd name="T86" fmla="*/ 94 w 170"/>
                <a:gd name="T87" fmla="*/ 173 h 175"/>
                <a:gd name="T88" fmla="*/ 97 w 170"/>
                <a:gd name="T89" fmla="*/ 171 h 175"/>
                <a:gd name="T90" fmla="*/ 100 w 170"/>
                <a:gd name="T91" fmla="*/ 168 h 175"/>
                <a:gd name="T92" fmla="*/ 103 w 170"/>
                <a:gd name="T93" fmla="*/ 165 h 175"/>
                <a:gd name="T94" fmla="*/ 103 w 170"/>
                <a:gd name="T95" fmla="*/ 103 h 175"/>
                <a:gd name="T96" fmla="*/ 103 w 170"/>
                <a:gd name="T97" fmla="*/ 75 h 175"/>
                <a:gd name="T98" fmla="*/ 117 w 170"/>
                <a:gd name="T99" fmla="*/ 21 h 175"/>
                <a:gd name="T100" fmla="*/ 138 w 170"/>
                <a:gd name="T101" fmla="*/ 17 h 175"/>
                <a:gd name="T102" fmla="*/ 144 w 170"/>
                <a:gd name="T103" fmla="*/ 17 h 175"/>
                <a:gd name="T104" fmla="*/ 148 w 170"/>
                <a:gd name="T105" fmla="*/ 19 h 175"/>
                <a:gd name="T106" fmla="*/ 149 w 170"/>
                <a:gd name="T107" fmla="*/ 24 h 175"/>
                <a:gd name="T108" fmla="*/ 156 w 170"/>
                <a:gd name="T109" fmla="*/ 17 h 175"/>
                <a:gd name="T110" fmla="*/ 160 w 170"/>
                <a:gd name="T111" fmla="*/ 14 h 175"/>
                <a:gd name="T112" fmla="*/ 163 w 170"/>
                <a:gd name="T113" fmla="*/ 17 h 175"/>
                <a:gd name="T114" fmla="*/ 167 w 170"/>
                <a:gd name="T115" fmla="*/ 14 h 175"/>
                <a:gd name="T116" fmla="*/ 168 w 170"/>
                <a:gd name="T117" fmla="*/ 14 h 175"/>
                <a:gd name="T118" fmla="*/ 170 w 170"/>
                <a:gd name="T119" fmla="*/ 14 h 175"/>
                <a:gd name="T120" fmla="*/ 167 w 170"/>
                <a:gd name="T121" fmla="*/ 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75">
                  <a:moveTo>
                    <a:pt x="167" y="8"/>
                  </a:moveTo>
                  <a:lnTo>
                    <a:pt x="167" y="8"/>
                  </a:lnTo>
                  <a:lnTo>
                    <a:pt x="163" y="11"/>
                  </a:lnTo>
                  <a:lnTo>
                    <a:pt x="163" y="11"/>
                  </a:lnTo>
                  <a:lnTo>
                    <a:pt x="160" y="8"/>
                  </a:lnTo>
                  <a:lnTo>
                    <a:pt x="160" y="8"/>
                  </a:lnTo>
                  <a:lnTo>
                    <a:pt x="154" y="11"/>
                  </a:lnTo>
                  <a:lnTo>
                    <a:pt x="154" y="11"/>
                  </a:lnTo>
                  <a:lnTo>
                    <a:pt x="151" y="11"/>
                  </a:lnTo>
                  <a:lnTo>
                    <a:pt x="151" y="11"/>
                  </a:lnTo>
                  <a:lnTo>
                    <a:pt x="149" y="11"/>
                  </a:lnTo>
                  <a:lnTo>
                    <a:pt x="148" y="11"/>
                  </a:lnTo>
                  <a:lnTo>
                    <a:pt x="148" y="11"/>
                  </a:lnTo>
                  <a:lnTo>
                    <a:pt x="140" y="13"/>
                  </a:lnTo>
                  <a:lnTo>
                    <a:pt x="140" y="13"/>
                  </a:lnTo>
                  <a:lnTo>
                    <a:pt x="125" y="14"/>
                  </a:lnTo>
                  <a:lnTo>
                    <a:pt x="125" y="14"/>
                  </a:lnTo>
                  <a:lnTo>
                    <a:pt x="122" y="14"/>
                  </a:lnTo>
                  <a:lnTo>
                    <a:pt x="122" y="14"/>
                  </a:lnTo>
                  <a:lnTo>
                    <a:pt x="119" y="14"/>
                  </a:lnTo>
                  <a:lnTo>
                    <a:pt x="119" y="14"/>
                  </a:lnTo>
                  <a:lnTo>
                    <a:pt x="116" y="17"/>
                  </a:lnTo>
                  <a:lnTo>
                    <a:pt x="116" y="17"/>
                  </a:lnTo>
                  <a:lnTo>
                    <a:pt x="114" y="17"/>
                  </a:lnTo>
                  <a:lnTo>
                    <a:pt x="114" y="17"/>
                  </a:lnTo>
                  <a:lnTo>
                    <a:pt x="113" y="17"/>
                  </a:lnTo>
                  <a:lnTo>
                    <a:pt x="113" y="17"/>
                  </a:lnTo>
                  <a:lnTo>
                    <a:pt x="109" y="14"/>
                  </a:lnTo>
                  <a:lnTo>
                    <a:pt x="109" y="14"/>
                  </a:lnTo>
                  <a:lnTo>
                    <a:pt x="103" y="14"/>
                  </a:lnTo>
                  <a:lnTo>
                    <a:pt x="103" y="14"/>
                  </a:lnTo>
                  <a:lnTo>
                    <a:pt x="97" y="14"/>
                  </a:lnTo>
                  <a:lnTo>
                    <a:pt x="97" y="14"/>
                  </a:lnTo>
                  <a:lnTo>
                    <a:pt x="90" y="14"/>
                  </a:lnTo>
                  <a:lnTo>
                    <a:pt x="90" y="14"/>
                  </a:lnTo>
                  <a:lnTo>
                    <a:pt x="89" y="11"/>
                  </a:lnTo>
                  <a:lnTo>
                    <a:pt x="89" y="11"/>
                  </a:lnTo>
                  <a:lnTo>
                    <a:pt x="86" y="8"/>
                  </a:lnTo>
                  <a:lnTo>
                    <a:pt x="86" y="8"/>
                  </a:lnTo>
                  <a:lnTo>
                    <a:pt x="84" y="8"/>
                  </a:lnTo>
                  <a:lnTo>
                    <a:pt x="84" y="8"/>
                  </a:lnTo>
                  <a:lnTo>
                    <a:pt x="82" y="8"/>
                  </a:lnTo>
                  <a:lnTo>
                    <a:pt x="82" y="8"/>
                  </a:lnTo>
                  <a:lnTo>
                    <a:pt x="81" y="8"/>
                  </a:lnTo>
                  <a:lnTo>
                    <a:pt x="81" y="8"/>
                  </a:lnTo>
                  <a:lnTo>
                    <a:pt x="79" y="8"/>
                  </a:lnTo>
                  <a:lnTo>
                    <a:pt x="79" y="8"/>
                  </a:lnTo>
                  <a:lnTo>
                    <a:pt x="56" y="8"/>
                  </a:lnTo>
                  <a:lnTo>
                    <a:pt x="56" y="8"/>
                  </a:lnTo>
                  <a:lnTo>
                    <a:pt x="41" y="8"/>
                  </a:lnTo>
                  <a:lnTo>
                    <a:pt x="41" y="8"/>
                  </a:lnTo>
                  <a:lnTo>
                    <a:pt x="33" y="8"/>
                  </a:lnTo>
                  <a:lnTo>
                    <a:pt x="33" y="8"/>
                  </a:lnTo>
                  <a:lnTo>
                    <a:pt x="30" y="8"/>
                  </a:lnTo>
                  <a:lnTo>
                    <a:pt x="30" y="8"/>
                  </a:lnTo>
                  <a:lnTo>
                    <a:pt x="25" y="5"/>
                  </a:lnTo>
                  <a:lnTo>
                    <a:pt x="25" y="5"/>
                  </a:lnTo>
                  <a:lnTo>
                    <a:pt x="21" y="0"/>
                  </a:lnTo>
                  <a:lnTo>
                    <a:pt x="21" y="0"/>
                  </a:lnTo>
                  <a:lnTo>
                    <a:pt x="19" y="0"/>
                  </a:lnTo>
                  <a:lnTo>
                    <a:pt x="19" y="0"/>
                  </a:lnTo>
                  <a:lnTo>
                    <a:pt x="17" y="0"/>
                  </a:lnTo>
                  <a:lnTo>
                    <a:pt x="17" y="0"/>
                  </a:lnTo>
                  <a:lnTo>
                    <a:pt x="13" y="5"/>
                  </a:lnTo>
                  <a:lnTo>
                    <a:pt x="13" y="5"/>
                  </a:lnTo>
                  <a:lnTo>
                    <a:pt x="13" y="5"/>
                  </a:lnTo>
                  <a:lnTo>
                    <a:pt x="13" y="5"/>
                  </a:lnTo>
                  <a:lnTo>
                    <a:pt x="9" y="5"/>
                  </a:lnTo>
                  <a:lnTo>
                    <a:pt x="9" y="5"/>
                  </a:lnTo>
                  <a:lnTo>
                    <a:pt x="6" y="5"/>
                  </a:lnTo>
                  <a:lnTo>
                    <a:pt x="6" y="5"/>
                  </a:lnTo>
                  <a:lnTo>
                    <a:pt x="3" y="5"/>
                  </a:lnTo>
                  <a:lnTo>
                    <a:pt x="3" y="5"/>
                  </a:lnTo>
                  <a:lnTo>
                    <a:pt x="2" y="5"/>
                  </a:lnTo>
                  <a:lnTo>
                    <a:pt x="2" y="5"/>
                  </a:lnTo>
                  <a:lnTo>
                    <a:pt x="0" y="5"/>
                  </a:lnTo>
                  <a:lnTo>
                    <a:pt x="0" y="5"/>
                  </a:lnTo>
                  <a:lnTo>
                    <a:pt x="0" y="11"/>
                  </a:lnTo>
                  <a:lnTo>
                    <a:pt x="0" y="11"/>
                  </a:lnTo>
                  <a:lnTo>
                    <a:pt x="3" y="17"/>
                  </a:lnTo>
                  <a:lnTo>
                    <a:pt x="3" y="17"/>
                  </a:lnTo>
                  <a:lnTo>
                    <a:pt x="3" y="21"/>
                  </a:lnTo>
                  <a:lnTo>
                    <a:pt x="3" y="21"/>
                  </a:lnTo>
                  <a:lnTo>
                    <a:pt x="6" y="25"/>
                  </a:lnTo>
                  <a:lnTo>
                    <a:pt x="6" y="25"/>
                  </a:lnTo>
                  <a:lnTo>
                    <a:pt x="9" y="30"/>
                  </a:lnTo>
                  <a:lnTo>
                    <a:pt x="9" y="30"/>
                  </a:lnTo>
                  <a:lnTo>
                    <a:pt x="13" y="35"/>
                  </a:lnTo>
                  <a:lnTo>
                    <a:pt x="13" y="35"/>
                  </a:lnTo>
                  <a:lnTo>
                    <a:pt x="17" y="46"/>
                  </a:lnTo>
                  <a:lnTo>
                    <a:pt x="17" y="46"/>
                  </a:lnTo>
                  <a:lnTo>
                    <a:pt x="21" y="55"/>
                  </a:lnTo>
                  <a:lnTo>
                    <a:pt x="21" y="55"/>
                  </a:lnTo>
                  <a:lnTo>
                    <a:pt x="24" y="60"/>
                  </a:lnTo>
                  <a:lnTo>
                    <a:pt x="24" y="60"/>
                  </a:lnTo>
                  <a:lnTo>
                    <a:pt x="27" y="67"/>
                  </a:lnTo>
                  <a:lnTo>
                    <a:pt x="27" y="67"/>
                  </a:lnTo>
                  <a:lnTo>
                    <a:pt x="29" y="71"/>
                  </a:lnTo>
                  <a:lnTo>
                    <a:pt x="29" y="71"/>
                  </a:lnTo>
                  <a:lnTo>
                    <a:pt x="32" y="75"/>
                  </a:lnTo>
                  <a:lnTo>
                    <a:pt x="32" y="75"/>
                  </a:lnTo>
                  <a:lnTo>
                    <a:pt x="35" y="78"/>
                  </a:lnTo>
                  <a:lnTo>
                    <a:pt x="35" y="78"/>
                  </a:lnTo>
                  <a:lnTo>
                    <a:pt x="35" y="84"/>
                  </a:lnTo>
                  <a:lnTo>
                    <a:pt x="35" y="84"/>
                  </a:lnTo>
                  <a:lnTo>
                    <a:pt x="35" y="87"/>
                  </a:lnTo>
                  <a:lnTo>
                    <a:pt x="35" y="87"/>
                  </a:lnTo>
                  <a:lnTo>
                    <a:pt x="35" y="90"/>
                  </a:lnTo>
                  <a:lnTo>
                    <a:pt x="35" y="90"/>
                  </a:lnTo>
                  <a:lnTo>
                    <a:pt x="35" y="98"/>
                  </a:lnTo>
                  <a:lnTo>
                    <a:pt x="35" y="98"/>
                  </a:lnTo>
                  <a:lnTo>
                    <a:pt x="35" y="103"/>
                  </a:lnTo>
                  <a:lnTo>
                    <a:pt x="35" y="103"/>
                  </a:lnTo>
                  <a:lnTo>
                    <a:pt x="35" y="109"/>
                  </a:lnTo>
                  <a:lnTo>
                    <a:pt x="35" y="109"/>
                  </a:lnTo>
                  <a:lnTo>
                    <a:pt x="38" y="119"/>
                  </a:lnTo>
                  <a:lnTo>
                    <a:pt x="38" y="119"/>
                  </a:lnTo>
                  <a:lnTo>
                    <a:pt x="38" y="124"/>
                  </a:lnTo>
                  <a:lnTo>
                    <a:pt x="38" y="124"/>
                  </a:lnTo>
                  <a:lnTo>
                    <a:pt x="41" y="129"/>
                  </a:lnTo>
                  <a:lnTo>
                    <a:pt x="41" y="129"/>
                  </a:lnTo>
                  <a:lnTo>
                    <a:pt x="41" y="135"/>
                  </a:lnTo>
                  <a:lnTo>
                    <a:pt x="41" y="135"/>
                  </a:lnTo>
                  <a:lnTo>
                    <a:pt x="41" y="136"/>
                  </a:lnTo>
                  <a:lnTo>
                    <a:pt x="41" y="136"/>
                  </a:lnTo>
                  <a:lnTo>
                    <a:pt x="41" y="138"/>
                  </a:lnTo>
                  <a:lnTo>
                    <a:pt x="41" y="138"/>
                  </a:lnTo>
                  <a:lnTo>
                    <a:pt x="41" y="141"/>
                  </a:lnTo>
                  <a:lnTo>
                    <a:pt x="41" y="141"/>
                  </a:lnTo>
                  <a:lnTo>
                    <a:pt x="41" y="144"/>
                  </a:lnTo>
                  <a:lnTo>
                    <a:pt x="41" y="144"/>
                  </a:lnTo>
                  <a:lnTo>
                    <a:pt x="44" y="148"/>
                  </a:lnTo>
                  <a:lnTo>
                    <a:pt x="44" y="148"/>
                  </a:lnTo>
                  <a:lnTo>
                    <a:pt x="44" y="154"/>
                  </a:lnTo>
                  <a:lnTo>
                    <a:pt x="44" y="154"/>
                  </a:lnTo>
                  <a:lnTo>
                    <a:pt x="49" y="160"/>
                  </a:lnTo>
                  <a:lnTo>
                    <a:pt x="49" y="160"/>
                  </a:lnTo>
                  <a:lnTo>
                    <a:pt x="52" y="163"/>
                  </a:lnTo>
                  <a:lnTo>
                    <a:pt x="52" y="163"/>
                  </a:lnTo>
                  <a:lnTo>
                    <a:pt x="57" y="168"/>
                  </a:lnTo>
                  <a:lnTo>
                    <a:pt x="57" y="168"/>
                  </a:lnTo>
                  <a:lnTo>
                    <a:pt x="59" y="170"/>
                  </a:lnTo>
                  <a:lnTo>
                    <a:pt x="59" y="170"/>
                  </a:lnTo>
                  <a:lnTo>
                    <a:pt x="59" y="170"/>
                  </a:lnTo>
                  <a:lnTo>
                    <a:pt x="59" y="170"/>
                  </a:lnTo>
                  <a:lnTo>
                    <a:pt x="62" y="168"/>
                  </a:lnTo>
                  <a:lnTo>
                    <a:pt x="62" y="168"/>
                  </a:lnTo>
                  <a:lnTo>
                    <a:pt x="62" y="165"/>
                  </a:lnTo>
                  <a:lnTo>
                    <a:pt x="62" y="165"/>
                  </a:lnTo>
                  <a:lnTo>
                    <a:pt x="62" y="163"/>
                  </a:lnTo>
                  <a:lnTo>
                    <a:pt x="62" y="163"/>
                  </a:lnTo>
                  <a:lnTo>
                    <a:pt x="65" y="162"/>
                  </a:lnTo>
                  <a:lnTo>
                    <a:pt x="65" y="162"/>
                  </a:lnTo>
                  <a:lnTo>
                    <a:pt x="65" y="162"/>
                  </a:lnTo>
                  <a:lnTo>
                    <a:pt x="65" y="162"/>
                  </a:lnTo>
                  <a:lnTo>
                    <a:pt x="68" y="163"/>
                  </a:lnTo>
                  <a:lnTo>
                    <a:pt x="68" y="163"/>
                  </a:lnTo>
                  <a:lnTo>
                    <a:pt x="68" y="165"/>
                  </a:lnTo>
                  <a:lnTo>
                    <a:pt x="68" y="165"/>
                  </a:lnTo>
                  <a:lnTo>
                    <a:pt x="68" y="167"/>
                  </a:lnTo>
                  <a:lnTo>
                    <a:pt x="68" y="167"/>
                  </a:lnTo>
                  <a:lnTo>
                    <a:pt x="68" y="170"/>
                  </a:lnTo>
                  <a:lnTo>
                    <a:pt x="68" y="170"/>
                  </a:lnTo>
                  <a:lnTo>
                    <a:pt x="71" y="171"/>
                  </a:lnTo>
                  <a:lnTo>
                    <a:pt x="71" y="171"/>
                  </a:lnTo>
                  <a:lnTo>
                    <a:pt x="78" y="175"/>
                  </a:lnTo>
                  <a:lnTo>
                    <a:pt x="78" y="175"/>
                  </a:lnTo>
                  <a:lnTo>
                    <a:pt x="82" y="175"/>
                  </a:lnTo>
                  <a:lnTo>
                    <a:pt x="82" y="175"/>
                  </a:lnTo>
                  <a:lnTo>
                    <a:pt x="87" y="173"/>
                  </a:lnTo>
                  <a:lnTo>
                    <a:pt x="87" y="173"/>
                  </a:lnTo>
                  <a:lnTo>
                    <a:pt x="90" y="175"/>
                  </a:lnTo>
                  <a:lnTo>
                    <a:pt x="90" y="175"/>
                  </a:lnTo>
                  <a:lnTo>
                    <a:pt x="94" y="175"/>
                  </a:lnTo>
                  <a:lnTo>
                    <a:pt x="94" y="175"/>
                  </a:lnTo>
                  <a:lnTo>
                    <a:pt x="94" y="173"/>
                  </a:lnTo>
                  <a:lnTo>
                    <a:pt x="94" y="173"/>
                  </a:lnTo>
                  <a:lnTo>
                    <a:pt x="94" y="171"/>
                  </a:lnTo>
                  <a:lnTo>
                    <a:pt x="94" y="171"/>
                  </a:lnTo>
                  <a:lnTo>
                    <a:pt x="97" y="171"/>
                  </a:lnTo>
                  <a:lnTo>
                    <a:pt x="97" y="171"/>
                  </a:lnTo>
                  <a:lnTo>
                    <a:pt x="97" y="170"/>
                  </a:lnTo>
                  <a:lnTo>
                    <a:pt x="97" y="170"/>
                  </a:lnTo>
                  <a:lnTo>
                    <a:pt x="100" y="168"/>
                  </a:lnTo>
                  <a:lnTo>
                    <a:pt x="100" y="168"/>
                  </a:lnTo>
                  <a:lnTo>
                    <a:pt x="103" y="167"/>
                  </a:lnTo>
                  <a:lnTo>
                    <a:pt x="103" y="167"/>
                  </a:lnTo>
                  <a:lnTo>
                    <a:pt x="103" y="165"/>
                  </a:lnTo>
                  <a:lnTo>
                    <a:pt x="103" y="165"/>
                  </a:lnTo>
                  <a:lnTo>
                    <a:pt x="103" y="113"/>
                  </a:lnTo>
                  <a:lnTo>
                    <a:pt x="103" y="113"/>
                  </a:lnTo>
                  <a:lnTo>
                    <a:pt x="103" y="103"/>
                  </a:lnTo>
                  <a:lnTo>
                    <a:pt x="103" y="103"/>
                  </a:lnTo>
                  <a:lnTo>
                    <a:pt x="103" y="84"/>
                  </a:lnTo>
                  <a:lnTo>
                    <a:pt x="103" y="84"/>
                  </a:lnTo>
                  <a:lnTo>
                    <a:pt x="103" y="75"/>
                  </a:lnTo>
                  <a:lnTo>
                    <a:pt x="103" y="75"/>
                  </a:lnTo>
                  <a:lnTo>
                    <a:pt x="116" y="75"/>
                  </a:lnTo>
                  <a:lnTo>
                    <a:pt x="116" y="75"/>
                  </a:lnTo>
                  <a:lnTo>
                    <a:pt x="117" y="21"/>
                  </a:lnTo>
                  <a:lnTo>
                    <a:pt x="117" y="21"/>
                  </a:lnTo>
                  <a:lnTo>
                    <a:pt x="132" y="19"/>
                  </a:lnTo>
                  <a:lnTo>
                    <a:pt x="132" y="19"/>
                  </a:lnTo>
                  <a:lnTo>
                    <a:pt x="138" y="17"/>
                  </a:lnTo>
                  <a:lnTo>
                    <a:pt x="138" y="17"/>
                  </a:lnTo>
                  <a:lnTo>
                    <a:pt x="141" y="17"/>
                  </a:lnTo>
                  <a:lnTo>
                    <a:pt x="141" y="17"/>
                  </a:lnTo>
                  <a:lnTo>
                    <a:pt x="144" y="17"/>
                  </a:lnTo>
                  <a:lnTo>
                    <a:pt x="144" y="17"/>
                  </a:lnTo>
                  <a:lnTo>
                    <a:pt x="146" y="17"/>
                  </a:lnTo>
                  <a:lnTo>
                    <a:pt x="146" y="17"/>
                  </a:lnTo>
                  <a:lnTo>
                    <a:pt x="148" y="19"/>
                  </a:lnTo>
                  <a:lnTo>
                    <a:pt x="148" y="19"/>
                  </a:lnTo>
                  <a:lnTo>
                    <a:pt x="148" y="21"/>
                  </a:lnTo>
                  <a:lnTo>
                    <a:pt x="148" y="21"/>
                  </a:lnTo>
                  <a:lnTo>
                    <a:pt x="149" y="24"/>
                  </a:lnTo>
                  <a:lnTo>
                    <a:pt x="149" y="24"/>
                  </a:lnTo>
                  <a:lnTo>
                    <a:pt x="151" y="24"/>
                  </a:lnTo>
                  <a:lnTo>
                    <a:pt x="151" y="24"/>
                  </a:lnTo>
                  <a:lnTo>
                    <a:pt x="156" y="17"/>
                  </a:lnTo>
                  <a:lnTo>
                    <a:pt x="156" y="17"/>
                  </a:lnTo>
                  <a:lnTo>
                    <a:pt x="159" y="17"/>
                  </a:lnTo>
                  <a:lnTo>
                    <a:pt x="159" y="17"/>
                  </a:lnTo>
                  <a:lnTo>
                    <a:pt x="160" y="14"/>
                  </a:lnTo>
                  <a:lnTo>
                    <a:pt x="160" y="14"/>
                  </a:lnTo>
                  <a:lnTo>
                    <a:pt x="160" y="17"/>
                  </a:lnTo>
                  <a:lnTo>
                    <a:pt x="160" y="17"/>
                  </a:lnTo>
                  <a:lnTo>
                    <a:pt x="163" y="17"/>
                  </a:lnTo>
                  <a:lnTo>
                    <a:pt x="163" y="17"/>
                  </a:lnTo>
                  <a:lnTo>
                    <a:pt x="167" y="14"/>
                  </a:lnTo>
                  <a:lnTo>
                    <a:pt x="167" y="14"/>
                  </a:lnTo>
                  <a:lnTo>
                    <a:pt x="167" y="14"/>
                  </a:lnTo>
                  <a:lnTo>
                    <a:pt x="167" y="14"/>
                  </a:lnTo>
                  <a:lnTo>
                    <a:pt x="167" y="14"/>
                  </a:lnTo>
                  <a:lnTo>
                    <a:pt x="167" y="14"/>
                  </a:lnTo>
                  <a:lnTo>
                    <a:pt x="168" y="14"/>
                  </a:lnTo>
                  <a:lnTo>
                    <a:pt x="168" y="14"/>
                  </a:lnTo>
                  <a:lnTo>
                    <a:pt x="170" y="14"/>
                  </a:lnTo>
                  <a:lnTo>
                    <a:pt x="170" y="14"/>
                  </a:lnTo>
                  <a:lnTo>
                    <a:pt x="170" y="14"/>
                  </a:lnTo>
                  <a:lnTo>
                    <a:pt x="170" y="14"/>
                  </a:lnTo>
                  <a:lnTo>
                    <a:pt x="167" y="11"/>
                  </a:lnTo>
                  <a:lnTo>
                    <a:pt x="167" y="8"/>
                  </a:lnTo>
                  <a:lnTo>
                    <a:pt x="167" y="8"/>
                  </a:lnTo>
                  <a:lnTo>
                    <a:pt x="167"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2" name="Freeform 138">
              <a:extLst>
                <a:ext uri="{FF2B5EF4-FFF2-40B4-BE49-F238E27FC236}">
                  <a16:creationId xmlns:a16="http://schemas.microsoft.com/office/drawing/2014/main" id="{CD2A33FB-6743-982D-6FB3-ED0E3EF3D282}"/>
                </a:ext>
              </a:extLst>
            </p:cNvPr>
            <p:cNvSpPr>
              <a:spLocks/>
            </p:cNvSpPr>
            <p:nvPr/>
          </p:nvSpPr>
          <p:spPr bwMode="auto">
            <a:xfrm>
              <a:off x="6101147" y="4215769"/>
              <a:ext cx="352162" cy="394780"/>
            </a:xfrm>
            <a:custGeom>
              <a:avLst/>
              <a:gdLst>
                <a:gd name="T0" fmla="*/ 9 w 157"/>
                <a:gd name="T1" fmla="*/ 164 h 176"/>
                <a:gd name="T2" fmla="*/ 17 w 157"/>
                <a:gd name="T3" fmla="*/ 161 h 176"/>
                <a:gd name="T4" fmla="*/ 25 w 157"/>
                <a:gd name="T5" fmla="*/ 164 h 176"/>
                <a:gd name="T6" fmla="*/ 41 w 157"/>
                <a:gd name="T7" fmla="*/ 167 h 176"/>
                <a:gd name="T8" fmla="*/ 81 w 157"/>
                <a:gd name="T9" fmla="*/ 167 h 176"/>
                <a:gd name="T10" fmla="*/ 86 w 157"/>
                <a:gd name="T11" fmla="*/ 167 h 176"/>
                <a:gd name="T12" fmla="*/ 97 w 157"/>
                <a:gd name="T13" fmla="*/ 173 h 176"/>
                <a:gd name="T14" fmla="*/ 114 w 157"/>
                <a:gd name="T15" fmla="*/ 176 h 176"/>
                <a:gd name="T16" fmla="*/ 119 w 157"/>
                <a:gd name="T17" fmla="*/ 173 h 176"/>
                <a:gd name="T18" fmla="*/ 140 w 157"/>
                <a:gd name="T19" fmla="*/ 172 h 176"/>
                <a:gd name="T20" fmla="*/ 143 w 157"/>
                <a:gd name="T21" fmla="*/ 164 h 176"/>
                <a:gd name="T22" fmla="*/ 136 w 157"/>
                <a:gd name="T23" fmla="*/ 159 h 176"/>
                <a:gd name="T24" fmla="*/ 130 w 157"/>
                <a:gd name="T25" fmla="*/ 148 h 176"/>
                <a:gd name="T26" fmla="*/ 132 w 157"/>
                <a:gd name="T27" fmla="*/ 107 h 176"/>
                <a:gd name="T28" fmla="*/ 140 w 157"/>
                <a:gd name="T29" fmla="*/ 103 h 176"/>
                <a:gd name="T30" fmla="*/ 157 w 157"/>
                <a:gd name="T31" fmla="*/ 103 h 176"/>
                <a:gd name="T32" fmla="*/ 157 w 157"/>
                <a:gd name="T33" fmla="*/ 95 h 176"/>
                <a:gd name="T34" fmla="*/ 157 w 157"/>
                <a:gd name="T35" fmla="*/ 80 h 176"/>
                <a:gd name="T36" fmla="*/ 156 w 157"/>
                <a:gd name="T37" fmla="*/ 73 h 176"/>
                <a:gd name="T38" fmla="*/ 149 w 157"/>
                <a:gd name="T39" fmla="*/ 76 h 176"/>
                <a:gd name="T40" fmla="*/ 143 w 157"/>
                <a:gd name="T41" fmla="*/ 76 h 176"/>
                <a:gd name="T42" fmla="*/ 135 w 157"/>
                <a:gd name="T43" fmla="*/ 78 h 176"/>
                <a:gd name="T44" fmla="*/ 135 w 157"/>
                <a:gd name="T45" fmla="*/ 73 h 176"/>
                <a:gd name="T46" fmla="*/ 133 w 157"/>
                <a:gd name="T47" fmla="*/ 59 h 176"/>
                <a:gd name="T48" fmla="*/ 130 w 157"/>
                <a:gd name="T49" fmla="*/ 48 h 176"/>
                <a:gd name="T50" fmla="*/ 130 w 157"/>
                <a:gd name="T51" fmla="*/ 35 h 176"/>
                <a:gd name="T52" fmla="*/ 130 w 157"/>
                <a:gd name="T53" fmla="*/ 22 h 176"/>
                <a:gd name="T54" fmla="*/ 117 w 157"/>
                <a:gd name="T55" fmla="*/ 21 h 176"/>
                <a:gd name="T56" fmla="*/ 114 w 157"/>
                <a:gd name="T57" fmla="*/ 19 h 176"/>
                <a:gd name="T58" fmla="*/ 111 w 157"/>
                <a:gd name="T59" fmla="*/ 16 h 176"/>
                <a:gd name="T60" fmla="*/ 102 w 157"/>
                <a:gd name="T61" fmla="*/ 19 h 176"/>
                <a:gd name="T62" fmla="*/ 100 w 157"/>
                <a:gd name="T63" fmla="*/ 26 h 176"/>
                <a:gd name="T64" fmla="*/ 98 w 157"/>
                <a:gd name="T65" fmla="*/ 32 h 176"/>
                <a:gd name="T66" fmla="*/ 82 w 157"/>
                <a:gd name="T67" fmla="*/ 32 h 176"/>
                <a:gd name="T68" fmla="*/ 73 w 157"/>
                <a:gd name="T69" fmla="*/ 30 h 176"/>
                <a:gd name="T70" fmla="*/ 68 w 157"/>
                <a:gd name="T71" fmla="*/ 21 h 176"/>
                <a:gd name="T72" fmla="*/ 67 w 157"/>
                <a:gd name="T73" fmla="*/ 13 h 176"/>
                <a:gd name="T74" fmla="*/ 65 w 157"/>
                <a:gd name="T75" fmla="*/ 10 h 176"/>
                <a:gd name="T76" fmla="*/ 62 w 157"/>
                <a:gd name="T77" fmla="*/ 2 h 176"/>
                <a:gd name="T78" fmla="*/ 49 w 157"/>
                <a:gd name="T79" fmla="*/ 0 h 176"/>
                <a:gd name="T80" fmla="*/ 29 w 157"/>
                <a:gd name="T81" fmla="*/ 0 h 176"/>
                <a:gd name="T82" fmla="*/ 14 w 157"/>
                <a:gd name="T83" fmla="*/ 3 h 176"/>
                <a:gd name="T84" fmla="*/ 9 w 157"/>
                <a:gd name="T85" fmla="*/ 7 h 176"/>
                <a:gd name="T86" fmla="*/ 14 w 157"/>
                <a:gd name="T87" fmla="*/ 18 h 176"/>
                <a:gd name="T88" fmla="*/ 22 w 157"/>
                <a:gd name="T89" fmla="*/ 37 h 176"/>
                <a:gd name="T90" fmla="*/ 21 w 157"/>
                <a:gd name="T91" fmla="*/ 45 h 176"/>
                <a:gd name="T92" fmla="*/ 19 w 157"/>
                <a:gd name="T93" fmla="*/ 54 h 176"/>
                <a:gd name="T94" fmla="*/ 24 w 157"/>
                <a:gd name="T95" fmla="*/ 65 h 176"/>
                <a:gd name="T96" fmla="*/ 27 w 157"/>
                <a:gd name="T97" fmla="*/ 87 h 176"/>
                <a:gd name="T98" fmla="*/ 21 w 157"/>
                <a:gd name="T99" fmla="*/ 97 h 176"/>
                <a:gd name="T100" fmla="*/ 16 w 157"/>
                <a:gd name="T101" fmla="*/ 103 h 176"/>
                <a:gd name="T102" fmla="*/ 9 w 157"/>
                <a:gd name="T103" fmla="*/ 116 h 176"/>
                <a:gd name="T104" fmla="*/ 6 w 157"/>
                <a:gd name="T105" fmla="*/ 130 h 176"/>
                <a:gd name="T106" fmla="*/ 6 w 157"/>
                <a:gd name="T107" fmla="*/ 138 h 176"/>
                <a:gd name="T108" fmla="*/ 3 w 157"/>
                <a:gd name="T109" fmla="*/ 146 h 176"/>
                <a:gd name="T110" fmla="*/ 2 w 157"/>
                <a:gd name="T111" fmla="*/ 1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76">
                  <a:moveTo>
                    <a:pt x="3" y="164"/>
                  </a:moveTo>
                  <a:lnTo>
                    <a:pt x="3" y="164"/>
                  </a:lnTo>
                  <a:lnTo>
                    <a:pt x="6" y="164"/>
                  </a:lnTo>
                  <a:lnTo>
                    <a:pt x="6" y="164"/>
                  </a:lnTo>
                  <a:lnTo>
                    <a:pt x="9" y="164"/>
                  </a:lnTo>
                  <a:lnTo>
                    <a:pt x="9" y="164"/>
                  </a:lnTo>
                  <a:lnTo>
                    <a:pt x="13" y="164"/>
                  </a:lnTo>
                  <a:lnTo>
                    <a:pt x="13" y="164"/>
                  </a:lnTo>
                  <a:lnTo>
                    <a:pt x="13" y="164"/>
                  </a:lnTo>
                  <a:lnTo>
                    <a:pt x="13" y="164"/>
                  </a:lnTo>
                  <a:lnTo>
                    <a:pt x="17" y="161"/>
                  </a:lnTo>
                  <a:lnTo>
                    <a:pt x="17" y="161"/>
                  </a:lnTo>
                  <a:lnTo>
                    <a:pt x="19" y="161"/>
                  </a:lnTo>
                  <a:lnTo>
                    <a:pt x="19" y="161"/>
                  </a:lnTo>
                  <a:lnTo>
                    <a:pt x="21" y="161"/>
                  </a:lnTo>
                  <a:lnTo>
                    <a:pt x="21" y="161"/>
                  </a:lnTo>
                  <a:lnTo>
                    <a:pt x="25" y="164"/>
                  </a:lnTo>
                  <a:lnTo>
                    <a:pt x="25" y="164"/>
                  </a:lnTo>
                  <a:lnTo>
                    <a:pt x="30" y="167"/>
                  </a:lnTo>
                  <a:lnTo>
                    <a:pt x="30" y="167"/>
                  </a:lnTo>
                  <a:lnTo>
                    <a:pt x="33" y="167"/>
                  </a:lnTo>
                  <a:lnTo>
                    <a:pt x="33" y="167"/>
                  </a:lnTo>
                  <a:lnTo>
                    <a:pt x="41" y="167"/>
                  </a:lnTo>
                  <a:lnTo>
                    <a:pt x="41" y="167"/>
                  </a:lnTo>
                  <a:lnTo>
                    <a:pt x="56" y="167"/>
                  </a:lnTo>
                  <a:lnTo>
                    <a:pt x="56" y="167"/>
                  </a:lnTo>
                  <a:lnTo>
                    <a:pt x="79" y="167"/>
                  </a:lnTo>
                  <a:lnTo>
                    <a:pt x="79" y="167"/>
                  </a:lnTo>
                  <a:lnTo>
                    <a:pt x="81" y="167"/>
                  </a:lnTo>
                  <a:lnTo>
                    <a:pt x="81" y="167"/>
                  </a:lnTo>
                  <a:lnTo>
                    <a:pt x="82" y="167"/>
                  </a:lnTo>
                  <a:lnTo>
                    <a:pt x="82" y="167"/>
                  </a:lnTo>
                  <a:lnTo>
                    <a:pt x="84" y="167"/>
                  </a:lnTo>
                  <a:lnTo>
                    <a:pt x="84" y="167"/>
                  </a:lnTo>
                  <a:lnTo>
                    <a:pt x="86" y="167"/>
                  </a:lnTo>
                  <a:lnTo>
                    <a:pt x="86" y="167"/>
                  </a:lnTo>
                  <a:lnTo>
                    <a:pt x="89" y="170"/>
                  </a:lnTo>
                  <a:lnTo>
                    <a:pt x="89" y="170"/>
                  </a:lnTo>
                  <a:lnTo>
                    <a:pt x="92" y="173"/>
                  </a:lnTo>
                  <a:lnTo>
                    <a:pt x="92" y="173"/>
                  </a:lnTo>
                  <a:lnTo>
                    <a:pt x="97" y="173"/>
                  </a:lnTo>
                  <a:lnTo>
                    <a:pt x="97" y="173"/>
                  </a:lnTo>
                  <a:lnTo>
                    <a:pt x="105" y="173"/>
                  </a:lnTo>
                  <a:lnTo>
                    <a:pt x="105" y="173"/>
                  </a:lnTo>
                  <a:lnTo>
                    <a:pt x="111" y="173"/>
                  </a:lnTo>
                  <a:lnTo>
                    <a:pt x="111" y="173"/>
                  </a:lnTo>
                  <a:lnTo>
                    <a:pt x="114" y="176"/>
                  </a:lnTo>
                  <a:lnTo>
                    <a:pt x="114" y="176"/>
                  </a:lnTo>
                  <a:lnTo>
                    <a:pt x="114" y="176"/>
                  </a:lnTo>
                  <a:lnTo>
                    <a:pt x="114" y="176"/>
                  </a:lnTo>
                  <a:lnTo>
                    <a:pt x="116" y="176"/>
                  </a:lnTo>
                  <a:lnTo>
                    <a:pt x="116" y="176"/>
                  </a:lnTo>
                  <a:lnTo>
                    <a:pt x="119" y="173"/>
                  </a:lnTo>
                  <a:lnTo>
                    <a:pt x="119" y="173"/>
                  </a:lnTo>
                  <a:lnTo>
                    <a:pt x="122" y="173"/>
                  </a:lnTo>
                  <a:lnTo>
                    <a:pt x="122" y="173"/>
                  </a:lnTo>
                  <a:lnTo>
                    <a:pt x="127" y="173"/>
                  </a:lnTo>
                  <a:lnTo>
                    <a:pt x="127" y="173"/>
                  </a:lnTo>
                  <a:lnTo>
                    <a:pt x="140" y="172"/>
                  </a:lnTo>
                  <a:lnTo>
                    <a:pt x="140" y="172"/>
                  </a:lnTo>
                  <a:lnTo>
                    <a:pt x="148" y="170"/>
                  </a:lnTo>
                  <a:lnTo>
                    <a:pt x="148" y="170"/>
                  </a:lnTo>
                  <a:lnTo>
                    <a:pt x="148" y="170"/>
                  </a:lnTo>
                  <a:lnTo>
                    <a:pt x="149" y="170"/>
                  </a:lnTo>
                  <a:lnTo>
                    <a:pt x="149" y="170"/>
                  </a:lnTo>
                  <a:lnTo>
                    <a:pt x="143" y="164"/>
                  </a:lnTo>
                  <a:lnTo>
                    <a:pt x="143" y="164"/>
                  </a:lnTo>
                  <a:lnTo>
                    <a:pt x="140" y="161"/>
                  </a:lnTo>
                  <a:lnTo>
                    <a:pt x="140" y="161"/>
                  </a:lnTo>
                  <a:lnTo>
                    <a:pt x="140" y="161"/>
                  </a:lnTo>
                  <a:lnTo>
                    <a:pt x="140" y="161"/>
                  </a:lnTo>
                  <a:lnTo>
                    <a:pt x="136" y="159"/>
                  </a:lnTo>
                  <a:lnTo>
                    <a:pt x="136" y="159"/>
                  </a:lnTo>
                  <a:lnTo>
                    <a:pt x="133" y="154"/>
                  </a:lnTo>
                  <a:lnTo>
                    <a:pt x="133" y="154"/>
                  </a:lnTo>
                  <a:lnTo>
                    <a:pt x="132" y="151"/>
                  </a:lnTo>
                  <a:lnTo>
                    <a:pt x="132" y="151"/>
                  </a:lnTo>
                  <a:lnTo>
                    <a:pt x="130" y="148"/>
                  </a:lnTo>
                  <a:lnTo>
                    <a:pt x="130" y="148"/>
                  </a:lnTo>
                  <a:lnTo>
                    <a:pt x="132" y="132"/>
                  </a:lnTo>
                  <a:lnTo>
                    <a:pt x="132" y="132"/>
                  </a:lnTo>
                  <a:lnTo>
                    <a:pt x="132" y="114"/>
                  </a:lnTo>
                  <a:lnTo>
                    <a:pt x="132" y="114"/>
                  </a:lnTo>
                  <a:lnTo>
                    <a:pt x="132" y="107"/>
                  </a:lnTo>
                  <a:lnTo>
                    <a:pt x="132" y="107"/>
                  </a:lnTo>
                  <a:lnTo>
                    <a:pt x="132" y="103"/>
                  </a:lnTo>
                  <a:lnTo>
                    <a:pt x="132" y="103"/>
                  </a:lnTo>
                  <a:lnTo>
                    <a:pt x="132" y="103"/>
                  </a:lnTo>
                  <a:lnTo>
                    <a:pt x="132" y="103"/>
                  </a:lnTo>
                  <a:lnTo>
                    <a:pt x="140" y="103"/>
                  </a:lnTo>
                  <a:lnTo>
                    <a:pt x="140" y="103"/>
                  </a:lnTo>
                  <a:lnTo>
                    <a:pt x="149" y="103"/>
                  </a:lnTo>
                  <a:lnTo>
                    <a:pt x="149" y="103"/>
                  </a:lnTo>
                  <a:lnTo>
                    <a:pt x="152" y="103"/>
                  </a:lnTo>
                  <a:lnTo>
                    <a:pt x="152" y="103"/>
                  </a:lnTo>
                  <a:lnTo>
                    <a:pt x="157" y="103"/>
                  </a:lnTo>
                  <a:lnTo>
                    <a:pt x="157" y="103"/>
                  </a:lnTo>
                  <a:lnTo>
                    <a:pt x="156" y="100"/>
                  </a:lnTo>
                  <a:lnTo>
                    <a:pt x="156" y="100"/>
                  </a:lnTo>
                  <a:lnTo>
                    <a:pt x="156" y="97"/>
                  </a:lnTo>
                  <a:lnTo>
                    <a:pt x="156" y="97"/>
                  </a:lnTo>
                  <a:lnTo>
                    <a:pt x="157" y="95"/>
                  </a:lnTo>
                  <a:lnTo>
                    <a:pt x="157" y="95"/>
                  </a:lnTo>
                  <a:lnTo>
                    <a:pt x="157" y="91"/>
                  </a:lnTo>
                  <a:lnTo>
                    <a:pt x="157" y="91"/>
                  </a:lnTo>
                  <a:lnTo>
                    <a:pt x="157" y="87"/>
                  </a:lnTo>
                  <a:lnTo>
                    <a:pt x="157" y="87"/>
                  </a:lnTo>
                  <a:lnTo>
                    <a:pt x="157" y="80"/>
                  </a:lnTo>
                  <a:lnTo>
                    <a:pt x="157" y="80"/>
                  </a:lnTo>
                  <a:lnTo>
                    <a:pt x="157" y="76"/>
                  </a:lnTo>
                  <a:lnTo>
                    <a:pt x="157" y="76"/>
                  </a:lnTo>
                  <a:lnTo>
                    <a:pt x="157" y="73"/>
                  </a:lnTo>
                  <a:lnTo>
                    <a:pt x="157" y="73"/>
                  </a:lnTo>
                  <a:lnTo>
                    <a:pt x="156" y="73"/>
                  </a:lnTo>
                  <a:lnTo>
                    <a:pt x="156" y="73"/>
                  </a:lnTo>
                  <a:lnTo>
                    <a:pt x="154" y="73"/>
                  </a:lnTo>
                  <a:lnTo>
                    <a:pt x="154" y="73"/>
                  </a:lnTo>
                  <a:lnTo>
                    <a:pt x="151" y="73"/>
                  </a:lnTo>
                  <a:lnTo>
                    <a:pt x="151" y="73"/>
                  </a:lnTo>
                  <a:lnTo>
                    <a:pt x="149" y="76"/>
                  </a:lnTo>
                  <a:lnTo>
                    <a:pt x="149" y="76"/>
                  </a:lnTo>
                  <a:lnTo>
                    <a:pt x="146" y="76"/>
                  </a:lnTo>
                  <a:lnTo>
                    <a:pt x="146" y="76"/>
                  </a:lnTo>
                  <a:lnTo>
                    <a:pt x="143" y="76"/>
                  </a:lnTo>
                  <a:lnTo>
                    <a:pt x="143" y="76"/>
                  </a:lnTo>
                  <a:lnTo>
                    <a:pt x="143" y="76"/>
                  </a:lnTo>
                  <a:lnTo>
                    <a:pt x="143" y="76"/>
                  </a:lnTo>
                  <a:lnTo>
                    <a:pt x="140" y="76"/>
                  </a:lnTo>
                  <a:lnTo>
                    <a:pt x="140" y="76"/>
                  </a:lnTo>
                  <a:lnTo>
                    <a:pt x="136" y="76"/>
                  </a:lnTo>
                  <a:lnTo>
                    <a:pt x="136" y="76"/>
                  </a:lnTo>
                  <a:lnTo>
                    <a:pt x="135" y="78"/>
                  </a:lnTo>
                  <a:lnTo>
                    <a:pt x="135" y="78"/>
                  </a:lnTo>
                  <a:lnTo>
                    <a:pt x="135" y="76"/>
                  </a:lnTo>
                  <a:lnTo>
                    <a:pt x="135" y="76"/>
                  </a:lnTo>
                  <a:lnTo>
                    <a:pt x="135" y="73"/>
                  </a:lnTo>
                  <a:lnTo>
                    <a:pt x="135" y="73"/>
                  </a:lnTo>
                  <a:lnTo>
                    <a:pt x="135" y="73"/>
                  </a:lnTo>
                  <a:lnTo>
                    <a:pt x="135" y="73"/>
                  </a:lnTo>
                  <a:lnTo>
                    <a:pt x="135" y="70"/>
                  </a:lnTo>
                  <a:lnTo>
                    <a:pt x="135" y="70"/>
                  </a:lnTo>
                  <a:lnTo>
                    <a:pt x="135" y="64"/>
                  </a:lnTo>
                  <a:lnTo>
                    <a:pt x="135" y="64"/>
                  </a:lnTo>
                  <a:lnTo>
                    <a:pt x="133" y="59"/>
                  </a:lnTo>
                  <a:lnTo>
                    <a:pt x="133" y="59"/>
                  </a:lnTo>
                  <a:lnTo>
                    <a:pt x="130" y="54"/>
                  </a:lnTo>
                  <a:lnTo>
                    <a:pt x="130" y="54"/>
                  </a:lnTo>
                  <a:lnTo>
                    <a:pt x="130" y="51"/>
                  </a:lnTo>
                  <a:lnTo>
                    <a:pt x="130" y="51"/>
                  </a:lnTo>
                  <a:lnTo>
                    <a:pt x="130" y="48"/>
                  </a:lnTo>
                  <a:lnTo>
                    <a:pt x="130" y="48"/>
                  </a:lnTo>
                  <a:lnTo>
                    <a:pt x="130" y="41"/>
                  </a:lnTo>
                  <a:lnTo>
                    <a:pt x="130" y="41"/>
                  </a:lnTo>
                  <a:lnTo>
                    <a:pt x="130" y="37"/>
                  </a:lnTo>
                  <a:lnTo>
                    <a:pt x="130" y="37"/>
                  </a:lnTo>
                  <a:lnTo>
                    <a:pt x="130" y="35"/>
                  </a:lnTo>
                  <a:lnTo>
                    <a:pt x="130" y="35"/>
                  </a:lnTo>
                  <a:lnTo>
                    <a:pt x="129" y="30"/>
                  </a:lnTo>
                  <a:lnTo>
                    <a:pt x="129" y="30"/>
                  </a:lnTo>
                  <a:lnTo>
                    <a:pt x="130" y="24"/>
                  </a:lnTo>
                  <a:lnTo>
                    <a:pt x="130" y="24"/>
                  </a:lnTo>
                  <a:lnTo>
                    <a:pt x="130" y="22"/>
                  </a:lnTo>
                  <a:lnTo>
                    <a:pt x="130" y="22"/>
                  </a:lnTo>
                  <a:lnTo>
                    <a:pt x="129" y="21"/>
                  </a:lnTo>
                  <a:lnTo>
                    <a:pt x="129" y="21"/>
                  </a:lnTo>
                  <a:lnTo>
                    <a:pt x="125" y="21"/>
                  </a:lnTo>
                  <a:lnTo>
                    <a:pt x="125" y="21"/>
                  </a:lnTo>
                  <a:lnTo>
                    <a:pt x="117" y="21"/>
                  </a:lnTo>
                  <a:lnTo>
                    <a:pt x="117" y="21"/>
                  </a:lnTo>
                  <a:lnTo>
                    <a:pt x="116" y="21"/>
                  </a:lnTo>
                  <a:lnTo>
                    <a:pt x="116" y="21"/>
                  </a:lnTo>
                  <a:lnTo>
                    <a:pt x="114" y="21"/>
                  </a:lnTo>
                  <a:lnTo>
                    <a:pt x="114" y="21"/>
                  </a:lnTo>
                  <a:lnTo>
                    <a:pt x="114" y="19"/>
                  </a:lnTo>
                  <a:lnTo>
                    <a:pt x="114" y="19"/>
                  </a:lnTo>
                  <a:lnTo>
                    <a:pt x="114" y="16"/>
                  </a:lnTo>
                  <a:lnTo>
                    <a:pt x="114" y="16"/>
                  </a:lnTo>
                  <a:lnTo>
                    <a:pt x="111" y="16"/>
                  </a:lnTo>
                  <a:lnTo>
                    <a:pt x="111" y="16"/>
                  </a:lnTo>
                  <a:lnTo>
                    <a:pt x="111" y="16"/>
                  </a:lnTo>
                  <a:lnTo>
                    <a:pt x="111" y="16"/>
                  </a:lnTo>
                  <a:lnTo>
                    <a:pt x="105" y="16"/>
                  </a:lnTo>
                  <a:lnTo>
                    <a:pt x="105" y="16"/>
                  </a:lnTo>
                  <a:lnTo>
                    <a:pt x="102" y="16"/>
                  </a:lnTo>
                  <a:lnTo>
                    <a:pt x="102" y="16"/>
                  </a:lnTo>
                  <a:lnTo>
                    <a:pt x="102" y="19"/>
                  </a:lnTo>
                  <a:lnTo>
                    <a:pt x="102" y="19"/>
                  </a:lnTo>
                  <a:lnTo>
                    <a:pt x="102" y="22"/>
                  </a:lnTo>
                  <a:lnTo>
                    <a:pt x="102" y="22"/>
                  </a:lnTo>
                  <a:lnTo>
                    <a:pt x="102" y="24"/>
                  </a:lnTo>
                  <a:lnTo>
                    <a:pt x="102" y="24"/>
                  </a:lnTo>
                  <a:lnTo>
                    <a:pt x="100" y="26"/>
                  </a:lnTo>
                  <a:lnTo>
                    <a:pt x="100" y="26"/>
                  </a:lnTo>
                  <a:lnTo>
                    <a:pt x="98" y="26"/>
                  </a:lnTo>
                  <a:lnTo>
                    <a:pt x="98" y="26"/>
                  </a:lnTo>
                  <a:lnTo>
                    <a:pt x="98" y="29"/>
                  </a:lnTo>
                  <a:lnTo>
                    <a:pt x="98" y="29"/>
                  </a:lnTo>
                  <a:lnTo>
                    <a:pt x="98" y="32"/>
                  </a:lnTo>
                  <a:lnTo>
                    <a:pt x="98" y="32"/>
                  </a:lnTo>
                  <a:lnTo>
                    <a:pt x="89" y="30"/>
                  </a:lnTo>
                  <a:lnTo>
                    <a:pt x="89" y="30"/>
                  </a:lnTo>
                  <a:lnTo>
                    <a:pt x="86" y="32"/>
                  </a:lnTo>
                  <a:lnTo>
                    <a:pt x="86" y="32"/>
                  </a:lnTo>
                  <a:lnTo>
                    <a:pt x="82" y="32"/>
                  </a:lnTo>
                  <a:lnTo>
                    <a:pt x="82" y="32"/>
                  </a:lnTo>
                  <a:lnTo>
                    <a:pt x="76" y="32"/>
                  </a:lnTo>
                  <a:lnTo>
                    <a:pt x="76" y="32"/>
                  </a:lnTo>
                  <a:lnTo>
                    <a:pt x="76" y="32"/>
                  </a:lnTo>
                  <a:lnTo>
                    <a:pt x="76" y="32"/>
                  </a:lnTo>
                  <a:lnTo>
                    <a:pt x="73" y="30"/>
                  </a:lnTo>
                  <a:lnTo>
                    <a:pt x="73" y="30"/>
                  </a:lnTo>
                  <a:lnTo>
                    <a:pt x="73" y="29"/>
                  </a:lnTo>
                  <a:lnTo>
                    <a:pt x="73" y="29"/>
                  </a:lnTo>
                  <a:lnTo>
                    <a:pt x="70" y="22"/>
                  </a:lnTo>
                  <a:lnTo>
                    <a:pt x="70" y="22"/>
                  </a:lnTo>
                  <a:lnTo>
                    <a:pt x="68" y="21"/>
                  </a:lnTo>
                  <a:lnTo>
                    <a:pt x="68" y="21"/>
                  </a:lnTo>
                  <a:lnTo>
                    <a:pt x="68" y="19"/>
                  </a:lnTo>
                  <a:lnTo>
                    <a:pt x="68" y="19"/>
                  </a:lnTo>
                  <a:lnTo>
                    <a:pt x="68" y="16"/>
                  </a:lnTo>
                  <a:lnTo>
                    <a:pt x="68" y="16"/>
                  </a:lnTo>
                  <a:lnTo>
                    <a:pt x="67" y="13"/>
                  </a:lnTo>
                  <a:lnTo>
                    <a:pt x="67" y="13"/>
                  </a:lnTo>
                  <a:lnTo>
                    <a:pt x="65" y="13"/>
                  </a:lnTo>
                  <a:lnTo>
                    <a:pt x="65" y="13"/>
                  </a:lnTo>
                  <a:lnTo>
                    <a:pt x="65" y="10"/>
                  </a:lnTo>
                  <a:lnTo>
                    <a:pt x="65" y="10"/>
                  </a:lnTo>
                  <a:lnTo>
                    <a:pt x="65" y="10"/>
                  </a:lnTo>
                  <a:lnTo>
                    <a:pt x="65" y="10"/>
                  </a:lnTo>
                  <a:lnTo>
                    <a:pt x="65" y="7"/>
                  </a:lnTo>
                  <a:lnTo>
                    <a:pt x="65" y="7"/>
                  </a:lnTo>
                  <a:lnTo>
                    <a:pt x="63" y="3"/>
                  </a:lnTo>
                  <a:lnTo>
                    <a:pt x="63" y="3"/>
                  </a:lnTo>
                  <a:lnTo>
                    <a:pt x="62" y="2"/>
                  </a:lnTo>
                  <a:lnTo>
                    <a:pt x="62" y="2"/>
                  </a:lnTo>
                  <a:lnTo>
                    <a:pt x="59" y="0"/>
                  </a:lnTo>
                  <a:lnTo>
                    <a:pt x="59" y="0"/>
                  </a:lnTo>
                  <a:lnTo>
                    <a:pt x="57" y="0"/>
                  </a:lnTo>
                  <a:lnTo>
                    <a:pt x="57" y="0"/>
                  </a:lnTo>
                  <a:lnTo>
                    <a:pt x="49" y="0"/>
                  </a:lnTo>
                  <a:lnTo>
                    <a:pt x="49" y="0"/>
                  </a:lnTo>
                  <a:lnTo>
                    <a:pt x="38" y="0"/>
                  </a:lnTo>
                  <a:lnTo>
                    <a:pt x="38" y="0"/>
                  </a:lnTo>
                  <a:lnTo>
                    <a:pt x="35" y="0"/>
                  </a:lnTo>
                  <a:lnTo>
                    <a:pt x="35" y="0"/>
                  </a:lnTo>
                  <a:lnTo>
                    <a:pt x="29" y="0"/>
                  </a:lnTo>
                  <a:lnTo>
                    <a:pt x="29" y="0"/>
                  </a:lnTo>
                  <a:lnTo>
                    <a:pt x="19" y="0"/>
                  </a:lnTo>
                  <a:lnTo>
                    <a:pt x="19" y="0"/>
                  </a:lnTo>
                  <a:lnTo>
                    <a:pt x="16" y="2"/>
                  </a:lnTo>
                  <a:lnTo>
                    <a:pt x="16" y="2"/>
                  </a:lnTo>
                  <a:lnTo>
                    <a:pt x="14" y="3"/>
                  </a:lnTo>
                  <a:lnTo>
                    <a:pt x="14" y="3"/>
                  </a:lnTo>
                  <a:lnTo>
                    <a:pt x="9" y="3"/>
                  </a:lnTo>
                  <a:lnTo>
                    <a:pt x="9" y="3"/>
                  </a:lnTo>
                  <a:lnTo>
                    <a:pt x="9" y="5"/>
                  </a:lnTo>
                  <a:lnTo>
                    <a:pt x="9" y="5"/>
                  </a:lnTo>
                  <a:lnTo>
                    <a:pt x="9" y="7"/>
                  </a:lnTo>
                  <a:lnTo>
                    <a:pt x="9" y="7"/>
                  </a:lnTo>
                  <a:lnTo>
                    <a:pt x="13" y="13"/>
                  </a:lnTo>
                  <a:lnTo>
                    <a:pt x="13" y="13"/>
                  </a:lnTo>
                  <a:lnTo>
                    <a:pt x="13" y="16"/>
                  </a:lnTo>
                  <a:lnTo>
                    <a:pt x="13" y="16"/>
                  </a:lnTo>
                  <a:lnTo>
                    <a:pt x="14" y="18"/>
                  </a:lnTo>
                  <a:lnTo>
                    <a:pt x="14" y="18"/>
                  </a:lnTo>
                  <a:lnTo>
                    <a:pt x="16" y="22"/>
                  </a:lnTo>
                  <a:lnTo>
                    <a:pt x="16" y="22"/>
                  </a:lnTo>
                  <a:lnTo>
                    <a:pt x="21" y="32"/>
                  </a:lnTo>
                  <a:lnTo>
                    <a:pt x="21" y="32"/>
                  </a:lnTo>
                  <a:lnTo>
                    <a:pt x="22" y="37"/>
                  </a:lnTo>
                  <a:lnTo>
                    <a:pt x="22" y="37"/>
                  </a:lnTo>
                  <a:lnTo>
                    <a:pt x="22" y="41"/>
                  </a:lnTo>
                  <a:lnTo>
                    <a:pt x="22" y="41"/>
                  </a:lnTo>
                  <a:lnTo>
                    <a:pt x="21" y="41"/>
                  </a:lnTo>
                  <a:lnTo>
                    <a:pt x="21" y="41"/>
                  </a:lnTo>
                  <a:lnTo>
                    <a:pt x="21" y="45"/>
                  </a:lnTo>
                  <a:lnTo>
                    <a:pt x="21" y="45"/>
                  </a:lnTo>
                  <a:lnTo>
                    <a:pt x="17" y="48"/>
                  </a:lnTo>
                  <a:lnTo>
                    <a:pt x="17" y="48"/>
                  </a:lnTo>
                  <a:lnTo>
                    <a:pt x="19" y="51"/>
                  </a:lnTo>
                  <a:lnTo>
                    <a:pt x="19" y="51"/>
                  </a:lnTo>
                  <a:lnTo>
                    <a:pt x="19" y="54"/>
                  </a:lnTo>
                  <a:lnTo>
                    <a:pt x="19" y="54"/>
                  </a:lnTo>
                  <a:lnTo>
                    <a:pt x="21" y="59"/>
                  </a:lnTo>
                  <a:lnTo>
                    <a:pt x="21" y="59"/>
                  </a:lnTo>
                  <a:lnTo>
                    <a:pt x="22" y="62"/>
                  </a:lnTo>
                  <a:lnTo>
                    <a:pt x="22" y="62"/>
                  </a:lnTo>
                  <a:lnTo>
                    <a:pt x="24" y="65"/>
                  </a:lnTo>
                  <a:lnTo>
                    <a:pt x="24" y="65"/>
                  </a:lnTo>
                  <a:lnTo>
                    <a:pt x="27" y="73"/>
                  </a:lnTo>
                  <a:lnTo>
                    <a:pt x="27" y="73"/>
                  </a:lnTo>
                  <a:lnTo>
                    <a:pt x="29" y="83"/>
                  </a:lnTo>
                  <a:lnTo>
                    <a:pt x="29" y="83"/>
                  </a:lnTo>
                  <a:lnTo>
                    <a:pt x="27" y="87"/>
                  </a:lnTo>
                  <a:lnTo>
                    <a:pt x="27" y="87"/>
                  </a:lnTo>
                  <a:lnTo>
                    <a:pt x="25" y="92"/>
                  </a:lnTo>
                  <a:lnTo>
                    <a:pt x="25" y="92"/>
                  </a:lnTo>
                  <a:lnTo>
                    <a:pt x="24" y="95"/>
                  </a:lnTo>
                  <a:lnTo>
                    <a:pt x="24" y="95"/>
                  </a:lnTo>
                  <a:lnTo>
                    <a:pt x="21" y="97"/>
                  </a:lnTo>
                  <a:lnTo>
                    <a:pt x="21" y="97"/>
                  </a:lnTo>
                  <a:lnTo>
                    <a:pt x="17" y="97"/>
                  </a:lnTo>
                  <a:lnTo>
                    <a:pt x="17" y="97"/>
                  </a:lnTo>
                  <a:lnTo>
                    <a:pt x="17" y="100"/>
                  </a:lnTo>
                  <a:lnTo>
                    <a:pt x="17" y="100"/>
                  </a:lnTo>
                  <a:lnTo>
                    <a:pt x="16" y="103"/>
                  </a:lnTo>
                  <a:lnTo>
                    <a:pt x="16" y="103"/>
                  </a:lnTo>
                  <a:lnTo>
                    <a:pt x="13" y="108"/>
                  </a:lnTo>
                  <a:lnTo>
                    <a:pt x="13" y="108"/>
                  </a:lnTo>
                  <a:lnTo>
                    <a:pt x="9" y="111"/>
                  </a:lnTo>
                  <a:lnTo>
                    <a:pt x="9" y="111"/>
                  </a:lnTo>
                  <a:lnTo>
                    <a:pt x="9" y="116"/>
                  </a:lnTo>
                  <a:lnTo>
                    <a:pt x="9" y="116"/>
                  </a:lnTo>
                  <a:lnTo>
                    <a:pt x="9" y="121"/>
                  </a:lnTo>
                  <a:lnTo>
                    <a:pt x="9" y="121"/>
                  </a:lnTo>
                  <a:lnTo>
                    <a:pt x="9" y="126"/>
                  </a:lnTo>
                  <a:lnTo>
                    <a:pt x="9" y="126"/>
                  </a:lnTo>
                  <a:lnTo>
                    <a:pt x="6" y="130"/>
                  </a:lnTo>
                  <a:lnTo>
                    <a:pt x="6" y="130"/>
                  </a:lnTo>
                  <a:lnTo>
                    <a:pt x="6" y="135"/>
                  </a:lnTo>
                  <a:lnTo>
                    <a:pt x="6" y="135"/>
                  </a:lnTo>
                  <a:lnTo>
                    <a:pt x="6" y="135"/>
                  </a:lnTo>
                  <a:lnTo>
                    <a:pt x="6" y="135"/>
                  </a:lnTo>
                  <a:lnTo>
                    <a:pt x="6" y="138"/>
                  </a:lnTo>
                  <a:lnTo>
                    <a:pt x="6" y="138"/>
                  </a:lnTo>
                  <a:lnTo>
                    <a:pt x="3" y="141"/>
                  </a:lnTo>
                  <a:lnTo>
                    <a:pt x="3" y="141"/>
                  </a:lnTo>
                  <a:lnTo>
                    <a:pt x="0" y="143"/>
                  </a:lnTo>
                  <a:lnTo>
                    <a:pt x="0" y="143"/>
                  </a:lnTo>
                  <a:lnTo>
                    <a:pt x="3" y="146"/>
                  </a:lnTo>
                  <a:lnTo>
                    <a:pt x="3" y="146"/>
                  </a:lnTo>
                  <a:lnTo>
                    <a:pt x="0" y="156"/>
                  </a:lnTo>
                  <a:lnTo>
                    <a:pt x="0" y="156"/>
                  </a:lnTo>
                  <a:lnTo>
                    <a:pt x="0" y="164"/>
                  </a:lnTo>
                  <a:lnTo>
                    <a:pt x="0" y="164"/>
                  </a:lnTo>
                  <a:lnTo>
                    <a:pt x="2" y="164"/>
                  </a:lnTo>
                  <a:lnTo>
                    <a:pt x="3" y="164"/>
                  </a:lnTo>
                  <a:lnTo>
                    <a:pt x="3" y="164"/>
                  </a:lnTo>
                  <a:lnTo>
                    <a:pt x="3" y="16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3" name="Freeform 140">
              <a:extLst>
                <a:ext uri="{FF2B5EF4-FFF2-40B4-BE49-F238E27FC236}">
                  <a16:creationId xmlns:a16="http://schemas.microsoft.com/office/drawing/2014/main" id="{D262631C-CD54-8E5B-3D8C-200FE20EABC5}"/>
                </a:ext>
              </a:extLst>
            </p:cNvPr>
            <p:cNvSpPr>
              <a:spLocks/>
            </p:cNvSpPr>
            <p:nvPr/>
          </p:nvSpPr>
          <p:spPr bwMode="auto">
            <a:xfrm>
              <a:off x="6390503" y="4294277"/>
              <a:ext cx="334218" cy="316273"/>
            </a:xfrm>
            <a:custGeom>
              <a:avLst/>
              <a:gdLst>
                <a:gd name="T0" fmla="*/ 146 w 149"/>
                <a:gd name="T1" fmla="*/ 24 h 141"/>
                <a:gd name="T2" fmla="*/ 146 w 149"/>
                <a:gd name="T3" fmla="*/ 21 h 141"/>
                <a:gd name="T4" fmla="*/ 142 w 149"/>
                <a:gd name="T5" fmla="*/ 16 h 141"/>
                <a:gd name="T6" fmla="*/ 136 w 149"/>
                <a:gd name="T7" fmla="*/ 16 h 141"/>
                <a:gd name="T8" fmla="*/ 130 w 149"/>
                <a:gd name="T9" fmla="*/ 10 h 141"/>
                <a:gd name="T10" fmla="*/ 125 w 149"/>
                <a:gd name="T11" fmla="*/ 10 h 141"/>
                <a:gd name="T12" fmla="*/ 119 w 149"/>
                <a:gd name="T13" fmla="*/ 6 h 141"/>
                <a:gd name="T14" fmla="*/ 115 w 149"/>
                <a:gd name="T15" fmla="*/ 6 h 141"/>
                <a:gd name="T16" fmla="*/ 111 w 149"/>
                <a:gd name="T17" fmla="*/ 3 h 141"/>
                <a:gd name="T18" fmla="*/ 90 w 149"/>
                <a:gd name="T19" fmla="*/ 3 h 141"/>
                <a:gd name="T20" fmla="*/ 85 w 149"/>
                <a:gd name="T21" fmla="*/ 13 h 141"/>
                <a:gd name="T22" fmla="*/ 87 w 149"/>
                <a:gd name="T23" fmla="*/ 19 h 141"/>
                <a:gd name="T24" fmla="*/ 85 w 149"/>
                <a:gd name="T25" fmla="*/ 38 h 141"/>
                <a:gd name="T26" fmla="*/ 84 w 149"/>
                <a:gd name="T27" fmla="*/ 51 h 141"/>
                <a:gd name="T28" fmla="*/ 96 w 149"/>
                <a:gd name="T29" fmla="*/ 60 h 141"/>
                <a:gd name="T30" fmla="*/ 101 w 149"/>
                <a:gd name="T31" fmla="*/ 56 h 141"/>
                <a:gd name="T32" fmla="*/ 101 w 149"/>
                <a:gd name="T33" fmla="*/ 75 h 141"/>
                <a:gd name="T34" fmla="*/ 98 w 149"/>
                <a:gd name="T35" fmla="*/ 72 h 141"/>
                <a:gd name="T36" fmla="*/ 90 w 149"/>
                <a:gd name="T37" fmla="*/ 72 h 141"/>
                <a:gd name="T38" fmla="*/ 84 w 149"/>
                <a:gd name="T39" fmla="*/ 64 h 141"/>
                <a:gd name="T40" fmla="*/ 81 w 149"/>
                <a:gd name="T41" fmla="*/ 60 h 141"/>
                <a:gd name="T42" fmla="*/ 76 w 149"/>
                <a:gd name="T43" fmla="*/ 59 h 141"/>
                <a:gd name="T44" fmla="*/ 69 w 149"/>
                <a:gd name="T45" fmla="*/ 52 h 141"/>
                <a:gd name="T46" fmla="*/ 65 w 149"/>
                <a:gd name="T47" fmla="*/ 52 h 141"/>
                <a:gd name="T48" fmla="*/ 54 w 149"/>
                <a:gd name="T49" fmla="*/ 52 h 141"/>
                <a:gd name="T50" fmla="*/ 46 w 149"/>
                <a:gd name="T51" fmla="*/ 51 h 141"/>
                <a:gd name="T52" fmla="*/ 44 w 149"/>
                <a:gd name="T53" fmla="*/ 41 h 141"/>
                <a:gd name="T54" fmla="*/ 31 w 149"/>
                <a:gd name="T55" fmla="*/ 45 h 141"/>
                <a:gd name="T56" fmla="*/ 31 w 149"/>
                <a:gd name="T57" fmla="*/ 41 h 141"/>
                <a:gd name="T58" fmla="*/ 28 w 149"/>
                <a:gd name="T59" fmla="*/ 41 h 141"/>
                <a:gd name="T60" fmla="*/ 28 w 149"/>
                <a:gd name="T61" fmla="*/ 56 h 141"/>
                <a:gd name="T62" fmla="*/ 27 w 149"/>
                <a:gd name="T63" fmla="*/ 65 h 141"/>
                <a:gd name="T64" fmla="*/ 19 w 149"/>
                <a:gd name="T65" fmla="*/ 68 h 141"/>
                <a:gd name="T66" fmla="*/ 3 w 149"/>
                <a:gd name="T67" fmla="*/ 68 h 141"/>
                <a:gd name="T68" fmla="*/ 3 w 149"/>
                <a:gd name="T69" fmla="*/ 97 h 141"/>
                <a:gd name="T70" fmla="*/ 3 w 149"/>
                <a:gd name="T71" fmla="*/ 119 h 141"/>
                <a:gd name="T72" fmla="*/ 9 w 149"/>
                <a:gd name="T73" fmla="*/ 124 h 141"/>
                <a:gd name="T74" fmla="*/ 19 w 149"/>
                <a:gd name="T75" fmla="*/ 133 h 141"/>
                <a:gd name="T76" fmla="*/ 25 w 149"/>
                <a:gd name="T77" fmla="*/ 133 h 141"/>
                <a:gd name="T78" fmla="*/ 38 w 149"/>
                <a:gd name="T79" fmla="*/ 132 h 141"/>
                <a:gd name="T80" fmla="*/ 44 w 149"/>
                <a:gd name="T81" fmla="*/ 137 h 141"/>
                <a:gd name="T82" fmla="*/ 50 w 149"/>
                <a:gd name="T83" fmla="*/ 140 h 141"/>
                <a:gd name="T84" fmla="*/ 58 w 149"/>
                <a:gd name="T85" fmla="*/ 140 h 141"/>
                <a:gd name="T86" fmla="*/ 66 w 149"/>
                <a:gd name="T87" fmla="*/ 137 h 141"/>
                <a:gd name="T88" fmla="*/ 82 w 149"/>
                <a:gd name="T89" fmla="*/ 121 h 141"/>
                <a:gd name="T90" fmla="*/ 87 w 149"/>
                <a:gd name="T91" fmla="*/ 113 h 141"/>
                <a:gd name="T92" fmla="*/ 95 w 149"/>
                <a:gd name="T93" fmla="*/ 106 h 141"/>
                <a:gd name="T94" fmla="*/ 101 w 149"/>
                <a:gd name="T95" fmla="*/ 106 h 141"/>
                <a:gd name="T96" fmla="*/ 107 w 149"/>
                <a:gd name="T97" fmla="*/ 100 h 141"/>
                <a:gd name="T98" fmla="*/ 141 w 149"/>
                <a:gd name="T99" fmla="*/ 83 h 141"/>
                <a:gd name="T100" fmla="*/ 139 w 149"/>
                <a:gd name="T101" fmla="*/ 83 h 141"/>
                <a:gd name="T102" fmla="*/ 136 w 149"/>
                <a:gd name="T103" fmla="*/ 79 h 141"/>
                <a:gd name="T104" fmla="*/ 139 w 149"/>
                <a:gd name="T105" fmla="*/ 75 h 141"/>
                <a:gd name="T106" fmla="*/ 139 w 149"/>
                <a:gd name="T107" fmla="*/ 65 h 141"/>
                <a:gd name="T108" fmla="*/ 147 w 149"/>
                <a:gd name="T109" fmla="*/ 59 h 141"/>
                <a:gd name="T110" fmla="*/ 146 w 149"/>
                <a:gd name="T111" fmla="*/ 48 h 141"/>
                <a:gd name="T112" fmla="*/ 146 w 149"/>
                <a:gd name="T113" fmla="*/ 38 h 141"/>
                <a:gd name="T114" fmla="*/ 147 w 149"/>
                <a:gd name="T115" fmla="*/ 37 h 141"/>
                <a:gd name="T116" fmla="*/ 149 w 149"/>
                <a:gd name="T117" fmla="*/ 3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41">
                  <a:moveTo>
                    <a:pt x="147" y="27"/>
                  </a:moveTo>
                  <a:lnTo>
                    <a:pt x="147" y="27"/>
                  </a:lnTo>
                  <a:lnTo>
                    <a:pt x="146" y="25"/>
                  </a:lnTo>
                  <a:lnTo>
                    <a:pt x="146" y="25"/>
                  </a:lnTo>
                  <a:lnTo>
                    <a:pt x="146" y="24"/>
                  </a:lnTo>
                  <a:lnTo>
                    <a:pt x="146" y="24"/>
                  </a:lnTo>
                  <a:lnTo>
                    <a:pt x="146" y="22"/>
                  </a:lnTo>
                  <a:lnTo>
                    <a:pt x="146" y="22"/>
                  </a:lnTo>
                  <a:lnTo>
                    <a:pt x="146" y="22"/>
                  </a:lnTo>
                  <a:lnTo>
                    <a:pt x="146" y="22"/>
                  </a:lnTo>
                  <a:lnTo>
                    <a:pt x="146" y="21"/>
                  </a:lnTo>
                  <a:lnTo>
                    <a:pt x="146" y="21"/>
                  </a:lnTo>
                  <a:lnTo>
                    <a:pt x="142" y="19"/>
                  </a:lnTo>
                  <a:lnTo>
                    <a:pt x="142" y="19"/>
                  </a:lnTo>
                  <a:lnTo>
                    <a:pt x="142" y="18"/>
                  </a:lnTo>
                  <a:lnTo>
                    <a:pt x="142" y="18"/>
                  </a:lnTo>
                  <a:lnTo>
                    <a:pt x="142" y="16"/>
                  </a:lnTo>
                  <a:lnTo>
                    <a:pt x="142" y="16"/>
                  </a:lnTo>
                  <a:lnTo>
                    <a:pt x="139" y="16"/>
                  </a:lnTo>
                  <a:lnTo>
                    <a:pt x="139" y="16"/>
                  </a:lnTo>
                  <a:lnTo>
                    <a:pt x="139" y="16"/>
                  </a:lnTo>
                  <a:lnTo>
                    <a:pt x="139" y="16"/>
                  </a:lnTo>
                  <a:lnTo>
                    <a:pt x="136" y="16"/>
                  </a:lnTo>
                  <a:lnTo>
                    <a:pt x="136" y="16"/>
                  </a:lnTo>
                  <a:lnTo>
                    <a:pt x="136" y="13"/>
                  </a:lnTo>
                  <a:lnTo>
                    <a:pt x="136" y="13"/>
                  </a:lnTo>
                  <a:lnTo>
                    <a:pt x="133" y="13"/>
                  </a:lnTo>
                  <a:lnTo>
                    <a:pt x="133" y="13"/>
                  </a:lnTo>
                  <a:lnTo>
                    <a:pt x="130" y="10"/>
                  </a:lnTo>
                  <a:lnTo>
                    <a:pt x="130" y="10"/>
                  </a:lnTo>
                  <a:lnTo>
                    <a:pt x="128" y="10"/>
                  </a:lnTo>
                  <a:lnTo>
                    <a:pt x="128" y="10"/>
                  </a:lnTo>
                  <a:lnTo>
                    <a:pt x="127" y="10"/>
                  </a:lnTo>
                  <a:lnTo>
                    <a:pt x="127" y="10"/>
                  </a:lnTo>
                  <a:lnTo>
                    <a:pt x="125" y="10"/>
                  </a:lnTo>
                  <a:lnTo>
                    <a:pt x="125" y="10"/>
                  </a:lnTo>
                  <a:lnTo>
                    <a:pt x="123" y="6"/>
                  </a:lnTo>
                  <a:lnTo>
                    <a:pt x="123" y="6"/>
                  </a:lnTo>
                  <a:lnTo>
                    <a:pt x="119" y="5"/>
                  </a:lnTo>
                  <a:lnTo>
                    <a:pt x="119" y="5"/>
                  </a:lnTo>
                  <a:lnTo>
                    <a:pt x="119" y="6"/>
                  </a:lnTo>
                  <a:lnTo>
                    <a:pt x="119" y="6"/>
                  </a:lnTo>
                  <a:lnTo>
                    <a:pt x="119" y="6"/>
                  </a:lnTo>
                  <a:lnTo>
                    <a:pt x="119" y="6"/>
                  </a:lnTo>
                  <a:lnTo>
                    <a:pt x="117" y="6"/>
                  </a:lnTo>
                  <a:lnTo>
                    <a:pt x="117" y="6"/>
                  </a:lnTo>
                  <a:lnTo>
                    <a:pt x="115" y="6"/>
                  </a:lnTo>
                  <a:lnTo>
                    <a:pt x="115" y="6"/>
                  </a:lnTo>
                  <a:lnTo>
                    <a:pt x="112" y="5"/>
                  </a:lnTo>
                  <a:lnTo>
                    <a:pt x="112" y="5"/>
                  </a:lnTo>
                  <a:lnTo>
                    <a:pt x="111" y="5"/>
                  </a:lnTo>
                  <a:lnTo>
                    <a:pt x="111" y="5"/>
                  </a:lnTo>
                  <a:lnTo>
                    <a:pt x="111" y="3"/>
                  </a:lnTo>
                  <a:lnTo>
                    <a:pt x="111" y="3"/>
                  </a:lnTo>
                  <a:lnTo>
                    <a:pt x="111" y="3"/>
                  </a:lnTo>
                  <a:lnTo>
                    <a:pt x="111" y="3"/>
                  </a:lnTo>
                  <a:lnTo>
                    <a:pt x="111" y="0"/>
                  </a:lnTo>
                  <a:lnTo>
                    <a:pt x="111" y="0"/>
                  </a:lnTo>
                  <a:lnTo>
                    <a:pt x="90" y="3"/>
                  </a:lnTo>
                  <a:lnTo>
                    <a:pt x="90" y="3"/>
                  </a:lnTo>
                  <a:lnTo>
                    <a:pt x="90" y="6"/>
                  </a:lnTo>
                  <a:lnTo>
                    <a:pt x="90" y="6"/>
                  </a:lnTo>
                  <a:lnTo>
                    <a:pt x="88" y="10"/>
                  </a:lnTo>
                  <a:lnTo>
                    <a:pt x="88" y="10"/>
                  </a:lnTo>
                  <a:lnTo>
                    <a:pt x="85" y="13"/>
                  </a:lnTo>
                  <a:lnTo>
                    <a:pt x="85" y="13"/>
                  </a:lnTo>
                  <a:lnTo>
                    <a:pt x="84" y="16"/>
                  </a:lnTo>
                  <a:lnTo>
                    <a:pt x="84" y="16"/>
                  </a:lnTo>
                  <a:lnTo>
                    <a:pt x="85" y="16"/>
                  </a:lnTo>
                  <a:lnTo>
                    <a:pt x="85" y="16"/>
                  </a:lnTo>
                  <a:lnTo>
                    <a:pt x="87" y="19"/>
                  </a:lnTo>
                  <a:lnTo>
                    <a:pt x="87" y="19"/>
                  </a:lnTo>
                  <a:lnTo>
                    <a:pt x="87" y="27"/>
                  </a:lnTo>
                  <a:lnTo>
                    <a:pt x="87" y="27"/>
                  </a:lnTo>
                  <a:lnTo>
                    <a:pt x="87" y="35"/>
                  </a:lnTo>
                  <a:lnTo>
                    <a:pt x="87" y="35"/>
                  </a:lnTo>
                  <a:lnTo>
                    <a:pt x="85" y="38"/>
                  </a:lnTo>
                  <a:lnTo>
                    <a:pt x="85" y="38"/>
                  </a:lnTo>
                  <a:lnTo>
                    <a:pt x="84" y="41"/>
                  </a:lnTo>
                  <a:lnTo>
                    <a:pt x="84" y="41"/>
                  </a:lnTo>
                  <a:lnTo>
                    <a:pt x="84" y="48"/>
                  </a:lnTo>
                  <a:lnTo>
                    <a:pt x="84" y="48"/>
                  </a:lnTo>
                  <a:lnTo>
                    <a:pt x="84" y="51"/>
                  </a:lnTo>
                  <a:lnTo>
                    <a:pt x="84" y="51"/>
                  </a:lnTo>
                  <a:lnTo>
                    <a:pt x="90" y="57"/>
                  </a:lnTo>
                  <a:lnTo>
                    <a:pt x="90" y="57"/>
                  </a:lnTo>
                  <a:lnTo>
                    <a:pt x="93" y="59"/>
                  </a:lnTo>
                  <a:lnTo>
                    <a:pt x="93" y="59"/>
                  </a:lnTo>
                  <a:lnTo>
                    <a:pt x="96" y="60"/>
                  </a:lnTo>
                  <a:lnTo>
                    <a:pt x="96" y="60"/>
                  </a:lnTo>
                  <a:lnTo>
                    <a:pt x="96" y="59"/>
                  </a:lnTo>
                  <a:lnTo>
                    <a:pt x="96" y="59"/>
                  </a:lnTo>
                  <a:lnTo>
                    <a:pt x="98" y="57"/>
                  </a:lnTo>
                  <a:lnTo>
                    <a:pt x="98" y="57"/>
                  </a:lnTo>
                  <a:lnTo>
                    <a:pt x="101" y="56"/>
                  </a:lnTo>
                  <a:lnTo>
                    <a:pt x="101" y="56"/>
                  </a:lnTo>
                  <a:lnTo>
                    <a:pt x="101" y="72"/>
                  </a:lnTo>
                  <a:lnTo>
                    <a:pt x="101" y="72"/>
                  </a:lnTo>
                  <a:lnTo>
                    <a:pt x="101" y="72"/>
                  </a:lnTo>
                  <a:lnTo>
                    <a:pt x="101" y="72"/>
                  </a:lnTo>
                  <a:lnTo>
                    <a:pt x="101" y="75"/>
                  </a:lnTo>
                  <a:lnTo>
                    <a:pt x="101" y="75"/>
                  </a:lnTo>
                  <a:lnTo>
                    <a:pt x="100" y="73"/>
                  </a:lnTo>
                  <a:lnTo>
                    <a:pt x="100" y="73"/>
                  </a:lnTo>
                  <a:lnTo>
                    <a:pt x="100" y="72"/>
                  </a:lnTo>
                  <a:lnTo>
                    <a:pt x="100" y="72"/>
                  </a:lnTo>
                  <a:lnTo>
                    <a:pt x="98" y="72"/>
                  </a:lnTo>
                  <a:lnTo>
                    <a:pt x="98" y="72"/>
                  </a:lnTo>
                  <a:lnTo>
                    <a:pt x="95" y="73"/>
                  </a:lnTo>
                  <a:lnTo>
                    <a:pt x="95" y="73"/>
                  </a:lnTo>
                  <a:lnTo>
                    <a:pt x="92" y="73"/>
                  </a:lnTo>
                  <a:lnTo>
                    <a:pt x="92" y="73"/>
                  </a:lnTo>
                  <a:lnTo>
                    <a:pt x="90" y="72"/>
                  </a:lnTo>
                  <a:lnTo>
                    <a:pt x="90" y="72"/>
                  </a:lnTo>
                  <a:lnTo>
                    <a:pt x="87" y="68"/>
                  </a:lnTo>
                  <a:lnTo>
                    <a:pt x="87" y="68"/>
                  </a:lnTo>
                  <a:lnTo>
                    <a:pt x="84" y="65"/>
                  </a:lnTo>
                  <a:lnTo>
                    <a:pt x="84" y="65"/>
                  </a:lnTo>
                  <a:lnTo>
                    <a:pt x="84" y="64"/>
                  </a:lnTo>
                  <a:lnTo>
                    <a:pt x="84" y="64"/>
                  </a:lnTo>
                  <a:lnTo>
                    <a:pt x="84" y="62"/>
                  </a:lnTo>
                  <a:lnTo>
                    <a:pt x="84" y="62"/>
                  </a:lnTo>
                  <a:lnTo>
                    <a:pt x="82" y="60"/>
                  </a:lnTo>
                  <a:lnTo>
                    <a:pt x="82" y="60"/>
                  </a:lnTo>
                  <a:lnTo>
                    <a:pt x="81" y="60"/>
                  </a:lnTo>
                  <a:lnTo>
                    <a:pt x="81" y="60"/>
                  </a:lnTo>
                  <a:lnTo>
                    <a:pt x="79" y="59"/>
                  </a:lnTo>
                  <a:lnTo>
                    <a:pt x="79" y="59"/>
                  </a:lnTo>
                  <a:lnTo>
                    <a:pt x="76" y="57"/>
                  </a:lnTo>
                  <a:lnTo>
                    <a:pt x="76" y="57"/>
                  </a:lnTo>
                  <a:lnTo>
                    <a:pt x="76" y="59"/>
                  </a:lnTo>
                  <a:lnTo>
                    <a:pt x="76" y="59"/>
                  </a:lnTo>
                  <a:lnTo>
                    <a:pt x="73" y="57"/>
                  </a:lnTo>
                  <a:lnTo>
                    <a:pt x="73" y="57"/>
                  </a:lnTo>
                  <a:lnTo>
                    <a:pt x="73" y="54"/>
                  </a:lnTo>
                  <a:lnTo>
                    <a:pt x="73" y="54"/>
                  </a:lnTo>
                  <a:lnTo>
                    <a:pt x="69" y="52"/>
                  </a:lnTo>
                  <a:lnTo>
                    <a:pt x="69" y="52"/>
                  </a:lnTo>
                  <a:lnTo>
                    <a:pt x="66" y="48"/>
                  </a:lnTo>
                  <a:lnTo>
                    <a:pt x="66" y="48"/>
                  </a:lnTo>
                  <a:lnTo>
                    <a:pt x="66" y="51"/>
                  </a:lnTo>
                  <a:lnTo>
                    <a:pt x="66" y="51"/>
                  </a:lnTo>
                  <a:lnTo>
                    <a:pt x="65" y="52"/>
                  </a:lnTo>
                  <a:lnTo>
                    <a:pt x="65" y="52"/>
                  </a:lnTo>
                  <a:lnTo>
                    <a:pt x="63" y="54"/>
                  </a:lnTo>
                  <a:lnTo>
                    <a:pt x="63" y="54"/>
                  </a:lnTo>
                  <a:lnTo>
                    <a:pt x="57" y="52"/>
                  </a:lnTo>
                  <a:lnTo>
                    <a:pt x="57" y="52"/>
                  </a:lnTo>
                  <a:lnTo>
                    <a:pt x="54" y="52"/>
                  </a:lnTo>
                  <a:lnTo>
                    <a:pt x="54" y="52"/>
                  </a:lnTo>
                  <a:lnTo>
                    <a:pt x="50" y="51"/>
                  </a:lnTo>
                  <a:lnTo>
                    <a:pt x="50" y="51"/>
                  </a:lnTo>
                  <a:lnTo>
                    <a:pt x="47" y="51"/>
                  </a:lnTo>
                  <a:lnTo>
                    <a:pt x="47" y="51"/>
                  </a:lnTo>
                  <a:lnTo>
                    <a:pt x="46" y="51"/>
                  </a:lnTo>
                  <a:lnTo>
                    <a:pt x="46" y="51"/>
                  </a:lnTo>
                  <a:lnTo>
                    <a:pt x="44" y="48"/>
                  </a:lnTo>
                  <a:lnTo>
                    <a:pt x="44" y="48"/>
                  </a:lnTo>
                  <a:lnTo>
                    <a:pt x="44" y="45"/>
                  </a:lnTo>
                  <a:lnTo>
                    <a:pt x="44" y="45"/>
                  </a:lnTo>
                  <a:lnTo>
                    <a:pt x="44" y="41"/>
                  </a:lnTo>
                  <a:lnTo>
                    <a:pt x="44" y="41"/>
                  </a:lnTo>
                  <a:lnTo>
                    <a:pt x="38" y="45"/>
                  </a:lnTo>
                  <a:lnTo>
                    <a:pt x="38" y="45"/>
                  </a:lnTo>
                  <a:lnTo>
                    <a:pt x="34" y="45"/>
                  </a:lnTo>
                  <a:lnTo>
                    <a:pt x="34" y="45"/>
                  </a:lnTo>
                  <a:lnTo>
                    <a:pt x="31" y="45"/>
                  </a:lnTo>
                  <a:lnTo>
                    <a:pt x="31" y="45"/>
                  </a:lnTo>
                  <a:lnTo>
                    <a:pt x="31" y="41"/>
                  </a:lnTo>
                  <a:lnTo>
                    <a:pt x="31" y="41"/>
                  </a:lnTo>
                  <a:lnTo>
                    <a:pt x="31" y="41"/>
                  </a:lnTo>
                  <a:lnTo>
                    <a:pt x="31" y="41"/>
                  </a:lnTo>
                  <a:lnTo>
                    <a:pt x="31" y="41"/>
                  </a:lnTo>
                  <a:lnTo>
                    <a:pt x="31" y="41"/>
                  </a:lnTo>
                  <a:lnTo>
                    <a:pt x="30" y="38"/>
                  </a:lnTo>
                  <a:lnTo>
                    <a:pt x="30" y="38"/>
                  </a:lnTo>
                  <a:lnTo>
                    <a:pt x="28" y="38"/>
                  </a:lnTo>
                  <a:lnTo>
                    <a:pt x="28" y="38"/>
                  </a:lnTo>
                  <a:lnTo>
                    <a:pt x="28" y="41"/>
                  </a:lnTo>
                  <a:lnTo>
                    <a:pt x="28" y="41"/>
                  </a:lnTo>
                  <a:lnTo>
                    <a:pt x="28" y="45"/>
                  </a:lnTo>
                  <a:lnTo>
                    <a:pt x="28" y="45"/>
                  </a:lnTo>
                  <a:lnTo>
                    <a:pt x="28" y="52"/>
                  </a:lnTo>
                  <a:lnTo>
                    <a:pt x="28" y="52"/>
                  </a:lnTo>
                  <a:lnTo>
                    <a:pt x="28" y="56"/>
                  </a:lnTo>
                  <a:lnTo>
                    <a:pt x="28" y="56"/>
                  </a:lnTo>
                  <a:lnTo>
                    <a:pt x="28" y="60"/>
                  </a:lnTo>
                  <a:lnTo>
                    <a:pt x="28" y="60"/>
                  </a:lnTo>
                  <a:lnTo>
                    <a:pt x="27" y="62"/>
                  </a:lnTo>
                  <a:lnTo>
                    <a:pt x="27" y="62"/>
                  </a:lnTo>
                  <a:lnTo>
                    <a:pt x="27" y="65"/>
                  </a:lnTo>
                  <a:lnTo>
                    <a:pt x="27" y="65"/>
                  </a:lnTo>
                  <a:lnTo>
                    <a:pt x="28" y="68"/>
                  </a:lnTo>
                  <a:lnTo>
                    <a:pt x="28" y="68"/>
                  </a:lnTo>
                  <a:lnTo>
                    <a:pt x="23" y="68"/>
                  </a:lnTo>
                  <a:lnTo>
                    <a:pt x="23" y="68"/>
                  </a:lnTo>
                  <a:lnTo>
                    <a:pt x="19" y="68"/>
                  </a:lnTo>
                  <a:lnTo>
                    <a:pt x="19" y="68"/>
                  </a:lnTo>
                  <a:lnTo>
                    <a:pt x="11" y="68"/>
                  </a:lnTo>
                  <a:lnTo>
                    <a:pt x="11" y="68"/>
                  </a:lnTo>
                  <a:lnTo>
                    <a:pt x="3" y="68"/>
                  </a:lnTo>
                  <a:lnTo>
                    <a:pt x="3" y="68"/>
                  </a:lnTo>
                  <a:lnTo>
                    <a:pt x="3" y="68"/>
                  </a:lnTo>
                  <a:lnTo>
                    <a:pt x="3" y="68"/>
                  </a:lnTo>
                  <a:lnTo>
                    <a:pt x="3" y="72"/>
                  </a:lnTo>
                  <a:lnTo>
                    <a:pt x="3" y="72"/>
                  </a:lnTo>
                  <a:lnTo>
                    <a:pt x="3" y="79"/>
                  </a:lnTo>
                  <a:lnTo>
                    <a:pt x="3" y="79"/>
                  </a:lnTo>
                  <a:lnTo>
                    <a:pt x="3" y="97"/>
                  </a:lnTo>
                  <a:lnTo>
                    <a:pt x="3" y="97"/>
                  </a:lnTo>
                  <a:lnTo>
                    <a:pt x="0" y="113"/>
                  </a:lnTo>
                  <a:lnTo>
                    <a:pt x="0" y="113"/>
                  </a:lnTo>
                  <a:lnTo>
                    <a:pt x="3" y="116"/>
                  </a:lnTo>
                  <a:lnTo>
                    <a:pt x="3" y="116"/>
                  </a:lnTo>
                  <a:lnTo>
                    <a:pt x="3" y="119"/>
                  </a:lnTo>
                  <a:lnTo>
                    <a:pt x="3" y="119"/>
                  </a:lnTo>
                  <a:lnTo>
                    <a:pt x="7" y="124"/>
                  </a:lnTo>
                  <a:lnTo>
                    <a:pt x="7" y="124"/>
                  </a:lnTo>
                  <a:lnTo>
                    <a:pt x="9" y="124"/>
                  </a:lnTo>
                  <a:lnTo>
                    <a:pt x="9" y="124"/>
                  </a:lnTo>
                  <a:lnTo>
                    <a:pt x="9" y="124"/>
                  </a:lnTo>
                  <a:lnTo>
                    <a:pt x="9" y="124"/>
                  </a:lnTo>
                  <a:lnTo>
                    <a:pt x="14" y="130"/>
                  </a:lnTo>
                  <a:lnTo>
                    <a:pt x="14" y="130"/>
                  </a:lnTo>
                  <a:lnTo>
                    <a:pt x="19" y="133"/>
                  </a:lnTo>
                  <a:lnTo>
                    <a:pt x="19" y="133"/>
                  </a:lnTo>
                  <a:lnTo>
                    <a:pt x="19" y="133"/>
                  </a:lnTo>
                  <a:lnTo>
                    <a:pt x="19" y="133"/>
                  </a:lnTo>
                  <a:lnTo>
                    <a:pt x="19" y="133"/>
                  </a:lnTo>
                  <a:lnTo>
                    <a:pt x="20" y="135"/>
                  </a:lnTo>
                  <a:lnTo>
                    <a:pt x="22" y="133"/>
                  </a:lnTo>
                  <a:lnTo>
                    <a:pt x="22" y="133"/>
                  </a:lnTo>
                  <a:lnTo>
                    <a:pt x="25" y="133"/>
                  </a:lnTo>
                  <a:lnTo>
                    <a:pt x="25" y="133"/>
                  </a:lnTo>
                  <a:lnTo>
                    <a:pt x="31" y="132"/>
                  </a:lnTo>
                  <a:lnTo>
                    <a:pt x="31" y="132"/>
                  </a:lnTo>
                  <a:lnTo>
                    <a:pt x="34" y="133"/>
                  </a:lnTo>
                  <a:lnTo>
                    <a:pt x="34" y="133"/>
                  </a:lnTo>
                  <a:lnTo>
                    <a:pt x="38" y="132"/>
                  </a:lnTo>
                  <a:lnTo>
                    <a:pt x="38" y="132"/>
                  </a:lnTo>
                  <a:lnTo>
                    <a:pt x="38" y="133"/>
                  </a:lnTo>
                  <a:lnTo>
                    <a:pt x="38" y="133"/>
                  </a:lnTo>
                  <a:lnTo>
                    <a:pt x="41" y="137"/>
                  </a:lnTo>
                  <a:lnTo>
                    <a:pt x="41" y="137"/>
                  </a:lnTo>
                  <a:lnTo>
                    <a:pt x="44" y="137"/>
                  </a:lnTo>
                  <a:lnTo>
                    <a:pt x="44" y="137"/>
                  </a:lnTo>
                  <a:lnTo>
                    <a:pt x="47" y="137"/>
                  </a:lnTo>
                  <a:lnTo>
                    <a:pt x="47" y="137"/>
                  </a:lnTo>
                  <a:lnTo>
                    <a:pt x="49" y="138"/>
                  </a:lnTo>
                  <a:lnTo>
                    <a:pt x="49" y="138"/>
                  </a:lnTo>
                  <a:lnTo>
                    <a:pt x="50" y="140"/>
                  </a:lnTo>
                  <a:lnTo>
                    <a:pt x="50" y="140"/>
                  </a:lnTo>
                  <a:lnTo>
                    <a:pt x="52" y="140"/>
                  </a:lnTo>
                  <a:lnTo>
                    <a:pt x="52" y="140"/>
                  </a:lnTo>
                  <a:lnTo>
                    <a:pt x="55" y="138"/>
                  </a:lnTo>
                  <a:lnTo>
                    <a:pt x="55" y="138"/>
                  </a:lnTo>
                  <a:lnTo>
                    <a:pt x="58" y="140"/>
                  </a:lnTo>
                  <a:lnTo>
                    <a:pt x="58" y="140"/>
                  </a:lnTo>
                  <a:lnTo>
                    <a:pt x="61" y="141"/>
                  </a:lnTo>
                  <a:lnTo>
                    <a:pt x="61" y="141"/>
                  </a:lnTo>
                  <a:lnTo>
                    <a:pt x="63" y="140"/>
                  </a:lnTo>
                  <a:lnTo>
                    <a:pt x="63" y="140"/>
                  </a:lnTo>
                  <a:lnTo>
                    <a:pt x="66" y="137"/>
                  </a:lnTo>
                  <a:lnTo>
                    <a:pt x="66" y="137"/>
                  </a:lnTo>
                  <a:lnTo>
                    <a:pt x="73" y="127"/>
                  </a:lnTo>
                  <a:lnTo>
                    <a:pt x="73" y="127"/>
                  </a:lnTo>
                  <a:lnTo>
                    <a:pt x="76" y="124"/>
                  </a:lnTo>
                  <a:lnTo>
                    <a:pt x="76" y="124"/>
                  </a:lnTo>
                  <a:lnTo>
                    <a:pt x="82" y="121"/>
                  </a:lnTo>
                  <a:lnTo>
                    <a:pt x="82" y="121"/>
                  </a:lnTo>
                  <a:lnTo>
                    <a:pt x="84" y="121"/>
                  </a:lnTo>
                  <a:lnTo>
                    <a:pt x="84" y="121"/>
                  </a:lnTo>
                  <a:lnTo>
                    <a:pt x="87" y="118"/>
                  </a:lnTo>
                  <a:lnTo>
                    <a:pt x="87" y="118"/>
                  </a:lnTo>
                  <a:lnTo>
                    <a:pt x="87" y="113"/>
                  </a:lnTo>
                  <a:lnTo>
                    <a:pt x="87" y="113"/>
                  </a:lnTo>
                  <a:lnTo>
                    <a:pt x="88" y="111"/>
                  </a:lnTo>
                  <a:lnTo>
                    <a:pt x="88" y="111"/>
                  </a:lnTo>
                  <a:lnTo>
                    <a:pt x="90" y="110"/>
                  </a:lnTo>
                  <a:lnTo>
                    <a:pt x="90" y="110"/>
                  </a:lnTo>
                  <a:lnTo>
                    <a:pt x="95" y="106"/>
                  </a:lnTo>
                  <a:lnTo>
                    <a:pt x="95" y="106"/>
                  </a:lnTo>
                  <a:lnTo>
                    <a:pt x="98" y="106"/>
                  </a:lnTo>
                  <a:lnTo>
                    <a:pt x="98" y="106"/>
                  </a:lnTo>
                  <a:lnTo>
                    <a:pt x="98" y="106"/>
                  </a:lnTo>
                  <a:lnTo>
                    <a:pt x="100" y="106"/>
                  </a:lnTo>
                  <a:lnTo>
                    <a:pt x="100" y="106"/>
                  </a:lnTo>
                  <a:lnTo>
                    <a:pt x="101" y="106"/>
                  </a:lnTo>
                  <a:lnTo>
                    <a:pt x="101" y="106"/>
                  </a:lnTo>
                  <a:lnTo>
                    <a:pt x="107" y="106"/>
                  </a:lnTo>
                  <a:lnTo>
                    <a:pt x="107" y="106"/>
                  </a:lnTo>
                  <a:lnTo>
                    <a:pt x="107" y="103"/>
                  </a:lnTo>
                  <a:lnTo>
                    <a:pt x="107" y="103"/>
                  </a:lnTo>
                  <a:lnTo>
                    <a:pt x="107" y="100"/>
                  </a:lnTo>
                  <a:lnTo>
                    <a:pt x="107" y="100"/>
                  </a:lnTo>
                  <a:lnTo>
                    <a:pt x="104" y="97"/>
                  </a:lnTo>
                  <a:lnTo>
                    <a:pt x="104" y="97"/>
                  </a:lnTo>
                  <a:lnTo>
                    <a:pt x="123" y="91"/>
                  </a:lnTo>
                  <a:lnTo>
                    <a:pt x="123" y="91"/>
                  </a:lnTo>
                  <a:lnTo>
                    <a:pt x="141" y="83"/>
                  </a:lnTo>
                  <a:lnTo>
                    <a:pt x="141" y="83"/>
                  </a:lnTo>
                  <a:lnTo>
                    <a:pt x="142" y="83"/>
                  </a:lnTo>
                  <a:lnTo>
                    <a:pt x="142" y="83"/>
                  </a:lnTo>
                  <a:lnTo>
                    <a:pt x="141" y="83"/>
                  </a:lnTo>
                  <a:lnTo>
                    <a:pt x="141" y="83"/>
                  </a:lnTo>
                  <a:lnTo>
                    <a:pt x="139" y="83"/>
                  </a:lnTo>
                  <a:lnTo>
                    <a:pt x="139" y="83"/>
                  </a:lnTo>
                  <a:lnTo>
                    <a:pt x="139" y="81"/>
                  </a:lnTo>
                  <a:lnTo>
                    <a:pt x="139" y="81"/>
                  </a:lnTo>
                  <a:lnTo>
                    <a:pt x="138" y="81"/>
                  </a:lnTo>
                  <a:lnTo>
                    <a:pt x="138" y="81"/>
                  </a:lnTo>
                  <a:lnTo>
                    <a:pt x="136" y="79"/>
                  </a:lnTo>
                  <a:lnTo>
                    <a:pt x="136" y="79"/>
                  </a:lnTo>
                  <a:lnTo>
                    <a:pt x="136" y="78"/>
                  </a:lnTo>
                  <a:lnTo>
                    <a:pt x="136" y="78"/>
                  </a:lnTo>
                  <a:lnTo>
                    <a:pt x="139" y="75"/>
                  </a:lnTo>
                  <a:lnTo>
                    <a:pt x="139" y="75"/>
                  </a:lnTo>
                  <a:lnTo>
                    <a:pt x="139" y="75"/>
                  </a:lnTo>
                  <a:lnTo>
                    <a:pt x="139" y="72"/>
                  </a:lnTo>
                  <a:lnTo>
                    <a:pt x="139" y="72"/>
                  </a:lnTo>
                  <a:lnTo>
                    <a:pt x="142" y="68"/>
                  </a:lnTo>
                  <a:lnTo>
                    <a:pt x="142" y="68"/>
                  </a:lnTo>
                  <a:lnTo>
                    <a:pt x="139" y="65"/>
                  </a:lnTo>
                  <a:lnTo>
                    <a:pt x="139" y="65"/>
                  </a:lnTo>
                  <a:lnTo>
                    <a:pt x="142" y="62"/>
                  </a:lnTo>
                  <a:lnTo>
                    <a:pt x="142" y="62"/>
                  </a:lnTo>
                  <a:lnTo>
                    <a:pt x="142" y="62"/>
                  </a:lnTo>
                  <a:lnTo>
                    <a:pt x="142" y="62"/>
                  </a:lnTo>
                  <a:lnTo>
                    <a:pt x="147" y="59"/>
                  </a:lnTo>
                  <a:lnTo>
                    <a:pt x="147" y="59"/>
                  </a:lnTo>
                  <a:lnTo>
                    <a:pt x="146" y="57"/>
                  </a:lnTo>
                  <a:lnTo>
                    <a:pt x="146" y="57"/>
                  </a:lnTo>
                  <a:lnTo>
                    <a:pt x="146" y="54"/>
                  </a:lnTo>
                  <a:lnTo>
                    <a:pt x="146" y="54"/>
                  </a:lnTo>
                  <a:lnTo>
                    <a:pt x="146" y="48"/>
                  </a:lnTo>
                  <a:lnTo>
                    <a:pt x="146" y="48"/>
                  </a:lnTo>
                  <a:lnTo>
                    <a:pt x="146" y="45"/>
                  </a:lnTo>
                  <a:lnTo>
                    <a:pt x="146" y="45"/>
                  </a:lnTo>
                  <a:lnTo>
                    <a:pt x="146" y="41"/>
                  </a:lnTo>
                  <a:lnTo>
                    <a:pt x="146" y="41"/>
                  </a:lnTo>
                  <a:lnTo>
                    <a:pt x="146" y="38"/>
                  </a:lnTo>
                  <a:lnTo>
                    <a:pt x="146" y="38"/>
                  </a:lnTo>
                  <a:lnTo>
                    <a:pt x="146" y="38"/>
                  </a:lnTo>
                  <a:lnTo>
                    <a:pt x="146" y="38"/>
                  </a:lnTo>
                  <a:lnTo>
                    <a:pt x="146" y="38"/>
                  </a:lnTo>
                  <a:lnTo>
                    <a:pt x="146" y="38"/>
                  </a:lnTo>
                  <a:lnTo>
                    <a:pt x="146" y="38"/>
                  </a:lnTo>
                  <a:lnTo>
                    <a:pt x="147" y="37"/>
                  </a:lnTo>
                  <a:lnTo>
                    <a:pt x="147" y="37"/>
                  </a:lnTo>
                  <a:lnTo>
                    <a:pt x="149" y="35"/>
                  </a:lnTo>
                  <a:lnTo>
                    <a:pt x="149" y="35"/>
                  </a:lnTo>
                  <a:lnTo>
                    <a:pt x="149" y="33"/>
                  </a:lnTo>
                  <a:lnTo>
                    <a:pt x="149" y="33"/>
                  </a:lnTo>
                  <a:lnTo>
                    <a:pt x="149" y="30"/>
                  </a:lnTo>
                  <a:lnTo>
                    <a:pt x="147" y="27"/>
                  </a:lnTo>
                  <a:lnTo>
                    <a:pt x="147" y="27"/>
                  </a:lnTo>
                  <a:lnTo>
                    <a:pt x="147" y="2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4" name="Freeform 142">
              <a:extLst>
                <a:ext uri="{FF2B5EF4-FFF2-40B4-BE49-F238E27FC236}">
                  <a16:creationId xmlns:a16="http://schemas.microsoft.com/office/drawing/2014/main" id="{88EB1883-C1CA-F7A4-10FD-3F9D6E1C53EE}"/>
                </a:ext>
              </a:extLst>
            </p:cNvPr>
            <p:cNvSpPr>
              <a:spLocks/>
            </p:cNvSpPr>
            <p:nvPr/>
          </p:nvSpPr>
          <p:spPr bwMode="auto">
            <a:xfrm>
              <a:off x="6011424" y="3607898"/>
              <a:ext cx="222064" cy="365621"/>
            </a:xfrm>
            <a:custGeom>
              <a:avLst/>
              <a:gdLst>
                <a:gd name="T0" fmla="*/ 86 w 99"/>
                <a:gd name="T1" fmla="*/ 70 h 163"/>
                <a:gd name="T2" fmla="*/ 73 w 99"/>
                <a:gd name="T3" fmla="*/ 52 h 163"/>
                <a:gd name="T4" fmla="*/ 70 w 99"/>
                <a:gd name="T5" fmla="*/ 47 h 163"/>
                <a:gd name="T6" fmla="*/ 78 w 99"/>
                <a:gd name="T7" fmla="*/ 44 h 163"/>
                <a:gd name="T8" fmla="*/ 88 w 99"/>
                <a:gd name="T9" fmla="*/ 44 h 163"/>
                <a:gd name="T10" fmla="*/ 88 w 99"/>
                <a:gd name="T11" fmla="*/ 41 h 163"/>
                <a:gd name="T12" fmla="*/ 84 w 99"/>
                <a:gd name="T13" fmla="*/ 25 h 163"/>
                <a:gd name="T14" fmla="*/ 84 w 99"/>
                <a:gd name="T15" fmla="*/ 12 h 163"/>
                <a:gd name="T16" fmla="*/ 81 w 99"/>
                <a:gd name="T17" fmla="*/ 6 h 163"/>
                <a:gd name="T18" fmla="*/ 75 w 99"/>
                <a:gd name="T19" fmla="*/ 3 h 163"/>
                <a:gd name="T20" fmla="*/ 73 w 99"/>
                <a:gd name="T21" fmla="*/ 0 h 163"/>
                <a:gd name="T22" fmla="*/ 72 w 99"/>
                <a:gd name="T23" fmla="*/ 1 h 163"/>
                <a:gd name="T24" fmla="*/ 75 w 99"/>
                <a:gd name="T25" fmla="*/ 9 h 163"/>
                <a:gd name="T26" fmla="*/ 78 w 99"/>
                <a:gd name="T27" fmla="*/ 17 h 163"/>
                <a:gd name="T28" fmla="*/ 75 w 99"/>
                <a:gd name="T29" fmla="*/ 24 h 163"/>
                <a:gd name="T30" fmla="*/ 67 w 99"/>
                <a:gd name="T31" fmla="*/ 30 h 163"/>
                <a:gd name="T32" fmla="*/ 62 w 99"/>
                <a:gd name="T33" fmla="*/ 41 h 163"/>
                <a:gd name="T34" fmla="*/ 59 w 99"/>
                <a:gd name="T35" fmla="*/ 50 h 163"/>
                <a:gd name="T36" fmla="*/ 56 w 99"/>
                <a:gd name="T37" fmla="*/ 55 h 163"/>
                <a:gd name="T38" fmla="*/ 49 w 99"/>
                <a:gd name="T39" fmla="*/ 63 h 163"/>
                <a:gd name="T40" fmla="*/ 46 w 99"/>
                <a:gd name="T41" fmla="*/ 70 h 163"/>
                <a:gd name="T42" fmla="*/ 43 w 99"/>
                <a:gd name="T43" fmla="*/ 82 h 163"/>
                <a:gd name="T44" fmla="*/ 43 w 99"/>
                <a:gd name="T45" fmla="*/ 85 h 163"/>
                <a:gd name="T46" fmla="*/ 40 w 99"/>
                <a:gd name="T47" fmla="*/ 92 h 163"/>
                <a:gd name="T48" fmla="*/ 34 w 99"/>
                <a:gd name="T49" fmla="*/ 95 h 163"/>
                <a:gd name="T50" fmla="*/ 30 w 99"/>
                <a:gd name="T51" fmla="*/ 90 h 163"/>
                <a:gd name="T52" fmla="*/ 27 w 99"/>
                <a:gd name="T53" fmla="*/ 84 h 163"/>
                <a:gd name="T54" fmla="*/ 22 w 99"/>
                <a:gd name="T55" fmla="*/ 89 h 163"/>
                <a:gd name="T56" fmla="*/ 18 w 99"/>
                <a:gd name="T57" fmla="*/ 90 h 163"/>
                <a:gd name="T58" fmla="*/ 7 w 99"/>
                <a:gd name="T59" fmla="*/ 103 h 163"/>
                <a:gd name="T60" fmla="*/ 5 w 99"/>
                <a:gd name="T61" fmla="*/ 108 h 163"/>
                <a:gd name="T62" fmla="*/ 2 w 99"/>
                <a:gd name="T63" fmla="*/ 119 h 163"/>
                <a:gd name="T64" fmla="*/ 0 w 99"/>
                <a:gd name="T65" fmla="*/ 122 h 163"/>
                <a:gd name="T66" fmla="*/ 3 w 99"/>
                <a:gd name="T67" fmla="*/ 122 h 163"/>
                <a:gd name="T68" fmla="*/ 7 w 99"/>
                <a:gd name="T69" fmla="*/ 128 h 163"/>
                <a:gd name="T70" fmla="*/ 11 w 99"/>
                <a:gd name="T71" fmla="*/ 128 h 163"/>
                <a:gd name="T72" fmla="*/ 11 w 99"/>
                <a:gd name="T73" fmla="*/ 128 h 163"/>
                <a:gd name="T74" fmla="*/ 15 w 99"/>
                <a:gd name="T75" fmla="*/ 131 h 163"/>
                <a:gd name="T76" fmla="*/ 15 w 99"/>
                <a:gd name="T77" fmla="*/ 135 h 163"/>
                <a:gd name="T78" fmla="*/ 15 w 99"/>
                <a:gd name="T79" fmla="*/ 138 h 163"/>
                <a:gd name="T80" fmla="*/ 18 w 99"/>
                <a:gd name="T81" fmla="*/ 149 h 163"/>
                <a:gd name="T82" fmla="*/ 18 w 99"/>
                <a:gd name="T83" fmla="*/ 155 h 163"/>
                <a:gd name="T84" fmla="*/ 30 w 99"/>
                <a:gd name="T85" fmla="*/ 157 h 163"/>
                <a:gd name="T86" fmla="*/ 38 w 99"/>
                <a:gd name="T87" fmla="*/ 154 h 163"/>
                <a:gd name="T88" fmla="*/ 53 w 99"/>
                <a:gd name="T89" fmla="*/ 155 h 163"/>
                <a:gd name="T90" fmla="*/ 61 w 99"/>
                <a:gd name="T91" fmla="*/ 155 h 163"/>
                <a:gd name="T92" fmla="*/ 64 w 99"/>
                <a:gd name="T93" fmla="*/ 157 h 163"/>
                <a:gd name="T94" fmla="*/ 75 w 99"/>
                <a:gd name="T95" fmla="*/ 157 h 163"/>
                <a:gd name="T96" fmla="*/ 84 w 99"/>
                <a:gd name="T97" fmla="*/ 158 h 163"/>
                <a:gd name="T98" fmla="*/ 97 w 99"/>
                <a:gd name="T99" fmla="*/ 163 h 163"/>
                <a:gd name="T100" fmla="*/ 97 w 99"/>
                <a:gd name="T101" fmla="*/ 155 h 163"/>
                <a:gd name="T102" fmla="*/ 96 w 99"/>
                <a:gd name="T103" fmla="*/ 144 h 163"/>
                <a:gd name="T104" fmla="*/ 88 w 99"/>
                <a:gd name="T105" fmla="*/ 135 h 163"/>
                <a:gd name="T106" fmla="*/ 84 w 99"/>
                <a:gd name="T107" fmla="*/ 128 h 163"/>
                <a:gd name="T108" fmla="*/ 81 w 99"/>
                <a:gd name="T109" fmla="*/ 120 h 163"/>
                <a:gd name="T110" fmla="*/ 78 w 99"/>
                <a:gd name="T111" fmla="*/ 111 h 163"/>
                <a:gd name="T112" fmla="*/ 75 w 99"/>
                <a:gd name="T113" fmla="*/ 103 h 163"/>
                <a:gd name="T114" fmla="*/ 81 w 99"/>
                <a:gd name="T115" fmla="*/ 95 h 163"/>
                <a:gd name="T116" fmla="*/ 88 w 99"/>
                <a:gd name="T117" fmla="*/ 82 h 163"/>
                <a:gd name="T118" fmla="*/ 89 w 99"/>
                <a:gd name="T119" fmla="*/ 79 h 163"/>
                <a:gd name="T120" fmla="*/ 89 w 99"/>
                <a:gd name="T121" fmla="*/ 76 h 163"/>
                <a:gd name="T122" fmla="*/ 89 w 99"/>
                <a:gd name="T123" fmla="*/ 76 h 163"/>
                <a:gd name="T124" fmla="*/ 89 w 99"/>
                <a:gd name="T125" fmla="*/ 7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163">
                  <a:moveTo>
                    <a:pt x="89" y="76"/>
                  </a:moveTo>
                  <a:lnTo>
                    <a:pt x="88" y="73"/>
                  </a:lnTo>
                  <a:lnTo>
                    <a:pt x="86" y="70"/>
                  </a:lnTo>
                  <a:lnTo>
                    <a:pt x="84" y="65"/>
                  </a:lnTo>
                  <a:lnTo>
                    <a:pt x="78" y="58"/>
                  </a:lnTo>
                  <a:lnTo>
                    <a:pt x="73" y="52"/>
                  </a:lnTo>
                  <a:lnTo>
                    <a:pt x="72" y="50"/>
                  </a:lnTo>
                  <a:lnTo>
                    <a:pt x="70" y="47"/>
                  </a:lnTo>
                  <a:lnTo>
                    <a:pt x="70" y="47"/>
                  </a:lnTo>
                  <a:lnTo>
                    <a:pt x="73" y="44"/>
                  </a:lnTo>
                  <a:lnTo>
                    <a:pt x="75" y="44"/>
                  </a:lnTo>
                  <a:lnTo>
                    <a:pt x="78" y="44"/>
                  </a:lnTo>
                  <a:lnTo>
                    <a:pt x="84" y="44"/>
                  </a:lnTo>
                  <a:lnTo>
                    <a:pt x="86" y="44"/>
                  </a:lnTo>
                  <a:lnTo>
                    <a:pt x="88" y="44"/>
                  </a:lnTo>
                  <a:lnTo>
                    <a:pt x="89" y="44"/>
                  </a:lnTo>
                  <a:lnTo>
                    <a:pt x="91" y="44"/>
                  </a:lnTo>
                  <a:lnTo>
                    <a:pt x="88" y="41"/>
                  </a:lnTo>
                  <a:lnTo>
                    <a:pt x="84" y="36"/>
                  </a:lnTo>
                  <a:lnTo>
                    <a:pt x="84" y="31"/>
                  </a:lnTo>
                  <a:lnTo>
                    <a:pt x="84" y="25"/>
                  </a:lnTo>
                  <a:lnTo>
                    <a:pt x="84" y="22"/>
                  </a:lnTo>
                  <a:lnTo>
                    <a:pt x="84" y="17"/>
                  </a:lnTo>
                  <a:lnTo>
                    <a:pt x="84" y="12"/>
                  </a:lnTo>
                  <a:lnTo>
                    <a:pt x="81" y="12"/>
                  </a:lnTo>
                  <a:lnTo>
                    <a:pt x="81" y="12"/>
                  </a:lnTo>
                  <a:lnTo>
                    <a:pt x="81" y="6"/>
                  </a:lnTo>
                  <a:lnTo>
                    <a:pt x="78" y="6"/>
                  </a:lnTo>
                  <a:lnTo>
                    <a:pt x="78" y="4"/>
                  </a:lnTo>
                  <a:lnTo>
                    <a:pt x="75" y="3"/>
                  </a:lnTo>
                  <a:lnTo>
                    <a:pt x="75" y="1"/>
                  </a:lnTo>
                  <a:lnTo>
                    <a:pt x="75" y="0"/>
                  </a:lnTo>
                  <a:lnTo>
                    <a:pt x="73" y="0"/>
                  </a:lnTo>
                  <a:lnTo>
                    <a:pt x="72" y="0"/>
                  </a:lnTo>
                  <a:lnTo>
                    <a:pt x="70" y="0"/>
                  </a:lnTo>
                  <a:lnTo>
                    <a:pt x="72" y="1"/>
                  </a:lnTo>
                  <a:lnTo>
                    <a:pt x="72" y="6"/>
                  </a:lnTo>
                  <a:lnTo>
                    <a:pt x="73" y="9"/>
                  </a:lnTo>
                  <a:lnTo>
                    <a:pt x="75" y="9"/>
                  </a:lnTo>
                  <a:lnTo>
                    <a:pt x="78" y="12"/>
                  </a:lnTo>
                  <a:lnTo>
                    <a:pt x="78" y="16"/>
                  </a:lnTo>
                  <a:lnTo>
                    <a:pt x="78" y="17"/>
                  </a:lnTo>
                  <a:lnTo>
                    <a:pt x="78" y="19"/>
                  </a:lnTo>
                  <a:lnTo>
                    <a:pt x="78" y="22"/>
                  </a:lnTo>
                  <a:lnTo>
                    <a:pt x="75" y="24"/>
                  </a:lnTo>
                  <a:lnTo>
                    <a:pt x="72" y="25"/>
                  </a:lnTo>
                  <a:lnTo>
                    <a:pt x="69" y="27"/>
                  </a:lnTo>
                  <a:lnTo>
                    <a:pt x="67" y="30"/>
                  </a:lnTo>
                  <a:lnTo>
                    <a:pt x="65" y="36"/>
                  </a:lnTo>
                  <a:lnTo>
                    <a:pt x="64" y="41"/>
                  </a:lnTo>
                  <a:lnTo>
                    <a:pt x="62" y="41"/>
                  </a:lnTo>
                  <a:lnTo>
                    <a:pt x="61" y="44"/>
                  </a:lnTo>
                  <a:lnTo>
                    <a:pt x="61" y="47"/>
                  </a:lnTo>
                  <a:lnTo>
                    <a:pt x="59" y="50"/>
                  </a:lnTo>
                  <a:lnTo>
                    <a:pt x="54" y="52"/>
                  </a:lnTo>
                  <a:lnTo>
                    <a:pt x="56" y="54"/>
                  </a:lnTo>
                  <a:lnTo>
                    <a:pt x="56" y="55"/>
                  </a:lnTo>
                  <a:lnTo>
                    <a:pt x="54" y="58"/>
                  </a:lnTo>
                  <a:lnTo>
                    <a:pt x="53" y="63"/>
                  </a:lnTo>
                  <a:lnTo>
                    <a:pt x="49" y="63"/>
                  </a:lnTo>
                  <a:lnTo>
                    <a:pt x="49" y="66"/>
                  </a:lnTo>
                  <a:lnTo>
                    <a:pt x="49" y="66"/>
                  </a:lnTo>
                  <a:lnTo>
                    <a:pt x="46" y="70"/>
                  </a:lnTo>
                  <a:lnTo>
                    <a:pt x="46" y="71"/>
                  </a:lnTo>
                  <a:lnTo>
                    <a:pt x="46" y="76"/>
                  </a:lnTo>
                  <a:lnTo>
                    <a:pt x="43" y="82"/>
                  </a:lnTo>
                  <a:lnTo>
                    <a:pt x="43" y="82"/>
                  </a:lnTo>
                  <a:lnTo>
                    <a:pt x="43" y="84"/>
                  </a:lnTo>
                  <a:lnTo>
                    <a:pt x="43" y="85"/>
                  </a:lnTo>
                  <a:lnTo>
                    <a:pt x="40" y="87"/>
                  </a:lnTo>
                  <a:lnTo>
                    <a:pt x="40" y="89"/>
                  </a:lnTo>
                  <a:lnTo>
                    <a:pt x="40" y="92"/>
                  </a:lnTo>
                  <a:lnTo>
                    <a:pt x="37" y="95"/>
                  </a:lnTo>
                  <a:lnTo>
                    <a:pt x="35" y="95"/>
                  </a:lnTo>
                  <a:lnTo>
                    <a:pt x="34" y="95"/>
                  </a:lnTo>
                  <a:lnTo>
                    <a:pt x="34" y="93"/>
                  </a:lnTo>
                  <a:lnTo>
                    <a:pt x="34" y="92"/>
                  </a:lnTo>
                  <a:lnTo>
                    <a:pt x="30" y="90"/>
                  </a:lnTo>
                  <a:lnTo>
                    <a:pt x="29" y="89"/>
                  </a:lnTo>
                  <a:lnTo>
                    <a:pt x="27" y="87"/>
                  </a:lnTo>
                  <a:lnTo>
                    <a:pt x="27" y="84"/>
                  </a:lnTo>
                  <a:lnTo>
                    <a:pt x="26" y="87"/>
                  </a:lnTo>
                  <a:lnTo>
                    <a:pt x="24" y="89"/>
                  </a:lnTo>
                  <a:lnTo>
                    <a:pt x="22" y="89"/>
                  </a:lnTo>
                  <a:lnTo>
                    <a:pt x="19" y="87"/>
                  </a:lnTo>
                  <a:lnTo>
                    <a:pt x="18" y="89"/>
                  </a:lnTo>
                  <a:lnTo>
                    <a:pt x="18" y="90"/>
                  </a:lnTo>
                  <a:lnTo>
                    <a:pt x="15" y="95"/>
                  </a:lnTo>
                  <a:lnTo>
                    <a:pt x="8" y="100"/>
                  </a:lnTo>
                  <a:lnTo>
                    <a:pt x="7" y="103"/>
                  </a:lnTo>
                  <a:lnTo>
                    <a:pt x="5" y="106"/>
                  </a:lnTo>
                  <a:lnTo>
                    <a:pt x="7" y="106"/>
                  </a:lnTo>
                  <a:lnTo>
                    <a:pt x="5" y="108"/>
                  </a:lnTo>
                  <a:lnTo>
                    <a:pt x="5" y="112"/>
                  </a:lnTo>
                  <a:lnTo>
                    <a:pt x="3" y="116"/>
                  </a:lnTo>
                  <a:lnTo>
                    <a:pt x="2" y="119"/>
                  </a:lnTo>
                  <a:lnTo>
                    <a:pt x="0" y="119"/>
                  </a:lnTo>
                  <a:lnTo>
                    <a:pt x="2" y="119"/>
                  </a:lnTo>
                  <a:lnTo>
                    <a:pt x="0" y="122"/>
                  </a:lnTo>
                  <a:lnTo>
                    <a:pt x="3" y="124"/>
                  </a:lnTo>
                  <a:lnTo>
                    <a:pt x="2" y="120"/>
                  </a:lnTo>
                  <a:lnTo>
                    <a:pt x="3" y="122"/>
                  </a:lnTo>
                  <a:lnTo>
                    <a:pt x="5" y="120"/>
                  </a:lnTo>
                  <a:lnTo>
                    <a:pt x="7" y="124"/>
                  </a:lnTo>
                  <a:lnTo>
                    <a:pt x="7" y="128"/>
                  </a:lnTo>
                  <a:lnTo>
                    <a:pt x="8" y="128"/>
                  </a:lnTo>
                  <a:lnTo>
                    <a:pt x="8" y="128"/>
                  </a:lnTo>
                  <a:lnTo>
                    <a:pt x="11" y="128"/>
                  </a:lnTo>
                  <a:lnTo>
                    <a:pt x="11" y="131"/>
                  </a:lnTo>
                  <a:lnTo>
                    <a:pt x="11" y="131"/>
                  </a:lnTo>
                  <a:lnTo>
                    <a:pt x="11" y="128"/>
                  </a:lnTo>
                  <a:lnTo>
                    <a:pt x="15" y="128"/>
                  </a:lnTo>
                  <a:lnTo>
                    <a:pt x="15" y="128"/>
                  </a:lnTo>
                  <a:lnTo>
                    <a:pt x="15" y="131"/>
                  </a:lnTo>
                  <a:lnTo>
                    <a:pt x="15" y="131"/>
                  </a:lnTo>
                  <a:lnTo>
                    <a:pt x="15" y="131"/>
                  </a:lnTo>
                  <a:lnTo>
                    <a:pt x="15" y="135"/>
                  </a:lnTo>
                  <a:lnTo>
                    <a:pt x="15" y="135"/>
                  </a:lnTo>
                  <a:lnTo>
                    <a:pt x="15" y="135"/>
                  </a:lnTo>
                  <a:lnTo>
                    <a:pt x="15" y="138"/>
                  </a:lnTo>
                  <a:lnTo>
                    <a:pt x="18" y="141"/>
                  </a:lnTo>
                  <a:lnTo>
                    <a:pt x="18" y="144"/>
                  </a:lnTo>
                  <a:lnTo>
                    <a:pt x="18" y="149"/>
                  </a:lnTo>
                  <a:lnTo>
                    <a:pt x="18" y="152"/>
                  </a:lnTo>
                  <a:lnTo>
                    <a:pt x="18" y="154"/>
                  </a:lnTo>
                  <a:lnTo>
                    <a:pt x="18" y="155"/>
                  </a:lnTo>
                  <a:lnTo>
                    <a:pt x="19" y="157"/>
                  </a:lnTo>
                  <a:lnTo>
                    <a:pt x="22" y="157"/>
                  </a:lnTo>
                  <a:lnTo>
                    <a:pt x="30" y="157"/>
                  </a:lnTo>
                  <a:lnTo>
                    <a:pt x="37" y="157"/>
                  </a:lnTo>
                  <a:lnTo>
                    <a:pt x="37" y="155"/>
                  </a:lnTo>
                  <a:lnTo>
                    <a:pt x="38" y="154"/>
                  </a:lnTo>
                  <a:lnTo>
                    <a:pt x="40" y="154"/>
                  </a:lnTo>
                  <a:lnTo>
                    <a:pt x="49" y="155"/>
                  </a:lnTo>
                  <a:lnTo>
                    <a:pt x="53" y="155"/>
                  </a:lnTo>
                  <a:lnTo>
                    <a:pt x="56" y="155"/>
                  </a:lnTo>
                  <a:lnTo>
                    <a:pt x="59" y="155"/>
                  </a:lnTo>
                  <a:lnTo>
                    <a:pt x="61" y="155"/>
                  </a:lnTo>
                  <a:lnTo>
                    <a:pt x="61" y="157"/>
                  </a:lnTo>
                  <a:lnTo>
                    <a:pt x="62" y="157"/>
                  </a:lnTo>
                  <a:lnTo>
                    <a:pt x="64" y="157"/>
                  </a:lnTo>
                  <a:lnTo>
                    <a:pt x="69" y="157"/>
                  </a:lnTo>
                  <a:lnTo>
                    <a:pt x="72" y="157"/>
                  </a:lnTo>
                  <a:lnTo>
                    <a:pt x="75" y="157"/>
                  </a:lnTo>
                  <a:lnTo>
                    <a:pt x="81" y="157"/>
                  </a:lnTo>
                  <a:lnTo>
                    <a:pt x="81" y="158"/>
                  </a:lnTo>
                  <a:lnTo>
                    <a:pt x="84" y="158"/>
                  </a:lnTo>
                  <a:lnTo>
                    <a:pt x="88" y="158"/>
                  </a:lnTo>
                  <a:lnTo>
                    <a:pt x="91" y="160"/>
                  </a:lnTo>
                  <a:lnTo>
                    <a:pt x="97" y="163"/>
                  </a:lnTo>
                  <a:lnTo>
                    <a:pt x="97" y="162"/>
                  </a:lnTo>
                  <a:lnTo>
                    <a:pt x="97" y="158"/>
                  </a:lnTo>
                  <a:lnTo>
                    <a:pt x="97" y="155"/>
                  </a:lnTo>
                  <a:lnTo>
                    <a:pt x="99" y="154"/>
                  </a:lnTo>
                  <a:lnTo>
                    <a:pt x="97" y="146"/>
                  </a:lnTo>
                  <a:lnTo>
                    <a:pt x="96" y="144"/>
                  </a:lnTo>
                  <a:lnTo>
                    <a:pt x="94" y="143"/>
                  </a:lnTo>
                  <a:lnTo>
                    <a:pt x="91" y="141"/>
                  </a:lnTo>
                  <a:lnTo>
                    <a:pt x="88" y="135"/>
                  </a:lnTo>
                  <a:lnTo>
                    <a:pt x="86" y="135"/>
                  </a:lnTo>
                  <a:lnTo>
                    <a:pt x="84" y="131"/>
                  </a:lnTo>
                  <a:lnTo>
                    <a:pt x="84" y="128"/>
                  </a:lnTo>
                  <a:lnTo>
                    <a:pt x="84" y="127"/>
                  </a:lnTo>
                  <a:lnTo>
                    <a:pt x="81" y="124"/>
                  </a:lnTo>
                  <a:lnTo>
                    <a:pt x="81" y="120"/>
                  </a:lnTo>
                  <a:lnTo>
                    <a:pt x="78" y="119"/>
                  </a:lnTo>
                  <a:lnTo>
                    <a:pt x="78" y="114"/>
                  </a:lnTo>
                  <a:lnTo>
                    <a:pt x="78" y="111"/>
                  </a:lnTo>
                  <a:lnTo>
                    <a:pt x="78" y="106"/>
                  </a:lnTo>
                  <a:lnTo>
                    <a:pt x="78" y="103"/>
                  </a:lnTo>
                  <a:lnTo>
                    <a:pt x="75" y="103"/>
                  </a:lnTo>
                  <a:lnTo>
                    <a:pt x="75" y="100"/>
                  </a:lnTo>
                  <a:lnTo>
                    <a:pt x="78" y="97"/>
                  </a:lnTo>
                  <a:lnTo>
                    <a:pt x="81" y="95"/>
                  </a:lnTo>
                  <a:lnTo>
                    <a:pt x="81" y="92"/>
                  </a:lnTo>
                  <a:lnTo>
                    <a:pt x="84" y="87"/>
                  </a:lnTo>
                  <a:lnTo>
                    <a:pt x="88" y="82"/>
                  </a:lnTo>
                  <a:lnTo>
                    <a:pt x="89" y="81"/>
                  </a:lnTo>
                  <a:lnTo>
                    <a:pt x="89" y="79"/>
                  </a:lnTo>
                  <a:lnTo>
                    <a:pt x="89" y="79"/>
                  </a:lnTo>
                  <a:lnTo>
                    <a:pt x="89" y="76"/>
                  </a:lnTo>
                  <a:lnTo>
                    <a:pt x="89" y="76"/>
                  </a:lnTo>
                  <a:lnTo>
                    <a:pt x="89" y="76"/>
                  </a:lnTo>
                  <a:lnTo>
                    <a:pt x="89" y="76"/>
                  </a:lnTo>
                  <a:lnTo>
                    <a:pt x="89" y="76"/>
                  </a:lnTo>
                  <a:lnTo>
                    <a:pt x="89" y="76"/>
                  </a:lnTo>
                  <a:lnTo>
                    <a:pt x="89" y="76"/>
                  </a:lnTo>
                  <a:lnTo>
                    <a:pt x="89" y="76"/>
                  </a:lnTo>
                  <a:lnTo>
                    <a:pt x="89" y="7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5" name="Freeform 146">
              <a:extLst>
                <a:ext uri="{FF2B5EF4-FFF2-40B4-BE49-F238E27FC236}">
                  <a16:creationId xmlns:a16="http://schemas.microsoft.com/office/drawing/2014/main" id="{3D6E18D8-631C-08D8-6C8B-85D5BCCA371C}"/>
                </a:ext>
              </a:extLst>
            </p:cNvPr>
            <p:cNvSpPr>
              <a:spLocks/>
            </p:cNvSpPr>
            <p:nvPr/>
          </p:nvSpPr>
          <p:spPr bwMode="auto">
            <a:xfrm>
              <a:off x="5791603" y="3628085"/>
              <a:ext cx="89723" cy="197391"/>
            </a:xfrm>
            <a:custGeom>
              <a:avLst/>
              <a:gdLst>
                <a:gd name="T0" fmla="*/ 25 w 40"/>
                <a:gd name="T1" fmla="*/ 76 h 88"/>
                <a:gd name="T2" fmla="*/ 25 w 40"/>
                <a:gd name="T3" fmla="*/ 67 h 88"/>
                <a:gd name="T4" fmla="*/ 25 w 40"/>
                <a:gd name="T5" fmla="*/ 54 h 88"/>
                <a:gd name="T6" fmla="*/ 27 w 40"/>
                <a:gd name="T7" fmla="*/ 48 h 88"/>
                <a:gd name="T8" fmla="*/ 30 w 40"/>
                <a:gd name="T9" fmla="*/ 46 h 88"/>
                <a:gd name="T10" fmla="*/ 30 w 40"/>
                <a:gd name="T11" fmla="*/ 43 h 88"/>
                <a:gd name="T12" fmla="*/ 33 w 40"/>
                <a:gd name="T13" fmla="*/ 38 h 88"/>
                <a:gd name="T14" fmla="*/ 38 w 40"/>
                <a:gd name="T15" fmla="*/ 32 h 88"/>
                <a:gd name="T16" fmla="*/ 36 w 40"/>
                <a:gd name="T17" fmla="*/ 29 h 88"/>
                <a:gd name="T18" fmla="*/ 40 w 40"/>
                <a:gd name="T19" fmla="*/ 29 h 88"/>
                <a:gd name="T20" fmla="*/ 38 w 40"/>
                <a:gd name="T21" fmla="*/ 24 h 88"/>
                <a:gd name="T22" fmla="*/ 38 w 40"/>
                <a:gd name="T23" fmla="*/ 18 h 88"/>
                <a:gd name="T24" fmla="*/ 35 w 40"/>
                <a:gd name="T25" fmla="*/ 13 h 88"/>
                <a:gd name="T26" fmla="*/ 36 w 40"/>
                <a:gd name="T27" fmla="*/ 10 h 88"/>
                <a:gd name="T28" fmla="*/ 36 w 40"/>
                <a:gd name="T29" fmla="*/ 10 h 88"/>
                <a:gd name="T30" fmla="*/ 30 w 40"/>
                <a:gd name="T31" fmla="*/ 3 h 88"/>
                <a:gd name="T32" fmla="*/ 27 w 40"/>
                <a:gd name="T33" fmla="*/ 0 h 88"/>
                <a:gd name="T34" fmla="*/ 25 w 40"/>
                <a:gd name="T35" fmla="*/ 0 h 88"/>
                <a:gd name="T36" fmla="*/ 25 w 40"/>
                <a:gd name="T37" fmla="*/ 0 h 88"/>
                <a:gd name="T38" fmla="*/ 22 w 40"/>
                <a:gd name="T39" fmla="*/ 3 h 88"/>
                <a:gd name="T40" fmla="*/ 22 w 40"/>
                <a:gd name="T41" fmla="*/ 7 h 88"/>
                <a:gd name="T42" fmla="*/ 22 w 40"/>
                <a:gd name="T43" fmla="*/ 8 h 88"/>
                <a:gd name="T44" fmla="*/ 19 w 40"/>
                <a:gd name="T45" fmla="*/ 10 h 88"/>
                <a:gd name="T46" fmla="*/ 16 w 40"/>
                <a:gd name="T47" fmla="*/ 13 h 88"/>
                <a:gd name="T48" fmla="*/ 11 w 40"/>
                <a:gd name="T49" fmla="*/ 15 h 88"/>
                <a:gd name="T50" fmla="*/ 8 w 40"/>
                <a:gd name="T51" fmla="*/ 15 h 88"/>
                <a:gd name="T52" fmla="*/ 3 w 40"/>
                <a:gd name="T53" fmla="*/ 19 h 88"/>
                <a:gd name="T54" fmla="*/ 0 w 40"/>
                <a:gd name="T55" fmla="*/ 29 h 88"/>
                <a:gd name="T56" fmla="*/ 5 w 40"/>
                <a:gd name="T57" fmla="*/ 32 h 88"/>
                <a:gd name="T58" fmla="*/ 8 w 40"/>
                <a:gd name="T59" fmla="*/ 35 h 88"/>
                <a:gd name="T60" fmla="*/ 9 w 40"/>
                <a:gd name="T61" fmla="*/ 45 h 88"/>
                <a:gd name="T62" fmla="*/ 13 w 40"/>
                <a:gd name="T63" fmla="*/ 54 h 88"/>
                <a:gd name="T64" fmla="*/ 13 w 40"/>
                <a:gd name="T65" fmla="*/ 75 h 88"/>
                <a:gd name="T66" fmla="*/ 11 w 40"/>
                <a:gd name="T67" fmla="*/ 78 h 88"/>
                <a:gd name="T68" fmla="*/ 13 w 40"/>
                <a:gd name="T69" fmla="*/ 88 h 88"/>
                <a:gd name="T70" fmla="*/ 19 w 40"/>
                <a:gd name="T71" fmla="*/ 88 h 88"/>
                <a:gd name="T72" fmla="*/ 25 w 40"/>
                <a:gd name="T73" fmla="*/ 83 h 88"/>
                <a:gd name="T74" fmla="*/ 25 w 40"/>
                <a:gd name="T75" fmla="*/ 80 h 88"/>
                <a:gd name="T76" fmla="*/ 25 w 40"/>
                <a:gd name="T77" fmla="*/ 80 h 88"/>
                <a:gd name="T78" fmla="*/ 25 w 40"/>
                <a:gd name="T79" fmla="*/ 80 h 88"/>
                <a:gd name="T80" fmla="*/ 25 w 40"/>
                <a:gd name="T8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88">
                  <a:moveTo>
                    <a:pt x="25" y="80"/>
                  </a:moveTo>
                  <a:lnTo>
                    <a:pt x="25" y="76"/>
                  </a:lnTo>
                  <a:lnTo>
                    <a:pt x="25" y="73"/>
                  </a:lnTo>
                  <a:lnTo>
                    <a:pt x="25" y="67"/>
                  </a:lnTo>
                  <a:lnTo>
                    <a:pt x="25" y="64"/>
                  </a:lnTo>
                  <a:lnTo>
                    <a:pt x="25" y="54"/>
                  </a:lnTo>
                  <a:lnTo>
                    <a:pt x="25" y="49"/>
                  </a:lnTo>
                  <a:lnTo>
                    <a:pt x="27" y="48"/>
                  </a:lnTo>
                  <a:lnTo>
                    <a:pt x="28" y="48"/>
                  </a:lnTo>
                  <a:lnTo>
                    <a:pt x="30" y="46"/>
                  </a:lnTo>
                  <a:lnTo>
                    <a:pt x="30" y="45"/>
                  </a:lnTo>
                  <a:lnTo>
                    <a:pt x="30" y="43"/>
                  </a:lnTo>
                  <a:lnTo>
                    <a:pt x="32" y="41"/>
                  </a:lnTo>
                  <a:lnTo>
                    <a:pt x="33" y="38"/>
                  </a:lnTo>
                  <a:lnTo>
                    <a:pt x="36" y="35"/>
                  </a:lnTo>
                  <a:lnTo>
                    <a:pt x="38" y="32"/>
                  </a:lnTo>
                  <a:lnTo>
                    <a:pt x="38" y="32"/>
                  </a:lnTo>
                  <a:lnTo>
                    <a:pt x="36" y="29"/>
                  </a:lnTo>
                  <a:lnTo>
                    <a:pt x="38" y="29"/>
                  </a:lnTo>
                  <a:lnTo>
                    <a:pt x="40" y="29"/>
                  </a:lnTo>
                  <a:lnTo>
                    <a:pt x="40" y="26"/>
                  </a:lnTo>
                  <a:lnTo>
                    <a:pt x="38" y="24"/>
                  </a:lnTo>
                  <a:lnTo>
                    <a:pt x="38" y="21"/>
                  </a:lnTo>
                  <a:lnTo>
                    <a:pt x="38" y="18"/>
                  </a:lnTo>
                  <a:lnTo>
                    <a:pt x="36" y="16"/>
                  </a:lnTo>
                  <a:lnTo>
                    <a:pt x="35" y="13"/>
                  </a:lnTo>
                  <a:lnTo>
                    <a:pt x="36" y="11"/>
                  </a:lnTo>
                  <a:lnTo>
                    <a:pt x="36" y="10"/>
                  </a:lnTo>
                  <a:lnTo>
                    <a:pt x="36" y="10"/>
                  </a:lnTo>
                  <a:lnTo>
                    <a:pt x="36" y="10"/>
                  </a:lnTo>
                  <a:lnTo>
                    <a:pt x="32" y="3"/>
                  </a:lnTo>
                  <a:lnTo>
                    <a:pt x="30" y="3"/>
                  </a:lnTo>
                  <a:lnTo>
                    <a:pt x="27" y="0"/>
                  </a:lnTo>
                  <a:lnTo>
                    <a:pt x="27" y="0"/>
                  </a:lnTo>
                  <a:lnTo>
                    <a:pt x="25" y="0"/>
                  </a:lnTo>
                  <a:lnTo>
                    <a:pt x="25" y="0"/>
                  </a:lnTo>
                  <a:lnTo>
                    <a:pt x="25" y="0"/>
                  </a:lnTo>
                  <a:lnTo>
                    <a:pt x="25" y="0"/>
                  </a:lnTo>
                  <a:lnTo>
                    <a:pt x="22" y="0"/>
                  </a:lnTo>
                  <a:lnTo>
                    <a:pt x="22" y="3"/>
                  </a:lnTo>
                  <a:lnTo>
                    <a:pt x="22" y="3"/>
                  </a:lnTo>
                  <a:lnTo>
                    <a:pt x="22" y="7"/>
                  </a:lnTo>
                  <a:lnTo>
                    <a:pt x="22" y="7"/>
                  </a:lnTo>
                  <a:lnTo>
                    <a:pt x="22" y="8"/>
                  </a:lnTo>
                  <a:lnTo>
                    <a:pt x="19" y="10"/>
                  </a:lnTo>
                  <a:lnTo>
                    <a:pt x="19" y="10"/>
                  </a:lnTo>
                  <a:lnTo>
                    <a:pt x="19" y="13"/>
                  </a:lnTo>
                  <a:lnTo>
                    <a:pt x="16" y="13"/>
                  </a:lnTo>
                  <a:lnTo>
                    <a:pt x="16" y="13"/>
                  </a:lnTo>
                  <a:lnTo>
                    <a:pt x="11" y="15"/>
                  </a:lnTo>
                  <a:lnTo>
                    <a:pt x="9" y="13"/>
                  </a:lnTo>
                  <a:lnTo>
                    <a:pt x="8" y="15"/>
                  </a:lnTo>
                  <a:lnTo>
                    <a:pt x="5" y="18"/>
                  </a:lnTo>
                  <a:lnTo>
                    <a:pt x="3" y="19"/>
                  </a:lnTo>
                  <a:lnTo>
                    <a:pt x="1" y="26"/>
                  </a:lnTo>
                  <a:lnTo>
                    <a:pt x="0" y="29"/>
                  </a:lnTo>
                  <a:lnTo>
                    <a:pt x="1" y="29"/>
                  </a:lnTo>
                  <a:lnTo>
                    <a:pt x="5" y="32"/>
                  </a:lnTo>
                  <a:lnTo>
                    <a:pt x="8" y="35"/>
                  </a:lnTo>
                  <a:lnTo>
                    <a:pt x="8" y="35"/>
                  </a:lnTo>
                  <a:lnTo>
                    <a:pt x="8" y="41"/>
                  </a:lnTo>
                  <a:lnTo>
                    <a:pt x="9" y="45"/>
                  </a:lnTo>
                  <a:lnTo>
                    <a:pt x="11" y="49"/>
                  </a:lnTo>
                  <a:lnTo>
                    <a:pt x="13" y="54"/>
                  </a:lnTo>
                  <a:lnTo>
                    <a:pt x="13" y="73"/>
                  </a:lnTo>
                  <a:lnTo>
                    <a:pt x="13" y="75"/>
                  </a:lnTo>
                  <a:lnTo>
                    <a:pt x="11" y="76"/>
                  </a:lnTo>
                  <a:lnTo>
                    <a:pt x="11" y="78"/>
                  </a:lnTo>
                  <a:lnTo>
                    <a:pt x="11" y="84"/>
                  </a:lnTo>
                  <a:lnTo>
                    <a:pt x="13" y="88"/>
                  </a:lnTo>
                  <a:lnTo>
                    <a:pt x="16" y="88"/>
                  </a:lnTo>
                  <a:lnTo>
                    <a:pt x="19" y="88"/>
                  </a:lnTo>
                  <a:lnTo>
                    <a:pt x="25" y="88"/>
                  </a:lnTo>
                  <a:lnTo>
                    <a:pt x="25" y="83"/>
                  </a:lnTo>
                  <a:lnTo>
                    <a:pt x="25" y="80"/>
                  </a:lnTo>
                  <a:lnTo>
                    <a:pt x="25" y="80"/>
                  </a:lnTo>
                  <a:lnTo>
                    <a:pt x="25" y="80"/>
                  </a:lnTo>
                  <a:lnTo>
                    <a:pt x="25" y="80"/>
                  </a:lnTo>
                  <a:lnTo>
                    <a:pt x="25" y="80"/>
                  </a:lnTo>
                  <a:lnTo>
                    <a:pt x="25" y="80"/>
                  </a:lnTo>
                  <a:lnTo>
                    <a:pt x="25" y="80"/>
                  </a:lnTo>
                  <a:lnTo>
                    <a:pt x="25" y="80"/>
                  </a:lnTo>
                  <a:lnTo>
                    <a:pt x="25" y="8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6" name="Freeform 148">
              <a:extLst>
                <a:ext uri="{FF2B5EF4-FFF2-40B4-BE49-F238E27FC236}">
                  <a16:creationId xmlns:a16="http://schemas.microsoft.com/office/drawing/2014/main" id="{77687241-2C8F-8DA6-D3F7-87E92E806ECE}"/>
                </a:ext>
              </a:extLst>
            </p:cNvPr>
            <p:cNvSpPr>
              <a:spLocks/>
            </p:cNvSpPr>
            <p:nvPr/>
          </p:nvSpPr>
          <p:spPr bwMode="auto">
            <a:xfrm>
              <a:off x="5769172" y="3670704"/>
              <a:ext cx="53834" cy="161502"/>
            </a:xfrm>
            <a:custGeom>
              <a:avLst/>
              <a:gdLst>
                <a:gd name="T0" fmla="*/ 23 w 24"/>
                <a:gd name="T1" fmla="*/ 65 h 72"/>
                <a:gd name="T2" fmla="*/ 23 w 24"/>
                <a:gd name="T3" fmla="*/ 57 h 72"/>
                <a:gd name="T4" fmla="*/ 23 w 24"/>
                <a:gd name="T5" fmla="*/ 54 h 72"/>
                <a:gd name="T6" fmla="*/ 23 w 24"/>
                <a:gd name="T7" fmla="*/ 30 h 72"/>
                <a:gd name="T8" fmla="*/ 19 w 24"/>
                <a:gd name="T9" fmla="*/ 22 h 72"/>
                <a:gd name="T10" fmla="*/ 19 w 24"/>
                <a:gd name="T11" fmla="*/ 16 h 72"/>
                <a:gd name="T12" fmla="*/ 13 w 24"/>
                <a:gd name="T13" fmla="*/ 10 h 72"/>
                <a:gd name="T14" fmla="*/ 13 w 24"/>
                <a:gd name="T15" fmla="*/ 7 h 72"/>
                <a:gd name="T16" fmla="*/ 13 w 24"/>
                <a:gd name="T17" fmla="*/ 2 h 72"/>
                <a:gd name="T18" fmla="*/ 7 w 24"/>
                <a:gd name="T19" fmla="*/ 2 h 72"/>
                <a:gd name="T20" fmla="*/ 0 w 24"/>
                <a:gd name="T21" fmla="*/ 0 h 72"/>
                <a:gd name="T22" fmla="*/ 2 w 24"/>
                <a:gd name="T23" fmla="*/ 2 h 72"/>
                <a:gd name="T24" fmla="*/ 2 w 24"/>
                <a:gd name="T25" fmla="*/ 7 h 72"/>
                <a:gd name="T26" fmla="*/ 5 w 24"/>
                <a:gd name="T27" fmla="*/ 10 h 72"/>
                <a:gd name="T28" fmla="*/ 7 w 24"/>
                <a:gd name="T29" fmla="*/ 13 h 72"/>
                <a:gd name="T30" fmla="*/ 7 w 24"/>
                <a:gd name="T31" fmla="*/ 16 h 72"/>
                <a:gd name="T32" fmla="*/ 7 w 24"/>
                <a:gd name="T33" fmla="*/ 22 h 72"/>
                <a:gd name="T34" fmla="*/ 5 w 24"/>
                <a:gd name="T35" fmla="*/ 24 h 72"/>
                <a:gd name="T36" fmla="*/ 8 w 24"/>
                <a:gd name="T37" fmla="*/ 24 h 72"/>
                <a:gd name="T38" fmla="*/ 8 w 24"/>
                <a:gd name="T39" fmla="*/ 27 h 72"/>
                <a:gd name="T40" fmla="*/ 8 w 24"/>
                <a:gd name="T41" fmla="*/ 32 h 72"/>
                <a:gd name="T42" fmla="*/ 7 w 24"/>
                <a:gd name="T43" fmla="*/ 34 h 72"/>
                <a:gd name="T44" fmla="*/ 11 w 24"/>
                <a:gd name="T45" fmla="*/ 40 h 72"/>
                <a:gd name="T46" fmla="*/ 10 w 24"/>
                <a:gd name="T47" fmla="*/ 45 h 72"/>
                <a:gd name="T48" fmla="*/ 8 w 24"/>
                <a:gd name="T49" fmla="*/ 51 h 72"/>
                <a:gd name="T50" fmla="*/ 10 w 24"/>
                <a:gd name="T51" fmla="*/ 56 h 72"/>
                <a:gd name="T52" fmla="*/ 8 w 24"/>
                <a:gd name="T53" fmla="*/ 62 h 72"/>
                <a:gd name="T54" fmla="*/ 13 w 24"/>
                <a:gd name="T55" fmla="*/ 69 h 72"/>
                <a:gd name="T56" fmla="*/ 16 w 24"/>
                <a:gd name="T57" fmla="*/ 70 h 72"/>
                <a:gd name="T58" fmla="*/ 24 w 24"/>
                <a:gd name="T59" fmla="*/ 69 h 72"/>
                <a:gd name="T60" fmla="*/ 24 w 24"/>
                <a:gd name="T61" fmla="*/ 69 h 72"/>
                <a:gd name="T62" fmla="*/ 24 w 24"/>
                <a:gd name="T63" fmla="*/ 69 h 72"/>
                <a:gd name="T64" fmla="*/ 24 w 24"/>
                <a:gd name="T65" fmla="*/ 69 h 72"/>
                <a:gd name="T66" fmla="*/ 24 w 24"/>
                <a:gd name="T6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72">
                  <a:moveTo>
                    <a:pt x="24" y="69"/>
                  </a:moveTo>
                  <a:lnTo>
                    <a:pt x="23" y="65"/>
                  </a:lnTo>
                  <a:lnTo>
                    <a:pt x="23" y="59"/>
                  </a:lnTo>
                  <a:lnTo>
                    <a:pt x="23" y="57"/>
                  </a:lnTo>
                  <a:lnTo>
                    <a:pt x="23" y="56"/>
                  </a:lnTo>
                  <a:lnTo>
                    <a:pt x="23" y="54"/>
                  </a:lnTo>
                  <a:lnTo>
                    <a:pt x="23" y="35"/>
                  </a:lnTo>
                  <a:lnTo>
                    <a:pt x="23" y="30"/>
                  </a:lnTo>
                  <a:lnTo>
                    <a:pt x="19" y="26"/>
                  </a:lnTo>
                  <a:lnTo>
                    <a:pt x="19" y="22"/>
                  </a:lnTo>
                  <a:lnTo>
                    <a:pt x="19" y="16"/>
                  </a:lnTo>
                  <a:lnTo>
                    <a:pt x="19" y="16"/>
                  </a:lnTo>
                  <a:lnTo>
                    <a:pt x="16" y="13"/>
                  </a:lnTo>
                  <a:lnTo>
                    <a:pt x="13" y="10"/>
                  </a:lnTo>
                  <a:lnTo>
                    <a:pt x="11" y="10"/>
                  </a:lnTo>
                  <a:lnTo>
                    <a:pt x="13" y="7"/>
                  </a:lnTo>
                  <a:lnTo>
                    <a:pt x="13" y="0"/>
                  </a:lnTo>
                  <a:lnTo>
                    <a:pt x="13" y="2"/>
                  </a:lnTo>
                  <a:lnTo>
                    <a:pt x="11" y="2"/>
                  </a:lnTo>
                  <a:lnTo>
                    <a:pt x="7" y="2"/>
                  </a:lnTo>
                  <a:lnTo>
                    <a:pt x="3" y="0"/>
                  </a:lnTo>
                  <a:lnTo>
                    <a:pt x="0" y="0"/>
                  </a:lnTo>
                  <a:lnTo>
                    <a:pt x="2" y="0"/>
                  </a:lnTo>
                  <a:lnTo>
                    <a:pt x="2" y="2"/>
                  </a:lnTo>
                  <a:lnTo>
                    <a:pt x="2" y="2"/>
                  </a:lnTo>
                  <a:lnTo>
                    <a:pt x="2" y="7"/>
                  </a:lnTo>
                  <a:lnTo>
                    <a:pt x="2" y="8"/>
                  </a:lnTo>
                  <a:lnTo>
                    <a:pt x="5" y="10"/>
                  </a:lnTo>
                  <a:lnTo>
                    <a:pt x="7" y="13"/>
                  </a:lnTo>
                  <a:lnTo>
                    <a:pt x="7" y="13"/>
                  </a:lnTo>
                  <a:lnTo>
                    <a:pt x="7" y="16"/>
                  </a:lnTo>
                  <a:lnTo>
                    <a:pt x="7" y="16"/>
                  </a:lnTo>
                  <a:lnTo>
                    <a:pt x="7" y="19"/>
                  </a:lnTo>
                  <a:lnTo>
                    <a:pt x="7" y="22"/>
                  </a:lnTo>
                  <a:lnTo>
                    <a:pt x="5" y="22"/>
                  </a:lnTo>
                  <a:lnTo>
                    <a:pt x="5" y="24"/>
                  </a:lnTo>
                  <a:lnTo>
                    <a:pt x="8" y="22"/>
                  </a:lnTo>
                  <a:lnTo>
                    <a:pt x="8" y="24"/>
                  </a:lnTo>
                  <a:lnTo>
                    <a:pt x="8" y="26"/>
                  </a:lnTo>
                  <a:lnTo>
                    <a:pt x="8" y="27"/>
                  </a:lnTo>
                  <a:lnTo>
                    <a:pt x="8" y="30"/>
                  </a:lnTo>
                  <a:lnTo>
                    <a:pt x="8" y="32"/>
                  </a:lnTo>
                  <a:lnTo>
                    <a:pt x="8" y="34"/>
                  </a:lnTo>
                  <a:lnTo>
                    <a:pt x="7" y="34"/>
                  </a:lnTo>
                  <a:lnTo>
                    <a:pt x="10" y="38"/>
                  </a:lnTo>
                  <a:lnTo>
                    <a:pt x="11" y="40"/>
                  </a:lnTo>
                  <a:lnTo>
                    <a:pt x="10" y="43"/>
                  </a:lnTo>
                  <a:lnTo>
                    <a:pt x="10" y="45"/>
                  </a:lnTo>
                  <a:lnTo>
                    <a:pt x="10" y="48"/>
                  </a:lnTo>
                  <a:lnTo>
                    <a:pt x="8" y="51"/>
                  </a:lnTo>
                  <a:lnTo>
                    <a:pt x="10" y="54"/>
                  </a:lnTo>
                  <a:lnTo>
                    <a:pt x="10" y="56"/>
                  </a:lnTo>
                  <a:lnTo>
                    <a:pt x="10" y="57"/>
                  </a:lnTo>
                  <a:lnTo>
                    <a:pt x="8" y="62"/>
                  </a:lnTo>
                  <a:lnTo>
                    <a:pt x="10" y="65"/>
                  </a:lnTo>
                  <a:lnTo>
                    <a:pt x="13" y="69"/>
                  </a:lnTo>
                  <a:lnTo>
                    <a:pt x="16" y="69"/>
                  </a:lnTo>
                  <a:lnTo>
                    <a:pt x="16" y="70"/>
                  </a:lnTo>
                  <a:lnTo>
                    <a:pt x="16" y="72"/>
                  </a:lnTo>
                  <a:lnTo>
                    <a:pt x="24" y="69"/>
                  </a:lnTo>
                  <a:lnTo>
                    <a:pt x="24" y="69"/>
                  </a:lnTo>
                  <a:lnTo>
                    <a:pt x="24" y="69"/>
                  </a:lnTo>
                  <a:lnTo>
                    <a:pt x="24" y="69"/>
                  </a:lnTo>
                  <a:lnTo>
                    <a:pt x="24" y="69"/>
                  </a:lnTo>
                  <a:lnTo>
                    <a:pt x="24" y="69"/>
                  </a:lnTo>
                  <a:lnTo>
                    <a:pt x="24" y="69"/>
                  </a:lnTo>
                  <a:lnTo>
                    <a:pt x="24" y="69"/>
                  </a:lnTo>
                  <a:lnTo>
                    <a:pt x="24" y="69"/>
                  </a:lnTo>
                  <a:lnTo>
                    <a:pt x="24" y="6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7" name="Freeform 150">
              <a:extLst>
                <a:ext uri="{FF2B5EF4-FFF2-40B4-BE49-F238E27FC236}">
                  <a16:creationId xmlns:a16="http://schemas.microsoft.com/office/drawing/2014/main" id="{050CC29B-583C-AD10-81A0-B4DCB3457D49}"/>
                </a:ext>
              </a:extLst>
            </p:cNvPr>
            <p:cNvSpPr>
              <a:spLocks/>
            </p:cNvSpPr>
            <p:nvPr/>
          </p:nvSpPr>
          <p:spPr bwMode="auto">
            <a:xfrm>
              <a:off x="5681691" y="3668460"/>
              <a:ext cx="123806" cy="206363"/>
            </a:xfrm>
            <a:custGeom>
              <a:avLst/>
              <a:gdLst>
                <a:gd name="T0" fmla="*/ 39 w 55"/>
                <a:gd name="T1" fmla="*/ 1 h 92"/>
                <a:gd name="T2" fmla="*/ 38 w 55"/>
                <a:gd name="T3" fmla="*/ 0 h 92"/>
                <a:gd name="T4" fmla="*/ 33 w 55"/>
                <a:gd name="T5" fmla="*/ 3 h 92"/>
                <a:gd name="T6" fmla="*/ 31 w 55"/>
                <a:gd name="T7" fmla="*/ 3 h 92"/>
                <a:gd name="T8" fmla="*/ 28 w 55"/>
                <a:gd name="T9" fmla="*/ 3 h 92"/>
                <a:gd name="T10" fmla="*/ 25 w 55"/>
                <a:gd name="T11" fmla="*/ 3 h 92"/>
                <a:gd name="T12" fmla="*/ 15 w 55"/>
                <a:gd name="T13" fmla="*/ 3 h 92"/>
                <a:gd name="T14" fmla="*/ 4 w 55"/>
                <a:gd name="T15" fmla="*/ 3 h 92"/>
                <a:gd name="T16" fmla="*/ 4 w 55"/>
                <a:gd name="T17" fmla="*/ 6 h 92"/>
                <a:gd name="T18" fmla="*/ 3 w 55"/>
                <a:gd name="T19" fmla="*/ 8 h 92"/>
                <a:gd name="T20" fmla="*/ 6 w 55"/>
                <a:gd name="T21" fmla="*/ 14 h 92"/>
                <a:gd name="T22" fmla="*/ 6 w 55"/>
                <a:gd name="T23" fmla="*/ 20 h 92"/>
                <a:gd name="T24" fmla="*/ 6 w 55"/>
                <a:gd name="T25" fmla="*/ 23 h 92"/>
                <a:gd name="T26" fmla="*/ 6 w 55"/>
                <a:gd name="T27" fmla="*/ 25 h 92"/>
                <a:gd name="T28" fmla="*/ 6 w 55"/>
                <a:gd name="T29" fmla="*/ 30 h 92"/>
                <a:gd name="T30" fmla="*/ 8 w 55"/>
                <a:gd name="T31" fmla="*/ 35 h 92"/>
                <a:gd name="T32" fmla="*/ 9 w 55"/>
                <a:gd name="T33" fmla="*/ 43 h 92"/>
                <a:gd name="T34" fmla="*/ 6 w 55"/>
                <a:gd name="T35" fmla="*/ 46 h 92"/>
                <a:gd name="T36" fmla="*/ 1 w 55"/>
                <a:gd name="T37" fmla="*/ 55 h 92"/>
                <a:gd name="T38" fmla="*/ 1 w 55"/>
                <a:gd name="T39" fmla="*/ 58 h 92"/>
                <a:gd name="T40" fmla="*/ 0 w 55"/>
                <a:gd name="T41" fmla="*/ 68 h 92"/>
                <a:gd name="T42" fmla="*/ 1 w 55"/>
                <a:gd name="T43" fmla="*/ 73 h 92"/>
                <a:gd name="T44" fmla="*/ 3 w 55"/>
                <a:gd name="T45" fmla="*/ 79 h 92"/>
                <a:gd name="T46" fmla="*/ 4 w 55"/>
                <a:gd name="T47" fmla="*/ 79 h 92"/>
                <a:gd name="T48" fmla="*/ 6 w 55"/>
                <a:gd name="T49" fmla="*/ 87 h 92"/>
                <a:gd name="T50" fmla="*/ 3 w 55"/>
                <a:gd name="T51" fmla="*/ 87 h 92"/>
                <a:gd name="T52" fmla="*/ 8 w 55"/>
                <a:gd name="T53" fmla="*/ 89 h 92"/>
                <a:gd name="T54" fmla="*/ 11 w 55"/>
                <a:gd name="T55" fmla="*/ 90 h 92"/>
                <a:gd name="T56" fmla="*/ 14 w 55"/>
                <a:gd name="T57" fmla="*/ 92 h 92"/>
                <a:gd name="T58" fmla="*/ 15 w 55"/>
                <a:gd name="T59" fmla="*/ 92 h 92"/>
                <a:gd name="T60" fmla="*/ 23 w 55"/>
                <a:gd name="T61" fmla="*/ 87 h 92"/>
                <a:gd name="T62" fmla="*/ 28 w 55"/>
                <a:gd name="T63" fmla="*/ 85 h 92"/>
                <a:gd name="T64" fmla="*/ 38 w 55"/>
                <a:gd name="T65" fmla="*/ 79 h 92"/>
                <a:gd name="T66" fmla="*/ 44 w 55"/>
                <a:gd name="T67" fmla="*/ 79 h 92"/>
                <a:gd name="T68" fmla="*/ 49 w 55"/>
                <a:gd name="T69" fmla="*/ 79 h 92"/>
                <a:gd name="T70" fmla="*/ 50 w 55"/>
                <a:gd name="T71" fmla="*/ 76 h 92"/>
                <a:gd name="T72" fmla="*/ 54 w 55"/>
                <a:gd name="T73" fmla="*/ 73 h 92"/>
                <a:gd name="T74" fmla="*/ 55 w 55"/>
                <a:gd name="T75" fmla="*/ 73 h 92"/>
                <a:gd name="T76" fmla="*/ 54 w 55"/>
                <a:gd name="T77" fmla="*/ 70 h 92"/>
                <a:gd name="T78" fmla="*/ 52 w 55"/>
                <a:gd name="T79" fmla="*/ 70 h 92"/>
                <a:gd name="T80" fmla="*/ 47 w 55"/>
                <a:gd name="T81" fmla="*/ 63 h 92"/>
                <a:gd name="T82" fmla="*/ 47 w 55"/>
                <a:gd name="T83" fmla="*/ 58 h 92"/>
                <a:gd name="T84" fmla="*/ 47 w 55"/>
                <a:gd name="T85" fmla="*/ 55 h 92"/>
                <a:gd name="T86" fmla="*/ 47 w 55"/>
                <a:gd name="T87" fmla="*/ 52 h 92"/>
                <a:gd name="T88" fmla="*/ 47 w 55"/>
                <a:gd name="T89" fmla="*/ 46 h 92"/>
                <a:gd name="T90" fmla="*/ 47 w 55"/>
                <a:gd name="T91" fmla="*/ 44 h 92"/>
                <a:gd name="T92" fmla="*/ 47 w 55"/>
                <a:gd name="T93" fmla="*/ 39 h 92"/>
                <a:gd name="T94" fmla="*/ 44 w 55"/>
                <a:gd name="T95" fmla="*/ 35 h 92"/>
                <a:gd name="T96" fmla="*/ 47 w 55"/>
                <a:gd name="T97" fmla="*/ 33 h 92"/>
                <a:gd name="T98" fmla="*/ 47 w 55"/>
                <a:gd name="T99" fmla="*/ 31 h 92"/>
                <a:gd name="T100" fmla="*/ 47 w 55"/>
                <a:gd name="T101" fmla="*/ 27 h 92"/>
                <a:gd name="T102" fmla="*/ 47 w 55"/>
                <a:gd name="T103" fmla="*/ 25 h 92"/>
                <a:gd name="T104" fmla="*/ 44 w 55"/>
                <a:gd name="T105" fmla="*/ 25 h 92"/>
                <a:gd name="T106" fmla="*/ 44 w 55"/>
                <a:gd name="T107" fmla="*/ 23 h 92"/>
                <a:gd name="T108" fmla="*/ 44 w 55"/>
                <a:gd name="T109" fmla="*/ 20 h 92"/>
                <a:gd name="T110" fmla="*/ 44 w 55"/>
                <a:gd name="T111" fmla="*/ 17 h 92"/>
                <a:gd name="T112" fmla="*/ 44 w 55"/>
                <a:gd name="T113" fmla="*/ 14 h 92"/>
                <a:gd name="T114" fmla="*/ 44 w 55"/>
                <a:gd name="T115" fmla="*/ 14 h 92"/>
                <a:gd name="T116" fmla="*/ 41 w 55"/>
                <a:gd name="T117" fmla="*/ 9 h 92"/>
                <a:gd name="T118" fmla="*/ 41 w 55"/>
                <a:gd name="T119" fmla="*/ 8 h 92"/>
                <a:gd name="T120" fmla="*/ 44 w 55"/>
                <a:gd name="T121" fmla="*/ 6 h 92"/>
                <a:gd name="T122" fmla="*/ 44 w 55"/>
                <a:gd name="T123" fmla="*/ 3 h 92"/>
                <a:gd name="T124" fmla="*/ 41 w 55"/>
                <a:gd name="T125"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 h="92">
                  <a:moveTo>
                    <a:pt x="41" y="1"/>
                  </a:moveTo>
                  <a:lnTo>
                    <a:pt x="41" y="1"/>
                  </a:lnTo>
                  <a:lnTo>
                    <a:pt x="39" y="1"/>
                  </a:lnTo>
                  <a:lnTo>
                    <a:pt x="39" y="1"/>
                  </a:lnTo>
                  <a:lnTo>
                    <a:pt x="38" y="0"/>
                  </a:lnTo>
                  <a:lnTo>
                    <a:pt x="38" y="0"/>
                  </a:lnTo>
                  <a:lnTo>
                    <a:pt x="35" y="1"/>
                  </a:lnTo>
                  <a:lnTo>
                    <a:pt x="35" y="1"/>
                  </a:lnTo>
                  <a:lnTo>
                    <a:pt x="33" y="3"/>
                  </a:lnTo>
                  <a:lnTo>
                    <a:pt x="33" y="3"/>
                  </a:lnTo>
                  <a:lnTo>
                    <a:pt x="31" y="3"/>
                  </a:lnTo>
                  <a:lnTo>
                    <a:pt x="31" y="3"/>
                  </a:lnTo>
                  <a:lnTo>
                    <a:pt x="30" y="3"/>
                  </a:lnTo>
                  <a:lnTo>
                    <a:pt x="30" y="3"/>
                  </a:lnTo>
                  <a:lnTo>
                    <a:pt x="28" y="3"/>
                  </a:lnTo>
                  <a:lnTo>
                    <a:pt x="28" y="3"/>
                  </a:lnTo>
                  <a:lnTo>
                    <a:pt x="25" y="3"/>
                  </a:lnTo>
                  <a:lnTo>
                    <a:pt x="25" y="3"/>
                  </a:lnTo>
                  <a:lnTo>
                    <a:pt x="17" y="3"/>
                  </a:lnTo>
                  <a:lnTo>
                    <a:pt x="17" y="3"/>
                  </a:lnTo>
                  <a:lnTo>
                    <a:pt x="15" y="3"/>
                  </a:lnTo>
                  <a:lnTo>
                    <a:pt x="15" y="3"/>
                  </a:lnTo>
                  <a:lnTo>
                    <a:pt x="4" y="3"/>
                  </a:lnTo>
                  <a:lnTo>
                    <a:pt x="4" y="3"/>
                  </a:lnTo>
                  <a:lnTo>
                    <a:pt x="4" y="4"/>
                  </a:lnTo>
                  <a:lnTo>
                    <a:pt x="4" y="4"/>
                  </a:lnTo>
                  <a:lnTo>
                    <a:pt x="4" y="6"/>
                  </a:lnTo>
                  <a:lnTo>
                    <a:pt x="4" y="6"/>
                  </a:lnTo>
                  <a:lnTo>
                    <a:pt x="3" y="8"/>
                  </a:lnTo>
                  <a:lnTo>
                    <a:pt x="3" y="8"/>
                  </a:lnTo>
                  <a:lnTo>
                    <a:pt x="6" y="14"/>
                  </a:lnTo>
                  <a:lnTo>
                    <a:pt x="6" y="14"/>
                  </a:lnTo>
                  <a:lnTo>
                    <a:pt x="6" y="14"/>
                  </a:lnTo>
                  <a:lnTo>
                    <a:pt x="6" y="14"/>
                  </a:lnTo>
                  <a:lnTo>
                    <a:pt x="6" y="20"/>
                  </a:lnTo>
                  <a:lnTo>
                    <a:pt x="6" y="20"/>
                  </a:lnTo>
                  <a:lnTo>
                    <a:pt x="6" y="23"/>
                  </a:lnTo>
                  <a:lnTo>
                    <a:pt x="6" y="23"/>
                  </a:lnTo>
                  <a:lnTo>
                    <a:pt x="6" y="23"/>
                  </a:lnTo>
                  <a:lnTo>
                    <a:pt x="6" y="23"/>
                  </a:lnTo>
                  <a:lnTo>
                    <a:pt x="6" y="25"/>
                  </a:lnTo>
                  <a:lnTo>
                    <a:pt x="6" y="25"/>
                  </a:lnTo>
                  <a:lnTo>
                    <a:pt x="6" y="27"/>
                  </a:lnTo>
                  <a:lnTo>
                    <a:pt x="6" y="27"/>
                  </a:lnTo>
                  <a:lnTo>
                    <a:pt x="6" y="30"/>
                  </a:lnTo>
                  <a:lnTo>
                    <a:pt x="6" y="30"/>
                  </a:lnTo>
                  <a:lnTo>
                    <a:pt x="8" y="35"/>
                  </a:lnTo>
                  <a:lnTo>
                    <a:pt x="8" y="35"/>
                  </a:lnTo>
                  <a:lnTo>
                    <a:pt x="9" y="39"/>
                  </a:lnTo>
                  <a:lnTo>
                    <a:pt x="9" y="39"/>
                  </a:lnTo>
                  <a:lnTo>
                    <a:pt x="9" y="43"/>
                  </a:lnTo>
                  <a:lnTo>
                    <a:pt x="9" y="43"/>
                  </a:lnTo>
                  <a:lnTo>
                    <a:pt x="6" y="46"/>
                  </a:lnTo>
                  <a:lnTo>
                    <a:pt x="6" y="46"/>
                  </a:lnTo>
                  <a:lnTo>
                    <a:pt x="3" y="49"/>
                  </a:lnTo>
                  <a:lnTo>
                    <a:pt x="3" y="49"/>
                  </a:lnTo>
                  <a:lnTo>
                    <a:pt x="1" y="55"/>
                  </a:lnTo>
                  <a:lnTo>
                    <a:pt x="1" y="55"/>
                  </a:lnTo>
                  <a:lnTo>
                    <a:pt x="1" y="58"/>
                  </a:lnTo>
                  <a:lnTo>
                    <a:pt x="1" y="58"/>
                  </a:lnTo>
                  <a:lnTo>
                    <a:pt x="0" y="62"/>
                  </a:lnTo>
                  <a:lnTo>
                    <a:pt x="0" y="62"/>
                  </a:lnTo>
                  <a:lnTo>
                    <a:pt x="0" y="68"/>
                  </a:lnTo>
                  <a:lnTo>
                    <a:pt x="0" y="68"/>
                  </a:lnTo>
                  <a:lnTo>
                    <a:pt x="1" y="73"/>
                  </a:lnTo>
                  <a:lnTo>
                    <a:pt x="1" y="73"/>
                  </a:lnTo>
                  <a:lnTo>
                    <a:pt x="3" y="76"/>
                  </a:lnTo>
                  <a:lnTo>
                    <a:pt x="3" y="76"/>
                  </a:lnTo>
                  <a:lnTo>
                    <a:pt x="3" y="79"/>
                  </a:lnTo>
                  <a:lnTo>
                    <a:pt x="3" y="79"/>
                  </a:lnTo>
                  <a:lnTo>
                    <a:pt x="4" y="79"/>
                  </a:lnTo>
                  <a:lnTo>
                    <a:pt x="4" y="79"/>
                  </a:lnTo>
                  <a:lnTo>
                    <a:pt x="6" y="81"/>
                  </a:lnTo>
                  <a:lnTo>
                    <a:pt x="6" y="81"/>
                  </a:lnTo>
                  <a:lnTo>
                    <a:pt x="6" y="87"/>
                  </a:lnTo>
                  <a:lnTo>
                    <a:pt x="6" y="87"/>
                  </a:lnTo>
                  <a:lnTo>
                    <a:pt x="3" y="87"/>
                  </a:lnTo>
                  <a:lnTo>
                    <a:pt x="3" y="87"/>
                  </a:lnTo>
                  <a:lnTo>
                    <a:pt x="4" y="89"/>
                  </a:lnTo>
                  <a:lnTo>
                    <a:pt x="4" y="89"/>
                  </a:lnTo>
                  <a:lnTo>
                    <a:pt x="8" y="89"/>
                  </a:lnTo>
                  <a:lnTo>
                    <a:pt x="8" y="89"/>
                  </a:lnTo>
                  <a:lnTo>
                    <a:pt x="11" y="90"/>
                  </a:lnTo>
                  <a:lnTo>
                    <a:pt x="11" y="90"/>
                  </a:lnTo>
                  <a:lnTo>
                    <a:pt x="12" y="92"/>
                  </a:lnTo>
                  <a:lnTo>
                    <a:pt x="12" y="92"/>
                  </a:lnTo>
                  <a:lnTo>
                    <a:pt x="14" y="92"/>
                  </a:lnTo>
                  <a:lnTo>
                    <a:pt x="14" y="92"/>
                  </a:lnTo>
                  <a:lnTo>
                    <a:pt x="15" y="92"/>
                  </a:lnTo>
                  <a:lnTo>
                    <a:pt x="15" y="92"/>
                  </a:lnTo>
                  <a:lnTo>
                    <a:pt x="20" y="89"/>
                  </a:lnTo>
                  <a:lnTo>
                    <a:pt x="20" y="89"/>
                  </a:lnTo>
                  <a:lnTo>
                    <a:pt x="23" y="87"/>
                  </a:lnTo>
                  <a:lnTo>
                    <a:pt x="23" y="87"/>
                  </a:lnTo>
                  <a:lnTo>
                    <a:pt x="28" y="85"/>
                  </a:lnTo>
                  <a:lnTo>
                    <a:pt x="28" y="85"/>
                  </a:lnTo>
                  <a:lnTo>
                    <a:pt x="31" y="84"/>
                  </a:lnTo>
                  <a:lnTo>
                    <a:pt x="31" y="84"/>
                  </a:lnTo>
                  <a:lnTo>
                    <a:pt x="38" y="79"/>
                  </a:lnTo>
                  <a:lnTo>
                    <a:pt x="38" y="79"/>
                  </a:lnTo>
                  <a:lnTo>
                    <a:pt x="44" y="79"/>
                  </a:lnTo>
                  <a:lnTo>
                    <a:pt x="44" y="79"/>
                  </a:lnTo>
                  <a:lnTo>
                    <a:pt x="47" y="76"/>
                  </a:lnTo>
                  <a:lnTo>
                    <a:pt x="47" y="76"/>
                  </a:lnTo>
                  <a:lnTo>
                    <a:pt x="49" y="79"/>
                  </a:lnTo>
                  <a:lnTo>
                    <a:pt x="49" y="79"/>
                  </a:lnTo>
                  <a:lnTo>
                    <a:pt x="50" y="76"/>
                  </a:lnTo>
                  <a:lnTo>
                    <a:pt x="50" y="76"/>
                  </a:lnTo>
                  <a:lnTo>
                    <a:pt x="52" y="76"/>
                  </a:lnTo>
                  <a:lnTo>
                    <a:pt x="52" y="76"/>
                  </a:lnTo>
                  <a:lnTo>
                    <a:pt x="54" y="73"/>
                  </a:lnTo>
                  <a:lnTo>
                    <a:pt x="54" y="73"/>
                  </a:lnTo>
                  <a:lnTo>
                    <a:pt x="55" y="73"/>
                  </a:lnTo>
                  <a:lnTo>
                    <a:pt x="55" y="73"/>
                  </a:lnTo>
                  <a:lnTo>
                    <a:pt x="55" y="71"/>
                  </a:lnTo>
                  <a:lnTo>
                    <a:pt x="55" y="71"/>
                  </a:lnTo>
                  <a:lnTo>
                    <a:pt x="54" y="70"/>
                  </a:lnTo>
                  <a:lnTo>
                    <a:pt x="54" y="70"/>
                  </a:lnTo>
                  <a:lnTo>
                    <a:pt x="52" y="70"/>
                  </a:lnTo>
                  <a:lnTo>
                    <a:pt x="52" y="70"/>
                  </a:lnTo>
                  <a:lnTo>
                    <a:pt x="47" y="66"/>
                  </a:lnTo>
                  <a:lnTo>
                    <a:pt x="47" y="66"/>
                  </a:lnTo>
                  <a:lnTo>
                    <a:pt x="47" y="63"/>
                  </a:lnTo>
                  <a:lnTo>
                    <a:pt x="47" y="63"/>
                  </a:lnTo>
                  <a:lnTo>
                    <a:pt x="47" y="58"/>
                  </a:lnTo>
                  <a:lnTo>
                    <a:pt x="47" y="58"/>
                  </a:lnTo>
                  <a:lnTo>
                    <a:pt x="47" y="57"/>
                  </a:lnTo>
                  <a:lnTo>
                    <a:pt x="47" y="57"/>
                  </a:lnTo>
                  <a:lnTo>
                    <a:pt x="47" y="55"/>
                  </a:lnTo>
                  <a:lnTo>
                    <a:pt x="47" y="55"/>
                  </a:lnTo>
                  <a:lnTo>
                    <a:pt x="47" y="52"/>
                  </a:lnTo>
                  <a:lnTo>
                    <a:pt x="47" y="52"/>
                  </a:lnTo>
                  <a:lnTo>
                    <a:pt x="47" y="49"/>
                  </a:lnTo>
                  <a:lnTo>
                    <a:pt x="47" y="49"/>
                  </a:lnTo>
                  <a:lnTo>
                    <a:pt x="47" y="46"/>
                  </a:lnTo>
                  <a:lnTo>
                    <a:pt x="47" y="46"/>
                  </a:lnTo>
                  <a:lnTo>
                    <a:pt x="47" y="44"/>
                  </a:lnTo>
                  <a:lnTo>
                    <a:pt x="47" y="44"/>
                  </a:lnTo>
                  <a:lnTo>
                    <a:pt x="49" y="41"/>
                  </a:lnTo>
                  <a:lnTo>
                    <a:pt x="49" y="41"/>
                  </a:lnTo>
                  <a:lnTo>
                    <a:pt x="47" y="39"/>
                  </a:lnTo>
                  <a:lnTo>
                    <a:pt x="47" y="39"/>
                  </a:lnTo>
                  <a:lnTo>
                    <a:pt x="44" y="35"/>
                  </a:lnTo>
                  <a:lnTo>
                    <a:pt x="44" y="35"/>
                  </a:lnTo>
                  <a:lnTo>
                    <a:pt x="47" y="35"/>
                  </a:lnTo>
                  <a:lnTo>
                    <a:pt x="47" y="35"/>
                  </a:lnTo>
                  <a:lnTo>
                    <a:pt x="47" y="33"/>
                  </a:lnTo>
                  <a:lnTo>
                    <a:pt x="47" y="33"/>
                  </a:lnTo>
                  <a:lnTo>
                    <a:pt x="47" y="31"/>
                  </a:lnTo>
                  <a:lnTo>
                    <a:pt x="47" y="31"/>
                  </a:lnTo>
                  <a:lnTo>
                    <a:pt x="47" y="28"/>
                  </a:lnTo>
                  <a:lnTo>
                    <a:pt x="47" y="28"/>
                  </a:lnTo>
                  <a:lnTo>
                    <a:pt x="47" y="27"/>
                  </a:lnTo>
                  <a:lnTo>
                    <a:pt x="47" y="27"/>
                  </a:lnTo>
                  <a:lnTo>
                    <a:pt x="47" y="25"/>
                  </a:lnTo>
                  <a:lnTo>
                    <a:pt x="47" y="25"/>
                  </a:lnTo>
                  <a:lnTo>
                    <a:pt x="47" y="23"/>
                  </a:lnTo>
                  <a:lnTo>
                    <a:pt x="47" y="23"/>
                  </a:lnTo>
                  <a:lnTo>
                    <a:pt x="44" y="25"/>
                  </a:lnTo>
                  <a:lnTo>
                    <a:pt x="44" y="25"/>
                  </a:lnTo>
                  <a:lnTo>
                    <a:pt x="44" y="23"/>
                  </a:lnTo>
                  <a:lnTo>
                    <a:pt x="44" y="23"/>
                  </a:lnTo>
                  <a:lnTo>
                    <a:pt x="44" y="23"/>
                  </a:lnTo>
                  <a:lnTo>
                    <a:pt x="44" y="23"/>
                  </a:lnTo>
                  <a:lnTo>
                    <a:pt x="44" y="20"/>
                  </a:lnTo>
                  <a:lnTo>
                    <a:pt x="44" y="20"/>
                  </a:lnTo>
                  <a:lnTo>
                    <a:pt x="44" y="17"/>
                  </a:lnTo>
                  <a:lnTo>
                    <a:pt x="44" y="17"/>
                  </a:lnTo>
                  <a:lnTo>
                    <a:pt x="44" y="17"/>
                  </a:lnTo>
                  <a:lnTo>
                    <a:pt x="44" y="17"/>
                  </a:lnTo>
                  <a:lnTo>
                    <a:pt x="44" y="14"/>
                  </a:lnTo>
                  <a:lnTo>
                    <a:pt x="44" y="14"/>
                  </a:lnTo>
                  <a:lnTo>
                    <a:pt x="44" y="14"/>
                  </a:lnTo>
                  <a:lnTo>
                    <a:pt x="44" y="14"/>
                  </a:lnTo>
                  <a:lnTo>
                    <a:pt x="44" y="11"/>
                  </a:lnTo>
                  <a:lnTo>
                    <a:pt x="44" y="11"/>
                  </a:lnTo>
                  <a:lnTo>
                    <a:pt x="41" y="9"/>
                  </a:lnTo>
                  <a:lnTo>
                    <a:pt x="41" y="9"/>
                  </a:lnTo>
                  <a:lnTo>
                    <a:pt x="41" y="8"/>
                  </a:lnTo>
                  <a:lnTo>
                    <a:pt x="41" y="8"/>
                  </a:lnTo>
                  <a:lnTo>
                    <a:pt x="41" y="8"/>
                  </a:lnTo>
                  <a:lnTo>
                    <a:pt x="44" y="6"/>
                  </a:lnTo>
                  <a:lnTo>
                    <a:pt x="44" y="6"/>
                  </a:lnTo>
                  <a:lnTo>
                    <a:pt x="44" y="6"/>
                  </a:lnTo>
                  <a:lnTo>
                    <a:pt x="44" y="3"/>
                  </a:lnTo>
                  <a:lnTo>
                    <a:pt x="44" y="3"/>
                  </a:lnTo>
                  <a:lnTo>
                    <a:pt x="41" y="1"/>
                  </a:lnTo>
                  <a:lnTo>
                    <a:pt x="41" y="1"/>
                  </a:lnTo>
                  <a:lnTo>
                    <a:pt x="41" y="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8" name="Freeform 152">
              <a:extLst>
                <a:ext uri="{FF2B5EF4-FFF2-40B4-BE49-F238E27FC236}">
                  <a16:creationId xmlns:a16="http://schemas.microsoft.com/office/drawing/2014/main" id="{E329A90F-EF51-8786-DF82-40286F6440FF}"/>
                </a:ext>
              </a:extLst>
            </p:cNvPr>
            <p:cNvSpPr>
              <a:spLocks/>
            </p:cNvSpPr>
            <p:nvPr/>
          </p:nvSpPr>
          <p:spPr bwMode="auto">
            <a:xfrm>
              <a:off x="5847680" y="3578738"/>
              <a:ext cx="338704" cy="314030"/>
            </a:xfrm>
            <a:custGeom>
              <a:avLst/>
              <a:gdLst>
                <a:gd name="T0" fmla="*/ 132 w 151"/>
                <a:gd name="T1" fmla="*/ 5 h 140"/>
                <a:gd name="T2" fmla="*/ 122 w 151"/>
                <a:gd name="T3" fmla="*/ 11 h 140"/>
                <a:gd name="T4" fmla="*/ 110 w 151"/>
                <a:gd name="T5" fmla="*/ 8 h 140"/>
                <a:gd name="T6" fmla="*/ 100 w 151"/>
                <a:gd name="T7" fmla="*/ 8 h 140"/>
                <a:gd name="T8" fmla="*/ 88 w 151"/>
                <a:gd name="T9" fmla="*/ 16 h 140"/>
                <a:gd name="T10" fmla="*/ 75 w 151"/>
                <a:gd name="T11" fmla="*/ 13 h 140"/>
                <a:gd name="T12" fmla="*/ 64 w 151"/>
                <a:gd name="T13" fmla="*/ 10 h 140"/>
                <a:gd name="T14" fmla="*/ 54 w 151"/>
                <a:gd name="T15" fmla="*/ 13 h 140"/>
                <a:gd name="T16" fmla="*/ 48 w 151"/>
                <a:gd name="T17" fmla="*/ 5 h 140"/>
                <a:gd name="T18" fmla="*/ 35 w 151"/>
                <a:gd name="T19" fmla="*/ 0 h 140"/>
                <a:gd name="T20" fmla="*/ 26 w 151"/>
                <a:gd name="T21" fmla="*/ 3 h 140"/>
                <a:gd name="T22" fmla="*/ 19 w 151"/>
                <a:gd name="T23" fmla="*/ 8 h 140"/>
                <a:gd name="T24" fmla="*/ 13 w 151"/>
                <a:gd name="T25" fmla="*/ 19 h 140"/>
                <a:gd name="T26" fmla="*/ 11 w 151"/>
                <a:gd name="T27" fmla="*/ 32 h 140"/>
                <a:gd name="T28" fmla="*/ 11 w 151"/>
                <a:gd name="T29" fmla="*/ 38 h 140"/>
                <a:gd name="T30" fmla="*/ 15 w 151"/>
                <a:gd name="T31" fmla="*/ 48 h 140"/>
                <a:gd name="T32" fmla="*/ 13 w 151"/>
                <a:gd name="T33" fmla="*/ 54 h 140"/>
                <a:gd name="T34" fmla="*/ 7 w 151"/>
                <a:gd name="T35" fmla="*/ 63 h 140"/>
                <a:gd name="T36" fmla="*/ 3 w 151"/>
                <a:gd name="T37" fmla="*/ 70 h 140"/>
                <a:gd name="T38" fmla="*/ 0 w 151"/>
                <a:gd name="T39" fmla="*/ 86 h 140"/>
                <a:gd name="T40" fmla="*/ 0 w 151"/>
                <a:gd name="T41" fmla="*/ 102 h 140"/>
                <a:gd name="T42" fmla="*/ 8 w 151"/>
                <a:gd name="T43" fmla="*/ 108 h 140"/>
                <a:gd name="T44" fmla="*/ 15 w 151"/>
                <a:gd name="T45" fmla="*/ 105 h 140"/>
                <a:gd name="T46" fmla="*/ 22 w 151"/>
                <a:gd name="T47" fmla="*/ 110 h 140"/>
                <a:gd name="T48" fmla="*/ 32 w 151"/>
                <a:gd name="T49" fmla="*/ 119 h 140"/>
                <a:gd name="T50" fmla="*/ 32 w 151"/>
                <a:gd name="T51" fmla="*/ 121 h 140"/>
                <a:gd name="T52" fmla="*/ 35 w 151"/>
                <a:gd name="T53" fmla="*/ 122 h 140"/>
                <a:gd name="T54" fmla="*/ 35 w 151"/>
                <a:gd name="T55" fmla="*/ 130 h 140"/>
                <a:gd name="T56" fmla="*/ 41 w 151"/>
                <a:gd name="T57" fmla="*/ 137 h 140"/>
                <a:gd name="T58" fmla="*/ 45 w 151"/>
                <a:gd name="T59" fmla="*/ 137 h 140"/>
                <a:gd name="T60" fmla="*/ 51 w 151"/>
                <a:gd name="T61" fmla="*/ 133 h 140"/>
                <a:gd name="T62" fmla="*/ 54 w 151"/>
                <a:gd name="T63" fmla="*/ 133 h 140"/>
                <a:gd name="T64" fmla="*/ 57 w 151"/>
                <a:gd name="T65" fmla="*/ 133 h 140"/>
                <a:gd name="T66" fmla="*/ 61 w 151"/>
                <a:gd name="T67" fmla="*/ 133 h 140"/>
                <a:gd name="T68" fmla="*/ 70 w 151"/>
                <a:gd name="T69" fmla="*/ 133 h 140"/>
                <a:gd name="T70" fmla="*/ 72 w 151"/>
                <a:gd name="T71" fmla="*/ 130 h 140"/>
                <a:gd name="T72" fmla="*/ 76 w 151"/>
                <a:gd name="T73" fmla="*/ 129 h 140"/>
                <a:gd name="T74" fmla="*/ 78 w 151"/>
                <a:gd name="T75" fmla="*/ 119 h 140"/>
                <a:gd name="T76" fmla="*/ 91 w 151"/>
                <a:gd name="T77" fmla="*/ 103 h 140"/>
                <a:gd name="T78" fmla="*/ 97 w 151"/>
                <a:gd name="T79" fmla="*/ 102 h 140"/>
                <a:gd name="T80" fmla="*/ 102 w 151"/>
                <a:gd name="T81" fmla="*/ 102 h 140"/>
                <a:gd name="T82" fmla="*/ 107 w 151"/>
                <a:gd name="T83" fmla="*/ 108 h 140"/>
                <a:gd name="T84" fmla="*/ 113 w 151"/>
                <a:gd name="T85" fmla="*/ 102 h 140"/>
                <a:gd name="T86" fmla="*/ 116 w 151"/>
                <a:gd name="T87" fmla="*/ 95 h 140"/>
                <a:gd name="T88" fmla="*/ 119 w 151"/>
                <a:gd name="T89" fmla="*/ 83 h 140"/>
                <a:gd name="T90" fmla="*/ 126 w 151"/>
                <a:gd name="T91" fmla="*/ 76 h 140"/>
                <a:gd name="T92" fmla="*/ 127 w 151"/>
                <a:gd name="T93" fmla="*/ 65 h 140"/>
                <a:gd name="T94" fmla="*/ 135 w 151"/>
                <a:gd name="T95" fmla="*/ 54 h 140"/>
                <a:gd name="T96" fmla="*/ 142 w 151"/>
                <a:gd name="T97" fmla="*/ 40 h 140"/>
                <a:gd name="T98" fmla="*/ 151 w 151"/>
                <a:gd name="T99" fmla="*/ 32 h 140"/>
                <a:gd name="T100" fmla="*/ 148 w 151"/>
                <a:gd name="T101" fmla="*/ 22 h 140"/>
                <a:gd name="T102" fmla="*/ 143 w 151"/>
                <a:gd name="T103" fmla="*/ 13 h 140"/>
                <a:gd name="T104" fmla="*/ 138 w 151"/>
                <a:gd name="T105" fmla="*/ 3 h 140"/>
                <a:gd name="T106" fmla="*/ 137 w 151"/>
                <a:gd name="T107" fmla="*/ 3 h 140"/>
                <a:gd name="T108" fmla="*/ 137 w 151"/>
                <a:gd name="T109" fmla="*/ 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 h="140">
                  <a:moveTo>
                    <a:pt x="137" y="3"/>
                  </a:moveTo>
                  <a:lnTo>
                    <a:pt x="134" y="3"/>
                  </a:lnTo>
                  <a:lnTo>
                    <a:pt x="134" y="3"/>
                  </a:lnTo>
                  <a:lnTo>
                    <a:pt x="132" y="5"/>
                  </a:lnTo>
                  <a:lnTo>
                    <a:pt x="127" y="6"/>
                  </a:lnTo>
                  <a:lnTo>
                    <a:pt x="126" y="10"/>
                  </a:lnTo>
                  <a:lnTo>
                    <a:pt x="126" y="10"/>
                  </a:lnTo>
                  <a:lnTo>
                    <a:pt x="122" y="11"/>
                  </a:lnTo>
                  <a:lnTo>
                    <a:pt x="122" y="13"/>
                  </a:lnTo>
                  <a:lnTo>
                    <a:pt x="119" y="13"/>
                  </a:lnTo>
                  <a:lnTo>
                    <a:pt x="116" y="10"/>
                  </a:lnTo>
                  <a:lnTo>
                    <a:pt x="110" y="8"/>
                  </a:lnTo>
                  <a:lnTo>
                    <a:pt x="110" y="8"/>
                  </a:lnTo>
                  <a:lnTo>
                    <a:pt x="108" y="8"/>
                  </a:lnTo>
                  <a:lnTo>
                    <a:pt x="102" y="8"/>
                  </a:lnTo>
                  <a:lnTo>
                    <a:pt x="100" y="8"/>
                  </a:lnTo>
                  <a:lnTo>
                    <a:pt x="95" y="10"/>
                  </a:lnTo>
                  <a:lnTo>
                    <a:pt x="91" y="11"/>
                  </a:lnTo>
                  <a:lnTo>
                    <a:pt x="89" y="14"/>
                  </a:lnTo>
                  <a:lnTo>
                    <a:pt x="88" y="16"/>
                  </a:lnTo>
                  <a:lnTo>
                    <a:pt x="84" y="16"/>
                  </a:lnTo>
                  <a:lnTo>
                    <a:pt x="81" y="16"/>
                  </a:lnTo>
                  <a:lnTo>
                    <a:pt x="78" y="14"/>
                  </a:lnTo>
                  <a:lnTo>
                    <a:pt x="75" y="13"/>
                  </a:lnTo>
                  <a:lnTo>
                    <a:pt x="73" y="13"/>
                  </a:lnTo>
                  <a:lnTo>
                    <a:pt x="68" y="10"/>
                  </a:lnTo>
                  <a:lnTo>
                    <a:pt x="67" y="8"/>
                  </a:lnTo>
                  <a:lnTo>
                    <a:pt x="64" y="10"/>
                  </a:lnTo>
                  <a:lnTo>
                    <a:pt x="61" y="11"/>
                  </a:lnTo>
                  <a:lnTo>
                    <a:pt x="57" y="11"/>
                  </a:lnTo>
                  <a:lnTo>
                    <a:pt x="57" y="13"/>
                  </a:lnTo>
                  <a:lnTo>
                    <a:pt x="54" y="13"/>
                  </a:lnTo>
                  <a:lnTo>
                    <a:pt x="54" y="13"/>
                  </a:lnTo>
                  <a:lnTo>
                    <a:pt x="53" y="11"/>
                  </a:lnTo>
                  <a:lnTo>
                    <a:pt x="49" y="6"/>
                  </a:lnTo>
                  <a:lnTo>
                    <a:pt x="48" y="5"/>
                  </a:lnTo>
                  <a:lnTo>
                    <a:pt x="45" y="3"/>
                  </a:lnTo>
                  <a:lnTo>
                    <a:pt x="43" y="3"/>
                  </a:lnTo>
                  <a:lnTo>
                    <a:pt x="38" y="2"/>
                  </a:lnTo>
                  <a:lnTo>
                    <a:pt x="35" y="0"/>
                  </a:lnTo>
                  <a:lnTo>
                    <a:pt x="32" y="2"/>
                  </a:lnTo>
                  <a:lnTo>
                    <a:pt x="32" y="2"/>
                  </a:lnTo>
                  <a:lnTo>
                    <a:pt x="29" y="2"/>
                  </a:lnTo>
                  <a:lnTo>
                    <a:pt x="26" y="3"/>
                  </a:lnTo>
                  <a:lnTo>
                    <a:pt x="22" y="3"/>
                  </a:lnTo>
                  <a:lnTo>
                    <a:pt x="21" y="5"/>
                  </a:lnTo>
                  <a:lnTo>
                    <a:pt x="19" y="6"/>
                  </a:lnTo>
                  <a:lnTo>
                    <a:pt x="19" y="8"/>
                  </a:lnTo>
                  <a:lnTo>
                    <a:pt x="18" y="13"/>
                  </a:lnTo>
                  <a:lnTo>
                    <a:pt x="16" y="16"/>
                  </a:lnTo>
                  <a:lnTo>
                    <a:pt x="15" y="19"/>
                  </a:lnTo>
                  <a:lnTo>
                    <a:pt x="13" y="19"/>
                  </a:lnTo>
                  <a:lnTo>
                    <a:pt x="13" y="22"/>
                  </a:lnTo>
                  <a:lnTo>
                    <a:pt x="11" y="30"/>
                  </a:lnTo>
                  <a:lnTo>
                    <a:pt x="11" y="30"/>
                  </a:lnTo>
                  <a:lnTo>
                    <a:pt x="11" y="32"/>
                  </a:lnTo>
                  <a:lnTo>
                    <a:pt x="11" y="32"/>
                  </a:lnTo>
                  <a:lnTo>
                    <a:pt x="11" y="33"/>
                  </a:lnTo>
                  <a:lnTo>
                    <a:pt x="10" y="35"/>
                  </a:lnTo>
                  <a:lnTo>
                    <a:pt x="11" y="38"/>
                  </a:lnTo>
                  <a:lnTo>
                    <a:pt x="13" y="40"/>
                  </a:lnTo>
                  <a:lnTo>
                    <a:pt x="13" y="43"/>
                  </a:lnTo>
                  <a:lnTo>
                    <a:pt x="13" y="46"/>
                  </a:lnTo>
                  <a:lnTo>
                    <a:pt x="15" y="48"/>
                  </a:lnTo>
                  <a:lnTo>
                    <a:pt x="15" y="51"/>
                  </a:lnTo>
                  <a:lnTo>
                    <a:pt x="13" y="51"/>
                  </a:lnTo>
                  <a:lnTo>
                    <a:pt x="11" y="51"/>
                  </a:lnTo>
                  <a:lnTo>
                    <a:pt x="13" y="54"/>
                  </a:lnTo>
                  <a:lnTo>
                    <a:pt x="13" y="54"/>
                  </a:lnTo>
                  <a:lnTo>
                    <a:pt x="11" y="57"/>
                  </a:lnTo>
                  <a:lnTo>
                    <a:pt x="8" y="60"/>
                  </a:lnTo>
                  <a:lnTo>
                    <a:pt x="7" y="63"/>
                  </a:lnTo>
                  <a:lnTo>
                    <a:pt x="5" y="65"/>
                  </a:lnTo>
                  <a:lnTo>
                    <a:pt x="5" y="67"/>
                  </a:lnTo>
                  <a:lnTo>
                    <a:pt x="5" y="68"/>
                  </a:lnTo>
                  <a:lnTo>
                    <a:pt x="3" y="70"/>
                  </a:lnTo>
                  <a:lnTo>
                    <a:pt x="2" y="70"/>
                  </a:lnTo>
                  <a:lnTo>
                    <a:pt x="0" y="71"/>
                  </a:lnTo>
                  <a:lnTo>
                    <a:pt x="0" y="76"/>
                  </a:lnTo>
                  <a:lnTo>
                    <a:pt x="0" y="86"/>
                  </a:lnTo>
                  <a:lnTo>
                    <a:pt x="0" y="89"/>
                  </a:lnTo>
                  <a:lnTo>
                    <a:pt x="0" y="95"/>
                  </a:lnTo>
                  <a:lnTo>
                    <a:pt x="0" y="98"/>
                  </a:lnTo>
                  <a:lnTo>
                    <a:pt x="0" y="102"/>
                  </a:lnTo>
                  <a:lnTo>
                    <a:pt x="0" y="105"/>
                  </a:lnTo>
                  <a:lnTo>
                    <a:pt x="0" y="110"/>
                  </a:lnTo>
                  <a:lnTo>
                    <a:pt x="8" y="110"/>
                  </a:lnTo>
                  <a:lnTo>
                    <a:pt x="8" y="108"/>
                  </a:lnTo>
                  <a:lnTo>
                    <a:pt x="8" y="106"/>
                  </a:lnTo>
                  <a:lnTo>
                    <a:pt x="10" y="106"/>
                  </a:lnTo>
                  <a:lnTo>
                    <a:pt x="11" y="106"/>
                  </a:lnTo>
                  <a:lnTo>
                    <a:pt x="15" y="105"/>
                  </a:lnTo>
                  <a:lnTo>
                    <a:pt x="11" y="108"/>
                  </a:lnTo>
                  <a:lnTo>
                    <a:pt x="15" y="108"/>
                  </a:lnTo>
                  <a:lnTo>
                    <a:pt x="21" y="110"/>
                  </a:lnTo>
                  <a:lnTo>
                    <a:pt x="22" y="110"/>
                  </a:lnTo>
                  <a:lnTo>
                    <a:pt x="26" y="113"/>
                  </a:lnTo>
                  <a:lnTo>
                    <a:pt x="29" y="119"/>
                  </a:lnTo>
                  <a:lnTo>
                    <a:pt x="32" y="119"/>
                  </a:lnTo>
                  <a:lnTo>
                    <a:pt x="32" y="119"/>
                  </a:lnTo>
                  <a:lnTo>
                    <a:pt x="35" y="119"/>
                  </a:lnTo>
                  <a:lnTo>
                    <a:pt x="35" y="119"/>
                  </a:lnTo>
                  <a:lnTo>
                    <a:pt x="32" y="121"/>
                  </a:lnTo>
                  <a:lnTo>
                    <a:pt x="32" y="121"/>
                  </a:lnTo>
                  <a:lnTo>
                    <a:pt x="32" y="122"/>
                  </a:lnTo>
                  <a:lnTo>
                    <a:pt x="35" y="121"/>
                  </a:lnTo>
                  <a:lnTo>
                    <a:pt x="37" y="121"/>
                  </a:lnTo>
                  <a:lnTo>
                    <a:pt x="35" y="122"/>
                  </a:lnTo>
                  <a:lnTo>
                    <a:pt x="35" y="124"/>
                  </a:lnTo>
                  <a:lnTo>
                    <a:pt x="35" y="125"/>
                  </a:lnTo>
                  <a:lnTo>
                    <a:pt x="35" y="127"/>
                  </a:lnTo>
                  <a:lnTo>
                    <a:pt x="35" y="130"/>
                  </a:lnTo>
                  <a:lnTo>
                    <a:pt x="35" y="133"/>
                  </a:lnTo>
                  <a:lnTo>
                    <a:pt x="37" y="133"/>
                  </a:lnTo>
                  <a:lnTo>
                    <a:pt x="40" y="137"/>
                  </a:lnTo>
                  <a:lnTo>
                    <a:pt x="41" y="137"/>
                  </a:lnTo>
                  <a:lnTo>
                    <a:pt x="41" y="137"/>
                  </a:lnTo>
                  <a:lnTo>
                    <a:pt x="43" y="140"/>
                  </a:lnTo>
                  <a:lnTo>
                    <a:pt x="45" y="137"/>
                  </a:lnTo>
                  <a:lnTo>
                    <a:pt x="45" y="137"/>
                  </a:lnTo>
                  <a:lnTo>
                    <a:pt x="48" y="137"/>
                  </a:lnTo>
                  <a:lnTo>
                    <a:pt x="49" y="137"/>
                  </a:lnTo>
                  <a:lnTo>
                    <a:pt x="51" y="133"/>
                  </a:lnTo>
                  <a:lnTo>
                    <a:pt x="51" y="133"/>
                  </a:lnTo>
                  <a:lnTo>
                    <a:pt x="53" y="130"/>
                  </a:lnTo>
                  <a:lnTo>
                    <a:pt x="53" y="133"/>
                  </a:lnTo>
                  <a:lnTo>
                    <a:pt x="54" y="137"/>
                  </a:lnTo>
                  <a:lnTo>
                    <a:pt x="54" y="133"/>
                  </a:lnTo>
                  <a:lnTo>
                    <a:pt x="56" y="137"/>
                  </a:lnTo>
                  <a:lnTo>
                    <a:pt x="57" y="133"/>
                  </a:lnTo>
                  <a:lnTo>
                    <a:pt x="56" y="133"/>
                  </a:lnTo>
                  <a:lnTo>
                    <a:pt x="57" y="133"/>
                  </a:lnTo>
                  <a:lnTo>
                    <a:pt x="57" y="133"/>
                  </a:lnTo>
                  <a:lnTo>
                    <a:pt x="61" y="133"/>
                  </a:lnTo>
                  <a:lnTo>
                    <a:pt x="61" y="133"/>
                  </a:lnTo>
                  <a:lnTo>
                    <a:pt x="61" y="133"/>
                  </a:lnTo>
                  <a:lnTo>
                    <a:pt x="64" y="133"/>
                  </a:lnTo>
                  <a:lnTo>
                    <a:pt x="67" y="133"/>
                  </a:lnTo>
                  <a:lnTo>
                    <a:pt x="70" y="133"/>
                  </a:lnTo>
                  <a:lnTo>
                    <a:pt x="70" y="133"/>
                  </a:lnTo>
                  <a:lnTo>
                    <a:pt x="70" y="130"/>
                  </a:lnTo>
                  <a:lnTo>
                    <a:pt x="72" y="130"/>
                  </a:lnTo>
                  <a:lnTo>
                    <a:pt x="72" y="130"/>
                  </a:lnTo>
                  <a:lnTo>
                    <a:pt x="72" y="130"/>
                  </a:lnTo>
                  <a:lnTo>
                    <a:pt x="73" y="133"/>
                  </a:lnTo>
                  <a:lnTo>
                    <a:pt x="73" y="132"/>
                  </a:lnTo>
                  <a:lnTo>
                    <a:pt x="75" y="130"/>
                  </a:lnTo>
                  <a:lnTo>
                    <a:pt x="76" y="129"/>
                  </a:lnTo>
                  <a:lnTo>
                    <a:pt x="78" y="125"/>
                  </a:lnTo>
                  <a:lnTo>
                    <a:pt x="78" y="121"/>
                  </a:lnTo>
                  <a:lnTo>
                    <a:pt x="80" y="119"/>
                  </a:lnTo>
                  <a:lnTo>
                    <a:pt x="78" y="119"/>
                  </a:lnTo>
                  <a:lnTo>
                    <a:pt x="80" y="116"/>
                  </a:lnTo>
                  <a:lnTo>
                    <a:pt x="81" y="113"/>
                  </a:lnTo>
                  <a:lnTo>
                    <a:pt x="88" y="108"/>
                  </a:lnTo>
                  <a:lnTo>
                    <a:pt x="91" y="103"/>
                  </a:lnTo>
                  <a:lnTo>
                    <a:pt x="91" y="102"/>
                  </a:lnTo>
                  <a:lnTo>
                    <a:pt x="92" y="100"/>
                  </a:lnTo>
                  <a:lnTo>
                    <a:pt x="95" y="102"/>
                  </a:lnTo>
                  <a:lnTo>
                    <a:pt x="97" y="102"/>
                  </a:lnTo>
                  <a:lnTo>
                    <a:pt x="99" y="100"/>
                  </a:lnTo>
                  <a:lnTo>
                    <a:pt x="100" y="97"/>
                  </a:lnTo>
                  <a:lnTo>
                    <a:pt x="100" y="100"/>
                  </a:lnTo>
                  <a:lnTo>
                    <a:pt x="102" y="102"/>
                  </a:lnTo>
                  <a:lnTo>
                    <a:pt x="103" y="103"/>
                  </a:lnTo>
                  <a:lnTo>
                    <a:pt x="107" y="105"/>
                  </a:lnTo>
                  <a:lnTo>
                    <a:pt x="107" y="106"/>
                  </a:lnTo>
                  <a:lnTo>
                    <a:pt x="107" y="108"/>
                  </a:lnTo>
                  <a:lnTo>
                    <a:pt x="108" y="108"/>
                  </a:lnTo>
                  <a:lnTo>
                    <a:pt x="110" y="108"/>
                  </a:lnTo>
                  <a:lnTo>
                    <a:pt x="113" y="105"/>
                  </a:lnTo>
                  <a:lnTo>
                    <a:pt x="113" y="102"/>
                  </a:lnTo>
                  <a:lnTo>
                    <a:pt x="113" y="100"/>
                  </a:lnTo>
                  <a:lnTo>
                    <a:pt x="116" y="98"/>
                  </a:lnTo>
                  <a:lnTo>
                    <a:pt x="116" y="97"/>
                  </a:lnTo>
                  <a:lnTo>
                    <a:pt x="116" y="95"/>
                  </a:lnTo>
                  <a:lnTo>
                    <a:pt x="116" y="95"/>
                  </a:lnTo>
                  <a:lnTo>
                    <a:pt x="119" y="89"/>
                  </a:lnTo>
                  <a:lnTo>
                    <a:pt x="119" y="84"/>
                  </a:lnTo>
                  <a:lnTo>
                    <a:pt x="119" y="83"/>
                  </a:lnTo>
                  <a:lnTo>
                    <a:pt x="122" y="79"/>
                  </a:lnTo>
                  <a:lnTo>
                    <a:pt x="122" y="79"/>
                  </a:lnTo>
                  <a:lnTo>
                    <a:pt x="122" y="76"/>
                  </a:lnTo>
                  <a:lnTo>
                    <a:pt x="126" y="76"/>
                  </a:lnTo>
                  <a:lnTo>
                    <a:pt x="127" y="71"/>
                  </a:lnTo>
                  <a:lnTo>
                    <a:pt x="129" y="68"/>
                  </a:lnTo>
                  <a:lnTo>
                    <a:pt x="129" y="67"/>
                  </a:lnTo>
                  <a:lnTo>
                    <a:pt x="127" y="65"/>
                  </a:lnTo>
                  <a:lnTo>
                    <a:pt x="132" y="63"/>
                  </a:lnTo>
                  <a:lnTo>
                    <a:pt x="134" y="60"/>
                  </a:lnTo>
                  <a:lnTo>
                    <a:pt x="134" y="57"/>
                  </a:lnTo>
                  <a:lnTo>
                    <a:pt x="135" y="54"/>
                  </a:lnTo>
                  <a:lnTo>
                    <a:pt x="137" y="54"/>
                  </a:lnTo>
                  <a:lnTo>
                    <a:pt x="138" y="49"/>
                  </a:lnTo>
                  <a:lnTo>
                    <a:pt x="140" y="43"/>
                  </a:lnTo>
                  <a:lnTo>
                    <a:pt x="142" y="40"/>
                  </a:lnTo>
                  <a:lnTo>
                    <a:pt x="145" y="38"/>
                  </a:lnTo>
                  <a:lnTo>
                    <a:pt x="148" y="37"/>
                  </a:lnTo>
                  <a:lnTo>
                    <a:pt x="151" y="35"/>
                  </a:lnTo>
                  <a:lnTo>
                    <a:pt x="151" y="32"/>
                  </a:lnTo>
                  <a:lnTo>
                    <a:pt x="151" y="30"/>
                  </a:lnTo>
                  <a:lnTo>
                    <a:pt x="151" y="29"/>
                  </a:lnTo>
                  <a:lnTo>
                    <a:pt x="151" y="25"/>
                  </a:lnTo>
                  <a:lnTo>
                    <a:pt x="148" y="22"/>
                  </a:lnTo>
                  <a:lnTo>
                    <a:pt x="146" y="22"/>
                  </a:lnTo>
                  <a:lnTo>
                    <a:pt x="145" y="19"/>
                  </a:lnTo>
                  <a:lnTo>
                    <a:pt x="145" y="14"/>
                  </a:lnTo>
                  <a:lnTo>
                    <a:pt x="143" y="13"/>
                  </a:lnTo>
                  <a:lnTo>
                    <a:pt x="143" y="13"/>
                  </a:lnTo>
                  <a:lnTo>
                    <a:pt x="138" y="6"/>
                  </a:lnTo>
                  <a:lnTo>
                    <a:pt x="138" y="3"/>
                  </a:lnTo>
                  <a:lnTo>
                    <a:pt x="138" y="3"/>
                  </a:lnTo>
                  <a:lnTo>
                    <a:pt x="137" y="3"/>
                  </a:lnTo>
                  <a:lnTo>
                    <a:pt x="137" y="3"/>
                  </a:lnTo>
                  <a:lnTo>
                    <a:pt x="137" y="3"/>
                  </a:lnTo>
                  <a:lnTo>
                    <a:pt x="137" y="3"/>
                  </a:lnTo>
                  <a:lnTo>
                    <a:pt x="137" y="3"/>
                  </a:lnTo>
                  <a:lnTo>
                    <a:pt x="137" y="3"/>
                  </a:lnTo>
                  <a:lnTo>
                    <a:pt x="137" y="3"/>
                  </a:lnTo>
                  <a:lnTo>
                    <a:pt x="137" y="3"/>
                  </a:lnTo>
                  <a:lnTo>
                    <a:pt x="137"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49" name="Freeform 160">
              <a:extLst>
                <a:ext uri="{FF2B5EF4-FFF2-40B4-BE49-F238E27FC236}">
                  <a16:creationId xmlns:a16="http://schemas.microsoft.com/office/drawing/2014/main" id="{429B76BA-650E-AC6C-73E2-7473F7AA7138}"/>
                </a:ext>
              </a:extLst>
            </p:cNvPr>
            <p:cNvSpPr>
              <a:spLocks/>
            </p:cNvSpPr>
            <p:nvPr/>
          </p:nvSpPr>
          <p:spPr bwMode="auto">
            <a:xfrm>
              <a:off x="5612157" y="3542849"/>
              <a:ext cx="228793" cy="181689"/>
            </a:xfrm>
            <a:custGeom>
              <a:avLst/>
              <a:gdLst>
                <a:gd name="T0" fmla="*/ 64 w 102"/>
                <a:gd name="T1" fmla="*/ 0 h 81"/>
                <a:gd name="T2" fmla="*/ 50 w 102"/>
                <a:gd name="T3" fmla="*/ 6 h 81"/>
                <a:gd name="T4" fmla="*/ 46 w 102"/>
                <a:gd name="T5" fmla="*/ 11 h 81"/>
                <a:gd name="T6" fmla="*/ 37 w 102"/>
                <a:gd name="T7" fmla="*/ 11 h 81"/>
                <a:gd name="T8" fmla="*/ 35 w 102"/>
                <a:gd name="T9" fmla="*/ 18 h 81"/>
                <a:gd name="T10" fmla="*/ 31 w 102"/>
                <a:gd name="T11" fmla="*/ 22 h 81"/>
                <a:gd name="T12" fmla="*/ 27 w 102"/>
                <a:gd name="T13" fmla="*/ 27 h 81"/>
                <a:gd name="T14" fmla="*/ 21 w 102"/>
                <a:gd name="T15" fmla="*/ 22 h 81"/>
                <a:gd name="T16" fmla="*/ 16 w 102"/>
                <a:gd name="T17" fmla="*/ 27 h 81"/>
                <a:gd name="T18" fmla="*/ 16 w 102"/>
                <a:gd name="T19" fmla="*/ 33 h 81"/>
                <a:gd name="T20" fmla="*/ 15 w 102"/>
                <a:gd name="T21" fmla="*/ 35 h 81"/>
                <a:gd name="T22" fmla="*/ 12 w 102"/>
                <a:gd name="T23" fmla="*/ 45 h 81"/>
                <a:gd name="T24" fmla="*/ 5 w 102"/>
                <a:gd name="T25" fmla="*/ 45 h 81"/>
                <a:gd name="T26" fmla="*/ 5 w 102"/>
                <a:gd name="T27" fmla="*/ 48 h 81"/>
                <a:gd name="T28" fmla="*/ 5 w 102"/>
                <a:gd name="T29" fmla="*/ 53 h 81"/>
                <a:gd name="T30" fmla="*/ 2 w 102"/>
                <a:gd name="T31" fmla="*/ 59 h 81"/>
                <a:gd name="T32" fmla="*/ 2 w 102"/>
                <a:gd name="T33" fmla="*/ 65 h 81"/>
                <a:gd name="T34" fmla="*/ 2 w 102"/>
                <a:gd name="T35" fmla="*/ 67 h 81"/>
                <a:gd name="T36" fmla="*/ 5 w 102"/>
                <a:gd name="T37" fmla="*/ 70 h 81"/>
                <a:gd name="T38" fmla="*/ 12 w 102"/>
                <a:gd name="T39" fmla="*/ 76 h 81"/>
                <a:gd name="T40" fmla="*/ 16 w 102"/>
                <a:gd name="T41" fmla="*/ 76 h 81"/>
                <a:gd name="T42" fmla="*/ 27 w 102"/>
                <a:gd name="T43" fmla="*/ 73 h 81"/>
                <a:gd name="T44" fmla="*/ 31 w 102"/>
                <a:gd name="T45" fmla="*/ 73 h 81"/>
                <a:gd name="T46" fmla="*/ 37 w 102"/>
                <a:gd name="T47" fmla="*/ 79 h 81"/>
                <a:gd name="T48" fmla="*/ 37 w 102"/>
                <a:gd name="T49" fmla="*/ 70 h 81"/>
                <a:gd name="T50" fmla="*/ 35 w 102"/>
                <a:gd name="T51" fmla="*/ 62 h 81"/>
                <a:gd name="T52" fmla="*/ 46 w 102"/>
                <a:gd name="T53" fmla="*/ 59 h 81"/>
                <a:gd name="T54" fmla="*/ 59 w 102"/>
                <a:gd name="T55" fmla="*/ 59 h 81"/>
                <a:gd name="T56" fmla="*/ 64 w 102"/>
                <a:gd name="T57" fmla="*/ 59 h 81"/>
                <a:gd name="T58" fmla="*/ 70 w 102"/>
                <a:gd name="T59" fmla="*/ 57 h 81"/>
                <a:gd name="T60" fmla="*/ 75 w 102"/>
                <a:gd name="T61" fmla="*/ 59 h 81"/>
                <a:gd name="T62" fmla="*/ 83 w 102"/>
                <a:gd name="T63" fmla="*/ 57 h 81"/>
                <a:gd name="T64" fmla="*/ 89 w 102"/>
                <a:gd name="T65" fmla="*/ 51 h 81"/>
                <a:gd name="T66" fmla="*/ 96 w 102"/>
                <a:gd name="T67" fmla="*/ 51 h 81"/>
                <a:gd name="T68" fmla="*/ 99 w 102"/>
                <a:gd name="T69" fmla="*/ 48 h 81"/>
                <a:gd name="T70" fmla="*/ 99 w 102"/>
                <a:gd name="T71" fmla="*/ 41 h 81"/>
                <a:gd name="T72" fmla="*/ 99 w 102"/>
                <a:gd name="T73" fmla="*/ 35 h 81"/>
                <a:gd name="T74" fmla="*/ 94 w 102"/>
                <a:gd name="T75" fmla="*/ 35 h 81"/>
                <a:gd name="T76" fmla="*/ 85 w 102"/>
                <a:gd name="T77" fmla="*/ 27 h 81"/>
                <a:gd name="T78" fmla="*/ 88 w 102"/>
                <a:gd name="T79" fmla="*/ 24 h 81"/>
                <a:gd name="T80" fmla="*/ 77 w 102"/>
                <a:gd name="T81" fmla="*/ 14 h 81"/>
                <a:gd name="T82" fmla="*/ 75 w 102"/>
                <a:gd name="T83" fmla="*/ 10 h 81"/>
                <a:gd name="T84" fmla="*/ 73 w 102"/>
                <a:gd name="T85" fmla="*/ 3 h 81"/>
                <a:gd name="T86" fmla="*/ 67 w 102"/>
                <a:gd name="T87" fmla="*/ 0 h 81"/>
                <a:gd name="T88" fmla="*/ 67 w 102"/>
                <a:gd name="T89" fmla="*/ 0 h 81"/>
                <a:gd name="T90" fmla="*/ 67 w 102"/>
                <a:gd name="T9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81">
                  <a:moveTo>
                    <a:pt x="67" y="0"/>
                  </a:moveTo>
                  <a:lnTo>
                    <a:pt x="67" y="0"/>
                  </a:lnTo>
                  <a:lnTo>
                    <a:pt x="64" y="0"/>
                  </a:lnTo>
                  <a:lnTo>
                    <a:pt x="61" y="2"/>
                  </a:lnTo>
                  <a:lnTo>
                    <a:pt x="53" y="6"/>
                  </a:lnTo>
                  <a:lnTo>
                    <a:pt x="50" y="6"/>
                  </a:lnTo>
                  <a:lnTo>
                    <a:pt x="46" y="10"/>
                  </a:lnTo>
                  <a:lnTo>
                    <a:pt x="46" y="10"/>
                  </a:lnTo>
                  <a:lnTo>
                    <a:pt x="46" y="11"/>
                  </a:lnTo>
                  <a:lnTo>
                    <a:pt x="43" y="11"/>
                  </a:lnTo>
                  <a:lnTo>
                    <a:pt x="40" y="11"/>
                  </a:lnTo>
                  <a:lnTo>
                    <a:pt x="37" y="11"/>
                  </a:lnTo>
                  <a:lnTo>
                    <a:pt x="37" y="13"/>
                  </a:lnTo>
                  <a:lnTo>
                    <a:pt x="35" y="16"/>
                  </a:lnTo>
                  <a:lnTo>
                    <a:pt x="35" y="18"/>
                  </a:lnTo>
                  <a:lnTo>
                    <a:pt x="34" y="21"/>
                  </a:lnTo>
                  <a:lnTo>
                    <a:pt x="31" y="19"/>
                  </a:lnTo>
                  <a:lnTo>
                    <a:pt x="31" y="22"/>
                  </a:lnTo>
                  <a:lnTo>
                    <a:pt x="31" y="26"/>
                  </a:lnTo>
                  <a:lnTo>
                    <a:pt x="29" y="26"/>
                  </a:lnTo>
                  <a:lnTo>
                    <a:pt x="27" y="27"/>
                  </a:lnTo>
                  <a:lnTo>
                    <a:pt x="24" y="26"/>
                  </a:lnTo>
                  <a:lnTo>
                    <a:pt x="21" y="24"/>
                  </a:lnTo>
                  <a:lnTo>
                    <a:pt x="21" y="22"/>
                  </a:lnTo>
                  <a:lnTo>
                    <a:pt x="19" y="26"/>
                  </a:lnTo>
                  <a:lnTo>
                    <a:pt x="18" y="27"/>
                  </a:lnTo>
                  <a:lnTo>
                    <a:pt x="16" y="27"/>
                  </a:lnTo>
                  <a:lnTo>
                    <a:pt x="16" y="29"/>
                  </a:lnTo>
                  <a:lnTo>
                    <a:pt x="18" y="32"/>
                  </a:lnTo>
                  <a:lnTo>
                    <a:pt x="16" y="33"/>
                  </a:lnTo>
                  <a:lnTo>
                    <a:pt x="15" y="33"/>
                  </a:lnTo>
                  <a:lnTo>
                    <a:pt x="15" y="35"/>
                  </a:lnTo>
                  <a:lnTo>
                    <a:pt x="15" y="35"/>
                  </a:lnTo>
                  <a:lnTo>
                    <a:pt x="15" y="38"/>
                  </a:lnTo>
                  <a:lnTo>
                    <a:pt x="12" y="45"/>
                  </a:lnTo>
                  <a:lnTo>
                    <a:pt x="12" y="45"/>
                  </a:lnTo>
                  <a:lnTo>
                    <a:pt x="8" y="45"/>
                  </a:lnTo>
                  <a:lnTo>
                    <a:pt x="8" y="45"/>
                  </a:lnTo>
                  <a:lnTo>
                    <a:pt x="5" y="45"/>
                  </a:lnTo>
                  <a:lnTo>
                    <a:pt x="2" y="46"/>
                  </a:lnTo>
                  <a:lnTo>
                    <a:pt x="5" y="46"/>
                  </a:lnTo>
                  <a:lnTo>
                    <a:pt x="5" y="48"/>
                  </a:lnTo>
                  <a:lnTo>
                    <a:pt x="5" y="49"/>
                  </a:lnTo>
                  <a:lnTo>
                    <a:pt x="5" y="51"/>
                  </a:lnTo>
                  <a:lnTo>
                    <a:pt x="5" y="53"/>
                  </a:lnTo>
                  <a:lnTo>
                    <a:pt x="5" y="56"/>
                  </a:lnTo>
                  <a:lnTo>
                    <a:pt x="2" y="57"/>
                  </a:lnTo>
                  <a:lnTo>
                    <a:pt x="2" y="59"/>
                  </a:lnTo>
                  <a:lnTo>
                    <a:pt x="2" y="59"/>
                  </a:lnTo>
                  <a:lnTo>
                    <a:pt x="2" y="64"/>
                  </a:lnTo>
                  <a:lnTo>
                    <a:pt x="2" y="65"/>
                  </a:lnTo>
                  <a:lnTo>
                    <a:pt x="0" y="67"/>
                  </a:lnTo>
                  <a:lnTo>
                    <a:pt x="2" y="67"/>
                  </a:lnTo>
                  <a:lnTo>
                    <a:pt x="2" y="67"/>
                  </a:lnTo>
                  <a:lnTo>
                    <a:pt x="2" y="67"/>
                  </a:lnTo>
                  <a:lnTo>
                    <a:pt x="5" y="67"/>
                  </a:lnTo>
                  <a:lnTo>
                    <a:pt x="5" y="70"/>
                  </a:lnTo>
                  <a:lnTo>
                    <a:pt x="8" y="73"/>
                  </a:lnTo>
                  <a:lnTo>
                    <a:pt x="8" y="76"/>
                  </a:lnTo>
                  <a:lnTo>
                    <a:pt x="12" y="76"/>
                  </a:lnTo>
                  <a:lnTo>
                    <a:pt x="12" y="76"/>
                  </a:lnTo>
                  <a:lnTo>
                    <a:pt x="16" y="79"/>
                  </a:lnTo>
                  <a:lnTo>
                    <a:pt x="16" y="76"/>
                  </a:lnTo>
                  <a:lnTo>
                    <a:pt x="18" y="76"/>
                  </a:lnTo>
                  <a:lnTo>
                    <a:pt x="23" y="73"/>
                  </a:lnTo>
                  <a:lnTo>
                    <a:pt x="27" y="73"/>
                  </a:lnTo>
                  <a:lnTo>
                    <a:pt x="29" y="73"/>
                  </a:lnTo>
                  <a:lnTo>
                    <a:pt x="31" y="73"/>
                  </a:lnTo>
                  <a:lnTo>
                    <a:pt x="31" y="73"/>
                  </a:lnTo>
                  <a:lnTo>
                    <a:pt x="34" y="79"/>
                  </a:lnTo>
                  <a:lnTo>
                    <a:pt x="37" y="81"/>
                  </a:lnTo>
                  <a:lnTo>
                    <a:pt x="37" y="79"/>
                  </a:lnTo>
                  <a:lnTo>
                    <a:pt x="37" y="79"/>
                  </a:lnTo>
                  <a:lnTo>
                    <a:pt x="37" y="76"/>
                  </a:lnTo>
                  <a:lnTo>
                    <a:pt x="37" y="70"/>
                  </a:lnTo>
                  <a:lnTo>
                    <a:pt x="37" y="70"/>
                  </a:lnTo>
                  <a:lnTo>
                    <a:pt x="34" y="64"/>
                  </a:lnTo>
                  <a:lnTo>
                    <a:pt x="35" y="62"/>
                  </a:lnTo>
                  <a:lnTo>
                    <a:pt x="35" y="60"/>
                  </a:lnTo>
                  <a:lnTo>
                    <a:pt x="35" y="59"/>
                  </a:lnTo>
                  <a:lnTo>
                    <a:pt x="46" y="59"/>
                  </a:lnTo>
                  <a:lnTo>
                    <a:pt x="48" y="59"/>
                  </a:lnTo>
                  <a:lnTo>
                    <a:pt x="56" y="59"/>
                  </a:lnTo>
                  <a:lnTo>
                    <a:pt x="59" y="59"/>
                  </a:lnTo>
                  <a:lnTo>
                    <a:pt x="61" y="59"/>
                  </a:lnTo>
                  <a:lnTo>
                    <a:pt x="61" y="59"/>
                  </a:lnTo>
                  <a:lnTo>
                    <a:pt x="64" y="59"/>
                  </a:lnTo>
                  <a:lnTo>
                    <a:pt x="64" y="57"/>
                  </a:lnTo>
                  <a:lnTo>
                    <a:pt x="67" y="56"/>
                  </a:lnTo>
                  <a:lnTo>
                    <a:pt x="70" y="57"/>
                  </a:lnTo>
                  <a:lnTo>
                    <a:pt x="72" y="57"/>
                  </a:lnTo>
                  <a:lnTo>
                    <a:pt x="75" y="59"/>
                  </a:lnTo>
                  <a:lnTo>
                    <a:pt x="75" y="59"/>
                  </a:lnTo>
                  <a:lnTo>
                    <a:pt x="80" y="59"/>
                  </a:lnTo>
                  <a:lnTo>
                    <a:pt x="81" y="59"/>
                  </a:lnTo>
                  <a:lnTo>
                    <a:pt x="83" y="57"/>
                  </a:lnTo>
                  <a:lnTo>
                    <a:pt x="85" y="56"/>
                  </a:lnTo>
                  <a:lnTo>
                    <a:pt x="88" y="53"/>
                  </a:lnTo>
                  <a:lnTo>
                    <a:pt x="89" y="51"/>
                  </a:lnTo>
                  <a:lnTo>
                    <a:pt x="91" y="53"/>
                  </a:lnTo>
                  <a:lnTo>
                    <a:pt x="96" y="51"/>
                  </a:lnTo>
                  <a:lnTo>
                    <a:pt x="96" y="51"/>
                  </a:lnTo>
                  <a:lnTo>
                    <a:pt x="99" y="51"/>
                  </a:lnTo>
                  <a:lnTo>
                    <a:pt x="99" y="48"/>
                  </a:lnTo>
                  <a:lnTo>
                    <a:pt x="99" y="48"/>
                  </a:lnTo>
                  <a:lnTo>
                    <a:pt x="102" y="46"/>
                  </a:lnTo>
                  <a:lnTo>
                    <a:pt x="99" y="45"/>
                  </a:lnTo>
                  <a:lnTo>
                    <a:pt x="99" y="41"/>
                  </a:lnTo>
                  <a:lnTo>
                    <a:pt x="99" y="38"/>
                  </a:lnTo>
                  <a:lnTo>
                    <a:pt x="99" y="38"/>
                  </a:lnTo>
                  <a:lnTo>
                    <a:pt x="99" y="35"/>
                  </a:lnTo>
                  <a:lnTo>
                    <a:pt x="96" y="33"/>
                  </a:lnTo>
                  <a:lnTo>
                    <a:pt x="96" y="35"/>
                  </a:lnTo>
                  <a:lnTo>
                    <a:pt x="94" y="35"/>
                  </a:lnTo>
                  <a:lnTo>
                    <a:pt x="91" y="35"/>
                  </a:lnTo>
                  <a:lnTo>
                    <a:pt x="86" y="30"/>
                  </a:lnTo>
                  <a:lnTo>
                    <a:pt x="85" y="27"/>
                  </a:lnTo>
                  <a:lnTo>
                    <a:pt x="85" y="24"/>
                  </a:lnTo>
                  <a:lnTo>
                    <a:pt x="86" y="24"/>
                  </a:lnTo>
                  <a:lnTo>
                    <a:pt x="88" y="24"/>
                  </a:lnTo>
                  <a:lnTo>
                    <a:pt x="78" y="19"/>
                  </a:lnTo>
                  <a:lnTo>
                    <a:pt x="78" y="16"/>
                  </a:lnTo>
                  <a:lnTo>
                    <a:pt x="77" y="14"/>
                  </a:lnTo>
                  <a:lnTo>
                    <a:pt x="75" y="11"/>
                  </a:lnTo>
                  <a:lnTo>
                    <a:pt x="75" y="10"/>
                  </a:lnTo>
                  <a:lnTo>
                    <a:pt x="75" y="10"/>
                  </a:lnTo>
                  <a:lnTo>
                    <a:pt x="73" y="6"/>
                  </a:lnTo>
                  <a:lnTo>
                    <a:pt x="73" y="5"/>
                  </a:lnTo>
                  <a:lnTo>
                    <a:pt x="73" y="3"/>
                  </a:lnTo>
                  <a:lnTo>
                    <a:pt x="73" y="2"/>
                  </a:lnTo>
                  <a:lnTo>
                    <a:pt x="70" y="0"/>
                  </a:lnTo>
                  <a:lnTo>
                    <a:pt x="67" y="0"/>
                  </a:lnTo>
                  <a:lnTo>
                    <a:pt x="67" y="0"/>
                  </a:lnTo>
                  <a:lnTo>
                    <a:pt x="67" y="0"/>
                  </a:lnTo>
                  <a:lnTo>
                    <a:pt x="67" y="0"/>
                  </a:lnTo>
                  <a:lnTo>
                    <a:pt x="67" y="0"/>
                  </a:lnTo>
                  <a:lnTo>
                    <a:pt x="67" y="0"/>
                  </a:lnTo>
                  <a:lnTo>
                    <a:pt x="67" y="0"/>
                  </a:lnTo>
                  <a:lnTo>
                    <a:pt x="67" y="0"/>
                  </a:lnTo>
                  <a:lnTo>
                    <a:pt x="67"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0" name="Freeform 162">
              <a:extLst>
                <a:ext uri="{FF2B5EF4-FFF2-40B4-BE49-F238E27FC236}">
                  <a16:creationId xmlns:a16="http://schemas.microsoft.com/office/drawing/2014/main" id="{040D533A-BC15-53D7-CA93-98EF9E8C51C9}"/>
                </a:ext>
              </a:extLst>
            </p:cNvPr>
            <p:cNvSpPr>
              <a:spLocks/>
            </p:cNvSpPr>
            <p:nvPr/>
          </p:nvSpPr>
          <p:spPr bwMode="auto">
            <a:xfrm>
              <a:off x="5441684" y="3753698"/>
              <a:ext cx="118883" cy="134584"/>
            </a:xfrm>
            <a:custGeom>
              <a:avLst/>
              <a:gdLst>
                <a:gd name="T0" fmla="*/ 53 w 53"/>
                <a:gd name="T1" fmla="*/ 47 h 60"/>
                <a:gd name="T2" fmla="*/ 53 w 53"/>
                <a:gd name="T3" fmla="*/ 41 h 60"/>
                <a:gd name="T4" fmla="*/ 49 w 53"/>
                <a:gd name="T5" fmla="*/ 38 h 60"/>
                <a:gd name="T6" fmla="*/ 48 w 53"/>
                <a:gd name="T7" fmla="*/ 32 h 60"/>
                <a:gd name="T8" fmla="*/ 46 w 53"/>
                <a:gd name="T9" fmla="*/ 32 h 60"/>
                <a:gd name="T10" fmla="*/ 43 w 53"/>
                <a:gd name="T11" fmla="*/ 32 h 60"/>
                <a:gd name="T12" fmla="*/ 40 w 53"/>
                <a:gd name="T13" fmla="*/ 30 h 60"/>
                <a:gd name="T14" fmla="*/ 40 w 53"/>
                <a:gd name="T15" fmla="*/ 27 h 60"/>
                <a:gd name="T16" fmla="*/ 43 w 53"/>
                <a:gd name="T17" fmla="*/ 24 h 60"/>
                <a:gd name="T18" fmla="*/ 40 w 53"/>
                <a:gd name="T19" fmla="*/ 14 h 60"/>
                <a:gd name="T20" fmla="*/ 40 w 53"/>
                <a:gd name="T21" fmla="*/ 11 h 60"/>
                <a:gd name="T22" fmla="*/ 37 w 53"/>
                <a:gd name="T23" fmla="*/ 14 h 60"/>
                <a:gd name="T24" fmla="*/ 34 w 53"/>
                <a:gd name="T25" fmla="*/ 17 h 60"/>
                <a:gd name="T26" fmla="*/ 32 w 53"/>
                <a:gd name="T27" fmla="*/ 17 h 60"/>
                <a:gd name="T28" fmla="*/ 27 w 53"/>
                <a:gd name="T29" fmla="*/ 17 h 60"/>
                <a:gd name="T30" fmla="*/ 27 w 53"/>
                <a:gd name="T31" fmla="*/ 8 h 60"/>
                <a:gd name="T32" fmla="*/ 27 w 53"/>
                <a:gd name="T33" fmla="*/ 5 h 60"/>
                <a:gd name="T34" fmla="*/ 26 w 53"/>
                <a:gd name="T35" fmla="*/ 1 h 60"/>
                <a:gd name="T36" fmla="*/ 22 w 53"/>
                <a:gd name="T37" fmla="*/ 0 h 60"/>
                <a:gd name="T38" fmla="*/ 19 w 53"/>
                <a:gd name="T39" fmla="*/ 0 h 60"/>
                <a:gd name="T40" fmla="*/ 18 w 53"/>
                <a:gd name="T41" fmla="*/ 1 h 60"/>
                <a:gd name="T42" fmla="*/ 15 w 53"/>
                <a:gd name="T43" fmla="*/ 1 h 60"/>
                <a:gd name="T44" fmla="*/ 15 w 53"/>
                <a:gd name="T45" fmla="*/ 5 h 60"/>
                <a:gd name="T46" fmla="*/ 11 w 53"/>
                <a:gd name="T47" fmla="*/ 8 h 60"/>
                <a:gd name="T48" fmla="*/ 11 w 53"/>
                <a:gd name="T49" fmla="*/ 11 h 60"/>
                <a:gd name="T50" fmla="*/ 5 w 53"/>
                <a:gd name="T51" fmla="*/ 17 h 60"/>
                <a:gd name="T52" fmla="*/ 2 w 53"/>
                <a:gd name="T53" fmla="*/ 22 h 60"/>
                <a:gd name="T54" fmla="*/ 2 w 53"/>
                <a:gd name="T55" fmla="*/ 25 h 60"/>
                <a:gd name="T56" fmla="*/ 8 w 53"/>
                <a:gd name="T57" fmla="*/ 30 h 60"/>
                <a:gd name="T58" fmla="*/ 10 w 53"/>
                <a:gd name="T59" fmla="*/ 32 h 60"/>
                <a:gd name="T60" fmla="*/ 18 w 53"/>
                <a:gd name="T61" fmla="*/ 35 h 60"/>
                <a:gd name="T62" fmla="*/ 34 w 53"/>
                <a:gd name="T63" fmla="*/ 51 h 60"/>
                <a:gd name="T64" fmla="*/ 43 w 53"/>
                <a:gd name="T65" fmla="*/ 57 h 60"/>
                <a:gd name="T66" fmla="*/ 48 w 53"/>
                <a:gd name="T67" fmla="*/ 60 h 60"/>
                <a:gd name="T68" fmla="*/ 51 w 53"/>
                <a:gd name="T69" fmla="*/ 60 h 60"/>
                <a:gd name="T70" fmla="*/ 51 w 53"/>
                <a:gd name="T71" fmla="*/ 54 h 60"/>
                <a:gd name="T72" fmla="*/ 51 w 53"/>
                <a:gd name="T73" fmla="*/ 54 h 60"/>
                <a:gd name="T74" fmla="*/ 51 w 53"/>
                <a:gd name="T75" fmla="*/ 54 h 60"/>
                <a:gd name="T76" fmla="*/ 51 w 53"/>
                <a:gd name="T77" fmla="*/ 54 h 60"/>
                <a:gd name="T78" fmla="*/ 51 w 53"/>
                <a:gd name="T7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60">
                  <a:moveTo>
                    <a:pt x="51" y="54"/>
                  </a:moveTo>
                  <a:lnTo>
                    <a:pt x="53" y="47"/>
                  </a:lnTo>
                  <a:lnTo>
                    <a:pt x="53" y="44"/>
                  </a:lnTo>
                  <a:lnTo>
                    <a:pt x="53" y="41"/>
                  </a:lnTo>
                  <a:lnTo>
                    <a:pt x="51" y="38"/>
                  </a:lnTo>
                  <a:lnTo>
                    <a:pt x="49" y="38"/>
                  </a:lnTo>
                  <a:lnTo>
                    <a:pt x="48" y="35"/>
                  </a:lnTo>
                  <a:lnTo>
                    <a:pt x="48" y="32"/>
                  </a:lnTo>
                  <a:lnTo>
                    <a:pt x="46" y="32"/>
                  </a:lnTo>
                  <a:lnTo>
                    <a:pt x="46" y="32"/>
                  </a:lnTo>
                  <a:lnTo>
                    <a:pt x="43" y="32"/>
                  </a:lnTo>
                  <a:lnTo>
                    <a:pt x="43" y="32"/>
                  </a:lnTo>
                  <a:lnTo>
                    <a:pt x="40" y="30"/>
                  </a:lnTo>
                  <a:lnTo>
                    <a:pt x="40" y="30"/>
                  </a:lnTo>
                  <a:lnTo>
                    <a:pt x="37" y="28"/>
                  </a:lnTo>
                  <a:lnTo>
                    <a:pt x="40" y="27"/>
                  </a:lnTo>
                  <a:lnTo>
                    <a:pt x="40" y="27"/>
                  </a:lnTo>
                  <a:lnTo>
                    <a:pt x="43" y="24"/>
                  </a:lnTo>
                  <a:lnTo>
                    <a:pt x="43" y="19"/>
                  </a:lnTo>
                  <a:lnTo>
                    <a:pt x="40" y="14"/>
                  </a:lnTo>
                  <a:lnTo>
                    <a:pt x="40" y="14"/>
                  </a:lnTo>
                  <a:lnTo>
                    <a:pt x="40" y="11"/>
                  </a:lnTo>
                  <a:lnTo>
                    <a:pt x="37" y="11"/>
                  </a:lnTo>
                  <a:lnTo>
                    <a:pt x="37" y="14"/>
                  </a:lnTo>
                  <a:lnTo>
                    <a:pt x="37" y="14"/>
                  </a:lnTo>
                  <a:lnTo>
                    <a:pt x="34" y="17"/>
                  </a:lnTo>
                  <a:lnTo>
                    <a:pt x="32" y="19"/>
                  </a:lnTo>
                  <a:lnTo>
                    <a:pt x="32" y="17"/>
                  </a:lnTo>
                  <a:lnTo>
                    <a:pt x="30" y="17"/>
                  </a:lnTo>
                  <a:lnTo>
                    <a:pt x="27" y="17"/>
                  </a:lnTo>
                  <a:lnTo>
                    <a:pt x="29" y="11"/>
                  </a:lnTo>
                  <a:lnTo>
                    <a:pt x="27" y="8"/>
                  </a:lnTo>
                  <a:lnTo>
                    <a:pt x="27" y="6"/>
                  </a:lnTo>
                  <a:lnTo>
                    <a:pt x="27" y="5"/>
                  </a:lnTo>
                  <a:lnTo>
                    <a:pt x="27" y="3"/>
                  </a:lnTo>
                  <a:lnTo>
                    <a:pt x="26" y="1"/>
                  </a:lnTo>
                  <a:lnTo>
                    <a:pt x="24" y="0"/>
                  </a:lnTo>
                  <a:lnTo>
                    <a:pt x="22" y="0"/>
                  </a:lnTo>
                  <a:lnTo>
                    <a:pt x="21" y="1"/>
                  </a:lnTo>
                  <a:lnTo>
                    <a:pt x="19" y="0"/>
                  </a:lnTo>
                  <a:lnTo>
                    <a:pt x="18" y="0"/>
                  </a:lnTo>
                  <a:lnTo>
                    <a:pt x="18" y="1"/>
                  </a:lnTo>
                  <a:lnTo>
                    <a:pt x="15" y="1"/>
                  </a:lnTo>
                  <a:lnTo>
                    <a:pt x="15" y="1"/>
                  </a:lnTo>
                  <a:lnTo>
                    <a:pt x="18" y="1"/>
                  </a:lnTo>
                  <a:lnTo>
                    <a:pt x="15" y="5"/>
                  </a:lnTo>
                  <a:lnTo>
                    <a:pt x="15" y="6"/>
                  </a:lnTo>
                  <a:lnTo>
                    <a:pt x="11" y="8"/>
                  </a:lnTo>
                  <a:lnTo>
                    <a:pt x="11" y="8"/>
                  </a:lnTo>
                  <a:lnTo>
                    <a:pt x="11" y="11"/>
                  </a:lnTo>
                  <a:lnTo>
                    <a:pt x="10" y="14"/>
                  </a:lnTo>
                  <a:lnTo>
                    <a:pt x="5" y="17"/>
                  </a:lnTo>
                  <a:lnTo>
                    <a:pt x="2" y="20"/>
                  </a:lnTo>
                  <a:lnTo>
                    <a:pt x="2" y="22"/>
                  </a:lnTo>
                  <a:lnTo>
                    <a:pt x="0" y="22"/>
                  </a:lnTo>
                  <a:lnTo>
                    <a:pt x="2" y="25"/>
                  </a:lnTo>
                  <a:lnTo>
                    <a:pt x="5" y="28"/>
                  </a:lnTo>
                  <a:lnTo>
                    <a:pt x="8" y="30"/>
                  </a:lnTo>
                  <a:lnTo>
                    <a:pt x="10" y="30"/>
                  </a:lnTo>
                  <a:lnTo>
                    <a:pt x="10" y="32"/>
                  </a:lnTo>
                  <a:lnTo>
                    <a:pt x="11" y="35"/>
                  </a:lnTo>
                  <a:lnTo>
                    <a:pt x="18" y="35"/>
                  </a:lnTo>
                  <a:lnTo>
                    <a:pt x="29" y="47"/>
                  </a:lnTo>
                  <a:lnTo>
                    <a:pt x="34" y="51"/>
                  </a:lnTo>
                  <a:lnTo>
                    <a:pt x="40" y="55"/>
                  </a:lnTo>
                  <a:lnTo>
                    <a:pt x="43" y="57"/>
                  </a:lnTo>
                  <a:lnTo>
                    <a:pt x="46" y="59"/>
                  </a:lnTo>
                  <a:lnTo>
                    <a:pt x="48" y="60"/>
                  </a:lnTo>
                  <a:lnTo>
                    <a:pt x="49" y="60"/>
                  </a:lnTo>
                  <a:lnTo>
                    <a:pt x="51" y="60"/>
                  </a:lnTo>
                  <a:lnTo>
                    <a:pt x="51" y="57"/>
                  </a:lnTo>
                  <a:lnTo>
                    <a:pt x="51" y="54"/>
                  </a:lnTo>
                  <a:lnTo>
                    <a:pt x="51" y="54"/>
                  </a:lnTo>
                  <a:lnTo>
                    <a:pt x="51" y="54"/>
                  </a:lnTo>
                  <a:lnTo>
                    <a:pt x="51" y="54"/>
                  </a:lnTo>
                  <a:lnTo>
                    <a:pt x="51" y="54"/>
                  </a:lnTo>
                  <a:lnTo>
                    <a:pt x="51" y="54"/>
                  </a:lnTo>
                  <a:lnTo>
                    <a:pt x="51" y="54"/>
                  </a:lnTo>
                  <a:lnTo>
                    <a:pt x="51" y="54"/>
                  </a:lnTo>
                  <a:lnTo>
                    <a:pt x="51" y="5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1" name="Freeform 164">
              <a:extLst>
                <a:ext uri="{FF2B5EF4-FFF2-40B4-BE49-F238E27FC236}">
                  <a16:creationId xmlns:a16="http://schemas.microsoft.com/office/drawing/2014/main" id="{19686A91-DA50-30A4-D89B-9CDFF1E26A5E}"/>
                </a:ext>
              </a:extLst>
            </p:cNvPr>
            <p:cNvSpPr>
              <a:spLocks/>
            </p:cNvSpPr>
            <p:nvPr/>
          </p:nvSpPr>
          <p:spPr bwMode="auto">
            <a:xfrm>
              <a:off x="5392337" y="3706593"/>
              <a:ext cx="89723" cy="96452"/>
            </a:xfrm>
            <a:custGeom>
              <a:avLst/>
              <a:gdLst>
                <a:gd name="T0" fmla="*/ 35 w 40"/>
                <a:gd name="T1" fmla="*/ 21 h 43"/>
                <a:gd name="T2" fmla="*/ 35 w 40"/>
                <a:gd name="T3" fmla="*/ 18 h 43"/>
                <a:gd name="T4" fmla="*/ 35 w 40"/>
                <a:gd name="T5" fmla="*/ 14 h 43"/>
                <a:gd name="T6" fmla="*/ 33 w 40"/>
                <a:gd name="T7" fmla="*/ 11 h 43"/>
                <a:gd name="T8" fmla="*/ 30 w 40"/>
                <a:gd name="T9" fmla="*/ 3 h 43"/>
                <a:gd name="T10" fmla="*/ 24 w 40"/>
                <a:gd name="T11" fmla="*/ 0 h 43"/>
                <a:gd name="T12" fmla="*/ 17 w 40"/>
                <a:gd name="T13" fmla="*/ 0 h 43"/>
                <a:gd name="T14" fmla="*/ 14 w 40"/>
                <a:gd name="T15" fmla="*/ 0 h 43"/>
                <a:gd name="T16" fmla="*/ 11 w 40"/>
                <a:gd name="T17" fmla="*/ 3 h 43"/>
                <a:gd name="T18" fmla="*/ 6 w 40"/>
                <a:gd name="T19" fmla="*/ 10 h 43"/>
                <a:gd name="T20" fmla="*/ 5 w 40"/>
                <a:gd name="T21" fmla="*/ 13 h 43"/>
                <a:gd name="T22" fmla="*/ 3 w 40"/>
                <a:gd name="T23" fmla="*/ 13 h 43"/>
                <a:gd name="T24" fmla="*/ 0 w 40"/>
                <a:gd name="T25" fmla="*/ 13 h 43"/>
                <a:gd name="T26" fmla="*/ 3 w 40"/>
                <a:gd name="T27" fmla="*/ 16 h 43"/>
                <a:gd name="T28" fmla="*/ 2 w 40"/>
                <a:gd name="T29" fmla="*/ 19 h 43"/>
                <a:gd name="T30" fmla="*/ 6 w 40"/>
                <a:gd name="T31" fmla="*/ 19 h 43"/>
                <a:gd name="T32" fmla="*/ 5 w 40"/>
                <a:gd name="T33" fmla="*/ 21 h 43"/>
                <a:gd name="T34" fmla="*/ 3 w 40"/>
                <a:gd name="T35" fmla="*/ 22 h 43"/>
                <a:gd name="T36" fmla="*/ 2 w 40"/>
                <a:gd name="T37" fmla="*/ 22 h 43"/>
                <a:gd name="T38" fmla="*/ 2 w 40"/>
                <a:gd name="T39" fmla="*/ 24 h 43"/>
                <a:gd name="T40" fmla="*/ 5 w 40"/>
                <a:gd name="T41" fmla="*/ 29 h 43"/>
                <a:gd name="T42" fmla="*/ 8 w 40"/>
                <a:gd name="T43" fmla="*/ 32 h 43"/>
                <a:gd name="T44" fmla="*/ 11 w 40"/>
                <a:gd name="T45" fmla="*/ 32 h 43"/>
                <a:gd name="T46" fmla="*/ 11 w 40"/>
                <a:gd name="T47" fmla="*/ 35 h 43"/>
                <a:gd name="T48" fmla="*/ 11 w 40"/>
                <a:gd name="T49" fmla="*/ 35 h 43"/>
                <a:gd name="T50" fmla="*/ 11 w 40"/>
                <a:gd name="T51" fmla="*/ 38 h 43"/>
                <a:gd name="T52" fmla="*/ 24 w 40"/>
                <a:gd name="T53" fmla="*/ 43 h 43"/>
                <a:gd name="T54" fmla="*/ 27 w 40"/>
                <a:gd name="T55" fmla="*/ 38 h 43"/>
                <a:gd name="T56" fmla="*/ 33 w 40"/>
                <a:gd name="T57" fmla="*/ 32 h 43"/>
                <a:gd name="T58" fmla="*/ 35 w 40"/>
                <a:gd name="T59" fmla="*/ 29 h 43"/>
                <a:gd name="T60" fmla="*/ 38 w 40"/>
                <a:gd name="T61" fmla="*/ 26 h 43"/>
                <a:gd name="T62" fmla="*/ 38 w 40"/>
                <a:gd name="T63" fmla="*/ 22 h 43"/>
                <a:gd name="T64" fmla="*/ 37 w 40"/>
                <a:gd name="T65" fmla="*/ 22 h 43"/>
                <a:gd name="T66" fmla="*/ 33 w 40"/>
                <a:gd name="T67" fmla="*/ 26 h 43"/>
                <a:gd name="T68" fmla="*/ 33 w 40"/>
                <a:gd name="T69" fmla="*/ 26 h 43"/>
                <a:gd name="T70" fmla="*/ 33 w 40"/>
                <a:gd name="T71" fmla="*/ 26 h 43"/>
                <a:gd name="T72" fmla="*/ 33 w 40"/>
                <a:gd name="T73" fmla="*/ 2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3">
                  <a:moveTo>
                    <a:pt x="33" y="26"/>
                  </a:moveTo>
                  <a:lnTo>
                    <a:pt x="35" y="21"/>
                  </a:lnTo>
                  <a:lnTo>
                    <a:pt x="35" y="19"/>
                  </a:lnTo>
                  <a:lnTo>
                    <a:pt x="35" y="18"/>
                  </a:lnTo>
                  <a:lnTo>
                    <a:pt x="35" y="16"/>
                  </a:lnTo>
                  <a:lnTo>
                    <a:pt x="35" y="14"/>
                  </a:lnTo>
                  <a:lnTo>
                    <a:pt x="33" y="13"/>
                  </a:lnTo>
                  <a:lnTo>
                    <a:pt x="33" y="11"/>
                  </a:lnTo>
                  <a:lnTo>
                    <a:pt x="33" y="10"/>
                  </a:lnTo>
                  <a:lnTo>
                    <a:pt x="30" y="3"/>
                  </a:lnTo>
                  <a:lnTo>
                    <a:pt x="27" y="0"/>
                  </a:lnTo>
                  <a:lnTo>
                    <a:pt x="24" y="0"/>
                  </a:lnTo>
                  <a:lnTo>
                    <a:pt x="19" y="0"/>
                  </a:lnTo>
                  <a:lnTo>
                    <a:pt x="17" y="0"/>
                  </a:lnTo>
                  <a:lnTo>
                    <a:pt x="16" y="0"/>
                  </a:lnTo>
                  <a:lnTo>
                    <a:pt x="14" y="0"/>
                  </a:lnTo>
                  <a:lnTo>
                    <a:pt x="13" y="0"/>
                  </a:lnTo>
                  <a:lnTo>
                    <a:pt x="11" y="3"/>
                  </a:lnTo>
                  <a:lnTo>
                    <a:pt x="10" y="6"/>
                  </a:lnTo>
                  <a:lnTo>
                    <a:pt x="6" y="10"/>
                  </a:lnTo>
                  <a:lnTo>
                    <a:pt x="5" y="11"/>
                  </a:lnTo>
                  <a:lnTo>
                    <a:pt x="5" y="13"/>
                  </a:lnTo>
                  <a:lnTo>
                    <a:pt x="3" y="13"/>
                  </a:lnTo>
                  <a:lnTo>
                    <a:pt x="3" y="13"/>
                  </a:lnTo>
                  <a:lnTo>
                    <a:pt x="2" y="13"/>
                  </a:lnTo>
                  <a:lnTo>
                    <a:pt x="0" y="13"/>
                  </a:lnTo>
                  <a:lnTo>
                    <a:pt x="2" y="14"/>
                  </a:lnTo>
                  <a:lnTo>
                    <a:pt x="3" y="16"/>
                  </a:lnTo>
                  <a:lnTo>
                    <a:pt x="2" y="18"/>
                  </a:lnTo>
                  <a:lnTo>
                    <a:pt x="2" y="19"/>
                  </a:lnTo>
                  <a:lnTo>
                    <a:pt x="5" y="21"/>
                  </a:lnTo>
                  <a:lnTo>
                    <a:pt x="6" y="19"/>
                  </a:lnTo>
                  <a:lnTo>
                    <a:pt x="6" y="21"/>
                  </a:lnTo>
                  <a:lnTo>
                    <a:pt x="5" y="21"/>
                  </a:lnTo>
                  <a:lnTo>
                    <a:pt x="3" y="21"/>
                  </a:lnTo>
                  <a:lnTo>
                    <a:pt x="3" y="22"/>
                  </a:lnTo>
                  <a:lnTo>
                    <a:pt x="3" y="24"/>
                  </a:lnTo>
                  <a:lnTo>
                    <a:pt x="2" y="22"/>
                  </a:lnTo>
                  <a:lnTo>
                    <a:pt x="0" y="24"/>
                  </a:lnTo>
                  <a:lnTo>
                    <a:pt x="2" y="24"/>
                  </a:lnTo>
                  <a:lnTo>
                    <a:pt x="5" y="26"/>
                  </a:lnTo>
                  <a:lnTo>
                    <a:pt x="5" y="29"/>
                  </a:lnTo>
                  <a:lnTo>
                    <a:pt x="6" y="32"/>
                  </a:lnTo>
                  <a:lnTo>
                    <a:pt x="8" y="32"/>
                  </a:lnTo>
                  <a:lnTo>
                    <a:pt x="10" y="32"/>
                  </a:lnTo>
                  <a:lnTo>
                    <a:pt x="11" y="32"/>
                  </a:lnTo>
                  <a:lnTo>
                    <a:pt x="11" y="32"/>
                  </a:lnTo>
                  <a:lnTo>
                    <a:pt x="11" y="35"/>
                  </a:lnTo>
                  <a:lnTo>
                    <a:pt x="14" y="35"/>
                  </a:lnTo>
                  <a:lnTo>
                    <a:pt x="11" y="35"/>
                  </a:lnTo>
                  <a:lnTo>
                    <a:pt x="13" y="38"/>
                  </a:lnTo>
                  <a:lnTo>
                    <a:pt x="11" y="38"/>
                  </a:lnTo>
                  <a:lnTo>
                    <a:pt x="24" y="43"/>
                  </a:lnTo>
                  <a:lnTo>
                    <a:pt x="24" y="43"/>
                  </a:lnTo>
                  <a:lnTo>
                    <a:pt x="24" y="41"/>
                  </a:lnTo>
                  <a:lnTo>
                    <a:pt x="27" y="38"/>
                  </a:lnTo>
                  <a:lnTo>
                    <a:pt x="33" y="35"/>
                  </a:lnTo>
                  <a:lnTo>
                    <a:pt x="33" y="32"/>
                  </a:lnTo>
                  <a:lnTo>
                    <a:pt x="35" y="29"/>
                  </a:lnTo>
                  <a:lnTo>
                    <a:pt x="35" y="29"/>
                  </a:lnTo>
                  <a:lnTo>
                    <a:pt x="37" y="27"/>
                  </a:lnTo>
                  <a:lnTo>
                    <a:pt x="38" y="26"/>
                  </a:lnTo>
                  <a:lnTo>
                    <a:pt x="40" y="22"/>
                  </a:lnTo>
                  <a:lnTo>
                    <a:pt x="38" y="22"/>
                  </a:lnTo>
                  <a:lnTo>
                    <a:pt x="37" y="22"/>
                  </a:lnTo>
                  <a:lnTo>
                    <a:pt x="37" y="22"/>
                  </a:lnTo>
                  <a:lnTo>
                    <a:pt x="33" y="26"/>
                  </a:lnTo>
                  <a:lnTo>
                    <a:pt x="33" y="26"/>
                  </a:lnTo>
                  <a:lnTo>
                    <a:pt x="33" y="26"/>
                  </a:lnTo>
                  <a:lnTo>
                    <a:pt x="33" y="26"/>
                  </a:lnTo>
                  <a:lnTo>
                    <a:pt x="33" y="26"/>
                  </a:lnTo>
                  <a:lnTo>
                    <a:pt x="33" y="26"/>
                  </a:lnTo>
                  <a:lnTo>
                    <a:pt x="33" y="26"/>
                  </a:lnTo>
                  <a:lnTo>
                    <a:pt x="33" y="26"/>
                  </a:lnTo>
                  <a:lnTo>
                    <a:pt x="33" y="2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2" name="Freeform 166">
              <a:extLst>
                <a:ext uri="{FF2B5EF4-FFF2-40B4-BE49-F238E27FC236}">
                  <a16:creationId xmlns:a16="http://schemas.microsoft.com/office/drawing/2014/main" id="{C40189EA-BC34-1F02-AC2D-A669DDAADEEA}"/>
                </a:ext>
              </a:extLst>
            </p:cNvPr>
            <p:cNvSpPr>
              <a:spLocks noEditPoints="1"/>
            </p:cNvSpPr>
            <p:nvPr/>
          </p:nvSpPr>
          <p:spPr bwMode="auto">
            <a:xfrm>
              <a:off x="5524678" y="3681919"/>
              <a:ext cx="177202" cy="206363"/>
            </a:xfrm>
            <a:custGeom>
              <a:avLst/>
              <a:gdLst>
                <a:gd name="T0" fmla="*/ 76 w 79"/>
                <a:gd name="T1" fmla="*/ 21 h 92"/>
                <a:gd name="T2" fmla="*/ 70 w 79"/>
                <a:gd name="T3" fmla="*/ 11 h 92"/>
                <a:gd name="T4" fmla="*/ 66 w 79"/>
                <a:gd name="T5" fmla="*/ 11 h 92"/>
                <a:gd name="T6" fmla="*/ 55 w 79"/>
                <a:gd name="T7" fmla="*/ 14 h 92"/>
                <a:gd name="T8" fmla="*/ 51 w 79"/>
                <a:gd name="T9" fmla="*/ 14 h 92"/>
                <a:gd name="T10" fmla="*/ 44 w 79"/>
                <a:gd name="T11" fmla="*/ 8 h 92"/>
                <a:gd name="T12" fmla="*/ 41 w 79"/>
                <a:gd name="T13" fmla="*/ 5 h 92"/>
                <a:gd name="T14" fmla="*/ 36 w 79"/>
                <a:gd name="T15" fmla="*/ 5 h 92"/>
                <a:gd name="T16" fmla="*/ 33 w 79"/>
                <a:gd name="T17" fmla="*/ 8 h 92"/>
                <a:gd name="T18" fmla="*/ 31 w 79"/>
                <a:gd name="T19" fmla="*/ 5 h 92"/>
                <a:gd name="T20" fmla="*/ 30 w 79"/>
                <a:gd name="T21" fmla="*/ 2 h 92"/>
                <a:gd name="T22" fmla="*/ 25 w 79"/>
                <a:gd name="T23" fmla="*/ 2 h 92"/>
                <a:gd name="T24" fmla="*/ 24 w 79"/>
                <a:gd name="T25" fmla="*/ 5 h 92"/>
                <a:gd name="T26" fmla="*/ 19 w 79"/>
                <a:gd name="T27" fmla="*/ 8 h 92"/>
                <a:gd name="T28" fmla="*/ 14 w 79"/>
                <a:gd name="T29" fmla="*/ 5 h 92"/>
                <a:gd name="T30" fmla="*/ 9 w 79"/>
                <a:gd name="T31" fmla="*/ 8 h 92"/>
                <a:gd name="T32" fmla="*/ 6 w 79"/>
                <a:gd name="T33" fmla="*/ 14 h 92"/>
                <a:gd name="T34" fmla="*/ 11 w 79"/>
                <a:gd name="T35" fmla="*/ 19 h 92"/>
                <a:gd name="T36" fmla="*/ 11 w 79"/>
                <a:gd name="T37" fmla="*/ 25 h 92"/>
                <a:gd name="T38" fmla="*/ 12 w 79"/>
                <a:gd name="T39" fmla="*/ 30 h 92"/>
                <a:gd name="T40" fmla="*/ 6 w 79"/>
                <a:gd name="T41" fmla="*/ 33 h 92"/>
                <a:gd name="T42" fmla="*/ 9 w 79"/>
                <a:gd name="T43" fmla="*/ 40 h 92"/>
                <a:gd name="T44" fmla="*/ 9 w 79"/>
                <a:gd name="T45" fmla="*/ 43 h 92"/>
                <a:gd name="T46" fmla="*/ 3 w 79"/>
                <a:gd name="T47" fmla="*/ 46 h 92"/>
                <a:gd name="T48" fmla="*/ 6 w 79"/>
                <a:gd name="T49" fmla="*/ 51 h 92"/>
                <a:gd name="T50" fmla="*/ 3 w 79"/>
                <a:gd name="T51" fmla="*/ 59 h 92"/>
                <a:gd name="T52" fmla="*/ 3 w 79"/>
                <a:gd name="T53" fmla="*/ 62 h 92"/>
                <a:gd name="T54" fmla="*/ 9 w 79"/>
                <a:gd name="T55" fmla="*/ 64 h 92"/>
                <a:gd name="T56" fmla="*/ 11 w 79"/>
                <a:gd name="T57" fmla="*/ 67 h 92"/>
                <a:gd name="T58" fmla="*/ 16 w 79"/>
                <a:gd name="T59" fmla="*/ 73 h 92"/>
                <a:gd name="T60" fmla="*/ 14 w 79"/>
                <a:gd name="T61" fmla="*/ 86 h 92"/>
                <a:gd name="T62" fmla="*/ 16 w 79"/>
                <a:gd name="T63" fmla="*/ 92 h 92"/>
                <a:gd name="T64" fmla="*/ 24 w 79"/>
                <a:gd name="T65" fmla="*/ 87 h 92"/>
                <a:gd name="T66" fmla="*/ 39 w 79"/>
                <a:gd name="T67" fmla="*/ 81 h 92"/>
                <a:gd name="T68" fmla="*/ 47 w 79"/>
                <a:gd name="T69" fmla="*/ 79 h 92"/>
                <a:gd name="T70" fmla="*/ 54 w 79"/>
                <a:gd name="T71" fmla="*/ 78 h 92"/>
                <a:gd name="T72" fmla="*/ 55 w 79"/>
                <a:gd name="T73" fmla="*/ 78 h 92"/>
                <a:gd name="T74" fmla="*/ 60 w 79"/>
                <a:gd name="T75" fmla="*/ 79 h 92"/>
                <a:gd name="T76" fmla="*/ 68 w 79"/>
                <a:gd name="T77" fmla="*/ 79 h 92"/>
                <a:gd name="T78" fmla="*/ 73 w 79"/>
                <a:gd name="T79" fmla="*/ 81 h 92"/>
                <a:gd name="T80" fmla="*/ 74 w 79"/>
                <a:gd name="T81" fmla="*/ 73 h 92"/>
                <a:gd name="T82" fmla="*/ 71 w 79"/>
                <a:gd name="T83" fmla="*/ 67 h 92"/>
                <a:gd name="T84" fmla="*/ 71 w 79"/>
                <a:gd name="T85" fmla="*/ 52 h 92"/>
                <a:gd name="T86" fmla="*/ 76 w 79"/>
                <a:gd name="T87" fmla="*/ 40 h 92"/>
                <a:gd name="T88" fmla="*/ 76 w 79"/>
                <a:gd name="T89" fmla="*/ 29 h 92"/>
                <a:gd name="T90" fmla="*/ 76 w 79"/>
                <a:gd name="T91" fmla="*/ 29 h 92"/>
                <a:gd name="T92" fmla="*/ 76 w 79"/>
                <a:gd name="T93" fmla="*/ 29 h 92"/>
                <a:gd name="T94" fmla="*/ 62 w 79"/>
                <a:gd name="T95" fmla="*/ 78 h 92"/>
                <a:gd name="T96" fmla="*/ 62 w 79"/>
                <a:gd name="T97" fmla="*/ 78 h 92"/>
                <a:gd name="T98" fmla="*/ 62 w 79"/>
                <a:gd name="T99" fmla="*/ 78 h 92"/>
                <a:gd name="T100" fmla="*/ 62 w 79"/>
                <a:gd name="T101" fmla="*/ 7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92">
                  <a:moveTo>
                    <a:pt x="76" y="29"/>
                  </a:moveTo>
                  <a:lnTo>
                    <a:pt x="76" y="24"/>
                  </a:lnTo>
                  <a:lnTo>
                    <a:pt x="76" y="21"/>
                  </a:lnTo>
                  <a:lnTo>
                    <a:pt x="76" y="19"/>
                  </a:lnTo>
                  <a:lnTo>
                    <a:pt x="73" y="17"/>
                  </a:lnTo>
                  <a:lnTo>
                    <a:pt x="70" y="11"/>
                  </a:lnTo>
                  <a:lnTo>
                    <a:pt x="70" y="11"/>
                  </a:lnTo>
                  <a:lnTo>
                    <a:pt x="68" y="11"/>
                  </a:lnTo>
                  <a:lnTo>
                    <a:pt x="66" y="11"/>
                  </a:lnTo>
                  <a:lnTo>
                    <a:pt x="62" y="11"/>
                  </a:lnTo>
                  <a:lnTo>
                    <a:pt x="57" y="14"/>
                  </a:lnTo>
                  <a:lnTo>
                    <a:pt x="55" y="14"/>
                  </a:lnTo>
                  <a:lnTo>
                    <a:pt x="55" y="17"/>
                  </a:lnTo>
                  <a:lnTo>
                    <a:pt x="51" y="14"/>
                  </a:lnTo>
                  <a:lnTo>
                    <a:pt x="51" y="14"/>
                  </a:lnTo>
                  <a:lnTo>
                    <a:pt x="47" y="14"/>
                  </a:lnTo>
                  <a:lnTo>
                    <a:pt x="47" y="11"/>
                  </a:lnTo>
                  <a:lnTo>
                    <a:pt x="44" y="8"/>
                  </a:lnTo>
                  <a:lnTo>
                    <a:pt x="44" y="5"/>
                  </a:lnTo>
                  <a:lnTo>
                    <a:pt x="41" y="5"/>
                  </a:lnTo>
                  <a:lnTo>
                    <a:pt x="41" y="5"/>
                  </a:lnTo>
                  <a:lnTo>
                    <a:pt x="41" y="5"/>
                  </a:lnTo>
                  <a:lnTo>
                    <a:pt x="39" y="5"/>
                  </a:lnTo>
                  <a:lnTo>
                    <a:pt x="36" y="5"/>
                  </a:lnTo>
                  <a:lnTo>
                    <a:pt x="35" y="5"/>
                  </a:lnTo>
                  <a:lnTo>
                    <a:pt x="35" y="8"/>
                  </a:lnTo>
                  <a:lnTo>
                    <a:pt x="33" y="8"/>
                  </a:lnTo>
                  <a:lnTo>
                    <a:pt x="33" y="8"/>
                  </a:lnTo>
                  <a:lnTo>
                    <a:pt x="31" y="8"/>
                  </a:lnTo>
                  <a:lnTo>
                    <a:pt x="31" y="5"/>
                  </a:lnTo>
                  <a:lnTo>
                    <a:pt x="31" y="5"/>
                  </a:lnTo>
                  <a:lnTo>
                    <a:pt x="31" y="0"/>
                  </a:lnTo>
                  <a:lnTo>
                    <a:pt x="30" y="2"/>
                  </a:lnTo>
                  <a:lnTo>
                    <a:pt x="28" y="3"/>
                  </a:lnTo>
                  <a:lnTo>
                    <a:pt x="27" y="3"/>
                  </a:lnTo>
                  <a:lnTo>
                    <a:pt x="25" y="2"/>
                  </a:lnTo>
                  <a:lnTo>
                    <a:pt x="25" y="5"/>
                  </a:lnTo>
                  <a:lnTo>
                    <a:pt x="25" y="5"/>
                  </a:lnTo>
                  <a:lnTo>
                    <a:pt x="24" y="5"/>
                  </a:lnTo>
                  <a:lnTo>
                    <a:pt x="22" y="5"/>
                  </a:lnTo>
                  <a:lnTo>
                    <a:pt x="20" y="8"/>
                  </a:lnTo>
                  <a:lnTo>
                    <a:pt x="19" y="8"/>
                  </a:lnTo>
                  <a:lnTo>
                    <a:pt x="17" y="5"/>
                  </a:lnTo>
                  <a:lnTo>
                    <a:pt x="16" y="5"/>
                  </a:lnTo>
                  <a:lnTo>
                    <a:pt x="14" y="5"/>
                  </a:lnTo>
                  <a:lnTo>
                    <a:pt x="12" y="5"/>
                  </a:lnTo>
                  <a:lnTo>
                    <a:pt x="11" y="8"/>
                  </a:lnTo>
                  <a:lnTo>
                    <a:pt x="9" y="8"/>
                  </a:lnTo>
                  <a:lnTo>
                    <a:pt x="9" y="11"/>
                  </a:lnTo>
                  <a:lnTo>
                    <a:pt x="6" y="11"/>
                  </a:lnTo>
                  <a:lnTo>
                    <a:pt x="6" y="14"/>
                  </a:lnTo>
                  <a:lnTo>
                    <a:pt x="9" y="17"/>
                  </a:lnTo>
                  <a:lnTo>
                    <a:pt x="9" y="19"/>
                  </a:lnTo>
                  <a:lnTo>
                    <a:pt x="11" y="19"/>
                  </a:lnTo>
                  <a:lnTo>
                    <a:pt x="11" y="22"/>
                  </a:lnTo>
                  <a:lnTo>
                    <a:pt x="12" y="24"/>
                  </a:lnTo>
                  <a:lnTo>
                    <a:pt x="11" y="25"/>
                  </a:lnTo>
                  <a:lnTo>
                    <a:pt x="9" y="29"/>
                  </a:lnTo>
                  <a:lnTo>
                    <a:pt x="11" y="29"/>
                  </a:lnTo>
                  <a:lnTo>
                    <a:pt x="12" y="30"/>
                  </a:lnTo>
                  <a:lnTo>
                    <a:pt x="14" y="35"/>
                  </a:lnTo>
                  <a:lnTo>
                    <a:pt x="9" y="33"/>
                  </a:lnTo>
                  <a:lnTo>
                    <a:pt x="6" y="33"/>
                  </a:lnTo>
                  <a:lnTo>
                    <a:pt x="6" y="35"/>
                  </a:lnTo>
                  <a:lnTo>
                    <a:pt x="6" y="37"/>
                  </a:lnTo>
                  <a:lnTo>
                    <a:pt x="9" y="40"/>
                  </a:lnTo>
                  <a:lnTo>
                    <a:pt x="9" y="40"/>
                  </a:lnTo>
                  <a:lnTo>
                    <a:pt x="9" y="40"/>
                  </a:lnTo>
                  <a:lnTo>
                    <a:pt x="9" y="43"/>
                  </a:lnTo>
                  <a:lnTo>
                    <a:pt x="6" y="46"/>
                  </a:lnTo>
                  <a:lnTo>
                    <a:pt x="6" y="46"/>
                  </a:lnTo>
                  <a:lnTo>
                    <a:pt x="3" y="46"/>
                  </a:lnTo>
                  <a:lnTo>
                    <a:pt x="3" y="46"/>
                  </a:lnTo>
                  <a:lnTo>
                    <a:pt x="3" y="46"/>
                  </a:lnTo>
                  <a:lnTo>
                    <a:pt x="6" y="51"/>
                  </a:lnTo>
                  <a:lnTo>
                    <a:pt x="6" y="56"/>
                  </a:lnTo>
                  <a:lnTo>
                    <a:pt x="3" y="59"/>
                  </a:lnTo>
                  <a:lnTo>
                    <a:pt x="3" y="59"/>
                  </a:lnTo>
                  <a:lnTo>
                    <a:pt x="0" y="60"/>
                  </a:lnTo>
                  <a:lnTo>
                    <a:pt x="3" y="62"/>
                  </a:lnTo>
                  <a:lnTo>
                    <a:pt x="3" y="62"/>
                  </a:lnTo>
                  <a:lnTo>
                    <a:pt x="6" y="64"/>
                  </a:lnTo>
                  <a:lnTo>
                    <a:pt x="6" y="64"/>
                  </a:lnTo>
                  <a:lnTo>
                    <a:pt x="9" y="64"/>
                  </a:lnTo>
                  <a:lnTo>
                    <a:pt x="9" y="64"/>
                  </a:lnTo>
                  <a:lnTo>
                    <a:pt x="11" y="64"/>
                  </a:lnTo>
                  <a:lnTo>
                    <a:pt x="11" y="67"/>
                  </a:lnTo>
                  <a:lnTo>
                    <a:pt x="12" y="70"/>
                  </a:lnTo>
                  <a:lnTo>
                    <a:pt x="14" y="70"/>
                  </a:lnTo>
                  <a:lnTo>
                    <a:pt x="16" y="73"/>
                  </a:lnTo>
                  <a:lnTo>
                    <a:pt x="16" y="76"/>
                  </a:lnTo>
                  <a:lnTo>
                    <a:pt x="16" y="79"/>
                  </a:lnTo>
                  <a:lnTo>
                    <a:pt x="14" y="86"/>
                  </a:lnTo>
                  <a:lnTo>
                    <a:pt x="14" y="89"/>
                  </a:lnTo>
                  <a:lnTo>
                    <a:pt x="14" y="92"/>
                  </a:lnTo>
                  <a:lnTo>
                    <a:pt x="16" y="92"/>
                  </a:lnTo>
                  <a:lnTo>
                    <a:pt x="17" y="91"/>
                  </a:lnTo>
                  <a:lnTo>
                    <a:pt x="19" y="89"/>
                  </a:lnTo>
                  <a:lnTo>
                    <a:pt x="24" y="87"/>
                  </a:lnTo>
                  <a:lnTo>
                    <a:pt x="28" y="86"/>
                  </a:lnTo>
                  <a:lnTo>
                    <a:pt x="33" y="83"/>
                  </a:lnTo>
                  <a:lnTo>
                    <a:pt x="39" y="81"/>
                  </a:lnTo>
                  <a:lnTo>
                    <a:pt x="44" y="81"/>
                  </a:lnTo>
                  <a:lnTo>
                    <a:pt x="44" y="79"/>
                  </a:lnTo>
                  <a:lnTo>
                    <a:pt x="47" y="79"/>
                  </a:lnTo>
                  <a:lnTo>
                    <a:pt x="47" y="81"/>
                  </a:lnTo>
                  <a:lnTo>
                    <a:pt x="47" y="79"/>
                  </a:lnTo>
                  <a:lnTo>
                    <a:pt x="54" y="78"/>
                  </a:lnTo>
                  <a:lnTo>
                    <a:pt x="51" y="79"/>
                  </a:lnTo>
                  <a:lnTo>
                    <a:pt x="58" y="79"/>
                  </a:lnTo>
                  <a:lnTo>
                    <a:pt x="55" y="78"/>
                  </a:lnTo>
                  <a:lnTo>
                    <a:pt x="57" y="78"/>
                  </a:lnTo>
                  <a:lnTo>
                    <a:pt x="58" y="78"/>
                  </a:lnTo>
                  <a:lnTo>
                    <a:pt x="60" y="79"/>
                  </a:lnTo>
                  <a:lnTo>
                    <a:pt x="62" y="79"/>
                  </a:lnTo>
                  <a:lnTo>
                    <a:pt x="66" y="79"/>
                  </a:lnTo>
                  <a:lnTo>
                    <a:pt x="68" y="79"/>
                  </a:lnTo>
                  <a:lnTo>
                    <a:pt x="70" y="78"/>
                  </a:lnTo>
                  <a:lnTo>
                    <a:pt x="71" y="79"/>
                  </a:lnTo>
                  <a:lnTo>
                    <a:pt x="73" y="81"/>
                  </a:lnTo>
                  <a:lnTo>
                    <a:pt x="76" y="81"/>
                  </a:lnTo>
                  <a:lnTo>
                    <a:pt x="76" y="75"/>
                  </a:lnTo>
                  <a:lnTo>
                    <a:pt x="74" y="73"/>
                  </a:lnTo>
                  <a:lnTo>
                    <a:pt x="73" y="73"/>
                  </a:lnTo>
                  <a:lnTo>
                    <a:pt x="73" y="70"/>
                  </a:lnTo>
                  <a:lnTo>
                    <a:pt x="71" y="67"/>
                  </a:lnTo>
                  <a:lnTo>
                    <a:pt x="70" y="62"/>
                  </a:lnTo>
                  <a:lnTo>
                    <a:pt x="70" y="56"/>
                  </a:lnTo>
                  <a:lnTo>
                    <a:pt x="71" y="52"/>
                  </a:lnTo>
                  <a:lnTo>
                    <a:pt x="71" y="49"/>
                  </a:lnTo>
                  <a:lnTo>
                    <a:pt x="73" y="43"/>
                  </a:lnTo>
                  <a:lnTo>
                    <a:pt x="76" y="40"/>
                  </a:lnTo>
                  <a:lnTo>
                    <a:pt x="79" y="37"/>
                  </a:lnTo>
                  <a:lnTo>
                    <a:pt x="79" y="33"/>
                  </a:lnTo>
                  <a:lnTo>
                    <a:pt x="76" y="29"/>
                  </a:lnTo>
                  <a:lnTo>
                    <a:pt x="76" y="29"/>
                  </a:lnTo>
                  <a:lnTo>
                    <a:pt x="76" y="29"/>
                  </a:lnTo>
                  <a:lnTo>
                    <a:pt x="76" y="29"/>
                  </a:lnTo>
                  <a:lnTo>
                    <a:pt x="76" y="29"/>
                  </a:lnTo>
                  <a:lnTo>
                    <a:pt x="76" y="29"/>
                  </a:lnTo>
                  <a:lnTo>
                    <a:pt x="76" y="29"/>
                  </a:lnTo>
                  <a:lnTo>
                    <a:pt x="76" y="29"/>
                  </a:lnTo>
                  <a:lnTo>
                    <a:pt x="76" y="29"/>
                  </a:lnTo>
                  <a:close/>
                  <a:moveTo>
                    <a:pt x="62" y="78"/>
                  </a:moveTo>
                  <a:lnTo>
                    <a:pt x="60" y="78"/>
                  </a:lnTo>
                  <a:lnTo>
                    <a:pt x="62" y="76"/>
                  </a:lnTo>
                  <a:lnTo>
                    <a:pt x="62" y="78"/>
                  </a:lnTo>
                  <a:lnTo>
                    <a:pt x="62" y="78"/>
                  </a:lnTo>
                  <a:lnTo>
                    <a:pt x="62" y="78"/>
                  </a:lnTo>
                  <a:lnTo>
                    <a:pt x="62" y="78"/>
                  </a:lnTo>
                  <a:lnTo>
                    <a:pt x="62" y="78"/>
                  </a:lnTo>
                  <a:lnTo>
                    <a:pt x="62" y="78"/>
                  </a:lnTo>
                  <a:lnTo>
                    <a:pt x="62" y="78"/>
                  </a:lnTo>
                  <a:lnTo>
                    <a:pt x="62" y="78"/>
                  </a:lnTo>
                  <a:lnTo>
                    <a:pt x="62" y="7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3" name="Freeform 168">
              <a:extLst>
                <a:ext uri="{FF2B5EF4-FFF2-40B4-BE49-F238E27FC236}">
                  <a16:creationId xmlns:a16="http://schemas.microsoft.com/office/drawing/2014/main" id="{BDCDF5C4-78E2-6327-EB4F-D10B173DAB7F}"/>
                </a:ext>
              </a:extLst>
            </p:cNvPr>
            <p:cNvSpPr>
              <a:spLocks/>
            </p:cNvSpPr>
            <p:nvPr/>
          </p:nvSpPr>
          <p:spPr bwMode="auto">
            <a:xfrm>
              <a:off x="5345232" y="3621356"/>
              <a:ext cx="210849" cy="174960"/>
            </a:xfrm>
            <a:custGeom>
              <a:avLst/>
              <a:gdLst>
                <a:gd name="T0" fmla="*/ 89 w 94"/>
                <a:gd name="T1" fmla="*/ 32 h 78"/>
                <a:gd name="T2" fmla="*/ 86 w 94"/>
                <a:gd name="T3" fmla="*/ 29 h 78"/>
                <a:gd name="T4" fmla="*/ 83 w 94"/>
                <a:gd name="T5" fmla="*/ 22 h 78"/>
                <a:gd name="T6" fmla="*/ 83 w 94"/>
                <a:gd name="T7" fmla="*/ 19 h 78"/>
                <a:gd name="T8" fmla="*/ 86 w 94"/>
                <a:gd name="T9" fmla="*/ 18 h 78"/>
                <a:gd name="T10" fmla="*/ 80 w 94"/>
                <a:gd name="T11" fmla="*/ 13 h 78"/>
                <a:gd name="T12" fmla="*/ 80 w 94"/>
                <a:gd name="T13" fmla="*/ 10 h 78"/>
                <a:gd name="T14" fmla="*/ 77 w 94"/>
                <a:gd name="T15" fmla="*/ 3 h 78"/>
                <a:gd name="T16" fmla="*/ 73 w 94"/>
                <a:gd name="T17" fmla="*/ 0 h 78"/>
                <a:gd name="T18" fmla="*/ 73 w 94"/>
                <a:gd name="T19" fmla="*/ 6 h 78"/>
                <a:gd name="T20" fmla="*/ 64 w 94"/>
                <a:gd name="T21" fmla="*/ 6 h 78"/>
                <a:gd name="T22" fmla="*/ 56 w 94"/>
                <a:gd name="T23" fmla="*/ 10 h 78"/>
                <a:gd name="T24" fmla="*/ 54 w 94"/>
                <a:gd name="T25" fmla="*/ 6 h 78"/>
                <a:gd name="T26" fmla="*/ 48 w 94"/>
                <a:gd name="T27" fmla="*/ 10 h 78"/>
                <a:gd name="T28" fmla="*/ 48 w 94"/>
                <a:gd name="T29" fmla="*/ 3 h 78"/>
                <a:gd name="T30" fmla="*/ 42 w 94"/>
                <a:gd name="T31" fmla="*/ 3 h 78"/>
                <a:gd name="T32" fmla="*/ 31 w 94"/>
                <a:gd name="T33" fmla="*/ 3 h 78"/>
                <a:gd name="T34" fmla="*/ 26 w 94"/>
                <a:gd name="T35" fmla="*/ 3 h 78"/>
                <a:gd name="T36" fmla="*/ 23 w 94"/>
                <a:gd name="T37" fmla="*/ 0 h 78"/>
                <a:gd name="T38" fmla="*/ 19 w 94"/>
                <a:gd name="T39" fmla="*/ 3 h 78"/>
                <a:gd name="T40" fmla="*/ 13 w 94"/>
                <a:gd name="T41" fmla="*/ 6 h 78"/>
                <a:gd name="T42" fmla="*/ 16 w 94"/>
                <a:gd name="T43" fmla="*/ 10 h 78"/>
                <a:gd name="T44" fmla="*/ 10 w 94"/>
                <a:gd name="T45" fmla="*/ 13 h 78"/>
                <a:gd name="T46" fmla="*/ 2 w 94"/>
                <a:gd name="T47" fmla="*/ 21 h 78"/>
                <a:gd name="T48" fmla="*/ 5 w 94"/>
                <a:gd name="T49" fmla="*/ 22 h 78"/>
                <a:gd name="T50" fmla="*/ 5 w 94"/>
                <a:gd name="T51" fmla="*/ 27 h 78"/>
                <a:gd name="T52" fmla="*/ 5 w 94"/>
                <a:gd name="T53" fmla="*/ 32 h 78"/>
                <a:gd name="T54" fmla="*/ 8 w 94"/>
                <a:gd name="T55" fmla="*/ 35 h 78"/>
                <a:gd name="T56" fmla="*/ 13 w 94"/>
                <a:gd name="T57" fmla="*/ 35 h 78"/>
                <a:gd name="T58" fmla="*/ 16 w 94"/>
                <a:gd name="T59" fmla="*/ 38 h 78"/>
                <a:gd name="T60" fmla="*/ 19 w 94"/>
                <a:gd name="T61" fmla="*/ 44 h 78"/>
                <a:gd name="T62" fmla="*/ 19 w 94"/>
                <a:gd name="T63" fmla="*/ 44 h 78"/>
                <a:gd name="T64" fmla="*/ 21 w 94"/>
                <a:gd name="T65" fmla="*/ 49 h 78"/>
                <a:gd name="T66" fmla="*/ 21 w 94"/>
                <a:gd name="T67" fmla="*/ 49 h 78"/>
                <a:gd name="T68" fmla="*/ 24 w 94"/>
                <a:gd name="T69" fmla="*/ 51 h 78"/>
                <a:gd name="T70" fmla="*/ 26 w 94"/>
                <a:gd name="T71" fmla="*/ 49 h 78"/>
                <a:gd name="T72" fmla="*/ 32 w 94"/>
                <a:gd name="T73" fmla="*/ 41 h 78"/>
                <a:gd name="T74" fmla="*/ 37 w 94"/>
                <a:gd name="T75" fmla="*/ 38 h 78"/>
                <a:gd name="T76" fmla="*/ 45 w 94"/>
                <a:gd name="T77" fmla="*/ 38 h 78"/>
                <a:gd name="T78" fmla="*/ 54 w 94"/>
                <a:gd name="T79" fmla="*/ 48 h 78"/>
                <a:gd name="T80" fmla="*/ 56 w 94"/>
                <a:gd name="T81" fmla="*/ 52 h 78"/>
                <a:gd name="T82" fmla="*/ 56 w 94"/>
                <a:gd name="T83" fmla="*/ 57 h 78"/>
                <a:gd name="T84" fmla="*/ 58 w 94"/>
                <a:gd name="T85" fmla="*/ 60 h 78"/>
                <a:gd name="T86" fmla="*/ 61 w 94"/>
                <a:gd name="T87" fmla="*/ 60 h 78"/>
                <a:gd name="T88" fmla="*/ 64 w 94"/>
                <a:gd name="T89" fmla="*/ 60 h 78"/>
                <a:gd name="T90" fmla="*/ 69 w 94"/>
                <a:gd name="T91" fmla="*/ 60 h 78"/>
                <a:gd name="T92" fmla="*/ 70 w 94"/>
                <a:gd name="T93" fmla="*/ 65 h 78"/>
                <a:gd name="T94" fmla="*/ 70 w 94"/>
                <a:gd name="T95" fmla="*/ 76 h 78"/>
                <a:gd name="T96" fmla="*/ 75 w 94"/>
                <a:gd name="T97" fmla="*/ 78 h 78"/>
                <a:gd name="T98" fmla="*/ 80 w 94"/>
                <a:gd name="T99" fmla="*/ 73 h 78"/>
                <a:gd name="T100" fmla="*/ 83 w 94"/>
                <a:gd name="T101" fmla="*/ 73 h 78"/>
                <a:gd name="T102" fmla="*/ 86 w 94"/>
                <a:gd name="T103" fmla="*/ 73 h 78"/>
                <a:gd name="T104" fmla="*/ 89 w 94"/>
                <a:gd name="T105" fmla="*/ 67 h 78"/>
                <a:gd name="T106" fmla="*/ 86 w 94"/>
                <a:gd name="T107" fmla="*/ 62 h 78"/>
                <a:gd name="T108" fmla="*/ 94 w 94"/>
                <a:gd name="T109" fmla="*/ 62 h 78"/>
                <a:gd name="T110" fmla="*/ 89 w 94"/>
                <a:gd name="T111" fmla="*/ 56 h 78"/>
                <a:gd name="T112" fmla="*/ 91 w 94"/>
                <a:gd name="T113" fmla="*/ 49 h 78"/>
                <a:gd name="T114" fmla="*/ 89 w 94"/>
                <a:gd name="T115" fmla="*/ 44 h 78"/>
                <a:gd name="T116" fmla="*/ 89 w 94"/>
                <a:gd name="T117" fmla="*/ 38 h 78"/>
                <a:gd name="T118" fmla="*/ 89 w 94"/>
                <a:gd name="T119" fmla="*/ 35 h 78"/>
                <a:gd name="T120" fmla="*/ 89 w 94"/>
                <a:gd name="T121" fmla="*/ 35 h 78"/>
                <a:gd name="T122" fmla="*/ 89 w 94"/>
                <a:gd name="T123"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8">
                  <a:moveTo>
                    <a:pt x="89" y="35"/>
                  </a:moveTo>
                  <a:lnTo>
                    <a:pt x="89" y="35"/>
                  </a:lnTo>
                  <a:lnTo>
                    <a:pt x="89" y="32"/>
                  </a:lnTo>
                  <a:lnTo>
                    <a:pt x="89" y="32"/>
                  </a:lnTo>
                  <a:lnTo>
                    <a:pt x="86" y="32"/>
                  </a:lnTo>
                  <a:lnTo>
                    <a:pt x="86" y="29"/>
                  </a:lnTo>
                  <a:lnTo>
                    <a:pt x="86" y="24"/>
                  </a:lnTo>
                  <a:lnTo>
                    <a:pt x="86" y="22"/>
                  </a:lnTo>
                  <a:lnTo>
                    <a:pt x="83" y="22"/>
                  </a:lnTo>
                  <a:lnTo>
                    <a:pt x="80" y="24"/>
                  </a:lnTo>
                  <a:lnTo>
                    <a:pt x="83" y="21"/>
                  </a:lnTo>
                  <a:lnTo>
                    <a:pt x="83" y="19"/>
                  </a:lnTo>
                  <a:lnTo>
                    <a:pt x="83" y="19"/>
                  </a:lnTo>
                  <a:lnTo>
                    <a:pt x="86" y="19"/>
                  </a:lnTo>
                  <a:lnTo>
                    <a:pt x="86" y="18"/>
                  </a:lnTo>
                  <a:lnTo>
                    <a:pt x="83" y="16"/>
                  </a:lnTo>
                  <a:lnTo>
                    <a:pt x="83" y="14"/>
                  </a:lnTo>
                  <a:lnTo>
                    <a:pt x="80" y="13"/>
                  </a:lnTo>
                  <a:lnTo>
                    <a:pt x="80" y="13"/>
                  </a:lnTo>
                  <a:lnTo>
                    <a:pt x="80" y="11"/>
                  </a:lnTo>
                  <a:lnTo>
                    <a:pt x="80" y="10"/>
                  </a:lnTo>
                  <a:lnTo>
                    <a:pt x="80" y="10"/>
                  </a:lnTo>
                  <a:lnTo>
                    <a:pt x="77" y="6"/>
                  </a:lnTo>
                  <a:lnTo>
                    <a:pt x="77" y="3"/>
                  </a:lnTo>
                  <a:lnTo>
                    <a:pt x="77" y="3"/>
                  </a:lnTo>
                  <a:lnTo>
                    <a:pt x="75" y="3"/>
                  </a:lnTo>
                  <a:lnTo>
                    <a:pt x="73" y="0"/>
                  </a:lnTo>
                  <a:lnTo>
                    <a:pt x="73" y="3"/>
                  </a:lnTo>
                  <a:lnTo>
                    <a:pt x="73" y="3"/>
                  </a:lnTo>
                  <a:lnTo>
                    <a:pt x="73" y="6"/>
                  </a:lnTo>
                  <a:lnTo>
                    <a:pt x="67" y="10"/>
                  </a:lnTo>
                  <a:lnTo>
                    <a:pt x="65" y="6"/>
                  </a:lnTo>
                  <a:lnTo>
                    <a:pt x="64" y="6"/>
                  </a:lnTo>
                  <a:lnTo>
                    <a:pt x="61" y="6"/>
                  </a:lnTo>
                  <a:lnTo>
                    <a:pt x="58" y="6"/>
                  </a:lnTo>
                  <a:lnTo>
                    <a:pt x="56" y="10"/>
                  </a:lnTo>
                  <a:lnTo>
                    <a:pt x="54" y="10"/>
                  </a:lnTo>
                  <a:lnTo>
                    <a:pt x="54" y="6"/>
                  </a:lnTo>
                  <a:lnTo>
                    <a:pt x="54" y="6"/>
                  </a:lnTo>
                  <a:lnTo>
                    <a:pt x="51" y="6"/>
                  </a:lnTo>
                  <a:lnTo>
                    <a:pt x="51" y="6"/>
                  </a:lnTo>
                  <a:lnTo>
                    <a:pt x="48" y="10"/>
                  </a:lnTo>
                  <a:lnTo>
                    <a:pt x="48" y="10"/>
                  </a:lnTo>
                  <a:lnTo>
                    <a:pt x="45" y="6"/>
                  </a:lnTo>
                  <a:lnTo>
                    <a:pt x="48" y="3"/>
                  </a:lnTo>
                  <a:lnTo>
                    <a:pt x="48" y="3"/>
                  </a:lnTo>
                  <a:lnTo>
                    <a:pt x="45" y="3"/>
                  </a:lnTo>
                  <a:lnTo>
                    <a:pt x="42" y="3"/>
                  </a:lnTo>
                  <a:lnTo>
                    <a:pt x="38" y="3"/>
                  </a:lnTo>
                  <a:lnTo>
                    <a:pt x="35" y="3"/>
                  </a:lnTo>
                  <a:lnTo>
                    <a:pt x="31" y="3"/>
                  </a:lnTo>
                  <a:lnTo>
                    <a:pt x="29" y="0"/>
                  </a:lnTo>
                  <a:lnTo>
                    <a:pt x="27" y="3"/>
                  </a:lnTo>
                  <a:lnTo>
                    <a:pt x="26" y="3"/>
                  </a:lnTo>
                  <a:lnTo>
                    <a:pt x="26" y="0"/>
                  </a:lnTo>
                  <a:lnTo>
                    <a:pt x="26" y="0"/>
                  </a:lnTo>
                  <a:lnTo>
                    <a:pt x="23" y="0"/>
                  </a:lnTo>
                  <a:lnTo>
                    <a:pt x="16" y="0"/>
                  </a:lnTo>
                  <a:lnTo>
                    <a:pt x="19" y="0"/>
                  </a:lnTo>
                  <a:lnTo>
                    <a:pt x="19" y="3"/>
                  </a:lnTo>
                  <a:lnTo>
                    <a:pt x="16" y="3"/>
                  </a:lnTo>
                  <a:lnTo>
                    <a:pt x="16" y="6"/>
                  </a:lnTo>
                  <a:lnTo>
                    <a:pt x="13" y="6"/>
                  </a:lnTo>
                  <a:lnTo>
                    <a:pt x="16" y="6"/>
                  </a:lnTo>
                  <a:lnTo>
                    <a:pt x="16" y="10"/>
                  </a:lnTo>
                  <a:lnTo>
                    <a:pt x="16" y="10"/>
                  </a:lnTo>
                  <a:lnTo>
                    <a:pt x="16" y="13"/>
                  </a:lnTo>
                  <a:lnTo>
                    <a:pt x="13" y="13"/>
                  </a:lnTo>
                  <a:lnTo>
                    <a:pt x="10" y="13"/>
                  </a:lnTo>
                  <a:lnTo>
                    <a:pt x="5" y="16"/>
                  </a:lnTo>
                  <a:lnTo>
                    <a:pt x="4" y="18"/>
                  </a:lnTo>
                  <a:lnTo>
                    <a:pt x="2" y="21"/>
                  </a:lnTo>
                  <a:lnTo>
                    <a:pt x="2" y="22"/>
                  </a:lnTo>
                  <a:lnTo>
                    <a:pt x="0" y="24"/>
                  </a:lnTo>
                  <a:lnTo>
                    <a:pt x="5" y="22"/>
                  </a:lnTo>
                  <a:lnTo>
                    <a:pt x="4" y="25"/>
                  </a:lnTo>
                  <a:lnTo>
                    <a:pt x="4" y="29"/>
                  </a:lnTo>
                  <a:lnTo>
                    <a:pt x="5" y="27"/>
                  </a:lnTo>
                  <a:lnTo>
                    <a:pt x="5" y="29"/>
                  </a:lnTo>
                  <a:lnTo>
                    <a:pt x="7" y="25"/>
                  </a:lnTo>
                  <a:lnTo>
                    <a:pt x="5" y="32"/>
                  </a:lnTo>
                  <a:lnTo>
                    <a:pt x="7" y="30"/>
                  </a:lnTo>
                  <a:lnTo>
                    <a:pt x="7" y="32"/>
                  </a:lnTo>
                  <a:lnTo>
                    <a:pt x="8" y="35"/>
                  </a:lnTo>
                  <a:lnTo>
                    <a:pt x="10" y="35"/>
                  </a:lnTo>
                  <a:lnTo>
                    <a:pt x="10" y="38"/>
                  </a:lnTo>
                  <a:lnTo>
                    <a:pt x="13" y="35"/>
                  </a:lnTo>
                  <a:lnTo>
                    <a:pt x="13" y="38"/>
                  </a:lnTo>
                  <a:lnTo>
                    <a:pt x="13" y="38"/>
                  </a:lnTo>
                  <a:lnTo>
                    <a:pt x="16" y="38"/>
                  </a:lnTo>
                  <a:lnTo>
                    <a:pt x="16" y="38"/>
                  </a:lnTo>
                  <a:lnTo>
                    <a:pt x="16" y="41"/>
                  </a:lnTo>
                  <a:lnTo>
                    <a:pt x="19" y="44"/>
                  </a:lnTo>
                  <a:lnTo>
                    <a:pt x="19" y="44"/>
                  </a:lnTo>
                  <a:lnTo>
                    <a:pt x="19" y="44"/>
                  </a:lnTo>
                  <a:lnTo>
                    <a:pt x="19" y="44"/>
                  </a:lnTo>
                  <a:lnTo>
                    <a:pt x="19" y="48"/>
                  </a:lnTo>
                  <a:lnTo>
                    <a:pt x="21" y="46"/>
                  </a:lnTo>
                  <a:lnTo>
                    <a:pt x="21" y="49"/>
                  </a:lnTo>
                  <a:lnTo>
                    <a:pt x="23" y="48"/>
                  </a:lnTo>
                  <a:lnTo>
                    <a:pt x="23" y="49"/>
                  </a:lnTo>
                  <a:lnTo>
                    <a:pt x="21" y="49"/>
                  </a:lnTo>
                  <a:lnTo>
                    <a:pt x="21" y="51"/>
                  </a:lnTo>
                  <a:lnTo>
                    <a:pt x="23" y="51"/>
                  </a:lnTo>
                  <a:lnTo>
                    <a:pt x="24" y="51"/>
                  </a:lnTo>
                  <a:lnTo>
                    <a:pt x="24" y="51"/>
                  </a:lnTo>
                  <a:lnTo>
                    <a:pt x="26" y="51"/>
                  </a:lnTo>
                  <a:lnTo>
                    <a:pt x="26" y="49"/>
                  </a:lnTo>
                  <a:lnTo>
                    <a:pt x="27" y="48"/>
                  </a:lnTo>
                  <a:lnTo>
                    <a:pt x="31" y="44"/>
                  </a:lnTo>
                  <a:lnTo>
                    <a:pt x="32" y="41"/>
                  </a:lnTo>
                  <a:lnTo>
                    <a:pt x="34" y="38"/>
                  </a:lnTo>
                  <a:lnTo>
                    <a:pt x="35" y="38"/>
                  </a:lnTo>
                  <a:lnTo>
                    <a:pt x="37" y="38"/>
                  </a:lnTo>
                  <a:lnTo>
                    <a:pt x="38" y="38"/>
                  </a:lnTo>
                  <a:lnTo>
                    <a:pt x="40" y="38"/>
                  </a:lnTo>
                  <a:lnTo>
                    <a:pt x="45" y="38"/>
                  </a:lnTo>
                  <a:lnTo>
                    <a:pt x="48" y="38"/>
                  </a:lnTo>
                  <a:lnTo>
                    <a:pt x="51" y="41"/>
                  </a:lnTo>
                  <a:lnTo>
                    <a:pt x="54" y="48"/>
                  </a:lnTo>
                  <a:lnTo>
                    <a:pt x="54" y="49"/>
                  </a:lnTo>
                  <a:lnTo>
                    <a:pt x="54" y="51"/>
                  </a:lnTo>
                  <a:lnTo>
                    <a:pt x="56" y="52"/>
                  </a:lnTo>
                  <a:lnTo>
                    <a:pt x="56" y="54"/>
                  </a:lnTo>
                  <a:lnTo>
                    <a:pt x="56" y="56"/>
                  </a:lnTo>
                  <a:lnTo>
                    <a:pt x="56" y="57"/>
                  </a:lnTo>
                  <a:lnTo>
                    <a:pt x="56" y="59"/>
                  </a:lnTo>
                  <a:lnTo>
                    <a:pt x="54" y="64"/>
                  </a:lnTo>
                  <a:lnTo>
                    <a:pt x="58" y="60"/>
                  </a:lnTo>
                  <a:lnTo>
                    <a:pt x="58" y="60"/>
                  </a:lnTo>
                  <a:lnTo>
                    <a:pt x="58" y="60"/>
                  </a:lnTo>
                  <a:lnTo>
                    <a:pt x="61" y="60"/>
                  </a:lnTo>
                  <a:lnTo>
                    <a:pt x="61" y="59"/>
                  </a:lnTo>
                  <a:lnTo>
                    <a:pt x="62" y="59"/>
                  </a:lnTo>
                  <a:lnTo>
                    <a:pt x="64" y="60"/>
                  </a:lnTo>
                  <a:lnTo>
                    <a:pt x="65" y="59"/>
                  </a:lnTo>
                  <a:lnTo>
                    <a:pt x="67" y="59"/>
                  </a:lnTo>
                  <a:lnTo>
                    <a:pt x="69" y="60"/>
                  </a:lnTo>
                  <a:lnTo>
                    <a:pt x="70" y="62"/>
                  </a:lnTo>
                  <a:lnTo>
                    <a:pt x="70" y="64"/>
                  </a:lnTo>
                  <a:lnTo>
                    <a:pt x="70" y="65"/>
                  </a:lnTo>
                  <a:lnTo>
                    <a:pt x="70" y="67"/>
                  </a:lnTo>
                  <a:lnTo>
                    <a:pt x="72" y="70"/>
                  </a:lnTo>
                  <a:lnTo>
                    <a:pt x="70" y="76"/>
                  </a:lnTo>
                  <a:lnTo>
                    <a:pt x="73" y="76"/>
                  </a:lnTo>
                  <a:lnTo>
                    <a:pt x="75" y="76"/>
                  </a:lnTo>
                  <a:lnTo>
                    <a:pt x="75" y="78"/>
                  </a:lnTo>
                  <a:lnTo>
                    <a:pt x="77" y="76"/>
                  </a:lnTo>
                  <a:lnTo>
                    <a:pt x="80" y="73"/>
                  </a:lnTo>
                  <a:lnTo>
                    <a:pt x="80" y="73"/>
                  </a:lnTo>
                  <a:lnTo>
                    <a:pt x="80" y="70"/>
                  </a:lnTo>
                  <a:lnTo>
                    <a:pt x="83" y="70"/>
                  </a:lnTo>
                  <a:lnTo>
                    <a:pt x="83" y="73"/>
                  </a:lnTo>
                  <a:lnTo>
                    <a:pt x="83" y="73"/>
                  </a:lnTo>
                  <a:lnTo>
                    <a:pt x="86" y="73"/>
                  </a:lnTo>
                  <a:lnTo>
                    <a:pt x="86" y="73"/>
                  </a:lnTo>
                  <a:lnTo>
                    <a:pt x="89" y="70"/>
                  </a:lnTo>
                  <a:lnTo>
                    <a:pt x="89" y="67"/>
                  </a:lnTo>
                  <a:lnTo>
                    <a:pt x="89" y="67"/>
                  </a:lnTo>
                  <a:lnTo>
                    <a:pt x="89" y="67"/>
                  </a:lnTo>
                  <a:lnTo>
                    <a:pt x="86" y="64"/>
                  </a:lnTo>
                  <a:lnTo>
                    <a:pt x="86" y="62"/>
                  </a:lnTo>
                  <a:lnTo>
                    <a:pt x="86" y="60"/>
                  </a:lnTo>
                  <a:lnTo>
                    <a:pt x="89" y="60"/>
                  </a:lnTo>
                  <a:lnTo>
                    <a:pt x="94" y="62"/>
                  </a:lnTo>
                  <a:lnTo>
                    <a:pt x="92" y="57"/>
                  </a:lnTo>
                  <a:lnTo>
                    <a:pt x="91" y="56"/>
                  </a:lnTo>
                  <a:lnTo>
                    <a:pt x="89" y="56"/>
                  </a:lnTo>
                  <a:lnTo>
                    <a:pt x="91" y="52"/>
                  </a:lnTo>
                  <a:lnTo>
                    <a:pt x="92" y="51"/>
                  </a:lnTo>
                  <a:lnTo>
                    <a:pt x="91" y="49"/>
                  </a:lnTo>
                  <a:lnTo>
                    <a:pt x="91" y="46"/>
                  </a:lnTo>
                  <a:lnTo>
                    <a:pt x="89" y="46"/>
                  </a:lnTo>
                  <a:lnTo>
                    <a:pt x="89" y="44"/>
                  </a:lnTo>
                  <a:lnTo>
                    <a:pt x="86" y="41"/>
                  </a:lnTo>
                  <a:lnTo>
                    <a:pt x="86" y="38"/>
                  </a:lnTo>
                  <a:lnTo>
                    <a:pt x="89" y="38"/>
                  </a:lnTo>
                  <a:lnTo>
                    <a:pt x="89" y="35"/>
                  </a:lnTo>
                  <a:lnTo>
                    <a:pt x="89" y="35"/>
                  </a:lnTo>
                  <a:lnTo>
                    <a:pt x="89" y="35"/>
                  </a:lnTo>
                  <a:lnTo>
                    <a:pt x="89" y="35"/>
                  </a:lnTo>
                  <a:lnTo>
                    <a:pt x="89" y="35"/>
                  </a:lnTo>
                  <a:lnTo>
                    <a:pt x="89" y="35"/>
                  </a:lnTo>
                  <a:lnTo>
                    <a:pt x="89" y="35"/>
                  </a:lnTo>
                  <a:lnTo>
                    <a:pt x="89" y="35"/>
                  </a:lnTo>
                  <a:lnTo>
                    <a:pt x="89" y="35"/>
                  </a:lnTo>
                  <a:lnTo>
                    <a:pt x="89" y="35"/>
                  </a:lnTo>
                  <a:lnTo>
                    <a:pt x="89" y="3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4" name="Freeform 170">
              <a:extLst>
                <a:ext uri="{FF2B5EF4-FFF2-40B4-BE49-F238E27FC236}">
                  <a16:creationId xmlns:a16="http://schemas.microsoft.com/office/drawing/2014/main" id="{1F40EAE7-ADCA-34DC-9DA2-A73CA63CE8F7}"/>
                </a:ext>
              </a:extLst>
            </p:cNvPr>
            <p:cNvSpPr>
              <a:spLocks/>
            </p:cNvSpPr>
            <p:nvPr/>
          </p:nvSpPr>
          <p:spPr bwMode="auto">
            <a:xfrm>
              <a:off x="5295885" y="3621356"/>
              <a:ext cx="91966" cy="53834"/>
            </a:xfrm>
            <a:custGeom>
              <a:avLst/>
              <a:gdLst>
                <a:gd name="T0" fmla="*/ 24 w 41"/>
                <a:gd name="T1" fmla="*/ 21 h 24"/>
                <a:gd name="T2" fmla="*/ 26 w 41"/>
                <a:gd name="T3" fmla="*/ 18 h 24"/>
                <a:gd name="T4" fmla="*/ 27 w 41"/>
                <a:gd name="T5" fmla="*/ 16 h 24"/>
                <a:gd name="T6" fmla="*/ 32 w 41"/>
                <a:gd name="T7" fmla="*/ 13 h 24"/>
                <a:gd name="T8" fmla="*/ 35 w 41"/>
                <a:gd name="T9" fmla="*/ 13 h 24"/>
                <a:gd name="T10" fmla="*/ 38 w 41"/>
                <a:gd name="T11" fmla="*/ 13 h 24"/>
                <a:gd name="T12" fmla="*/ 38 w 41"/>
                <a:gd name="T13" fmla="*/ 10 h 24"/>
                <a:gd name="T14" fmla="*/ 38 w 41"/>
                <a:gd name="T15" fmla="*/ 10 h 24"/>
                <a:gd name="T16" fmla="*/ 38 w 41"/>
                <a:gd name="T17" fmla="*/ 6 h 24"/>
                <a:gd name="T18" fmla="*/ 35 w 41"/>
                <a:gd name="T19" fmla="*/ 6 h 24"/>
                <a:gd name="T20" fmla="*/ 38 w 41"/>
                <a:gd name="T21" fmla="*/ 6 h 24"/>
                <a:gd name="T22" fmla="*/ 38 w 41"/>
                <a:gd name="T23" fmla="*/ 3 h 24"/>
                <a:gd name="T24" fmla="*/ 41 w 41"/>
                <a:gd name="T25" fmla="*/ 3 h 24"/>
                <a:gd name="T26" fmla="*/ 41 w 41"/>
                <a:gd name="T27" fmla="*/ 0 h 24"/>
                <a:gd name="T28" fmla="*/ 38 w 41"/>
                <a:gd name="T29" fmla="*/ 0 h 24"/>
                <a:gd name="T30" fmla="*/ 27 w 41"/>
                <a:gd name="T31" fmla="*/ 0 h 24"/>
                <a:gd name="T32" fmla="*/ 24 w 41"/>
                <a:gd name="T33" fmla="*/ 0 h 24"/>
                <a:gd name="T34" fmla="*/ 22 w 41"/>
                <a:gd name="T35" fmla="*/ 0 h 24"/>
                <a:gd name="T36" fmla="*/ 18 w 41"/>
                <a:gd name="T37" fmla="*/ 0 h 24"/>
                <a:gd name="T38" fmla="*/ 14 w 41"/>
                <a:gd name="T39" fmla="*/ 3 h 24"/>
                <a:gd name="T40" fmla="*/ 10 w 41"/>
                <a:gd name="T41" fmla="*/ 3 h 24"/>
                <a:gd name="T42" fmla="*/ 6 w 41"/>
                <a:gd name="T43" fmla="*/ 3 h 24"/>
                <a:gd name="T44" fmla="*/ 3 w 41"/>
                <a:gd name="T45" fmla="*/ 3 h 24"/>
                <a:gd name="T46" fmla="*/ 0 w 41"/>
                <a:gd name="T47" fmla="*/ 3 h 24"/>
                <a:gd name="T48" fmla="*/ 3 w 41"/>
                <a:gd name="T49" fmla="*/ 6 h 24"/>
                <a:gd name="T50" fmla="*/ 6 w 41"/>
                <a:gd name="T51" fmla="*/ 6 h 24"/>
                <a:gd name="T52" fmla="*/ 6 w 41"/>
                <a:gd name="T53" fmla="*/ 3 h 24"/>
                <a:gd name="T54" fmla="*/ 8 w 41"/>
                <a:gd name="T55" fmla="*/ 3 h 24"/>
                <a:gd name="T56" fmla="*/ 6 w 41"/>
                <a:gd name="T57" fmla="*/ 6 h 24"/>
                <a:gd name="T58" fmla="*/ 6 w 41"/>
                <a:gd name="T59" fmla="*/ 10 h 24"/>
                <a:gd name="T60" fmla="*/ 8 w 41"/>
                <a:gd name="T61" fmla="*/ 10 h 24"/>
                <a:gd name="T62" fmla="*/ 11 w 41"/>
                <a:gd name="T63" fmla="*/ 10 h 24"/>
                <a:gd name="T64" fmla="*/ 10 w 41"/>
                <a:gd name="T65" fmla="*/ 13 h 24"/>
                <a:gd name="T66" fmla="*/ 14 w 41"/>
                <a:gd name="T67" fmla="*/ 11 h 24"/>
                <a:gd name="T68" fmla="*/ 18 w 41"/>
                <a:gd name="T69" fmla="*/ 10 h 24"/>
                <a:gd name="T70" fmla="*/ 19 w 41"/>
                <a:gd name="T71" fmla="*/ 10 h 24"/>
                <a:gd name="T72" fmla="*/ 21 w 41"/>
                <a:gd name="T73" fmla="*/ 10 h 24"/>
                <a:gd name="T74" fmla="*/ 24 w 41"/>
                <a:gd name="T75" fmla="*/ 10 h 24"/>
                <a:gd name="T76" fmla="*/ 22 w 41"/>
                <a:gd name="T77" fmla="*/ 11 h 24"/>
                <a:gd name="T78" fmla="*/ 21 w 41"/>
                <a:gd name="T79" fmla="*/ 11 h 24"/>
                <a:gd name="T80" fmla="*/ 19 w 41"/>
                <a:gd name="T81" fmla="*/ 10 h 24"/>
                <a:gd name="T82" fmla="*/ 16 w 41"/>
                <a:gd name="T83" fmla="*/ 13 h 24"/>
                <a:gd name="T84" fmla="*/ 18 w 41"/>
                <a:gd name="T85" fmla="*/ 14 h 24"/>
                <a:gd name="T86" fmla="*/ 19 w 41"/>
                <a:gd name="T87" fmla="*/ 13 h 24"/>
                <a:gd name="T88" fmla="*/ 21 w 41"/>
                <a:gd name="T89" fmla="*/ 13 h 24"/>
                <a:gd name="T90" fmla="*/ 22 w 41"/>
                <a:gd name="T91" fmla="*/ 14 h 24"/>
                <a:gd name="T92" fmla="*/ 19 w 41"/>
                <a:gd name="T93" fmla="*/ 14 h 24"/>
                <a:gd name="T94" fmla="*/ 18 w 41"/>
                <a:gd name="T95" fmla="*/ 16 h 24"/>
                <a:gd name="T96" fmla="*/ 18 w 41"/>
                <a:gd name="T97" fmla="*/ 18 h 24"/>
                <a:gd name="T98" fmla="*/ 19 w 41"/>
                <a:gd name="T99" fmla="*/ 18 h 24"/>
                <a:gd name="T100" fmla="*/ 18 w 41"/>
                <a:gd name="T101" fmla="*/ 19 h 24"/>
                <a:gd name="T102" fmla="*/ 21 w 41"/>
                <a:gd name="T103" fmla="*/ 21 h 24"/>
                <a:gd name="T104" fmla="*/ 22 w 41"/>
                <a:gd name="T105" fmla="*/ 24 h 24"/>
                <a:gd name="T106" fmla="*/ 24 w 41"/>
                <a:gd name="T107" fmla="*/ 22 h 24"/>
                <a:gd name="T108" fmla="*/ 24 w 41"/>
                <a:gd name="T109" fmla="*/ 21 h 24"/>
                <a:gd name="T110" fmla="*/ 24 w 41"/>
                <a:gd name="T111" fmla="*/ 21 h 24"/>
                <a:gd name="T112" fmla="*/ 24 w 41"/>
                <a:gd name="T113" fmla="*/ 21 h 24"/>
                <a:gd name="T114" fmla="*/ 24 w 41"/>
                <a:gd name="T115" fmla="*/ 21 h 24"/>
                <a:gd name="T116" fmla="*/ 24 w 41"/>
                <a:gd name="T117" fmla="*/ 21 h 24"/>
                <a:gd name="T118" fmla="*/ 24 w 41"/>
                <a:gd name="T119" fmla="*/ 21 h 24"/>
                <a:gd name="T120" fmla="*/ 24 w 41"/>
                <a:gd name="T121" fmla="*/ 21 h 24"/>
                <a:gd name="T122" fmla="*/ 24 w 41"/>
                <a:gd name="T123" fmla="*/ 21 h 24"/>
                <a:gd name="T124" fmla="*/ 24 w 41"/>
                <a:gd name="T12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4">
                  <a:moveTo>
                    <a:pt x="24" y="21"/>
                  </a:moveTo>
                  <a:lnTo>
                    <a:pt x="26" y="18"/>
                  </a:lnTo>
                  <a:lnTo>
                    <a:pt x="27" y="16"/>
                  </a:lnTo>
                  <a:lnTo>
                    <a:pt x="32" y="13"/>
                  </a:lnTo>
                  <a:lnTo>
                    <a:pt x="35" y="13"/>
                  </a:lnTo>
                  <a:lnTo>
                    <a:pt x="38" y="13"/>
                  </a:lnTo>
                  <a:lnTo>
                    <a:pt x="38" y="10"/>
                  </a:lnTo>
                  <a:lnTo>
                    <a:pt x="38" y="10"/>
                  </a:lnTo>
                  <a:lnTo>
                    <a:pt x="38" y="6"/>
                  </a:lnTo>
                  <a:lnTo>
                    <a:pt x="35" y="6"/>
                  </a:lnTo>
                  <a:lnTo>
                    <a:pt x="38" y="6"/>
                  </a:lnTo>
                  <a:lnTo>
                    <a:pt x="38" y="3"/>
                  </a:lnTo>
                  <a:lnTo>
                    <a:pt x="41" y="3"/>
                  </a:lnTo>
                  <a:lnTo>
                    <a:pt x="41" y="0"/>
                  </a:lnTo>
                  <a:lnTo>
                    <a:pt x="38" y="0"/>
                  </a:lnTo>
                  <a:lnTo>
                    <a:pt x="27" y="0"/>
                  </a:lnTo>
                  <a:lnTo>
                    <a:pt x="24" y="0"/>
                  </a:lnTo>
                  <a:lnTo>
                    <a:pt x="22" y="0"/>
                  </a:lnTo>
                  <a:lnTo>
                    <a:pt x="18" y="0"/>
                  </a:lnTo>
                  <a:lnTo>
                    <a:pt x="14" y="3"/>
                  </a:lnTo>
                  <a:lnTo>
                    <a:pt x="10" y="3"/>
                  </a:lnTo>
                  <a:lnTo>
                    <a:pt x="6" y="3"/>
                  </a:lnTo>
                  <a:lnTo>
                    <a:pt x="3" y="3"/>
                  </a:lnTo>
                  <a:lnTo>
                    <a:pt x="0" y="3"/>
                  </a:lnTo>
                  <a:lnTo>
                    <a:pt x="3" y="6"/>
                  </a:lnTo>
                  <a:lnTo>
                    <a:pt x="6" y="6"/>
                  </a:lnTo>
                  <a:lnTo>
                    <a:pt x="6" y="3"/>
                  </a:lnTo>
                  <a:lnTo>
                    <a:pt x="8" y="3"/>
                  </a:lnTo>
                  <a:lnTo>
                    <a:pt x="6" y="6"/>
                  </a:lnTo>
                  <a:lnTo>
                    <a:pt x="6" y="10"/>
                  </a:lnTo>
                  <a:lnTo>
                    <a:pt x="8" y="10"/>
                  </a:lnTo>
                  <a:lnTo>
                    <a:pt x="11" y="10"/>
                  </a:lnTo>
                  <a:lnTo>
                    <a:pt x="10" y="13"/>
                  </a:lnTo>
                  <a:lnTo>
                    <a:pt x="14" y="11"/>
                  </a:lnTo>
                  <a:lnTo>
                    <a:pt x="18" y="10"/>
                  </a:lnTo>
                  <a:lnTo>
                    <a:pt x="19" y="10"/>
                  </a:lnTo>
                  <a:lnTo>
                    <a:pt x="21" y="10"/>
                  </a:lnTo>
                  <a:lnTo>
                    <a:pt x="24" y="10"/>
                  </a:lnTo>
                  <a:lnTo>
                    <a:pt x="22" y="11"/>
                  </a:lnTo>
                  <a:lnTo>
                    <a:pt x="21" y="11"/>
                  </a:lnTo>
                  <a:lnTo>
                    <a:pt x="19" y="10"/>
                  </a:lnTo>
                  <a:lnTo>
                    <a:pt x="16" y="13"/>
                  </a:lnTo>
                  <a:lnTo>
                    <a:pt x="18" y="14"/>
                  </a:lnTo>
                  <a:lnTo>
                    <a:pt x="19" y="13"/>
                  </a:lnTo>
                  <a:lnTo>
                    <a:pt x="21" y="13"/>
                  </a:lnTo>
                  <a:lnTo>
                    <a:pt x="22" y="14"/>
                  </a:lnTo>
                  <a:lnTo>
                    <a:pt x="19" y="14"/>
                  </a:lnTo>
                  <a:lnTo>
                    <a:pt x="18" y="16"/>
                  </a:lnTo>
                  <a:lnTo>
                    <a:pt x="18" y="18"/>
                  </a:lnTo>
                  <a:lnTo>
                    <a:pt x="19" y="18"/>
                  </a:lnTo>
                  <a:lnTo>
                    <a:pt x="18" y="19"/>
                  </a:lnTo>
                  <a:lnTo>
                    <a:pt x="21" y="21"/>
                  </a:lnTo>
                  <a:lnTo>
                    <a:pt x="22" y="24"/>
                  </a:lnTo>
                  <a:lnTo>
                    <a:pt x="24" y="22"/>
                  </a:lnTo>
                  <a:lnTo>
                    <a:pt x="24" y="21"/>
                  </a:lnTo>
                  <a:lnTo>
                    <a:pt x="24" y="21"/>
                  </a:lnTo>
                  <a:lnTo>
                    <a:pt x="24" y="21"/>
                  </a:lnTo>
                  <a:lnTo>
                    <a:pt x="24" y="21"/>
                  </a:lnTo>
                  <a:lnTo>
                    <a:pt x="24" y="21"/>
                  </a:lnTo>
                  <a:lnTo>
                    <a:pt x="24" y="21"/>
                  </a:lnTo>
                  <a:lnTo>
                    <a:pt x="24" y="21"/>
                  </a:lnTo>
                  <a:lnTo>
                    <a:pt x="24" y="21"/>
                  </a:lnTo>
                  <a:lnTo>
                    <a:pt x="24" y="2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5" name="Freeform 172">
              <a:extLst>
                <a:ext uri="{FF2B5EF4-FFF2-40B4-BE49-F238E27FC236}">
                  <a16:creationId xmlns:a16="http://schemas.microsoft.com/office/drawing/2014/main" id="{F8C27444-D484-D588-A94B-CC3FDBBB1DCF}"/>
                </a:ext>
              </a:extLst>
            </p:cNvPr>
            <p:cNvSpPr>
              <a:spLocks noEditPoints="1"/>
            </p:cNvSpPr>
            <p:nvPr/>
          </p:nvSpPr>
          <p:spPr bwMode="auto">
            <a:xfrm>
              <a:off x="5277940" y="3489015"/>
              <a:ext cx="170474" cy="139071"/>
            </a:xfrm>
            <a:custGeom>
              <a:avLst/>
              <a:gdLst>
                <a:gd name="T0" fmla="*/ 75 w 76"/>
                <a:gd name="T1" fmla="*/ 53 h 62"/>
                <a:gd name="T2" fmla="*/ 70 w 76"/>
                <a:gd name="T3" fmla="*/ 46 h 62"/>
                <a:gd name="T4" fmla="*/ 68 w 76"/>
                <a:gd name="T5" fmla="*/ 42 h 62"/>
                <a:gd name="T6" fmla="*/ 68 w 76"/>
                <a:gd name="T7" fmla="*/ 37 h 62"/>
                <a:gd name="T8" fmla="*/ 65 w 76"/>
                <a:gd name="T9" fmla="*/ 30 h 62"/>
                <a:gd name="T10" fmla="*/ 64 w 76"/>
                <a:gd name="T11" fmla="*/ 26 h 62"/>
                <a:gd name="T12" fmla="*/ 59 w 76"/>
                <a:gd name="T13" fmla="*/ 19 h 62"/>
                <a:gd name="T14" fmla="*/ 54 w 76"/>
                <a:gd name="T15" fmla="*/ 13 h 62"/>
                <a:gd name="T16" fmla="*/ 51 w 76"/>
                <a:gd name="T17" fmla="*/ 10 h 62"/>
                <a:gd name="T18" fmla="*/ 43 w 76"/>
                <a:gd name="T19" fmla="*/ 3 h 62"/>
                <a:gd name="T20" fmla="*/ 32 w 76"/>
                <a:gd name="T21" fmla="*/ 0 h 62"/>
                <a:gd name="T22" fmla="*/ 21 w 76"/>
                <a:gd name="T23" fmla="*/ 3 h 62"/>
                <a:gd name="T24" fmla="*/ 14 w 76"/>
                <a:gd name="T25" fmla="*/ 7 h 62"/>
                <a:gd name="T26" fmla="*/ 11 w 76"/>
                <a:gd name="T27" fmla="*/ 16 h 62"/>
                <a:gd name="T28" fmla="*/ 3 w 76"/>
                <a:gd name="T29" fmla="*/ 27 h 62"/>
                <a:gd name="T30" fmla="*/ 3 w 76"/>
                <a:gd name="T31" fmla="*/ 29 h 62"/>
                <a:gd name="T32" fmla="*/ 8 w 76"/>
                <a:gd name="T33" fmla="*/ 40 h 62"/>
                <a:gd name="T34" fmla="*/ 11 w 76"/>
                <a:gd name="T35" fmla="*/ 38 h 62"/>
                <a:gd name="T36" fmla="*/ 13 w 76"/>
                <a:gd name="T37" fmla="*/ 38 h 62"/>
                <a:gd name="T38" fmla="*/ 11 w 76"/>
                <a:gd name="T39" fmla="*/ 43 h 62"/>
                <a:gd name="T40" fmla="*/ 26 w 76"/>
                <a:gd name="T41" fmla="*/ 45 h 62"/>
                <a:gd name="T42" fmla="*/ 29 w 76"/>
                <a:gd name="T43" fmla="*/ 42 h 62"/>
                <a:gd name="T44" fmla="*/ 35 w 76"/>
                <a:gd name="T45" fmla="*/ 43 h 62"/>
                <a:gd name="T46" fmla="*/ 38 w 76"/>
                <a:gd name="T47" fmla="*/ 46 h 62"/>
                <a:gd name="T48" fmla="*/ 45 w 76"/>
                <a:gd name="T49" fmla="*/ 45 h 62"/>
                <a:gd name="T50" fmla="*/ 45 w 76"/>
                <a:gd name="T51" fmla="*/ 50 h 62"/>
                <a:gd name="T52" fmla="*/ 40 w 76"/>
                <a:gd name="T53" fmla="*/ 50 h 62"/>
                <a:gd name="T54" fmla="*/ 29 w 76"/>
                <a:gd name="T55" fmla="*/ 45 h 62"/>
                <a:gd name="T56" fmla="*/ 26 w 76"/>
                <a:gd name="T57" fmla="*/ 48 h 62"/>
                <a:gd name="T58" fmla="*/ 21 w 76"/>
                <a:gd name="T59" fmla="*/ 51 h 62"/>
                <a:gd name="T60" fmla="*/ 11 w 76"/>
                <a:gd name="T61" fmla="*/ 51 h 62"/>
                <a:gd name="T62" fmla="*/ 8 w 76"/>
                <a:gd name="T63" fmla="*/ 57 h 62"/>
                <a:gd name="T64" fmla="*/ 8 w 76"/>
                <a:gd name="T65" fmla="*/ 62 h 62"/>
                <a:gd name="T66" fmla="*/ 18 w 76"/>
                <a:gd name="T67" fmla="*/ 62 h 62"/>
                <a:gd name="T68" fmla="*/ 29 w 76"/>
                <a:gd name="T69" fmla="*/ 59 h 62"/>
                <a:gd name="T70" fmla="*/ 46 w 76"/>
                <a:gd name="T71" fmla="*/ 59 h 62"/>
                <a:gd name="T72" fmla="*/ 56 w 76"/>
                <a:gd name="T73" fmla="*/ 59 h 62"/>
                <a:gd name="T74" fmla="*/ 59 w 76"/>
                <a:gd name="T75" fmla="*/ 59 h 62"/>
                <a:gd name="T76" fmla="*/ 67 w 76"/>
                <a:gd name="T77" fmla="*/ 62 h 62"/>
                <a:gd name="T78" fmla="*/ 76 w 76"/>
                <a:gd name="T79" fmla="*/ 62 h 62"/>
                <a:gd name="T80" fmla="*/ 75 w 76"/>
                <a:gd name="T81" fmla="*/ 57 h 62"/>
                <a:gd name="T82" fmla="*/ 75 w 76"/>
                <a:gd name="T83" fmla="*/ 57 h 62"/>
                <a:gd name="T84" fmla="*/ 75 w 76"/>
                <a:gd name="T85" fmla="*/ 57 h 62"/>
                <a:gd name="T86" fmla="*/ 24 w 76"/>
                <a:gd name="T87" fmla="*/ 59 h 62"/>
                <a:gd name="T88" fmla="*/ 18 w 76"/>
                <a:gd name="T89" fmla="*/ 59 h 62"/>
                <a:gd name="T90" fmla="*/ 10 w 76"/>
                <a:gd name="T91" fmla="*/ 59 h 62"/>
                <a:gd name="T92" fmla="*/ 13 w 76"/>
                <a:gd name="T93" fmla="*/ 59 h 62"/>
                <a:gd name="T94" fmla="*/ 21 w 76"/>
                <a:gd name="T95" fmla="*/ 59 h 62"/>
                <a:gd name="T96" fmla="*/ 26 w 76"/>
                <a:gd name="T97" fmla="*/ 56 h 62"/>
                <a:gd name="T98" fmla="*/ 24 w 76"/>
                <a:gd name="T99" fmla="*/ 59 h 62"/>
                <a:gd name="T100" fmla="*/ 24 w 76"/>
                <a:gd name="T101" fmla="*/ 59 h 62"/>
                <a:gd name="T102" fmla="*/ 24 w 76"/>
                <a:gd name="T103"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62">
                  <a:moveTo>
                    <a:pt x="75" y="57"/>
                  </a:moveTo>
                  <a:lnTo>
                    <a:pt x="76" y="56"/>
                  </a:lnTo>
                  <a:lnTo>
                    <a:pt x="75" y="53"/>
                  </a:lnTo>
                  <a:lnTo>
                    <a:pt x="75" y="50"/>
                  </a:lnTo>
                  <a:lnTo>
                    <a:pt x="72" y="48"/>
                  </a:lnTo>
                  <a:lnTo>
                    <a:pt x="70" y="46"/>
                  </a:lnTo>
                  <a:lnTo>
                    <a:pt x="68" y="46"/>
                  </a:lnTo>
                  <a:lnTo>
                    <a:pt x="68" y="45"/>
                  </a:lnTo>
                  <a:lnTo>
                    <a:pt x="68" y="42"/>
                  </a:lnTo>
                  <a:lnTo>
                    <a:pt x="68" y="40"/>
                  </a:lnTo>
                  <a:lnTo>
                    <a:pt x="68" y="38"/>
                  </a:lnTo>
                  <a:lnTo>
                    <a:pt x="68" y="37"/>
                  </a:lnTo>
                  <a:lnTo>
                    <a:pt x="67" y="34"/>
                  </a:lnTo>
                  <a:lnTo>
                    <a:pt x="65" y="34"/>
                  </a:lnTo>
                  <a:lnTo>
                    <a:pt x="65" y="30"/>
                  </a:lnTo>
                  <a:lnTo>
                    <a:pt x="67" y="30"/>
                  </a:lnTo>
                  <a:lnTo>
                    <a:pt x="65" y="29"/>
                  </a:lnTo>
                  <a:lnTo>
                    <a:pt x="64" y="26"/>
                  </a:lnTo>
                  <a:lnTo>
                    <a:pt x="61" y="24"/>
                  </a:lnTo>
                  <a:lnTo>
                    <a:pt x="61" y="23"/>
                  </a:lnTo>
                  <a:lnTo>
                    <a:pt x="59" y="19"/>
                  </a:lnTo>
                  <a:lnTo>
                    <a:pt x="57" y="18"/>
                  </a:lnTo>
                  <a:lnTo>
                    <a:pt x="54" y="15"/>
                  </a:lnTo>
                  <a:lnTo>
                    <a:pt x="54" y="13"/>
                  </a:lnTo>
                  <a:lnTo>
                    <a:pt x="53" y="10"/>
                  </a:lnTo>
                  <a:lnTo>
                    <a:pt x="51" y="10"/>
                  </a:lnTo>
                  <a:lnTo>
                    <a:pt x="51" y="10"/>
                  </a:lnTo>
                  <a:lnTo>
                    <a:pt x="46" y="7"/>
                  </a:lnTo>
                  <a:lnTo>
                    <a:pt x="45" y="7"/>
                  </a:lnTo>
                  <a:lnTo>
                    <a:pt x="43" y="3"/>
                  </a:lnTo>
                  <a:lnTo>
                    <a:pt x="40" y="3"/>
                  </a:lnTo>
                  <a:lnTo>
                    <a:pt x="35" y="0"/>
                  </a:lnTo>
                  <a:lnTo>
                    <a:pt x="32" y="0"/>
                  </a:lnTo>
                  <a:lnTo>
                    <a:pt x="29" y="3"/>
                  </a:lnTo>
                  <a:lnTo>
                    <a:pt x="26" y="3"/>
                  </a:lnTo>
                  <a:lnTo>
                    <a:pt x="21" y="3"/>
                  </a:lnTo>
                  <a:lnTo>
                    <a:pt x="19" y="3"/>
                  </a:lnTo>
                  <a:lnTo>
                    <a:pt x="18" y="3"/>
                  </a:lnTo>
                  <a:lnTo>
                    <a:pt x="14" y="7"/>
                  </a:lnTo>
                  <a:lnTo>
                    <a:pt x="13" y="8"/>
                  </a:lnTo>
                  <a:lnTo>
                    <a:pt x="13" y="13"/>
                  </a:lnTo>
                  <a:lnTo>
                    <a:pt x="11" y="16"/>
                  </a:lnTo>
                  <a:lnTo>
                    <a:pt x="8" y="21"/>
                  </a:lnTo>
                  <a:lnTo>
                    <a:pt x="5" y="26"/>
                  </a:lnTo>
                  <a:lnTo>
                    <a:pt x="3" y="27"/>
                  </a:lnTo>
                  <a:lnTo>
                    <a:pt x="0" y="29"/>
                  </a:lnTo>
                  <a:lnTo>
                    <a:pt x="0" y="30"/>
                  </a:lnTo>
                  <a:lnTo>
                    <a:pt x="3" y="29"/>
                  </a:lnTo>
                  <a:lnTo>
                    <a:pt x="5" y="30"/>
                  </a:lnTo>
                  <a:lnTo>
                    <a:pt x="7" y="34"/>
                  </a:lnTo>
                  <a:lnTo>
                    <a:pt x="8" y="40"/>
                  </a:lnTo>
                  <a:lnTo>
                    <a:pt x="11" y="37"/>
                  </a:lnTo>
                  <a:lnTo>
                    <a:pt x="14" y="37"/>
                  </a:lnTo>
                  <a:lnTo>
                    <a:pt x="11" y="38"/>
                  </a:lnTo>
                  <a:lnTo>
                    <a:pt x="8" y="42"/>
                  </a:lnTo>
                  <a:lnTo>
                    <a:pt x="11" y="40"/>
                  </a:lnTo>
                  <a:lnTo>
                    <a:pt x="13" y="38"/>
                  </a:lnTo>
                  <a:lnTo>
                    <a:pt x="11" y="42"/>
                  </a:lnTo>
                  <a:lnTo>
                    <a:pt x="10" y="43"/>
                  </a:lnTo>
                  <a:lnTo>
                    <a:pt x="11" y="43"/>
                  </a:lnTo>
                  <a:lnTo>
                    <a:pt x="11" y="45"/>
                  </a:lnTo>
                  <a:lnTo>
                    <a:pt x="14" y="45"/>
                  </a:lnTo>
                  <a:lnTo>
                    <a:pt x="26" y="45"/>
                  </a:lnTo>
                  <a:lnTo>
                    <a:pt x="26" y="43"/>
                  </a:lnTo>
                  <a:lnTo>
                    <a:pt x="27" y="42"/>
                  </a:lnTo>
                  <a:lnTo>
                    <a:pt x="29" y="42"/>
                  </a:lnTo>
                  <a:lnTo>
                    <a:pt x="32" y="42"/>
                  </a:lnTo>
                  <a:lnTo>
                    <a:pt x="32" y="42"/>
                  </a:lnTo>
                  <a:lnTo>
                    <a:pt x="35" y="43"/>
                  </a:lnTo>
                  <a:lnTo>
                    <a:pt x="35" y="43"/>
                  </a:lnTo>
                  <a:lnTo>
                    <a:pt x="38" y="43"/>
                  </a:lnTo>
                  <a:lnTo>
                    <a:pt x="38" y="46"/>
                  </a:lnTo>
                  <a:lnTo>
                    <a:pt x="40" y="46"/>
                  </a:lnTo>
                  <a:lnTo>
                    <a:pt x="41" y="45"/>
                  </a:lnTo>
                  <a:lnTo>
                    <a:pt x="45" y="45"/>
                  </a:lnTo>
                  <a:lnTo>
                    <a:pt x="46" y="46"/>
                  </a:lnTo>
                  <a:lnTo>
                    <a:pt x="46" y="48"/>
                  </a:lnTo>
                  <a:lnTo>
                    <a:pt x="45" y="50"/>
                  </a:lnTo>
                  <a:lnTo>
                    <a:pt x="43" y="50"/>
                  </a:lnTo>
                  <a:lnTo>
                    <a:pt x="41" y="50"/>
                  </a:lnTo>
                  <a:lnTo>
                    <a:pt x="40" y="50"/>
                  </a:lnTo>
                  <a:lnTo>
                    <a:pt x="38" y="50"/>
                  </a:lnTo>
                  <a:lnTo>
                    <a:pt x="32" y="46"/>
                  </a:lnTo>
                  <a:lnTo>
                    <a:pt x="29" y="45"/>
                  </a:lnTo>
                  <a:lnTo>
                    <a:pt x="29" y="48"/>
                  </a:lnTo>
                  <a:lnTo>
                    <a:pt x="27" y="48"/>
                  </a:lnTo>
                  <a:lnTo>
                    <a:pt x="26" y="48"/>
                  </a:lnTo>
                  <a:lnTo>
                    <a:pt x="24" y="48"/>
                  </a:lnTo>
                  <a:lnTo>
                    <a:pt x="21" y="50"/>
                  </a:lnTo>
                  <a:lnTo>
                    <a:pt x="21" y="51"/>
                  </a:lnTo>
                  <a:lnTo>
                    <a:pt x="14" y="51"/>
                  </a:lnTo>
                  <a:lnTo>
                    <a:pt x="13" y="51"/>
                  </a:lnTo>
                  <a:lnTo>
                    <a:pt x="11" y="51"/>
                  </a:lnTo>
                  <a:lnTo>
                    <a:pt x="8" y="53"/>
                  </a:lnTo>
                  <a:lnTo>
                    <a:pt x="8" y="56"/>
                  </a:lnTo>
                  <a:lnTo>
                    <a:pt x="8" y="57"/>
                  </a:lnTo>
                  <a:lnTo>
                    <a:pt x="8" y="59"/>
                  </a:lnTo>
                  <a:lnTo>
                    <a:pt x="8" y="62"/>
                  </a:lnTo>
                  <a:lnTo>
                    <a:pt x="8" y="62"/>
                  </a:lnTo>
                  <a:lnTo>
                    <a:pt x="11" y="62"/>
                  </a:lnTo>
                  <a:lnTo>
                    <a:pt x="14" y="62"/>
                  </a:lnTo>
                  <a:lnTo>
                    <a:pt x="18" y="62"/>
                  </a:lnTo>
                  <a:lnTo>
                    <a:pt x="22" y="62"/>
                  </a:lnTo>
                  <a:lnTo>
                    <a:pt x="26" y="59"/>
                  </a:lnTo>
                  <a:lnTo>
                    <a:pt x="29" y="59"/>
                  </a:lnTo>
                  <a:lnTo>
                    <a:pt x="32" y="59"/>
                  </a:lnTo>
                  <a:lnTo>
                    <a:pt x="35" y="59"/>
                  </a:lnTo>
                  <a:lnTo>
                    <a:pt x="46" y="59"/>
                  </a:lnTo>
                  <a:lnTo>
                    <a:pt x="53" y="59"/>
                  </a:lnTo>
                  <a:lnTo>
                    <a:pt x="56" y="59"/>
                  </a:lnTo>
                  <a:lnTo>
                    <a:pt x="56" y="59"/>
                  </a:lnTo>
                  <a:lnTo>
                    <a:pt x="56" y="62"/>
                  </a:lnTo>
                  <a:lnTo>
                    <a:pt x="57" y="62"/>
                  </a:lnTo>
                  <a:lnTo>
                    <a:pt x="59" y="59"/>
                  </a:lnTo>
                  <a:lnTo>
                    <a:pt x="61" y="62"/>
                  </a:lnTo>
                  <a:lnTo>
                    <a:pt x="64" y="62"/>
                  </a:lnTo>
                  <a:lnTo>
                    <a:pt x="67" y="62"/>
                  </a:lnTo>
                  <a:lnTo>
                    <a:pt x="70" y="62"/>
                  </a:lnTo>
                  <a:lnTo>
                    <a:pt x="73" y="62"/>
                  </a:lnTo>
                  <a:lnTo>
                    <a:pt x="76" y="62"/>
                  </a:lnTo>
                  <a:lnTo>
                    <a:pt x="76" y="59"/>
                  </a:lnTo>
                  <a:lnTo>
                    <a:pt x="75" y="57"/>
                  </a:lnTo>
                  <a:lnTo>
                    <a:pt x="75" y="57"/>
                  </a:lnTo>
                  <a:lnTo>
                    <a:pt x="75" y="57"/>
                  </a:lnTo>
                  <a:lnTo>
                    <a:pt x="75" y="57"/>
                  </a:lnTo>
                  <a:lnTo>
                    <a:pt x="75" y="57"/>
                  </a:lnTo>
                  <a:lnTo>
                    <a:pt x="75" y="57"/>
                  </a:lnTo>
                  <a:lnTo>
                    <a:pt x="75" y="57"/>
                  </a:lnTo>
                  <a:lnTo>
                    <a:pt x="75" y="57"/>
                  </a:lnTo>
                  <a:lnTo>
                    <a:pt x="75" y="57"/>
                  </a:lnTo>
                  <a:close/>
                  <a:moveTo>
                    <a:pt x="24" y="59"/>
                  </a:moveTo>
                  <a:lnTo>
                    <a:pt x="24" y="59"/>
                  </a:lnTo>
                  <a:lnTo>
                    <a:pt x="22" y="59"/>
                  </a:lnTo>
                  <a:lnTo>
                    <a:pt x="21" y="59"/>
                  </a:lnTo>
                  <a:lnTo>
                    <a:pt x="18" y="59"/>
                  </a:lnTo>
                  <a:lnTo>
                    <a:pt x="14" y="59"/>
                  </a:lnTo>
                  <a:lnTo>
                    <a:pt x="13" y="59"/>
                  </a:lnTo>
                  <a:lnTo>
                    <a:pt x="10" y="59"/>
                  </a:lnTo>
                  <a:lnTo>
                    <a:pt x="10" y="57"/>
                  </a:lnTo>
                  <a:lnTo>
                    <a:pt x="11" y="59"/>
                  </a:lnTo>
                  <a:lnTo>
                    <a:pt x="13" y="59"/>
                  </a:lnTo>
                  <a:lnTo>
                    <a:pt x="16" y="59"/>
                  </a:lnTo>
                  <a:lnTo>
                    <a:pt x="18" y="57"/>
                  </a:lnTo>
                  <a:lnTo>
                    <a:pt x="21" y="59"/>
                  </a:lnTo>
                  <a:lnTo>
                    <a:pt x="24" y="59"/>
                  </a:lnTo>
                  <a:lnTo>
                    <a:pt x="24" y="57"/>
                  </a:lnTo>
                  <a:lnTo>
                    <a:pt x="26" y="56"/>
                  </a:lnTo>
                  <a:lnTo>
                    <a:pt x="24" y="59"/>
                  </a:lnTo>
                  <a:lnTo>
                    <a:pt x="24" y="59"/>
                  </a:lnTo>
                  <a:lnTo>
                    <a:pt x="24" y="59"/>
                  </a:lnTo>
                  <a:lnTo>
                    <a:pt x="24" y="59"/>
                  </a:lnTo>
                  <a:lnTo>
                    <a:pt x="24" y="59"/>
                  </a:lnTo>
                  <a:lnTo>
                    <a:pt x="24" y="59"/>
                  </a:lnTo>
                  <a:lnTo>
                    <a:pt x="24" y="59"/>
                  </a:lnTo>
                  <a:lnTo>
                    <a:pt x="24" y="59"/>
                  </a:lnTo>
                  <a:lnTo>
                    <a:pt x="24" y="5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6" name="Freeform 221">
              <a:extLst>
                <a:ext uri="{FF2B5EF4-FFF2-40B4-BE49-F238E27FC236}">
                  <a16:creationId xmlns:a16="http://schemas.microsoft.com/office/drawing/2014/main" id="{489C9C64-7552-738F-AD93-CB6129D1A04A}"/>
                </a:ext>
              </a:extLst>
            </p:cNvPr>
            <p:cNvSpPr>
              <a:spLocks/>
            </p:cNvSpPr>
            <p:nvPr/>
          </p:nvSpPr>
          <p:spPr bwMode="auto">
            <a:xfrm>
              <a:off x="6980430" y="4415403"/>
              <a:ext cx="222064" cy="437399"/>
            </a:xfrm>
            <a:custGeom>
              <a:avLst/>
              <a:gdLst>
                <a:gd name="T0" fmla="*/ 3 w 99"/>
                <a:gd name="T1" fmla="*/ 157 h 195"/>
                <a:gd name="T2" fmla="*/ 6 w 99"/>
                <a:gd name="T3" fmla="*/ 165 h 195"/>
                <a:gd name="T4" fmla="*/ 5 w 99"/>
                <a:gd name="T5" fmla="*/ 179 h 195"/>
                <a:gd name="T6" fmla="*/ 13 w 99"/>
                <a:gd name="T7" fmla="*/ 191 h 195"/>
                <a:gd name="T8" fmla="*/ 18 w 99"/>
                <a:gd name="T9" fmla="*/ 192 h 195"/>
                <a:gd name="T10" fmla="*/ 25 w 99"/>
                <a:gd name="T11" fmla="*/ 195 h 195"/>
                <a:gd name="T12" fmla="*/ 41 w 99"/>
                <a:gd name="T13" fmla="*/ 189 h 195"/>
                <a:gd name="T14" fmla="*/ 48 w 99"/>
                <a:gd name="T15" fmla="*/ 186 h 195"/>
                <a:gd name="T16" fmla="*/ 57 w 99"/>
                <a:gd name="T17" fmla="*/ 157 h 195"/>
                <a:gd name="T18" fmla="*/ 70 w 99"/>
                <a:gd name="T19" fmla="*/ 119 h 195"/>
                <a:gd name="T20" fmla="*/ 73 w 99"/>
                <a:gd name="T21" fmla="*/ 113 h 195"/>
                <a:gd name="T22" fmla="*/ 81 w 99"/>
                <a:gd name="T23" fmla="*/ 91 h 195"/>
                <a:gd name="T24" fmla="*/ 86 w 99"/>
                <a:gd name="T25" fmla="*/ 70 h 195"/>
                <a:gd name="T26" fmla="*/ 89 w 99"/>
                <a:gd name="T27" fmla="*/ 64 h 195"/>
                <a:gd name="T28" fmla="*/ 86 w 99"/>
                <a:gd name="T29" fmla="*/ 54 h 195"/>
                <a:gd name="T30" fmla="*/ 89 w 99"/>
                <a:gd name="T31" fmla="*/ 54 h 195"/>
                <a:gd name="T32" fmla="*/ 95 w 99"/>
                <a:gd name="T33" fmla="*/ 54 h 195"/>
                <a:gd name="T34" fmla="*/ 95 w 99"/>
                <a:gd name="T35" fmla="*/ 43 h 195"/>
                <a:gd name="T36" fmla="*/ 89 w 99"/>
                <a:gd name="T37" fmla="*/ 11 h 195"/>
                <a:gd name="T38" fmla="*/ 86 w 99"/>
                <a:gd name="T39" fmla="*/ 10 h 195"/>
                <a:gd name="T40" fmla="*/ 86 w 99"/>
                <a:gd name="T41" fmla="*/ 3 h 195"/>
                <a:gd name="T42" fmla="*/ 84 w 99"/>
                <a:gd name="T43" fmla="*/ 0 h 195"/>
                <a:gd name="T44" fmla="*/ 78 w 99"/>
                <a:gd name="T45" fmla="*/ 6 h 195"/>
                <a:gd name="T46" fmla="*/ 78 w 99"/>
                <a:gd name="T47" fmla="*/ 16 h 195"/>
                <a:gd name="T48" fmla="*/ 73 w 99"/>
                <a:gd name="T49" fmla="*/ 22 h 195"/>
                <a:gd name="T50" fmla="*/ 67 w 99"/>
                <a:gd name="T51" fmla="*/ 22 h 195"/>
                <a:gd name="T52" fmla="*/ 67 w 99"/>
                <a:gd name="T53" fmla="*/ 29 h 195"/>
                <a:gd name="T54" fmla="*/ 65 w 99"/>
                <a:gd name="T55" fmla="*/ 30 h 195"/>
                <a:gd name="T56" fmla="*/ 65 w 99"/>
                <a:gd name="T57" fmla="*/ 38 h 195"/>
                <a:gd name="T58" fmla="*/ 65 w 99"/>
                <a:gd name="T59" fmla="*/ 38 h 195"/>
                <a:gd name="T60" fmla="*/ 57 w 99"/>
                <a:gd name="T61" fmla="*/ 45 h 195"/>
                <a:gd name="T62" fmla="*/ 57 w 99"/>
                <a:gd name="T63" fmla="*/ 40 h 195"/>
                <a:gd name="T64" fmla="*/ 54 w 99"/>
                <a:gd name="T65" fmla="*/ 46 h 195"/>
                <a:gd name="T66" fmla="*/ 54 w 99"/>
                <a:gd name="T67" fmla="*/ 51 h 195"/>
                <a:gd name="T68" fmla="*/ 51 w 99"/>
                <a:gd name="T69" fmla="*/ 48 h 195"/>
                <a:gd name="T70" fmla="*/ 46 w 99"/>
                <a:gd name="T71" fmla="*/ 52 h 195"/>
                <a:gd name="T72" fmla="*/ 46 w 99"/>
                <a:gd name="T73" fmla="*/ 57 h 195"/>
                <a:gd name="T74" fmla="*/ 43 w 99"/>
                <a:gd name="T75" fmla="*/ 54 h 195"/>
                <a:gd name="T76" fmla="*/ 38 w 99"/>
                <a:gd name="T77" fmla="*/ 54 h 195"/>
                <a:gd name="T78" fmla="*/ 35 w 99"/>
                <a:gd name="T79" fmla="*/ 57 h 195"/>
                <a:gd name="T80" fmla="*/ 30 w 99"/>
                <a:gd name="T81" fmla="*/ 57 h 195"/>
                <a:gd name="T82" fmla="*/ 19 w 99"/>
                <a:gd name="T83" fmla="*/ 60 h 195"/>
                <a:gd name="T84" fmla="*/ 19 w 99"/>
                <a:gd name="T85" fmla="*/ 72 h 195"/>
                <a:gd name="T86" fmla="*/ 14 w 99"/>
                <a:gd name="T87" fmla="*/ 83 h 195"/>
                <a:gd name="T88" fmla="*/ 16 w 99"/>
                <a:gd name="T89" fmla="*/ 99 h 195"/>
                <a:gd name="T90" fmla="*/ 19 w 99"/>
                <a:gd name="T91" fmla="*/ 108 h 195"/>
                <a:gd name="T92" fmla="*/ 18 w 99"/>
                <a:gd name="T93" fmla="*/ 116 h 195"/>
                <a:gd name="T94" fmla="*/ 10 w 99"/>
                <a:gd name="T95" fmla="*/ 130 h 195"/>
                <a:gd name="T96" fmla="*/ 3 w 99"/>
                <a:gd name="T97" fmla="*/ 138 h 195"/>
                <a:gd name="T98" fmla="*/ 0 w 99"/>
                <a:gd name="T99" fmla="*/ 145 h 195"/>
                <a:gd name="T100" fmla="*/ 0 w 99"/>
                <a:gd name="T101" fmla="*/ 14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 h="195">
                  <a:moveTo>
                    <a:pt x="0" y="145"/>
                  </a:moveTo>
                  <a:lnTo>
                    <a:pt x="0" y="145"/>
                  </a:lnTo>
                  <a:lnTo>
                    <a:pt x="0" y="151"/>
                  </a:lnTo>
                  <a:lnTo>
                    <a:pt x="2" y="154"/>
                  </a:lnTo>
                  <a:lnTo>
                    <a:pt x="3" y="157"/>
                  </a:lnTo>
                  <a:lnTo>
                    <a:pt x="3" y="157"/>
                  </a:lnTo>
                  <a:lnTo>
                    <a:pt x="3" y="160"/>
                  </a:lnTo>
                  <a:lnTo>
                    <a:pt x="5" y="164"/>
                  </a:lnTo>
                  <a:lnTo>
                    <a:pt x="5" y="164"/>
                  </a:lnTo>
                  <a:lnTo>
                    <a:pt x="6" y="165"/>
                  </a:lnTo>
                  <a:lnTo>
                    <a:pt x="5" y="167"/>
                  </a:lnTo>
                  <a:lnTo>
                    <a:pt x="5" y="167"/>
                  </a:lnTo>
                  <a:lnTo>
                    <a:pt x="5" y="170"/>
                  </a:lnTo>
                  <a:lnTo>
                    <a:pt x="3" y="173"/>
                  </a:lnTo>
                  <a:lnTo>
                    <a:pt x="5" y="179"/>
                  </a:lnTo>
                  <a:lnTo>
                    <a:pt x="5" y="179"/>
                  </a:lnTo>
                  <a:lnTo>
                    <a:pt x="8" y="186"/>
                  </a:lnTo>
                  <a:lnTo>
                    <a:pt x="8" y="186"/>
                  </a:lnTo>
                  <a:lnTo>
                    <a:pt x="10" y="189"/>
                  </a:lnTo>
                  <a:lnTo>
                    <a:pt x="13" y="191"/>
                  </a:lnTo>
                  <a:lnTo>
                    <a:pt x="13" y="191"/>
                  </a:lnTo>
                  <a:lnTo>
                    <a:pt x="11" y="191"/>
                  </a:lnTo>
                  <a:lnTo>
                    <a:pt x="13" y="191"/>
                  </a:lnTo>
                  <a:lnTo>
                    <a:pt x="13" y="191"/>
                  </a:lnTo>
                  <a:lnTo>
                    <a:pt x="18" y="192"/>
                  </a:lnTo>
                  <a:lnTo>
                    <a:pt x="18" y="192"/>
                  </a:lnTo>
                  <a:lnTo>
                    <a:pt x="19" y="194"/>
                  </a:lnTo>
                  <a:lnTo>
                    <a:pt x="22" y="195"/>
                  </a:lnTo>
                  <a:lnTo>
                    <a:pt x="22" y="195"/>
                  </a:lnTo>
                  <a:lnTo>
                    <a:pt x="25" y="195"/>
                  </a:lnTo>
                  <a:lnTo>
                    <a:pt x="30" y="194"/>
                  </a:lnTo>
                  <a:lnTo>
                    <a:pt x="37" y="189"/>
                  </a:lnTo>
                  <a:lnTo>
                    <a:pt x="37" y="189"/>
                  </a:lnTo>
                  <a:lnTo>
                    <a:pt x="41" y="189"/>
                  </a:lnTo>
                  <a:lnTo>
                    <a:pt x="41" y="189"/>
                  </a:lnTo>
                  <a:lnTo>
                    <a:pt x="45" y="189"/>
                  </a:lnTo>
                  <a:lnTo>
                    <a:pt x="45" y="189"/>
                  </a:lnTo>
                  <a:lnTo>
                    <a:pt x="46" y="186"/>
                  </a:lnTo>
                  <a:lnTo>
                    <a:pt x="48" y="186"/>
                  </a:lnTo>
                  <a:lnTo>
                    <a:pt x="48" y="186"/>
                  </a:lnTo>
                  <a:lnTo>
                    <a:pt x="51" y="179"/>
                  </a:lnTo>
                  <a:lnTo>
                    <a:pt x="51" y="179"/>
                  </a:lnTo>
                  <a:lnTo>
                    <a:pt x="54" y="172"/>
                  </a:lnTo>
                  <a:lnTo>
                    <a:pt x="54" y="172"/>
                  </a:lnTo>
                  <a:lnTo>
                    <a:pt x="57" y="157"/>
                  </a:lnTo>
                  <a:lnTo>
                    <a:pt x="57" y="157"/>
                  </a:lnTo>
                  <a:lnTo>
                    <a:pt x="64" y="137"/>
                  </a:lnTo>
                  <a:lnTo>
                    <a:pt x="64" y="137"/>
                  </a:lnTo>
                  <a:lnTo>
                    <a:pt x="67" y="129"/>
                  </a:lnTo>
                  <a:lnTo>
                    <a:pt x="70" y="119"/>
                  </a:lnTo>
                  <a:lnTo>
                    <a:pt x="70" y="119"/>
                  </a:lnTo>
                  <a:lnTo>
                    <a:pt x="72" y="119"/>
                  </a:lnTo>
                  <a:lnTo>
                    <a:pt x="72" y="116"/>
                  </a:lnTo>
                  <a:lnTo>
                    <a:pt x="72" y="116"/>
                  </a:lnTo>
                  <a:lnTo>
                    <a:pt x="73" y="113"/>
                  </a:lnTo>
                  <a:lnTo>
                    <a:pt x="73" y="110"/>
                  </a:lnTo>
                  <a:lnTo>
                    <a:pt x="73" y="110"/>
                  </a:lnTo>
                  <a:lnTo>
                    <a:pt x="78" y="100"/>
                  </a:lnTo>
                  <a:lnTo>
                    <a:pt x="78" y="100"/>
                  </a:lnTo>
                  <a:lnTo>
                    <a:pt x="81" y="91"/>
                  </a:lnTo>
                  <a:lnTo>
                    <a:pt x="83" y="84"/>
                  </a:lnTo>
                  <a:lnTo>
                    <a:pt x="83" y="84"/>
                  </a:lnTo>
                  <a:lnTo>
                    <a:pt x="83" y="76"/>
                  </a:lnTo>
                  <a:lnTo>
                    <a:pt x="84" y="73"/>
                  </a:lnTo>
                  <a:lnTo>
                    <a:pt x="86" y="70"/>
                  </a:lnTo>
                  <a:lnTo>
                    <a:pt x="86" y="70"/>
                  </a:lnTo>
                  <a:lnTo>
                    <a:pt x="86" y="68"/>
                  </a:lnTo>
                  <a:lnTo>
                    <a:pt x="89" y="65"/>
                  </a:lnTo>
                  <a:lnTo>
                    <a:pt x="89" y="65"/>
                  </a:lnTo>
                  <a:lnTo>
                    <a:pt x="89" y="64"/>
                  </a:lnTo>
                  <a:lnTo>
                    <a:pt x="89" y="64"/>
                  </a:lnTo>
                  <a:lnTo>
                    <a:pt x="86" y="60"/>
                  </a:lnTo>
                  <a:lnTo>
                    <a:pt x="86" y="60"/>
                  </a:lnTo>
                  <a:lnTo>
                    <a:pt x="86" y="60"/>
                  </a:lnTo>
                  <a:lnTo>
                    <a:pt x="86" y="54"/>
                  </a:lnTo>
                  <a:lnTo>
                    <a:pt x="86" y="51"/>
                  </a:lnTo>
                  <a:lnTo>
                    <a:pt x="89" y="51"/>
                  </a:lnTo>
                  <a:lnTo>
                    <a:pt x="89" y="51"/>
                  </a:lnTo>
                  <a:lnTo>
                    <a:pt x="89" y="52"/>
                  </a:lnTo>
                  <a:lnTo>
                    <a:pt x="89" y="54"/>
                  </a:lnTo>
                  <a:lnTo>
                    <a:pt x="92" y="54"/>
                  </a:lnTo>
                  <a:lnTo>
                    <a:pt x="92" y="57"/>
                  </a:lnTo>
                  <a:lnTo>
                    <a:pt x="92" y="57"/>
                  </a:lnTo>
                  <a:lnTo>
                    <a:pt x="95" y="57"/>
                  </a:lnTo>
                  <a:lnTo>
                    <a:pt x="95" y="54"/>
                  </a:lnTo>
                  <a:lnTo>
                    <a:pt x="99" y="49"/>
                  </a:lnTo>
                  <a:lnTo>
                    <a:pt x="99" y="49"/>
                  </a:lnTo>
                  <a:lnTo>
                    <a:pt x="99" y="46"/>
                  </a:lnTo>
                  <a:lnTo>
                    <a:pt x="95" y="43"/>
                  </a:lnTo>
                  <a:lnTo>
                    <a:pt x="95" y="43"/>
                  </a:lnTo>
                  <a:lnTo>
                    <a:pt x="95" y="38"/>
                  </a:lnTo>
                  <a:lnTo>
                    <a:pt x="95" y="32"/>
                  </a:lnTo>
                  <a:lnTo>
                    <a:pt x="95" y="32"/>
                  </a:lnTo>
                  <a:lnTo>
                    <a:pt x="92" y="22"/>
                  </a:lnTo>
                  <a:lnTo>
                    <a:pt x="89" y="11"/>
                  </a:lnTo>
                  <a:lnTo>
                    <a:pt x="89" y="11"/>
                  </a:lnTo>
                  <a:lnTo>
                    <a:pt x="89" y="11"/>
                  </a:lnTo>
                  <a:lnTo>
                    <a:pt x="89" y="11"/>
                  </a:lnTo>
                  <a:lnTo>
                    <a:pt x="86" y="10"/>
                  </a:lnTo>
                  <a:lnTo>
                    <a:pt x="86" y="10"/>
                  </a:lnTo>
                  <a:lnTo>
                    <a:pt x="86" y="8"/>
                  </a:lnTo>
                  <a:lnTo>
                    <a:pt x="86" y="8"/>
                  </a:lnTo>
                  <a:lnTo>
                    <a:pt x="86" y="8"/>
                  </a:lnTo>
                  <a:lnTo>
                    <a:pt x="86" y="5"/>
                  </a:lnTo>
                  <a:lnTo>
                    <a:pt x="86" y="3"/>
                  </a:lnTo>
                  <a:lnTo>
                    <a:pt x="84" y="3"/>
                  </a:lnTo>
                  <a:lnTo>
                    <a:pt x="84" y="2"/>
                  </a:lnTo>
                  <a:lnTo>
                    <a:pt x="84" y="2"/>
                  </a:lnTo>
                  <a:lnTo>
                    <a:pt x="86" y="2"/>
                  </a:lnTo>
                  <a:lnTo>
                    <a:pt x="84" y="0"/>
                  </a:lnTo>
                  <a:lnTo>
                    <a:pt x="83" y="0"/>
                  </a:lnTo>
                  <a:lnTo>
                    <a:pt x="83" y="2"/>
                  </a:lnTo>
                  <a:lnTo>
                    <a:pt x="83" y="2"/>
                  </a:lnTo>
                  <a:lnTo>
                    <a:pt x="81" y="5"/>
                  </a:lnTo>
                  <a:lnTo>
                    <a:pt x="78" y="6"/>
                  </a:lnTo>
                  <a:lnTo>
                    <a:pt x="78" y="6"/>
                  </a:lnTo>
                  <a:lnTo>
                    <a:pt x="79" y="8"/>
                  </a:lnTo>
                  <a:lnTo>
                    <a:pt x="79" y="11"/>
                  </a:lnTo>
                  <a:lnTo>
                    <a:pt x="78" y="16"/>
                  </a:lnTo>
                  <a:lnTo>
                    <a:pt x="78" y="16"/>
                  </a:lnTo>
                  <a:lnTo>
                    <a:pt x="76" y="19"/>
                  </a:lnTo>
                  <a:lnTo>
                    <a:pt x="75" y="19"/>
                  </a:lnTo>
                  <a:lnTo>
                    <a:pt x="73" y="19"/>
                  </a:lnTo>
                  <a:lnTo>
                    <a:pt x="73" y="19"/>
                  </a:lnTo>
                  <a:lnTo>
                    <a:pt x="73" y="22"/>
                  </a:lnTo>
                  <a:lnTo>
                    <a:pt x="72" y="22"/>
                  </a:lnTo>
                  <a:lnTo>
                    <a:pt x="72" y="22"/>
                  </a:lnTo>
                  <a:lnTo>
                    <a:pt x="70" y="25"/>
                  </a:lnTo>
                  <a:lnTo>
                    <a:pt x="70" y="25"/>
                  </a:lnTo>
                  <a:lnTo>
                    <a:pt x="67" y="22"/>
                  </a:lnTo>
                  <a:lnTo>
                    <a:pt x="65" y="22"/>
                  </a:lnTo>
                  <a:lnTo>
                    <a:pt x="65" y="25"/>
                  </a:lnTo>
                  <a:lnTo>
                    <a:pt x="65" y="25"/>
                  </a:lnTo>
                  <a:lnTo>
                    <a:pt x="65" y="25"/>
                  </a:lnTo>
                  <a:lnTo>
                    <a:pt x="67" y="29"/>
                  </a:lnTo>
                  <a:lnTo>
                    <a:pt x="67" y="29"/>
                  </a:lnTo>
                  <a:lnTo>
                    <a:pt x="67" y="32"/>
                  </a:lnTo>
                  <a:lnTo>
                    <a:pt x="65" y="32"/>
                  </a:lnTo>
                  <a:lnTo>
                    <a:pt x="65" y="30"/>
                  </a:lnTo>
                  <a:lnTo>
                    <a:pt x="65" y="30"/>
                  </a:lnTo>
                  <a:lnTo>
                    <a:pt x="64" y="33"/>
                  </a:lnTo>
                  <a:lnTo>
                    <a:pt x="64" y="33"/>
                  </a:lnTo>
                  <a:lnTo>
                    <a:pt x="64" y="37"/>
                  </a:lnTo>
                  <a:lnTo>
                    <a:pt x="64" y="37"/>
                  </a:lnTo>
                  <a:lnTo>
                    <a:pt x="65" y="38"/>
                  </a:lnTo>
                  <a:lnTo>
                    <a:pt x="65" y="38"/>
                  </a:lnTo>
                  <a:lnTo>
                    <a:pt x="65" y="40"/>
                  </a:lnTo>
                  <a:lnTo>
                    <a:pt x="65" y="40"/>
                  </a:lnTo>
                  <a:lnTo>
                    <a:pt x="65" y="38"/>
                  </a:lnTo>
                  <a:lnTo>
                    <a:pt x="65" y="38"/>
                  </a:lnTo>
                  <a:lnTo>
                    <a:pt x="64" y="38"/>
                  </a:lnTo>
                  <a:lnTo>
                    <a:pt x="64" y="38"/>
                  </a:lnTo>
                  <a:lnTo>
                    <a:pt x="60" y="41"/>
                  </a:lnTo>
                  <a:lnTo>
                    <a:pt x="60" y="43"/>
                  </a:lnTo>
                  <a:lnTo>
                    <a:pt x="57" y="45"/>
                  </a:lnTo>
                  <a:lnTo>
                    <a:pt x="57" y="45"/>
                  </a:lnTo>
                  <a:lnTo>
                    <a:pt x="60" y="41"/>
                  </a:lnTo>
                  <a:lnTo>
                    <a:pt x="60" y="40"/>
                  </a:lnTo>
                  <a:lnTo>
                    <a:pt x="60" y="40"/>
                  </a:lnTo>
                  <a:lnTo>
                    <a:pt x="57" y="40"/>
                  </a:lnTo>
                  <a:lnTo>
                    <a:pt x="57" y="43"/>
                  </a:lnTo>
                  <a:lnTo>
                    <a:pt x="57" y="43"/>
                  </a:lnTo>
                  <a:lnTo>
                    <a:pt x="54" y="45"/>
                  </a:lnTo>
                  <a:lnTo>
                    <a:pt x="54" y="46"/>
                  </a:lnTo>
                  <a:lnTo>
                    <a:pt x="54" y="46"/>
                  </a:lnTo>
                  <a:lnTo>
                    <a:pt x="54" y="48"/>
                  </a:lnTo>
                  <a:lnTo>
                    <a:pt x="54" y="49"/>
                  </a:lnTo>
                  <a:lnTo>
                    <a:pt x="54" y="49"/>
                  </a:lnTo>
                  <a:lnTo>
                    <a:pt x="54" y="51"/>
                  </a:lnTo>
                  <a:lnTo>
                    <a:pt x="54" y="51"/>
                  </a:lnTo>
                  <a:lnTo>
                    <a:pt x="51" y="52"/>
                  </a:lnTo>
                  <a:lnTo>
                    <a:pt x="51" y="52"/>
                  </a:lnTo>
                  <a:lnTo>
                    <a:pt x="54" y="49"/>
                  </a:lnTo>
                  <a:lnTo>
                    <a:pt x="54" y="48"/>
                  </a:lnTo>
                  <a:lnTo>
                    <a:pt x="51" y="48"/>
                  </a:lnTo>
                  <a:lnTo>
                    <a:pt x="51" y="48"/>
                  </a:lnTo>
                  <a:lnTo>
                    <a:pt x="49" y="49"/>
                  </a:lnTo>
                  <a:lnTo>
                    <a:pt x="48" y="51"/>
                  </a:lnTo>
                  <a:lnTo>
                    <a:pt x="48" y="51"/>
                  </a:lnTo>
                  <a:lnTo>
                    <a:pt x="46" y="52"/>
                  </a:lnTo>
                  <a:lnTo>
                    <a:pt x="45" y="54"/>
                  </a:lnTo>
                  <a:lnTo>
                    <a:pt x="45" y="54"/>
                  </a:lnTo>
                  <a:lnTo>
                    <a:pt x="45" y="54"/>
                  </a:lnTo>
                  <a:lnTo>
                    <a:pt x="45" y="54"/>
                  </a:lnTo>
                  <a:lnTo>
                    <a:pt x="46" y="57"/>
                  </a:lnTo>
                  <a:lnTo>
                    <a:pt x="46" y="57"/>
                  </a:lnTo>
                  <a:lnTo>
                    <a:pt x="45" y="57"/>
                  </a:lnTo>
                  <a:lnTo>
                    <a:pt x="43" y="54"/>
                  </a:lnTo>
                  <a:lnTo>
                    <a:pt x="43" y="54"/>
                  </a:lnTo>
                  <a:lnTo>
                    <a:pt x="43" y="54"/>
                  </a:lnTo>
                  <a:lnTo>
                    <a:pt x="41" y="54"/>
                  </a:lnTo>
                  <a:lnTo>
                    <a:pt x="41" y="54"/>
                  </a:lnTo>
                  <a:lnTo>
                    <a:pt x="40" y="54"/>
                  </a:lnTo>
                  <a:lnTo>
                    <a:pt x="40" y="54"/>
                  </a:lnTo>
                  <a:lnTo>
                    <a:pt x="38" y="54"/>
                  </a:lnTo>
                  <a:lnTo>
                    <a:pt x="37" y="54"/>
                  </a:lnTo>
                  <a:lnTo>
                    <a:pt x="37" y="54"/>
                  </a:lnTo>
                  <a:lnTo>
                    <a:pt x="35" y="57"/>
                  </a:lnTo>
                  <a:lnTo>
                    <a:pt x="35" y="57"/>
                  </a:lnTo>
                  <a:lnTo>
                    <a:pt x="35" y="57"/>
                  </a:lnTo>
                  <a:lnTo>
                    <a:pt x="33" y="57"/>
                  </a:lnTo>
                  <a:lnTo>
                    <a:pt x="33" y="57"/>
                  </a:lnTo>
                  <a:lnTo>
                    <a:pt x="32" y="60"/>
                  </a:lnTo>
                  <a:lnTo>
                    <a:pt x="32" y="60"/>
                  </a:lnTo>
                  <a:lnTo>
                    <a:pt x="30" y="57"/>
                  </a:lnTo>
                  <a:lnTo>
                    <a:pt x="30" y="57"/>
                  </a:lnTo>
                  <a:lnTo>
                    <a:pt x="25" y="60"/>
                  </a:lnTo>
                  <a:lnTo>
                    <a:pt x="25" y="60"/>
                  </a:lnTo>
                  <a:lnTo>
                    <a:pt x="22" y="60"/>
                  </a:lnTo>
                  <a:lnTo>
                    <a:pt x="19" y="60"/>
                  </a:lnTo>
                  <a:lnTo>
                    <a:pt x="19" y="60"/>
                  </a:lnTo>
                  <a:lnTo>
                    <a:pt x="19" y="65"/>
                  </a:lnTo>
                  <a:lnTo>
                    <a:pt x="19" y="65"/>
                  </a:lnTo>
                  <a:lnTo>
                    <a:pt x="19" y="68"/>
                  </a:lnTo>
                  <a:lnTo>
                    <a:pt x="19" y="72"/>
                  </a:lnTo>
                  <a:lnTo>
                    <a:pt x="19" y="72"/>
                  </a:lnTo>
                  <a:lnTo>
                    <a:pt x="14" y="76"/>
                  </a:lnTo>
                  <a:lnTo>
                    <a:pt x="13" y="79"/>
                  </a:lnTo>
                  <a:lnTo>
                    <a:pt x="14" y="83"/>
                  </a:lnTo>
                  <a:lnTo>
                    <a:pt x="14" y="83"/>
                  </a:lnTo>
                  <a:lnTo>
                    <a:pt x="14" y="87"/>
                  </a:lnTo>
                  <a:lnTo>
                    <a:pt x="14" y="91"/>
                  </a:lnTo>
                  <a:lnTo>
                    <a:pt x="14" y="91"/>
                  </a:lnTo>
                  <a:lnTo>
                    <a:pt x="16" y="94"/>
                  </a:lnTo>
                  <a:lnTo>
                    <a:pt x="16" y="99"/>
                  </a:lnTo>
                  <a:lnTo>
                    <a:pt x="16" y="99"/>
                  </a:lnTo>
                  <a:lnTo>
                    <a:pt x="16" y="102"/>
                  </a:lnTo>
                  <a:lnTo>
                    <a:pt x="18" y="105"/>
                  </a:lnTo>
                  <a:lnTo>
                    <a:pt x="18" y="105"/>
                  </a:lnTo>
                  <a:lnTo>
                    <a:pt x="19" y="108"/>
                  </a:lnTo>
                  <a:lnTo>
                    <a:pt x="18" y="110"/>
                  </a:lnTo>
                  <a:lnTo>
                    <a:pt x="18" y="110"/>
                  </a:lnTo>
                  <a:lnTo>
                    <a:pt x="18" y="113"/>
                  </a:lnTo>
                  <a:lnTo>
                    <a:pt x="18" y="116"/>
                  </a:lnTo>
                  <a:lnTo>
                    <a:pt x="18" y="116"/>
                  </a:lnTo>
                  <a:lnTo>
                    <a:pt x="14" y="121"/>
                  </a:lnTo>
                  <a:lnTo>
                    <a:pt x="14" y="121"/>
                  </a:lnTo>
                  <a:lnTo>
                    <a:pt x="10" y="127"/>
                  </a:lnTo>
                  <a:lnTo>
                    <a:pt x="10" y="127"/>
                  </a:lnTo>
                  <a:lnTo>
                    <a:pt x="10" y="130"/>
                  </a:lnTo>
                  <a:lnTo>
                    <a:pt x="10" y="132"/>
                  </a:lnTo>
                  <a:lnTo>
                    <a:pt x="8" y="133"/>
                  </a:lnTo>
                  <a:lnTo>
                    <a:pt x="8" y="133"/>
                  </a:lnTo>
                  <a:lnTo>
                    <a:pt x="5" y="135"/>
                  </a:lnTo>
                  <a:lnTo>
                    <a:pt x="3" y="138"/>
                  </a:lnTo>
                  <a:lnTo>
                    <a:pt x="3" y="138"/>
                  </a:lnTo>
                  <a:lnTo>
                    <a:pt x="3" y="141"/>
                  </a:lnTo>
                  <a:lnTo>
                    <a:pt x="0" y="145"/>
                  </a:lnTo>
                  <a:lnTo>
                    <a:pt x="0" y="145"/>
                  </a:lnTo>
                  <a:lnTo>
                    <a:pt x="0" y="145"/>
                  </a:lnTo>
                  <a:lnTo>
                    <a:pt x="0" y="145"/>
                  </a:lnTo>
                  <a:lnTo>
                    <a:pt x="0" y="145"/>
                  </a:lnTo>
                  <a:lnTo>
                    <a:pt x="0" y="145"/>
                  </a:lnTo>
                  <a:lnTo>
                    <a:pt x="0" y="145"/>
                  </a:lnTo>
                  <a:lnTo>
                    <a:pt x="0" y="145"/>
                  </a:lnTo>
                  <a:lnTo>
                    <a:pt x="0" y="145"/>
                  </a:lnTo>
                  <a:lnTo>
                    <a:pt x="0" y="14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7" name="Freeform 339">
              <a:extLst>
                <a:ext uri="{FF2B5EF4-FFF2-40B4-BE49-F238E27FC236}">
                  <a16:creationId xmlns:a16="http://schemas.microsoft.com/office/drawing/2014/main" id="{F9736E87-EF33-4BF6-0D5C-5462F025FE86}"/>
                </a:ext>
              </a:extLst>
            </p:cNvPr>
            <p:cNvSpPr>
              <a:spLocks/>
            </p:cNvSpPr>
            <p:nvPr/>
          </p:nvSpPr>
          <p:spPr bwMode="auto">
            <a:xfrm>
              <a:off x="6114605" y="4173152"/>
              <a:ext cx="29161" cy="40375"/>
            </a:xfrm>
            <a:custGeom>
              <a:avLst/>
              <a:gdLst>
                <a:gd name="T0" fmla="*/ 11 w 13"/>
                <a:gd name="T1" fmla="*/ 2 h 18"/>
                <a:gd name="T2" fmla="*/ 11 w 13"/>
                <a:gd name="T3" fmla="*/ 2 h 18"/>
                <a:gd name="T4" fmla="*/ 10 w 13"/>
                <a:gd name="T5" fmla="*/ 0 h 18"/>
                <a:gd name="T6" fmla="*/ 8 w 13"/>
                <a:gd name="T7" fmla="*/ 0 h 18"/>
                <a:gd name="T8" fmla="*/ 7 w 13"/>
                <a:gd name="T9" fmla="*/ 0 h 18"/>
                <a:gd name="T10" fmla="*/ 7 w 13"/>
                <a:gd name="T11" fmla="*/ 2 h 18"/>
                <a:gd name="T12" fmla="*/ 3 w 13"/>
                <a:gd name="T13" fmla="*/ 5 h 18"/>
                <a:gd name="T14" fmla="*/ 0 w 13"/>
                <a:gd name="T15" fmla="*/ 8 h 18"/>
                <a:gd name="T16" fmla="*/ 0 w 13"/>
                <a:gd name="T17" fmla="*/ 8 h 18"/>
                <a:gd name="T18" fmla="*/ 0 w 13"/>
                <a:gd name="T19" fmla="*/ 11 h 18"/>
                <a:gd name="T20" fmla="*/ 2 w 13"/>
                <a:gd name="T21" fmla="*/ 11 h 18"/>
                <a:gd name="T22" fmla="*/ 2 w 13"/>
                <a:gd name="T23" fmla="*/ 14 h 18"/>
                <a:gd name="T24" fmla="*/ 2 w 13"/>
                <a:gd name="T25" fmla="*/ 16 h 18"/>
                <a:gd name="T26" fmla="*/ 2 w 13"/>
                <a:gd name="T27" fmla="*/ 18 h 18"/>
                <a:gd name="T28" fmla="*/ 3 w 13"/>
                <a:gd name="T29" fmla="*/ 18 h 18"/>
                <a:gd name="T30" fmla="*/ 3 w 13"/>
                <a:gd name="T31" fmla="*/ 16 h 18"/>
                <a:gd name="T32" fmla="*/ 7 w 13"/>
                <a:gd name="T33" fmla="*/ 14 h 18"/>
                <a:gd name="T34" fmla="*/ 7 w 13"/>
                <a:gd name="T35" fmla="*/ 14 h 18"/>
                <a:gd name="T36" fmla="*/ 7 w 13"/>
                <a:gd name="T37" fmla="*/ 11 h 18"/>
                <a:gd name="T38" fmla="*/ 3 w 13"/>
                <a:gd name="T39" fmla="*/ 8 h 18"/>
                <a:gd name="T40" fmla="*/ 7 w 13"/>
                <a:gd name="T41" fmla="*/ 8 h 18"/>
                <a:gd name="T42" fmla="*/ 11 w 13"/>
                <a:gd name="T43" fmla="*/ 3 h 18"/>
                <a:gd name="T44" fmla="*/ 11 w 13"/>
                <a:gd name="T45" fmla="*/ 3 h 18"/>
                <a:gd name="T46" fmla="*/ 11 w 13"/>
                <a:gd name="T47" fmla="*/ 3 h 18"/>
                <a:gd name="T48" fmla="*/ 13 w 13"/>
                <a:gd name="T49" fmla="*/ 2 h 18"/>
                <a:gd name="T50" fmla="*/ 11 w 13"/>
                <a:gd name="T51" fmla="*/ 2 h 18"/>
                <a:gd name="T52" fmla="*/ 11 w 13"/>
                <a:gd name="T53" fmla="*/ 2 h 18"/>
                <a:gd name="T54" fmla="*/ 11 w 13"/>
                <a:gd name="T55" fmla="*/ 2 h 18"/>
                <a:gd name="T56" fmla="*/ 11 w 13"/>
                <a:gd name="T57" fmla="*/ 2 h 18"/>
                <a:gd name="T58" fmla="*/ 11 w 13"/>
                <a:gd name="T59" fmla="*/ 2 h 18"/>
                <a:gd name="T60" fmla="*/ 11 w 13"/>
                <a:gd name="T61" fmla="*/ 2 h 18"/>
                <a:gd name="T62" fmla="*/ 11 w 13"/>
                <a:gd name="T63" fmla="*/ 2 h 18"/>
                <a:gd name="T64" fmla="*/ 11 w 13"/>
                <a:gd name="T65" fmla="*/ 2 h 18"/>
                <a:gd name="T66" fmla="*/ 11 w 13"/>
                <a:gd name="T6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18">
                  <a:moveTo>
                    <a:pt x="11" y="2"/>
                  </a:moveTo>
                  <a:lnTo>
                    <a:pt x="11" y="2"/>
                  </a:lnTo>
                  <a:lnTo>
                    <a:pt x="10" y="0"/>
                  </a:lnTo>
                  <a:lnTo>
                    <a:pt x="8" y="0"/>
                  </a:lnTo>
                  <a:lnTo>
                    <a:pt x="7" y="0"/>
                  </a:lnTo>
                  <a:lnTo>
                    <a:pt x="7" y="2"/>
                  </a:lnTo>
                  <a:lnTo>
                    <a:pt x="3" y="5"/>
                  </a:lnTo>
                  <a:lnTo>
                    <a:pt x="0" y="8"/>
                  </a:lnTo>
                  <a:lnTo>
                    <a:pt x="0" y="8"/>
                  </a:lnTo>
                  <a:lnTo>
                    <a:pt x="0" y="11"/>
                  </a:lnTo>
                  <a:lnTo>
                    <a:pt x="2" y="11"/>
                  </a:lnTo>
                  <a:lnTo>
                    <a:pt x="2" y="14"/>
                  </a:lnTo>
                  <a:lnTo>
                    <a:pt x="2" y="16"/>
                  </a:lnTo>
                  <a:lnTo>
                    <a:pt x="2" y="18"/>
                  </a:lnTo>
                  <a:lnTo>
                    <a:pt x="3" y="18"/>
                  </a:lnTo>
                  <a:lnTo>
                    <a:pt x="3" y="16"/>
                  </a:lnTo>
                  <a:lnTo>
                    <a:pt x="7" y="14"/>
                  </a:lnTo>
                  <a:lnTo>
                    <a:pt x="7" y="14"/>
                  </a:lnTo>
                  <a:lnTo>
                    <a:pt x="7" y="11"/>
                  </a:lnTo>
                  <a:lnTo>
                    <a:pt x="3" y="8"/>
                  </a:lnTo>
                  <a:lnTo>
                    <a:pt x="7" y="8"/>
                  </a:lnTo>
                  <a:lnTo>
                    <a:pt x="11" y="3"/>
                  </a:lnTo>
                  <a:lnTo>
                    <a:pt x="11" y="3"/>
                  </a:lnTo>
                  <a:lnTo>
                    <a:pt x="11" y="3"/>
                  </a:lnTo>
                  <a:lnTo>
                    <a:pt x="13" y="2"/>
                  </a:lnTo>
                  <a:lnTo>
                    <a:pt x="11" y="2"/>
                  </a:lnTo>
                  <a:lnTo>
                    <a:pt x="11" y="2"/>
                  </a:lnTo>
                  <a:lnTo>
                    <a:pt x="11" y="2"/>
                  </a:lnTo>
                  <a:lnTo>
                    <a:pt x="11" y="2"/>
                  </a:lnTo>
                  <a:lnTo>
                    <a:pt x="11" y="2"/>
                  </a:lnTo>
                  <a:lnTo>
                    <a:pt x="11" y="2"/>
                  </a:lnTo>
                  <a:lnTo>
                    <a:pt x="11" y="2"/>
                  </a:lnTo>
                  <a:lnTo>
                    <a:pt x="11" y="2"/>
                  </a:lnTo>
                  <a:lnTo>
                    <a:pt x="11" y="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8" name="Freeform 341">
              <a:extLst>
                <a:ext uri="{FF2B5EF4-FFF2-40B4-BE49-F238E27FC236}">
                  <a16:creationId xmlns:a16="http://schemas.microsoft.com/office/drawing/2014/main" id="{CB2CDC5D-BA79-1F91-7CA7-258B1FD64CDA}"/>
                </a:ext>
              </a:extLst>
            </p:cNvPr>
            <p:cNvSpPr>
              <a:spLocks/>
            </p:cNvSpPr>
            <p:nvPr/>
          </p:nvSpPr>
          <p:spPr bwMode="auto">
            <a:xfrm>
              <a:off x="6087688" y="3910712"/>
              <a:ext cx="213092" cy="275899"/>
            </a:xfrm>
            <a:custGeom>
              <a:avLst/>
              <a:gdLst>
                <a:gd name="T0" fmla="*/ 85 w 95"/>
                <a:gd name="T1" fmla="*/ 3 h 123"/>
                <a:gd name="T2" fmla="*/ 76 w 95"/>
                <a:gd name="T3" fmla="*/ 3 h 123"/>
                <a:gd name="T4" fmla="*/ 69 w 95"/>
                <a:gd name="T5" fmla="*/ 3 h 123"/>
                <a:gd name="T6" fmla="*/ 66 w 95"/>
                <a:gd name="T7" fmla="*/ 17 h 123"/>
                <a:gd name="T8" fmla="*/ 63 w 95"/>
                <a:gd name="T9" fmla="*/ 20 h 123"/>
                <a:gd name="T10" fmla="*/ 63 w 95"/>
                <a:gd name="T11" fmla="*/ 28 h 123"/>
                <a:gd name="T12" fmla="*/ 50 w 95"/>
                <a:gd name="T13" fmla="*/ 23 h 123"/>
                <a:gd name="T14" fmla="*/ 41 w 95"/>
                <a:gd name="T15" fmla="*/ 22 h 123"/>
                <a:gd name="T16" fmla="*/ 30 w 95"/>
                <a:gd name="T17" fmla="*/ 22 h 123"/>
                <a:gd name="T18" fmla="*/ 27 w 95"/>
                <a:gd name="T19" fmla="*/ 25 h 123"/>
                <a:gd name="T20" fmla="*/ 25 w 95"/>
                <a:gd name="T21" fmla="*/ 35 h 123"/>
                <a:gd name="T22" fmla="*/ 38 w 95"/>
                <a:gd name="T23" fmla="*/ 31 h 123"/>
                <a:gd name="T24" fmla="*/ 41 w 95"/>
                <a:gd name="T25" fmla="*/ 39 h 123"/>
                <a:gd name="T26" fmla="*/ 38 w 95"/>
                <a:gd name="T27" fmla="*/ 44 h 123"/>
                <a:gd name="T28" fmla="*/ 35 w 95"/>
                <a:gd name="T29" fmla="*/ 55 h 123"/>
                <a:gd name="T30" fmla="*/ 38 w 95"/>
                <a:gd name="T31" fmla="*/ 58 h 123"/>
                <a:gd name="T32" fmla="*/ 41 w 95"/>
                <a:gd name="T33" fmla="*/ 62 h 123"/>
                <a:gd name="T34" fmla="*/ 41 w 95"/>
                <a:gd name="T35" fmla="*/ 69 h 123"/>
                <a:gd name="T36" fmla="*/ 41 w 95"/>
                <a:gd name="T37" fmla="*/ 76 h 123"/>
                <a:gd name="T38" fmla="*/ 41 w 95"/>
                <a:gd name="T39" fmla="*/ 81 h 123"/>
                <a:gd name="T40" fmla="*/ 38 w 95"/>
                <a:gd name="T41" fmla="*/ 87 h 123"/>
                <a:gd name="T42" fmla="*/ 33 w 95"/>
                <a:gd name="T43" fmla="*/ 82 h 123"/>
                <a:gd name="T44" fmla="*/ 27 w 95"/>
                <a:gd name="T45" fmla="*/ 87 h 123"/>
                <a:gd name="T46" fmla="*/ 23 w 95"/>
                <a:gd name="T47" fmla="*/ 85 h 123"/>
                <a:gd name="T48" fmla="*/ 20 w 95"/>
                <a:gd name="T49" fmla="*/ 79 h 123"/>
                <a:gd name="T50" fmla="*/ 19 w 95"/>
                <a:gd name="T51" fmla="*/ 84 h 123"/>
                <a:gd name="T52" fmla="*/ 12 w 95"/>
                <a:gd name="T53" fmla="*/ 87 h 123"/>
                <a:gd name="T54" fmla="*/ 6 w 95"/>
                <a:gd name="T55" fmla="*/ 90 h 123"/>
                <a:gd name="T56" fmla="*/ 6 w 95"/>
                <a:gd name="T57" fmla="*/ 96 h 123"/>
                <a:gd name="T58" fmla="*/ 9 w 95"/>
                <a:gd name="T59" fmla="*/ 101 h 123"/>
                <a:gd name="T60" fmla="*/ 6 w 95"/>
                <a:gd name="T61" fmla="*/ 104 h 123"/>
                <a:gd name="T62" fmla="*/ 1 w 95"/>
                <a:gd name="T63" fmla="*/ 106 h 123"/>
                <a:gd name="T64" fmla="*/ 6 w 95"/>
                <a:gd name="T65" fmla="*/ 117 h 123"/>
                <a:gd name="T66" fmla="*/ 9 w 95"/>
                <a:gd name="T67" fmla="*/ 123 h 123"/>
                <a:gd name="T68" fmla="*/ 15 w 95"/>
                <a:gd name="T69" fmla="*/ 119 h 123"/>
                <a:gd name="T70" fmla="*/ 20 w 95"/>
                <a:gd name="T71" fmla="*/ 117 h 123"/>
                <a:gd name="T72" fmla="*/ 23 w 95"/>
                <a:gd name="T73" fmla="*/ 119 h 123"/>
                <a:gd name="T74" fmla="*/ 27 w 95"/>
                <a:gd name="T75" fmla="*/ 122 h 123"/>
                <a:gd name="T76" fmla="*/ 33 w 95"/>
                <a:gd name="T77" fmla="*/ 119 h 123"/>
                <a:gd name="T78" fmla="*/ 38 w 95"/>
                <a:gd name="T79" fmla="*/ 117 h 123"/>
                <a:gd name="T80" fmla="*/ 41 w 95"/>
                <a:gd name="T81" fmla="*/ 116 h 123"/>
                <a:gd name="T82" fmla="*/ 41 w 95"/>
                <a:gd name="T83" fmla="*/ 122 h 123"/>
                <a:gd name="T84" fmla="*/ 47 w 95"/>
                <a:gd name="T85" fmla="*/ 122 h 123"/>
                <a:gd name="T86" fmla="*/ 55 w 95"/>
                <a:gd name="T87" fmla="*/ 111 h 123"/>
                <a:gd name="T88" fmla="*/ 63 w 95"/>
                <a:gd name="T89" fmla="*/ 104 h 123"/>
                <a:gd name="T90" fmla="*/ 65 w 95"/>
                <a:gd name="T91" fmla="*/ 85 h 123"/>
                <a:gd name="T92" fmla="*/ 69 w 95"/>
                <a:gd name="T93" fmla="*/ 79 h 123"/>
                <a:gd name="T94" fmla="*/ 82 w 95"/>
                <a:gd name="T95" fmla="*/ 63 h 123"/>
                <a:gd name="T96" fmla="*/ 85 w 95"/>
                <a:gd name="T97" fmla="*/ 52 h 123"/>
                <a:gd name="T98" fmla="*/ 87 w 95"/>
                <a:gd name="T99" fmla="*/ 35 h 123"/>
                <a:gd name="T100" fmla="*/ 90 w 95"/>
                <a:gd name="T101" fmla="*/ 17 h 123"/>
                <a:gd name="T102" fmla="*/ 95 w 95"/>
                <a:gd name="T103" fmla="*/ 3 h 123"/>
                <a:gd name="T104" fmla="*/ 93 w 95"/>
                <a:gd name="T105" fmla="*/ 0 h 123"/>
                <a:gd name="T106" fmla="*/ 93 w 95"/>
                <a:gd name="T107" fmla="*/ 0 h 123"/>
                <a:gd name="T108" fmla="*/ 93 w 95"/>
                <a:gd name="T10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23">
                  <a:moveTo>
                    <a:pt x="93" y="0"/>
                  </a:moveTo>
                  <a:lnTo>
                    <a:pt x="88" y="3"/>
                  </a:lnTo>
                  <a:lnTo>
                    <a:pt x="85" y="3"/>
                  </a:lnTo>
                  <a:lnTo>
                    <a:pt x="82" y="0"/>
                  </a:lnTo>
                  <a:lnTo>
                    <a:pt x="79" y="0"/>
                  </a:lnTo>
                  <a:lnTo>
                    <a:pt x="76" y="3"/>
                  </a:lnTo>
                  <a:lnTo>
                    <a:pt x="74" y="3"/>
                  </a:lnTo>
                  <a:lnTo>
                    <a:pt x="71" y="3"/>
                  </a:lnTo>
                  <a:lnTo>
                    <a:pt x="69" y="3"/>
                  </a:lnTo>
                  <a:lnTo>
                    <a:pt x="69" y="6"/>
                  </a:lnTo>
                  <a:lnTo>
                    <a:pt x="68" y="12"/>
                  </a:lnTo>
                  <a:lnTo>
                    <a:pt x="66" y="17"/>
                  </a:lnTo>
                  <a:lnTo>
                    <a:pt x="65" y="20"/>
                  </a:lnTo>
                  <a:lnTo>
                    <a:pt x="65" y="19"/>
                  </a:lnTo>
                  <a:lnTo>
                    <a:pt x="63" y="20"/>
                  </a:lnTo>
                  <a:lnTo>
                    <a:pt x="63" y="23"/>
                  </a:lnTo>
                  <a:lnTo>
                    <a:pt x="63" y="27"/>
                  </a:lnTo>
                  <a:lnTo>
                    <a:pt x="63" y="28"/>
                  </a:lnTo>
                  <a:lnTo>
                    <a:pt x="57" y="25"/>
                  </a:lnTo>
                  <a:lnTo>
                    <a:pt x="54" y="23"/>
                  </a:lnTo>
                  <a:lnTo>
                    <a:pt x="50" y="23"/>
                  </a:lnTo>
                  <a:lnTo>
                    <a:pt x="47" y="23"/>
                  </a:lnTo>
                  <a:lnTo>
                    <a:pt x="47" y="22"/>
                  </a:lnTo>
                  <a:lnTo>
                    <a:pt x="41" y="22"/>
                  </a:lnTo>
                  <a:lnTo>
                    <a:pt x="38" y="22"/>
                  </a:lnTo>
                  <a:lnTo>
                    <a:pt x="35" y="22"/>
                  </a:lnTo>
                  <a:lnTo>
                    <a:pt x="30" y="22"/>
                  </a:lnTo>
                  <a:lnTo>
                    <a:pt x="28" y="22"/>
                  </a:lnTo>
                  <a:lnTo>
                    <a:pt x="27" y="22"/>
                  </a:lnTo>
                  <a:lnTo>
                    <a:pt x="27" y="25"/>
                  </a:lnTo>
                  <a:lnTo>
                    <a:pt x="25" y="28"/>
                  </a:lnTo>
                  <a:lnTo>
                    <a:pt x="27" y="31"/>
                  </a:lnTo>
                  <a:lnTo>
                    <a:pt x="25" y="35"/>
                  </a:lnTo>
                  <a:lnTo>
                    <a:pt x="35" y="33"/>
                  </a:lnTo>
                  <a:lnTo>
                    <a:pt x="36" y="31"/>
                  </a:lnTo>
                  <a:lnTo>
                    <a:pt x="38" y="31"/>
                  </a:lnTo>
                  <a:lnTo>
                    <a:pt x="39" y="35"/>
                  </a:lnTo>
                  <a:lnTo>
                    <a:pt x="41" y="38"/>
                  </a:lnTo>
                  <a:lnTo>
                    <a:pt x="41" y="39"/>
                  </a:lnTo>
                  <a:lnTo>
                    <a:pt x="41" y="41"/>
                  </a:lnTo>
                  <a:lnTo>
                    <a:pt x="41" y="44"/>
                  </a:lnTo>
                  <a:lnTo>
                    <a:pt x="38" y="44"/>
                  </a:lnTo>
                  <a:lnTo>
                    <a:pt x="36" y="47"/>
                  </a:lnTo>
                  <a:lnTo>
                    <a:pt x="36" y="52"/>
                  </a:lnTo>
                  <a:lnTo>
                    <a:pt x="35" y="55"/>
                  </a:lnTo>
                  <a:lnTo>
                    <a:pt x="35" y="57"/>
                  </a:lnTo>
                  <a:lnTo>
                    <a:pt x="38" y="57"/>
                  </a:lnTo>
                  <a:lnTo>
                    <a:pt x="38" y="58"/>
                  </a:lnTo>
                  <a:lnTo>
                    <a:pt x="39" y="60"/>
                  </a:lnTo>
                  <a:lnTo>
                    <a:pt x="41" y="60"/>
                  </a:lnTo>
                  <a:lnTo>
                    <a:pt x="41" y="62"/>
                  </a:lnTo>
                  <a:lnTo>
                    <a:pt x="44" y="63"/>
                  </a:lnTo>
                  <a:lnTo>
                    <a:pt x="41" y="63"/>
                  </a:lnTo>
                  <a:lnTo>
                    <a:pt x="41" y="69"/>
                  </a:lnTo>
                  <a:lnTo>
                    <a:pt x="41" y="73"/>
                  </a:lnTo>
                  <a:lnTo>
                    <a:pt x="41" y="74"/>
                  </a:lnTo>
                  <a:lnTo>
                    <a:pt x="41" y="76"/>
                  </a:lnTo>
                  <a:lnTo>
                    <a:pt x="41" y="76"/>
                  </a:lnTo>
                  <a:lnTo>
                    <a:pt x="41" y="77"/>
                  </a:lnTo>
                  <a:lnTo>
                    <a:pt x="41" y="81"/>
                  </a:lnTo>
                  <a:lnTo>
                    <a:pt x="39" y="82"/>
                  </a:lnTo>
                  <a:lnTo>
                    <a:pt x="39" y="85"/>
                  </a:lnTo>
                  <a:lnTo>
                    <a:pt x="38" y="87"/>
                  </a:lnTo>
                  <a:lnTo>
                    <a:pt x="36" y="90"/>
                  </a:lnTo>
                  <a:lnTo>
                    <a:pt x="35" y="87"/>
                  </a:lnTo>
                  <a:lnTo>
                    <a:pt x="33" y="82"/>
                  </a:lnTo>
                  <a:lnTo>
                    <a:pt x="31" y="85"/>
                  </a:lnTo>
                  <a:lnTo>
                    <a:pt x="30" y="87"/>
                  </a:lnTo>
                  <a:lnTo>
                    <a:pt x="27" y="87"/>
                  </a:lnTo>
                  <a:lnTo>
                    <a:pt x="25" y="87"/>
                  </a:lnTo>
                  <a:lnTo>
                    <a:pt x="23" y="87"/>
                  </a:lnTo>
                  <a:lnTo>
                    <a:pt x="23" y="85"/>
                  </a:lnTo>
                  <a:lnTo>
                    <a:pt x="22" y="82"/>
                  </a:lnTo>
                  <a:lnTo>
                    <a:pt x="22" y="79"/>
                  </a:lnTo>
                  <a:lnTo>
                    <a:pt x="20" y="79"/>
                  </a:lnTo>
                  <a:lnTo>
                    <a:pt x="19" y="79"/>
                  </a:lnTo>
                  <a:lnTo>
                    <a:pt x="15" y="81"/>
                  </a:lnTo>
                  <a:lnTo>
                    <a:pt x="19" y="84"/>
                  </a:lnTo>
                  <a:lnTo>
                    <a:pt x="15" y="87"/>
                  </a:lnTo>
                  <a:lnTo>
                    <a:pt x="15" y="87"/>
                  </a:lnTo>
                  <a:lnTo>
                    <a:pt x="12" y="87"/>
                  </a:lnTo>
                  <a:lnTo>
                    <a:pt x="9" y="87"/>
                  </a:lnTo>
                  <a:lnTo>
                    <a:pt x="6" y="87"/>
                  </a:lnTo>
                  <a:lnTo>
                    <a:pt x="6" y="90"/>
                  </a:lnTo>
                  <a:lnTo>
                    <a:pt x="6" y="93"/>
                  </a:lnTo>
                  <a:lnTo>
                    <a:pt x="6" y="93"/>
                  </a:lnTo>
                  <a:lnTo>
                    <a:pt x="6" y="96"/>
                  </a:lnTo>
                  <a:lnTo>
                    <a:pt x="6" y="98"/>
                  </a:lnTo>
                  <a:lnTo>
                    <a:pt x="9" y="100"/>
                  </a:lnTo>
                  <a:lnTo>
                    <a:pt x="9" y="101"/>
                  </a:lnTo>
                  <a:lnTo>
                    <a:pt x="9" y="106"/>
                  </a:lnTo>
                  <a:lnTo>
                    <a:pt x="6" y="106"/>
                  </a:lnTo>
                  <a:lnTo>
                    <a:pt x="6" y="104"/>
                  </a:lnTo>
                  <a:lnTo>
                    <a:pt x="6" y="103"/>
                  </a:lnTo>
                  <a:lnTo>
                    <a:pt x="4" y="103"/>
                  </a:lnTo>
                  <a:lnTo>
                    <a:pt x="1" y="106"/>
                  </a:lnTo>
                  <a:lnTo>
                    <a:pt x="0" y="109"/>
                  </a:lnTo>
                  <a:lnTo>
                    <a:pt x="4" y="114"/>
                  </a:lnTo>
                  <a:lnTo>
                    <a:pt x="6" y="117"/>
                  </a:lnTo>
                  <a:lnTo>
                    <a:pt x="9" y="119"/>
                  </a:lnTo>
                  <a:lnTo>
                    <a:pt x="9" y="122"/>
                  </a:lnTo>
                  <a:lnTo>
                    <a:pt x="9" y="123"/>
                  </a:lnTo>
                  <a:lnTo>
                    <a:pt x="12" y="123"/>
                  </a:lnTo>
                  <a:lnTo>
                    <a:pt x="15" y="120"/>
                  </a:lnTo>
                  <a:lnTo>
                    <a:pt x="15" y="119"/>
                  </a:lnTo>
                  <a:lnTo>
                    <a:pt x="19" y="119"/>
                  </a:lnTo>
                  <a:lnTo>
                    <a:pt x="19" y="117"/>
                  </a:lnTo>
                  <a:lnTo>
                    <a:pt x="20" y="117"/>
                  </a:lnTo>
                  <a:lnTo>
                    <a:pt x="22" y="117"/>
                  </a:lnTo>
                  <a:lnTo>
                    <a:pt x="23" y="119"/>
                  </a:lnTo>
                  <a:lnTo>
                    <a:pt x="23" y="119"/>
                  </a:lnTo>
                  <a:lnTo>
                    <a:pt x="25" y="119"/>
                  </a:lnTo>
                  <a:lnTo>
                    <a:pt x="27" y="120"/>
                  </a:lnTo>
                  <a:lnTo>
                    <a:pt x="27" y="122"/>
                  </a:lnTo>
                  <a:lnTo>
                    <a:pt x="28" y="122"/>
                  </a:lnTo>
                  <a:lnTo>
                    <a:pt x="31" y="122"/>
                  </a:lnTo>
                  <a:lnTo>
                    <a:pt x="33" y="119"/>
                  </a:lnTo>
                  <a:lnTo>
                    <a:pt x="35" y="117"/>
                  </a:lnTo>
                  <a:lnTo>
                    <a:pt x="36" y="117"/>
                  </a:lnTo>
                  <a:lnTo>
                    <a:pt x="38" y="117"/>
                  </a:lnTo>
                  <a:lnTo>
                    <a:pt x="39" y="116"/>
                  </a:lnTo>
                  <a:lnTo>
                    <a:pt x="41" y="116"/>
                  </a:lnTo>
                  <a:lnTo>
                    <a:pt x="41" y="116"/>
                  </a:lnTo>
                  <a:lnTo>
                    <a:pt x="41" y="117"/>
                  </a:lnTo>
                  <a:lnTo>
                    <a:pt x="41" y="119"/>
                  </a:lnTo>
                  <a:lnTo>
                    <a:pt x="41" y="122"/>
                  </a:lnTo>
                  <a:lnTo>
                    <a:pt x="44" y="122"/>
                  </a:lnTo>
                  <a:lnTo>
                    <a:pt x="44" y="122"/>
                  </a:lnTo>
                  <a:lnTo>
                    <a:pt x="47" y="122"/>
                  </a:lnTo>
                  <a:lnTo>
                    <a:pt x="50" y="117"/>
                  </a:lnTo>
                  <a:lnTo>
                    <a:pt x="55" y="114"/>
                  </a:lnTo>
                  <a:lnTo>
                    <a:pt x="55" y="111"/>
                  </a:lnTo>
                  <a:lnTo>
                    <a:pt x="58" y="109"/>
                  </a:lnTo>
                  <a:lnTo>
                    <a:pt x="62" y="108"/>
                  </a:lnTo>
                  <a:lnTo>
                    <a:pt x="63" y="104"/>
                  </a:lnTo>
                  <a:lnTo>
                    <a:pt x="65" y="98"/>
                  </a:lnTo>
                  <a:lnTo>
                    <a:pt x="65" y="87"/>
                  </a:lnTo>
                  <a:lnTo>
                    <a:pt x="65" y="85"/>
                  </a:lnTo>
                  <a:lnTo>
                    <a:pt x="66" y="84"/>
                  </a:lnTo>
                  <a:lnTo>
                    <a:pt x="68" y="82"/>
                  </a:lnTo>
                  <a:lnTo>
                    <a:pt x="69" y="79"/>
                  </a:lnTo>
                  <a:lnTo>
                    <a:pt x="73" y="73"/>
                  </a:lnTo>
                  <a:lnTo>
                    <a:pt x="76" y="69"/>
                  </a:lnTo>
                  <a:lnTo>
                    <a:pt x="82" y="63"/>
                  </a:lnTo>
                  <a:lnTo>
                    <a:pt x="82" y="62"/>
                  </a:lnTo>
                  <a:lnTo>
                    <a:pt x="85" y="58"/>
                  </a:lnTo>
                  <a:lnTo>
                    <a:pt x="85" y="52"/>
                  </a:lnTo>
                  <a:lnTo>
                    <a:pt x="85" y="46"/>
                  </a:lnTo>
                  <a:lnTo>
                    <a:pt x="85" y="41"/>
                  </a:lnTo>
                  <a:lnTo>
                    <a:pt x="87" y="35"/>
                  </a:lnTo>
                  <a:lnTo>
                    <a:pt x="88" y="28"/>
                  </a:lnTo>
                  <a:lnTo>
                    <a:pt x="88" y="22"/>
                  </a:lnTo>
                  <a:lnTo>
                    <a:pt x="90" y="17"/>
                  </a:lnTo>
                  <a:lnTo>
                    <a:pt x="93" y="11"/>
                  </a:lnTo>
                  <a:lnTo>
                    <a:pt x="95" y="3"/>
                  </a:lnTo>
                  <a:lnTo>
                    <a:pt x="95" y="3"/>
                  </a:lnTo>
                  <a:lnTo>
                    <a:pt x="93" y="0"/>
                  </a:lnTo>
                  <a:lnTo>
                    <a:pt x="93" y="0"/>
                  </a:lnTo>
                  <a:lnTo>
                    <a:pt x="93" y="0"/>
                  </a:lnTo>
                  <a:lnTo>
                    <a:pt x="93" y="0"/>
                  </a:lnTo>
                  <a:lnTo>
                    <a:pt x="93" y="0"/>
                  </a:lnTo>
                  <a:lnTo>
                    <a:pt x="93" y="0"/>
                  </a:lnTo>
                  <a:lnTo>
                    <a:pt x="93" y="0"/>
                  </a:lnTo>
                  <a:lnTo>
                    <a:pt x="93" y="0"/>
                  </a:lnTo>
                  <a:lnTo>
                    <a:pt x="93"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59" name="Freeform 91">
              <a:extLst>
                <a:ext uri="{FF2B5EF4-FFF2-40B4-BE49-F238E27FC236}">
                  <a16:creationId xmlns:a16="http://schemas.microsoft.com/office/drawing/2014/main" id="{216C312B-80F0-1D51-D166-C7298ECABAEC}"/>
                </a:ext>
              </a:extLst>
            </p:cNvPr>
            <p:cNvSpPr>
              <a:spLocks/>
            </p:cNvSpPr>
            <p:nvPr/>
          </p:nvSpPr>
          <p:spPr bwMode="auto">
            <a:xfrm>
              <a:off x="5295885" y="3583224"/>
              <a:ext cx="85236" cy="24674"/>
            </a:xfrm>
            <a:custGeom>
              <a:avLst/>
              <a:gdLst>
                <a:gd name="T0" fmla="*/ 6 w 38"/>
                <a:gd name="T1" fmla="*/ 9 h 11"/>
                <a:gd name="T2" fmla="*/ 6 w 38"/>
                <a:gd name="T3" fmla="*/ 9 h 11"/>
                <a:gd name="T4" fmla="*/ 13 w 38"/>
                <a:gd name="T5" fmla="*/ 9 h 11"/>
                <a:gd name="T6" fmla="*/ 13 w 38"/>
                <a:gd name="T7" fmla="*/ 8 h 11"/>
                <a:gd name="T8" fmla="*/ 14 w 38"/>
                <a:gd name="T9" fmla="*/ 6 h 11"/>
                <a:gd name="T10" fmla="*/ 16 w 38"/>
                <a:gd name="T11" fmla="*/ 6 h 11"/>
                <a:gd name="T12" fmla="*/ 18 w 38"/>
                <a:gd name="T13" fmla="*/ 6 h 11"/>
                <a:gd name="T14" fmla="*/ 19 w 38"/>
                <a:gd name="T15" fmla="*/ 6 h 11"/>
                <a:gd name="T16" fmla="*/ 21 w 38"/>
                <a:gd name="T17" fmla="*/ 6 h 11"/>
                <a:gd name="T18" fmla="*/ 22 w 38"/>
                <a:gd name="T19" fmla="*/ 3 h 11"/>
                <a:gd name="T20" fmla="*/ 24 w 38"/>
                <a:gd name="T21" fmla="*/ 4 h 11"/>
                <a:gd name="T22" fmla="*/ 27 w 38"/>
                <a:gd name="T23" fmla="*/ 6 h 11"/>
                <a:gd name="T24" fmla="*/ 30 w 38"/>
                <a:gd name="T25" fmla="*/ 8 h 11"/>
                <a:gd name="T26" fmla="*/ 32 w 38"/>
                <a:gd name="T27" fmla="*/ 8 h 11"/>
                <a:gd name="T28" fmla="*/ 35 w 38"/>
                <a:gd name="T29" fmla="*/ 8 h 11"/>
                <a:gd name="T30" fmla="*/ 35 w 38"/>
                <a:gd name="T31" fmla="*/ 8 h 11"/>
                <a:gd name="T32" fmla="*/ 38 w 38"/>
                <a:gd name="T33" fmla="*/ 8 h 11"/>
                <a:gd name="T34" fmla="*/ 38 w 38"/>
                <a:gd name="T35" fmla="*/ 6 h 11"/>
                <a:gd name="T36" fmla="*/ 38 w 38"/>
                <a:gd name="T37" fmla="*/ 4 h 11"/>
                <a:gd name="T38" fmla="*/ 38 w 38"/>
                <a:gd name="T39" fmla="*/ 3 h 11"/>
                <a:gd name="T40" fmla="*/ 35 w 38"/>
                <a:gd name="T41" fmla="*/ 3 h 11"/>
                <a:gd name="T42" fmla="*/ 32 w 38"/>
                <a:gd name="T43" fmla="*/ 4 h 11"/>
                <a:gd name="T44" fmla="*/ 32 w 38"/>
                <a:gd name="T45" fmla="*/ 4 h 11"/>
                <a:gd name="T46" fmla="*/ 30 w 38"/>
                <a:gd name="T47" fmla="*/ 1 h 11"/>
                <a:gd name="T48" fmla="*/ 29 w 38"/>
                <a:gd name="T49" fmla="*/ 1 h 11"/>
                <a:gd name="T50" fmla="*/ 27 w 38"/>
                <a:gd name="T51" fmla="*/ 1 h 11"/>
                <a:gd name="T52" fmla="*/ 26 w 38"/>
                <a:gd name="T53" fmla="*/ 0 h 11"/>
                <a:gd name="T54" fmla="*/ 24 w 38"/>
                <a:gd name="T55" fmla="*/ 0 h 11"/>
                <a:gd name="T56" fmla="*/ 22 w 38"/>
                <a:gd name="T57" fmla="*/ 0 h 11"/>
                <a:gd name="T58" fmla="*/ 19 w 38"/>
                <a:gd name="T59" fmla="*/ 0 h 11"/>
                <a:gd name="T60" fmla="*/ 18 w 38"/>
                <a:gd name="T61" fmla="*/ 1 h 11"/>
                <a:gd name="T62" fmla="*/ 18 w 38"/>
                <a:gd name="T63" fmla="*/ 3 h 11"/>
                <a:gd name="T64" fmla="*/ 6 w 38"/>
                <a:gd name="T65" fmla="*/ 3 h 11"/>
                <a:gd name="T66" fmla="*/ 3 w 38"/>
                <a:gd name="T67" fmla="*/ 3 h 11"/>
                <a:gd name="T68" fmla="*/ 3 w 38"/>
                <a:gd name="T69" fmla="*/ 4 h 11"/>
                <a:gd name="T70" fmla="*/ 6 w 38"/>
                <a:gd name="T71" fmla="*/ 6 h 11"/>
                <a:gd name="T72" fmla="*/ 8 w 38"/>
                <a:gd name="T73" fmla="*/ 6 h 11"/>
                <a:gd name="T74" fmla="*/ 11 w 38"/>
                <a:gd name="T75" fmla="*/ 4 h 11"/>
                <a:gd name="T76" fmla="*/ 16 w 38"/>
                <a:gd name="T77" fmla="*/ 4 h 11"/>
                <a:gd name="T78" fmla="*/ 11 w 38"/>
                <a:gd name="T79" fmla="*/ 6 h 11"/>
                <a:gd name="T80" fmla="*/ 8 w 38"/>
                <a:gd name="T81" fmla="*/ 6 h 11"/>
                <a:gd name="T82" fmla="*/ 8 w 38"/>
                <a:gd name="T83" fmla="*/ 8 h 11"/>
                <a:gd name="T84" fmla="*/ 6 w 38"/>
                <a:gd name="T85" fmla="*/ 8 h 11"/>
                <a:gd name="T86" fmla="*/ 3 w 38"/>
                <a:gd name="T87" fmla="*/ 8 h 11"/>
                <a:gd name="T88" fmla="*/ 3 w 38"/>
                <a:gd name="T89" fmla="*/ 4 h 11"/>
                <a:gd name="T90" fmla="*/ 0 w 38"/>
                <a:gd name="T91" fmla="*/ 6 h 11"/>
                <a:gd name="T92" fmla="*/ 0 w 38"/>
                <a:gd name="T93" fmla="*/ 11 h 11"/>
                <a:gd name="T94" fmla="*/ 3 w 38"/>
                <a:gd name="T95" fmla="*/ 9 h 11"/>
                <a:gd name="T96" fmla="*/ 6 w 38"/>
                <a:gd name="T97" fmla="*/ 9 h 11"/>
                <a:gd name="T98" fmla="*/ 6 w 38"/>
                <a:gd name="T99" fmla="*/ 9 h 11"/>
                <a:gd name="T100" fmla="*/ 6 w 38"/>
                <a:gd name="T101" fmla="*/ 9 h 11"/>
                <a:gd name="T102" fmla="*/ 6 w 38"/>
                <a:gd name="T103" fmla="*/ 9 h 11"/>
                <a:gd name="T104" fmla="*/ 6 w 38"/>
                <a:gd name="T105" fmla="*/ 9 h 11"/>
                <a:gd name="T106" fmla="*/ 6 w 38"/>
                <a:gd name="T107" fmla="*/ 9 h 11"/>
                <a:gd name="T108" fmla="*/ 6 w 38"/>
                <a:gd name="T109" fmla="*/ 9 h 11"/>
                <a:gd name="T110" fmla="*/ 6 w 38"/>
                <a:gd name="T111" fmla="*/ 9 h 11"/>
                <a:gd name="T112" fmla="*/ 6 w 38"/>
                <a:gd name="T11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 h="11">
                  <a:moveTo>
                    <a:pt x="6" y="9"/>
                  </a:moveTo>
                  <a:lnTo>
                    <a:pt x="6" y="9"/>
                  </a:lnTo>
                  <a:lnTo>
                    <a:pt x="13" y="9"/>
                  </a:lnTo>
                  <a:lnTo>
                    <a:pt x="13" y="8"/>
                  </a:lnTo>
                  <a:lnTo>
                    <a:pt x="14" y="6"/>
                  </a:lnTo>
                  <a:lnTo>
                    <a:pt x="16" y="6"/>
                  </a:lnTo>
                  <a:lnTo>
                    <a:pt x="18" y="6"/>
                  </a:lnTo>
                  <a:lnTo>
                    <a:pt x="19" y="6"/>
                  </a:lnTo>
                  <a:lnTo>
                    <a:pt x="21" y="6"/>
                  </a:lnTo>
                  <a:lnTo>
                    <a:pt x="22" y="3"/>
                  </a:lnTo>
                  <a:lnTo>
                    <a:pt x="24" y="4"/>
                  </a:lnTo>
                  <a:lnTo>
                    <a:pt x="27" y="6"/>
                  </a:lnTo>
                  <a:lnTo>
                    <a:pt x="30" y="8"/>
                  </a:lnTo>
                  <a:lnTo>
                    <a:pt x="32" y="8"/>
                  </a:lnTo>
                  <a:lnTo>
                    <a:pt x="35" y="8"/>
                  </a:lnTo>
                  <a:lnTo>
                    <a:pt x="35" y="8"/>
                  </a:lnTo>
                  <a:lnTo>
                    <a:pt x="38" y="8"/>
                  </a:lnTo>
                  <a:lnTo>
                    <a:pt x="38" y="6"/>
                  </a:lnTo>
                  <a:lnTo>
                    <a:pt x="38" y="4"/>
                  </a:lnTo>
                  <a:lnTo>
                    <a:pt x="38" y="3"/>
                  </a:lnTo>
                  <a:lnTo>
                    <a:pt x="35" y="3"/>
                  </a:lnTo>
                  <a:lnTo>
                    <a:pt x="32" y="4"/>
                  </a:lnTo>
                  <a:lnTo>
                    <a:pt x="32" y="4"/>
                  </a:lnTo>
                  <a:lnTo>
                    <a:pt x="30" y="1"/>
                  </a:lnTo>
                  <a:lnTo>
                    <a:pt x="29" y="1"/>
                  </a:lnTo>
                  <a:lnTo>
                    <a:pt x="27" y="1"/>
                  </a:lnTo>
                  <a:lnTo>
                    <a:pt x="26" y="0"/>
                  </a:lnTo>
                  <a:lnTo>
                    <a:pt x="24" y="0"/>
                  </a:lnTo>
                  <a:lnTo>
                    <a:pt x="22" y="0"/>
                  </a:lnTo>
                  <a:lnTo>
                    <a:pt x="19" y="0"/>
                  </a:lnTo>
                  <a:lnTo>
                    <a:pt x="18" y="1"/>
                  </a:lnTo>
                  <a:lnTo>
                    <a:pt x="18" y="3"/>
                  </a:lnTo>
                  <a:lnTo>
                    <a:pt x="6" y="3"/>
                  </a:lnTo>
                  <a:lnTo>
                    <a:pt x="3" y="3"/>
                  </a:lnTo>
                  <a:lnTo>
                    <a:pt x="3" y="4"/>
                  </a:lnTo>
                  <a:lnTo>
                    <a:pt x="6" y="6"/>
                  </a:lnTo>
                  <a:lnTo>
                    <a:pt x="8" y="6"/>
                  </a:lnTo>
                  <a:lnTo>
                    <a:pt x="11" y="4"/>
                  </a:lnTo>
                  <a:lnTo>
                    <a:pt x="16" y="4"/>
                  </a:lnTo>
                  <a:lnTo>
                    <a:pt x="11" y="6"/>
                  </a:lnTo>
                  <a:lnTo>
                    <a:pt x="8" y="6"/>
                  </a:lnTo>
                  <a:lnTo>
                    <a:pt x="8" y="8"/>
                  </a:lnTo>
                  <a:lnTo>
                    <a:pt x="6" y="8"/>
                  </a:lnTo>
                  <a:lnTo>
                    <a:pt x="3" y="8"/>
                  </a:lnTo>
                  <a:lnTo>
                    <a:pt x="3" y="4"/>
                  </a:lnTo>
                  <a:lnTo>
                    <a:pt x="0" y="6"/>
                  </a:lnTo>
                  <a:lnTo>
                    <a:pt x="0" y="11"/>
                  </a:lnTo>
                  <a:lnTo>
                    <a:pt x="3" y="9"/>
                  </a:lnTo>
                  <a:lnTo>
                    <a:pt x="6" y="9"/>
                  </a:lnTo>
                  <a:lnTo>
                    <a:pt x="6" y="9"/>
                  </a:lnTo>
                  <a:lnTo>
                    <a:pt x="6" y="9"/>
                  </a:lnTo>
                  <a:lnTo>
                    <a:pt x="6" y="9"/>
                  </a:lnTo>
                  <a:lnTo>
                    <a:pt x="6" y="9"/>
                  </a:lnTo>
                  <a:lnTo>
                    <a:pt x="6" y="9"/>
                  </a:lnTo>
                  <a:lnTo>
                    <a:pt x="6" y="9"/>
                  </a:lnTo>
                  <a:lnTo>
                    <a:pt x="6" y="9"/>
                  </a:lnTo>
                  <a:lnTo>
                    <a:pt x="6" y="9"/>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0" name="Freeform 96">
              <a:extLst>
                <a:ext uri="{FF2B5EF4-FFF2-40B4-BE49-F238E27FC236}">
                  <a16:creationId xmlns:a16="http://schemas.microsoft.com/office/drawing/2014/main" id="{C04E84E0-846F-0492-19CF-17B22508E2F7}"/>
                </a:ext>
              </a:extLst>
            </p:cNvPr>
            <p:cNvSpPr>
              <a:spLocks/>
            </p:cNvSpPr>
            <p:nvPr/>
          </p:nvSpPr>
          <p:spPr bwMode="auto">
            <a:xfrm>
              <a:off x="6960243" y="3616870"/>
              <a:ext cx="42619" cy="58320"/>
            </a:xfrm>
            <a:custGeom>
              <a:avLst/>
              <a:gdLst>
                <a:gd name="T0" fmla="*/ 3 w 19"/>
                <a:gd name="T1" fmla="*/ 8 h 26"/>
                <a:gd name="T2" fmla="*/ 0 w 19"/>
                <a:gd name="T3" fmla="*/ 13 h 26"/>
                <a:gd name="T4" fmla="*/ 0 w 19"/>
                <a:gd name="T5" fmla="*/ 16 h 26"/>
                <a:gd name="T6" fmla="*/ 0 w 19"/>
                <a:gd name="T7" fmla="*/ 20 h 26"/>
                <a:gd name="T8" fmla="*/ 0 w 19"/>
                <a:gd name="T9" fmla="*/ 24 h 26"/>
                <a:gd name="T10" fmla="*/ 0 w 19"/>
                <a:gd name="T11" fmla="*/ 26 h 26"/>
                <a:gd name="T12" fmla="*/ 3 w 19"/>
                <a:gd name="T13" fmla="*/ 26 h 26"/>
                <a:gd name="T14" fmla="*/ 7 w 19"/>
                <a:gd name="T15" fmla="*/ 24 h 26"/>
                <a:gd name="T16" fmla="*/ 11 w 19"/>
                <a:gd name="T17" fmla="*/ 24 h 26"/>
                <a:gd name="T18" fmla="*/ 12 w 19"/>
                <a:gd name="T19" fmla="*/ 24 h 26"/>
                <a:gd name="T20" fmla="*/ 14 w 19"/>
                <a:gd name="T21" fmla="*/ 24 h 26"/>
                <a:gd name="T22" fmla="*/ 14 w 19"/>
                <a:gd name="T23" fmla="*/ 23 h 26"/>
                <a:gd name="T24" fmla="*/ 15 w 19"/>
                <a:gd name="T25" fmla="*/ 21 h 26"/>
                <a:gd name="T26" fmla="*/ 15 w 19"/>
                <a:gd name="T27" fmla="*/ 20 h 26"/>
                <a:gd name="T28" fmla="*/ 15 w 19"/>
                <a:gd name="T29" fmla="*/ 18 h 26"/>
                <a:gd name="T30" fmla="*/ 15 w 19"/>
                <a:gd name="T31" fmla="*/ 16 h 26"/>
                <a:gd name="T32" fmla="*/ 11 w 19"/>
                <a:gd name="T33" fmla="*/ 18 h 26"/>
                <a:gd name="T34" fmla="*/ 9 w 19"/>
                <a:gd name="T35" fmla="*/ 18 h 26"/>
                <a:gd name="T36" fmla="*/ 7 w 19"/>
                <a:gd name="T37" fmla="*/ 16 h 26"/>
                <a:gd name="T38" fmla="*/ 9 w 19"/>
                <a:gd name="T39" fmla="*/ 16 h 26"/>
                <a:gd name="T40" fmla="*/ 11 w 19"/>
                <a:gd name="T41" fmla="*/ 13 h 26"/>
                <a:gd name="T42" fmla="*/ 15 w 19"/>
                <a:gd name="T43" fmla="*/ 12 h 26"/>
                <a:gd name="T44" fmla="*/ 19 w 19"/>
                <a:gd name="T45" fmla="*/ 12 h 26"/>
                <a:gd name="T46" fmla="*/ 19 w 19"/>
                <a:gd name="T47" fmla="*/ 8 h 26"/>
                <a:gd name="T48" fmla="*/ 17 w 19"/>
                <a:gd name="T49" fmla="*/ 5 h 26"/>
                <a:gd name="T50" fmla="*/ 14 w 19"/>
                <a:gd name="T51" fmla="*/ 0 h 26"/>
                <a:gd name="T52" fmla="*/ 11 w 19"/>
                <a:gd name="T53" fmla="*/ 2 h 26"/>
                <a:gd name="T54" fmla="*/ 11 w 19"/>
                <a:gd name="T55" fmla="*/ 5 h 26"/>
                <a:gd name="T56" fmla="*/ 9 w 19"/>
                <a:gd name="T57" fmla="*/ 5 h 26"/>
                <a:gd name="T58" fmla="*/ 6 w 19"/>
                <a:gd name="T59" fmla="*/ 5 h 26"/>
                <a:gd name="T60" fmla="*/ 4 w 19"/>
                <a:gd name="T61" fmla="*/ 5 h 26"/>
                <a:gd name="T62" fmla="*/ 4 w 19"/>
                <a:gd name="T63" fmla="*/ 5 h 26"/>
                <a:gd name="T64" fmla="*/ 3 w 19"/>
                <a:gd name="T65" fmla="*/ 8 h 26"/>
                <a:gd name="T66" fmla="*/ 3 w 19"/>
                <a:gd name="T67" fmla="*/ 8 h 26"/>
                <a:gd name="T68" fmla="*/ 3 w 19"/>
                <a:gd name="T69" fmla="*/ 8 h 26"/>
                <a:gd name="T70" fmla="*/ 3 w 19"/>
                <a:gd name="T71" fmla="*/ 8 h 26"/>
                <a:gd name="T72" fmla="*/ 3 w 19"/>
                <a:gd name="T73" fmla="*/ 8 h 26"/>
                <a:gd name="T74" fmla="*/ 3 w 19"/>
                <a:gd name="T75" fmla="*/ 8 h 26"/>
                <a:gd name="T76" fmla="*/ 3 w 19"/>
                <a:gd name="T77" fmla="*/ 8 h 26"/>
                <a:gd name="T78" fmla="*/ 3 w 19"/>
                <a:gd name="T79" fmla="*/ 8 h 26"/>
                <a:gd name="T80" fmla="*/ 3 w 19"/>
                <a:gd name="T8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3" y="8"/>
                  </a:moveTo>
                  <a:lnTo>
                    <a:pt x="0" y="13"/>
                  </a:lnTo>
                  <a:lnTo>
                    <a:pt x="0" y="16"/>
                  </a:lnTo>
                  <a:lnTo>
                    <a:pt x="0" y="20"/>
                  </a:lnTo>
                  <a:lnTo>
                    <a:pt x="0" y="24"/>
                  </a:lnTo>
                  <a:lnTo>
                    <a:pt x="0" y="26"/>
                  </a:lnTo>
                  <a:lnTo>
                    <a:pt x="3" y="26"/>
                  </a:lnTo>
                  <a:lnTo>
                    <a:pt x="7" y="24"/>
                  </a:lnTo>
                  <a:lnTo>
                    <a:pt x="11" y="24"/>
                  </a:lnTo>
                  <a:lnTo>
                    <a:pt x="12" y="24"/>
                  </a:lnTo>
                  <a:lnTo>
                    <a:pt x="14" y="24"/>
                  </a:lnTo>
                  <a:lnTo>
                    <a:pt x="14" y="23"/>
                  </a:lnTo>
                  <a:lnTo>
                    <a:pt x="15" y="21"/>
                  </a:lnTo>
                  <a:lnTo>
                    <a:pt x="15" y="20"/>
                  </a:lnTo>
                  <a:lnTo>
                    <a:pt x="15" y="18"/>
                  </a:lnTo>
                  <a:lnTo>
                    <a:pt x="15" y="16"/>
                  </a:lnTo>
                  <a:lnTo>
                    <a:pt x="11" y="18"/>
                  </a:lnTo>
                  <a:lnTo>
                    <a:pt x="9" y="18"/>
                  </a:lnTo>
                  <a:lnTo>
                    <a:pt x="7" y="16"/>
                  </a:lnTo>
                  <a:lnTo>
                    <a:pt x="9" y="16"/>
                  </a:lnTo>
                  <a:lnTo>
                    <a:pt x="11" y="13"/>
                  </a:lnTo>
                  <a:lnTo>
                    <a:pt x="15" y="12"/>
                  </a:lnTo>
                  <a:lnTo>
                    <a:pt x="19" y="12"/>
                  </a:lnTo>
                  <a:lnTo>
                    <a:pt x="19" y="8"/>
                  </a:lnTo>
                  <a:lnTo>
                    <a:pt x="17" y="5"/>
                  </a:lnTo>
                  <a:lnTo>
                    <a:pt x="14" y="0"/>
                  </a:lnTo>
                  <a:lnTo>
                    <a:pt x="11" y="2"/>
                  </a:lnTo>
                  <a:lnTo>
                    <a:pt x="11" y="5"/>
                  </a:lnTo>
                  <a:lnTo>
                    <a:pt x="9" y="5"/>
                  </a:lnTo>
                  <a:lnTo>
                    <a:pt x="6" y="5"/>
                  </a:lnTo>
                  <a:lnTo>
                    <a:pt x="4" y="5"/>
                  </a:lnTo>
                  <a:lnTo>
                    <a:pt x="4" y="5"/>
                  </a:lnTo>
                  <a:lnTo>
                    <a:pt x="3" y="8"/>
                  </a:lnTo>
                  <a:lnTo>
                    <a:pt x="3" y="8"/>
                  </a:lnTo>
                  <a:lnTo>
                    <a:pt x="3" y="8"/>
                  </a:lnTo>
                  <a:lnTo>
                    <a:pt x="3" y="8"/>
                  </a:lnTo>
                  <a:lnTo>
                    <a:pt x="3" y="8"/>
                  </a:lnTo>
                  <a:lnTo>
                    <a:pt x="3" y="8"/>
                  </a:lnTo>
                  <a:lnTo>
                    <a:pt x="3" y="8"/>
                  </a:lnTo>
                  <a:lnTo>
                    <a:pt x="3" y="8"/>
                  </a:lnTo>
                  <a:lnTo>
                    <a:pt x="3"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1" name="Freeform 94">
              <a:extLst>
                <a:ext uri="{FF2B5EF4-FFF2-40B4-BE49-F238E27FC236}">
                  <a16:creationId xmlns:a16="http://schemas.microsoft.com/office/drawing/2014/main" id="{C2D768B0-AB4E-38B0-2734-7DDF27645770}"/>
                </a:ext>
              </a:extLst>
            </p:cNvPr>
            <p:cNvSpPr>
              <a:spLocks/>
            </p:cNvSpPr>
            <p:nvPr/>
          </p:nvSpPr>
          <p:spPr bwMode="auto">
            <a:xfrm>
              <a:off x="6803228" y="3446396"/>
              <a:ext cx="188418" cy="197391"/>
            </a:xfrm>
            <a:custGeom>
              <a:avLst/>
              <a:gdLst>
                <a:gd name="T0" fmla="*/ 81 w 84"/>
                <a:gd name="T1" fmla="*/ 73 h 88"/>
                <a:gd name="T2" fmla="*/ 76 w 84"/>
                <a:gd name="T3" fmla="*/ 69 h 88"/>
                <a:gd name="T4" fmla="*/ 73 w 84"/>
                <a:gd name="T5" fmla="*/ 65 h 88"/>
                <a:gd name="T6" fmla="*/ 73 w 84"/>
                <a:gd name="T7" fmla="*/ 64 h 88"/>
                <a:gd name="T8" fmla="*/ 70 w 84"/>
                <a:gd name="T9" fmla="*/ 62 h 88"/>
                <a:gd name="T10" fmla="*/ 63 w 84"/>
                <a:gd name="T11" fmla="*/ 56 h 88"/>
                <a:gd name="T12" fmla="*/ 60 w 84"/>
                <a:gd name="T13" fmla="*/ 49 h 88"/>
                <a:gd name="T14" fmla="*/ 57 w 84"/>
                <a:gd name="T15" fmla="*/ 49 h 88"/>
                <a:gd name="T16" fmla="*/ 52 w 84"/>
                <a:gd name="T17" fmla="*/ 45 h 88"/>
                <a:gd name="T18" fmla="*/ 33 w 84"/>
                <a:gd name="T19" fmla="*/ 26 h 88"/>
                <a:gd name="T20" fmla="*/ 30 w 84"/>
                <a:gd name="T21" fmla="*/ 11 h 88"/>
                <a:gd name="T22" fmla="*/ 25 w 84"/>
                <a:gd name="T23" fmla="*/ 0 h 88"/>
                <a:gd name="T24" fmla="*/ 19 w 84"/>
                <a:gd name="T25" fmla="*/ 8 h 88"/>
                <a:gd name="T26" fmla="*/ 12 w 84"/>
                <a:gd name="T27" fmla="*/ 11 h 88"/>
                <a:gd name="T28" fmla="*/ 11 w 84"/>
                <a:gd name="T29" fmla="*/ 15 h 88"/>
                <a:gd name="T30" fmla="*/ 8 w 84"/>
                <a:gd name="T31" fmla="*/ 15 h 88"/>
                <a:gd name="T32" fmla="*/ 6 w 84"/>
                <a:gd name="T33" fmla="*/ 19 h 88"/>
                <a:gd name="T34" fmla="*/ 4 w 84"/>
                <a:gd name="T35" fmla="*/ 29 h 88"/>
                <a:gd name="T36" fmla="*/ 0 w 84"/>
                <a:gd name="T37" fmla="*/ 42 h 88"/>
                <a:gd name="T38" fmla="*/ 0 w 84"/>
                <a:gd name="T39" fmla="*/ 49 h 88"/>
                <a:gd name="T40" fmla="*/ 1 w 84"/>
                <a:gd name="T41" fmla="*/ 54 h 88"/>
                <a:gd name="T42" fmla="*/ 8 w 84"/>
                <a:gd name="T43" fmla="*/ 53 h 88"/>
                <a:gd name="T44" fmla="*/ 11 w 84"/>
                <a:gd name="T45" fmla="*/ 53 h 88"/>
                <a:gd name="T46" fmla="*/ 16 w 84"/>
                <a:gd name="T47" fmla="*/ 56 h 88"/>
                <a:gd name="T48" fmla="*/ 22 w 84"/>
                <a:gd name="T49" fmla="*/ 48 h 88"/>
                <a:gd name="T50" fmla="*/ 24 w 84"/>
                <a:gd name="T51" fmla="*/ 49 h 88"/>
                <a:gd name="T52" fmla="*/ 28 w 84"/>
                <a:gd name="T53" fmla="*/ 53 h 88"/>
                <a:gd name="T54" fmla="*/ 33 w 84"/>
                <a:gd name="T55" fmla="*/ 49 h 88"/>
                <a:gd name="T56" fmla="*/ 35 w 84"/>
                <a:gd name="T57" fmla="*/ 53 h 88"/>
                <a:gd name="T58" fmla="*/ 39 w 84"/>
                <a:gd name="T59" fmla="*/ 49 h 88"/>
                <a:gd name="T60" fmla="*/ 46 w 84"/>
                <a:gd name="T61" fmla="*/ 53 h 88"/>
                <a:gd name="T62" fmla="*/ 54 w 84"/>
                <a:gd name="T63" fmla="*/ 54 h 88"/>
                <a:gd name="T64" fmla="*/ 58 w 84"/>
                <a:gd name="T65" fmla="*/ 59 h 88"/>
                <a:gd name="T66" fmla="*/ 63 w 84"/>
                <a:gd name="T67" fmla="*/ 67 h 88"/>
                <a:gd name="T68" fmla="*/ 70 w 84"/>
                <a:gd name="T69" fmla="*/ 73 h 88"/>
                <a:gd name="T70" fmla="*/ 74 w 84"/>
                <a:gd name="T71" fmla="*/ 78 h 88"/>
                <a:gd name="T72" fmla="*/ 73 w 84"/>
                <a:gd name="T73" fmla="*/ 84 h 88"/>
                <a:gd name="T74" fmla="*/ 79 w 84"/>
                <a:gd name="T75" fmla="*/ 88 h 88"/>
                <a:gd name="T76" fmla="*/ 84 w 84"/>
                <a:gd name="T77" fmla="*/ 78 h 88"/>
                <a:gd name="T78" fmla="*/ 82 w 84"/>
                <a:gd name="T79" fmla="*/ 75 h 88"/>
                <a:gd name="T80" fmla="*/ 82 w 84"/>
                <a:gd name="T81" fmla="*/ 75 h 88"/>
                <a:gd name="T82" fmla="*/ 82 w 84"/>
                <a:gd name="T83" fmla="*/ 75 h 88"/>
                <a:gd name="T84" fmla="*/ 82 w 84"/>
                <a:gd name="T85" fmla="*/ 75 h 88"/>
                <a:gd name="T86" fmla="*/ 82 w 84"/>
                <a:gd name="T87" fmla="*/ 7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 h="88">
                  <a:moveTo>
                    <a:pt x="82" y="75"/>
                  </a:moveTo>
                  <a:lnTo>
                    <a:pt x="81" y="73"/>
                  </a:lnTo>
                  <a:lnTo>
                    <a:pt x="77" y="70"/>
                  </a:lnTo>
                  <a:lnTo>
                    <a:pt x="76" y="69"/>
                  </a:lnTo>
                  <a:lnTo>
                    <a:pt x="76" y="69"/>
                  </a:lnTo>
                  <a:lnTo>
                    <a:pt x="73" y="65"/>
                  </a:lnTo>
                  <a:lnTo>
                    <a:pt x="73" y="65"/>
                  </a:lnTo>
                  <a:lnTo>
                    <a:pt x="73" y="64"/>
                  </a:lnTo>
                  <a:lnTo>
                    <a:pt x="73" y="64"/>
                  </a:lnTo>
                  <a:lnTo>
                    <a:pt x="70" y="62"/>
                  </a:lnTo>
                  <a:lnTo>
                    <a:pt x="66" y="59"/>
                  </a:lnTo>
                  <a:lnTo>
                    <a:pt x="63" y="56"/>
                  </a:lnTo>
                  <a:lnTo>
                    <a:pt x="63" y="53"/>
                  </a:lnTo>
                  <a:lnTo>
                    <a:pt x="60" y="49"/>
                  </a:lnTo>
                  <a:lnTo>
                    <a:pt x="57" y="49"/>
                  </a:lnTo>
                  <a:lnTo>
                    <a:pt x="57" y="49"/>
                  </a:lnTo>
                  <a:lnTo>
                    <a:pt x="52" y="45"/>
                  </a:lnTo>
                  <a:lnTo>
                    <a:pt x="52" y="45"/>
                  </a:lnTo>
                  <a:lnTo>
                    <a:pt x="52" y="45"/>
                  </a:lnTo>
                  <a:lnTo>
                    <a:pt x="33" y="26"/>
                  </a:lnTo>
                  <a:lnTo>
                    <a:pt x="33" y="22"/>
                  </a:lnTo>
                  <a:lnTo>
                    <a:pt x="30" y="11"/>
                  </a:lnTo>
                  <a:lnTo>
                    <a:pt x="28" y="7"/>
                  </a:lnTo>
                  <a:lnTo>
                    <a:pt x="25" y="0"/>
                  </a:lnTo>
                  <a:lnTo>
                    <a:pt x="22" y="5"/>
                  </a:lnTo>
                  <a:lnTo>
                    <a:pt x="19" y="8"/>
                  </a:lnTo>
                  <a:lnTo>
                    <a:pt x="16" y="10"/>
                  </a:lnTo>
                  <a:lnTo>
                    <a:pt x="12" y="11"/>
                  </a:lnTo>
                  <a:lnTo>
                    <a:pt x="12" y="15"/>
                  </a:lnTo>
                  <a:lnTo>
                    <a:pt x="11" y="15"/>
                  </a:lnTo>
                  <a:lnTo>
                    <a:pt x="9" y="15"/>
                  </a:lnTo>
                  <a:lnTo>
                    <a:pt x="8" y="15"/>
                  </a:lnTo>
                  <a:lnTo>
                    <a:pt x="6" y="18"/>
                  </a:lnTo>
                  <a:lnTo>
                    <a:pt x="6" y="19"/>
                  </a:lnTo>
                  <a:lnTo>
                    <a:pt x="6" y="26"/>
                  </a:lnTo>
                  <a:lnTo>
                    <a:pt x="4" y="29"/>
                  </a:lnTo>
                  <a:lnTo>
                    <a:pt x="3" y="35"/>
                  </a:lnTo>
                  <a:lnTo>
                    <a:pt x="0" y="42"/>
                  </a:lnTo>
                  <a:lnTo>
                    <a:pt x="0" y="46"/>
                  </a:lnTo>
                  <a:lnTo>
                    <a:pt x="0" y="49"/>
                  </a:lnTo>
                  <a:lnTo>
                    <a:pt x="1" y="56"/>
                  </a:lnTo>
                  <a:lnTo>
                    <a:pt x="1" y="54"/>
                  </a:lnTo>
                  <a:lnTo>
                    <a:pt x="3" y="53"/>
                  </a:lnTo>
                  <a:lnTo>
                    <a:pt x="8" y="53"/>
                  </a:lnTo>
                  <a:lnTo>
                    <a:pt x="9" y="53"/>
                  </a:lnTo>
                  <a:lnTo>
                    <a:pt x="11" y="53"/>
                  </a:lnTo>
                  <a:lnTo>
                    <a:pt x="14" y="54"/>
                  </a:lnTo>
                  <a:lnTo>
                    <a:pt x="16" y="56"/>
                  </a:lnTo>
                  <a:lnTo>
                    <a:pt x="19" y="46"/>
                  </a:lnTo>
                  <a:lnTo>
                    <a:pt x="22" y="48"/>
                  </a:lnTo>
                  <a:lnTo>
                    <a:pt x="22" y="49"/>
                  </a:lnTo>
                  <a:lnTo>
                    <a:pt x="24" y="49"/>
                  </a:lnTo>
                  <a:lnTo>
                    <a:pt x="25" y="53"/>
                  </a:lnTo>
                  <a:lnTo>
                    <a:pt x="28" y="53"/>
                  </a:lnTo>
                  <a:lnTo>
                    <a:pt x="31" y="49"/>
                  </a:lnTo>
                  <a:lnTo>
                    <a:pt x="33" y="49"/>
                  </a:lnTo>
                  <a:lnTo>
                    <a:pt x="35" y="49"/>
                  </a:lnTo>
                  <a:lnTo>
                    <a:pt x="35" y="53"/>
                  </a:lnTo>
                  <a:lnTo>
                    <a:pt x="38" y="49"/>
                  </a:lnTo>
                  <a:lnTo>
                    <a:pt x="39" y="49"/>
                  </a:lnTo>
                  <a:lnTo>
                    <a:pt x="43" y="53"/>
                  </a:lnTo>
                  <a:lnTo>
                    <a:pt x="46" y="53"/>
                  </a:lnTo>
                  <a:lnTo>
                    <a:pt x="49" y="53"/>
                  </a:lnTo>
                  <a:lnTo>
                    <a:pt x="54" y="54"/>
                  </a:lnTo>
                  <a:lnTo>
                    <a:pt x="57" y="57"/>
                  </a:lnTo>
                  <a:lnTo>
                    <a:pt x="58" y="59"/>
                  </a:lnTo>
                  <a:lnTo>
                    <a:pt x="62" y="65"/>
                  </a:lnTo>
                  <a:lnTo>
                    <a:pt x="63" y="67"/>
                  </a:lnTo>
                  <a:lnTo>
                    <a:pt x="66" y="70"/>
                  </a:lnTo>
                  <a:lnTo>
                    <a:pt x="70" y="73"/>
                  </a:lnTo>
                  <a:lnTo>
                    <a:pt x="73" y="76"/>
                  </a:lnTo>
                  <a:lnTo>
                    <a:pt x="74" y="78"/>
                  </a:lnTo>
                  <a:lnTo>
                    <a:pt x="74" y="81"/>
                  </a:lnTo>
                  <a:lnTo>
                    <a:pt x="73" y="84"/>
                  </a:lnTo>
                  <a:lnTo>
                    <a:pt x="73" y="84"/>
                  </a:lnTo>
                  <a:lnTo>
                    <a:pt x="79" y="88"/>
                  </a:lnTo>
                  <a:lnTo>
                    <a:pt x="84" y="81"/>
                  </a:lnTo>
                  <a:lnTo>
                    <a:pt x="84" y="78"/>
                  </a:lnTo>
                  <a:lnTo>
                    <a:pt x="84" y="76"/>
                  </a:lnTo>
                  <a:lnTo>
                    <a:pt x="82" y="75"/>
                  </a:lnTo>
                  <a:lnTo>
                    <a:pt x="82" y="75"/>
                  </a:lnTo>
                  <a:lnTo>
                    <a:pt x="82" y="75"/>
                  </a:lnTo>
                  <a:lnTo>
                    <a:pt x="82" y="75"/>
                  </a:lnTo>
                  <a:lnTo>
                    <a:pt x="82" y="75"/>
                  </a:lnTo>
                  <a:lnTo>
                    <a:pt x="82" y="75"/>
                  </a:lnTo>
                  <a:lnTo>
                    <a:pt x="82" y="75"/>
                  </a:lnTo>
                  <a:lnTo>
                    <a:pt x="82" y="75"/>
                  </a:lnTo>
                  <a:lnTo>
                    <a:pt x="82" y="7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2" name="Freeform 98">
              <a:extLst>
                <a:ext uri="{FF2B5EF4-FFF2-40B4-BE49-F238E27FC236}">
                  <a16:creationId xmlns:a16="http://schemas.microsoft.com/office/drawing/2014/main" id="{520C173C-9239-C64D-A61F-A986E71688C0}"/>
                </a:ext>
              </a:extLst>
            </p:cNvPr>
            <p:cNvSpPr>
              <a:spLocks/>
            </p:cNvSpPr>
            <p:nvPr/>
          </p:nvSpPr>
          <p:spPr bwMode="auto">
            <a:xfrm>
              <a:off x="6937813" y="3643787"/>
              <a:ext cx="291599" cy="437399"/>
            </a:xfrm>
            <a:custGeom>
              <a:avLst/>
              <a:gdLst>
                <a:gd name="T0" fmla="*/ 129 w 130"/>
                <a:gd name="T1" fmla="*/ 22 h 195"/>
                <a:gd name="T2" fmla="*/ 129 w 130"/>
                <a:gd name="T3" fmla="*/ 20 h 195"/>
                <a:gd name="T4" fmla="*/ 129 w 130"/>
                <a:gd name="T5" fmla="*/ 12 h 195"/>
                <a:gd name="T6" fmla="*/ 129 w 130"/>
                <a:gd name="T7" fmla="*/ 3 h 195"/>
                <a:gd name="T8" fmla="*/ 125 w 130"/>
                <a:gd name="T9" fmla="*/ 0 h 195"/>
                <a:gd name="T10" fmla="*/ 119 w 130"/>
                <a:gd name="T11" fmla="*/ 1 h 195"/>
                <a:gd name="T12" fmla="*/ 113 w 130"/>
                <a:gd name="T13" fmla="*/ 6 h 195"/>
                <a:gd name="T14" fmla="*/ 103 w 130"/>
                <a:gd name="T15" fmla="*/ 9 h 195"/>
                <a:gd name="T16" fmla="*/ 95 w 130"/>
                <a:gd name="T17" fmla="*/ 9 h 195"/>
                <a:gd name="T18" fmla="*/ 87 w 130"/>
                <a:gd name="T19" fmla="*/ 11 h 195"/>
                <a:gd name="T20" fmla="*/ 83 w 130"/>
                <a:gd name="T21" fmla="*/ 11 h 195"/>
                <a:gd name="T22" fmla="*/ 78 w 130"/>
                <a:gd name="T23" fmla="*/ 12 h 195"/>
                <a:gd name="T24" fmla="*/ 68 w 130"/>
                <a:gd name="T25" fmla="*/ 17 h 195"/>
                <a:gd name="T26" fmla="*/ 59 w 130"/>
                <a:gd name="T27" fmla="*/ 15 h 195"/>
                <a:gd name="T28" fmla="*/ 51 w 130"/>
                <a:gd name="T29" fmla="*/ 22 h 195"/>
                <a:gd name="T30" fmla="*/ 43 w 130"/>
                <a:gd name="T31" fmla="*/ 22 h 195"/>
                <a:gd name="T32" fmla="*/ 35 w 130"/>
                <a:gd name="T33" fmla="*/ 17 h 195"/>
                <a:gd name="T34" fmla="*/ 29 w 130"/>
                <a:gd name="T35" fmla="*/ 8 h 195"/>
                <a:gd name="T36" fmla="*/ 25 w 130"/>
                <a:gd name="T37" fmla="*/ 9 h 195"/>
                <a:gd name="T38" fmla="*/ 24 w 130"/>
                <a:gd name="T39" fmla="*/ 12 h 195"/>
                <a:gd name="T40" fmla="*/ 21 w 130"/>
                <a:gd name="T41" fmla="*/ 17 h 195"/>
                <a:gd name="T42" fmla="*/ 21 w 130"/>
                <a:gd name="T43" fmla="*/ 22 h 195"/>
                <a:gd name="T44" fmla="*/ 29 w 130"/>
                <a:gd name="T45" fmla="*/ 31 h 195"/>
                <a:gd name="T46" fmla="*/ 32 w 130"/>
                <a:gd name="T47" fmla="*/ 36 h 195"/>
                <a:gd name="T48" fmla="*/ 40 w 130"/>
                <a:gd name="T49" fmla="*/ 42 h 195"/>
                <a:gd name="T50" fmla="*/ 60 w 130"/>
                <a:gd name="T51" fmla="*/ 50 h 195"/>
                <a:gd name="T52" fmla="*/ 83 w 130"/>
                <a:gd name="T53" fmla="*/ 57 h 195"/>
                <a:gd name="T54" fmla="*/ 52 w 130"/>
                <a:gd name="T55" fmla="*/ 98 h 195"/>
                <a:gd name="T56" fmla="*/ 46 w 130"/>
                <a:gd name="T57" fmla="*/ 101 h 195"/>
                <a:gd name="T58" fmla="*/ 32 w 130"/>
                <a:gd name="T59" fmla="*/ 103 h 195"/>
                <a:gd name="T60" fmla="*/ 22 w 130"/>
                <a:gd name="T61" fmla="*/ 109 h 195"/>
                <a:gd name="T62" fmla="*/ 13 w 130"/>
                <a:gd name="T63" fmla="*/ 112 h 195"/>
                <a:gd name="T64" fmla="*/ 10 w 130"/>
                <a:gd name="T65" fmla="*/ 119 h 195"/>
                <a:gd name="T66" fmla="*/ 2 w 130"/>
                <a:gd name="T67" fmla="*/ 130 h 195"/>
                <a:gd name="T68" fmla="*/ 0 w 130"/>
                <a:gd name="T69" fmla="*/ 138 h 195"/>
                <a:gd name="T70" fmla="*/ 0 w 130"/>
                <a:gd name="T71" fmla="*/ 177 h 195"/>
                <a:gd name="T72" fmla="*/ 3 w 130"/>
                <a:gd name="T73" fmla="*/ 185 h 195"/>
                <a:gd name="T74" fmla="*/ 6 w 130"/>
                <a:gd name="T75" fmla="*/ 193 h 195"/>
                <a:gd name="T76" fmla="*/ 10 w 130"/>
                <a:gd name="T77" fmla="*/ 192 h 195"/>
                <a:gd name="T78" fmla="*/ 13 w 130"/>
                <a:gd name="T79" fmla="*/ 185 h 195"/>
                <a:gd name="T80" fmla="*/ 16 w 130"/>
                <a:gd name="T81" fmla="*/ 182 h 195"/>
                <a:gd name="T82" fmla="*/ 32 w 130"/>
                <a:gd name="T83" fmla="*/ 163 h 195"/>
                <a:gd name="T84" fmla="*/ 48 w 130"/>
                <a:gd name="T85" fmla="*/ 147 h 195"/>
                <a:gd name="T86" fmla="*/ 65 w 130"/>
                <a:gd name="T87" fmla="*/ 135 h 195"/>
                <a:gd name="T88" fmla="*/ 87 w 130"/>
                <a:gd name="T89" fmla="*/ 111 h 195"/>
                <a:gd name="T90" fmla="*/ 94 w 130"/>
                <a:gd name="T91" fmla="*/ 98 h 195"/>
                <a:gd name="T92" fmla="*/ 102 w 130"/>
                <a:gd name="T93" fmla="*/ 84 h 195"/>
                <a:gd name="T94" fmla="*/ 106 w 130"/>
                <a:gd name="T95" fmla="*/ 71 h 195"/>
                <a:gd name="T96" fmla="*/ 111 w 130"/>
                <a:gd name="T97" fmla="*/ 63 h 195"/>
                <a:gd name="T98" fmla="*/ 116 w 130"/>
                <a:gd name="T99" fmla="*/ 55 h 195"/>
                <a:gd name="T100" fmla="*/ 119 w 130"/>
                <a:gd name="T101" fmla="*/ 44 h 195"/>
                <a:gd name="T102" fmla="*/ 125 w 130"/>
                <a:gd name="T103" fmla="*/ 36 h 195"/>
                <a:gd name="T104" fmla="*/ 125 w 130"/>
                <a:gd name="T105" fmla="*/ 25 h 195"/>
                <a:gd name="T106" fmla="*/ 129 w 130"/>
                <a:gd name="T107" fmla="*/ 22 h 195"/>
                <a:gd name="T108" fmla="*/ 129 w 130"/>
                <a:gd name="T109" fmla="*/ 20 h 195"/>
                <a:gd name="T110" fmla="*/ 129 w 130"/>
                <a:gd name="T111" fmla="*/ 20 h 195"/>
                <a:gd name="T112" fmla="*/ 129 w 130"/>
                <a:gd name="T113" fmla="*/ 20 h 195"/>
                <a:gd name="T114" fmla="*/ 129 w 130"/>
                <a:gd name="T115" fmla="*/ 20 h 195"/>
                <a:gd name="T116" fmla="*/ 129 w 130"/>
                <a:gd name="T117" fmla="*/ 2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95">
                  <a:moveTo>
                    <a:pt x="129" y="20"/>
                  </a:moveTo>
                  <a:lnTo>
                    <a:pt x="129" y="22"/>
                  </a:lnTo>
                  <a:lnTo>
                    <a:pt x="125" y="22"/>
                  </a:lnTo>
                  <a:lnTo>
                    <a:pt x="129" y="20"/>
                  </a:lnTo>
                  <a:lnTo>
                    <a:pt x="129" y="17"/>
                  </a:lnTo>
                  <a:lnTo>
                    <a:pt x="129" y="12"/>
                  </a:lnTo>
                  <a:lnTo>
                    <a:pt x="129" y="8"/>
                  </a:lnTo>
                  <a:lnTo>
                    <a:pt x="129" y="3"/>
                  </a:lnTo>
                  <a:lnTo>
                    <a:pt x="129" y="1"/>
                  </a:lnTo>
                  <a:lnTo>
                    <a:pt x="125" y="0"/>
                  </a:lnTo>
                  <a:lnTo>
                    <a:pt x="122" y="0"/>
                  </a:lnTo>
                  <a:lnTo>
                    <a:pt x="119" y="1"/>
                  </a:lnTo>
                  <a:lnTo>
                    <a:pt x="116" y="4"/>
                  </a:lnTo>
                  <a:lnTo>
                    <a:pt x="113" y="6"/>
                  </a:lnTo>
                  <a:lnTo>
                    <a:pt x="108" y="6"/>
                  </a:lnTo>
                  <a:lnTo>
                    <a:pt x="103" y="9"/>
                  </a:lnTo>
                  <a:lnTo>
                    <a:pt x="98" y="9"/>
                  </a:lnTo>
                  <a:lnTo>
                    <a:pt x="95" y="9"/>
                  </a:lnTo>
                  <a:lnTo>
                    <a:pt x="94" y="9"/>
                  </a:lnTo>
                  <a:lnTo>
                    <a:pt x="87" y="11"/>
                  </a:lnTo>
                  <a:lnTo>
                    <a:pt x="84" y="11"/>
                  </a:lnTo>
                  <a:lnTo>
                    <a:pt x="83" y="11"/>
                  </a:lnTo>
                  <a:lnTo>
                    <a:pt x="79" y="11"/>
                  </a:lnTo>
                  <a:lnTo>
                    <a:pt x="78" y="12"/>
                  </a:lnTo>
                  <a:lnTo>
                    <a:pt x="73" y="15"/>
                  </a:lnTo>
                  <a:lnTo>
                    <a:pt x="68" y="17"/>
                  </a:lnTo>
                  <a:lnTo>
                    <a:pt x="64" y="17"/>
                  </a:lnTo>
                  <a:lnTo>
                    <a:pt x="59" y="15"/>
                  </a:lnTo>
                  <a:lnTo>
                    <a:pt x="57" y="17"/>
                  </a:lnTo>
                  <a:lnTo>
                    <a:pt x="51" y="22"/>
                  </a:lnTo>
                  <a:lnTo>
                    <a:pt x="46" y="22"/>
                  </a:lnTo>
                  <a:lnTo>
                    <a:pt x="43" y="22"/>
                  </a:lnTo>
                  <a:lnTo>
                    <a:pt x="38" y="20"/>
                  </a:lnTo>
                  <a:lnTo>
                    <a:pt x="35" y="17"/>
                  </a:lnTo>
                  <a:lnTo>
                    <a:pt x="32" y="11"/>
                  </a:lnTo>
                  <a:lnTo>
                    <a:pt x="29" y="8"/>
                  </a:lnTo>
                  <a:lnTo>
                    <a:pt x="29" y="6"/>
                  </a:lnTo>
                  <a:lnTo>
                    <a:pt x="25" y="9"/>
                  </a:lnTo>
                  <a:lnTo>
                    <a:pt x="24" y="11"/>
                  </a:lnTo>
                  <a:lnTo>
                    <a:pt x="24" y="12"/>
                  </a:lnTo>
                  <a:lnTo>
                    <a:pt x="22" y="12"/>
                  </a:lnTo>
                  <a:lnTo>
                    <a:pt x="21" y="17"/>
                  </a:lnTo>
                  <a:lnTo>
                    <a:pt x="21" y="20"/>
                  </a:lnTo>
                  <a:lnTo>
                    <a:pt x="21" y="22"/>
                  </a:lnTo>
                  <a:lnTo>
                    <a:pt x="24" y="25"/>
                  </a:lnTo>
                  <a:lnTo>
                    <a:pt x="29" y="31"/>
                  </a:lnTo>
                  <a:lnTo>
                    <a:pt x="29" y="34"/>
                  </a:lnTo>
                  <a:lnTo>
                    <a:pt x="32" y="36"/>
                  </a:lnTo>
                  <a:lnTo>
                    <a:pt x="35" y="39"/>
                  </a:lnTo>
                  <a:lnTo>
                    <a:pt x="40" y="42"/>
                  </a:lnTo>
                  <a:lnTo>
                    <a:pt x="48" y="46"/>
                  </a:lnTo>
                  <a:lnTo>
                    <a:pt x="60" y="50"/>
                  </a:lnTo>
                  <a:lnTo>
                    <a:pt x="76" y="57"/>
                  </a:lnTo>
                  <a:lnTo>
                    <a:pt x="83" y="57"/>
                  </a:lnTo>
                  <a:lnTo>
                    <a:pt x="87" y="57"/>
                  </a:lnTo>
                  <a:lnTo>
                    <a:pt x="52" y="98"/>
                  </a:lnTo>
                  <a:lnTo>
                    <a:pt x="51" y="101"/>
                  </a:lnTo>
                  <a:lnTo>
                    <a:pt x="46" y="101"/>
                  </a:lnTo>
                  <a:lnTo>
                    <a:pt x="38" y="100"/>
                  </a:lnTo>
                  <a:lnTo>
                    <a:pt x="32" y="103"/>
                  </a:lnTo>
                  <a:lnTo>
                    <a:pt x="25" y="108"/>
                  </a:lnTo>
                  <a:lnTo>
                    <a:pt x="22" y="109"/>
                  </a:lnTo>
                  <a:lnTo>
                    <a:pt x="19" y="111"/>
                  </a:lnTo>
                  <a:lnTo>
                    <a:pt x="13" y="112"/>
                  </a:lnTo>
                  <a:lnTo>
                    <a:pt x="13" y="115"/>
                  </a:lnTo>
                  <a:lnTo>
                    <a:pt x="10" y="119"/>
                  </a:lnTo>
                  <a:lnTo>
                    <a:pt x="3" y="125"/>
                  </a:lnTo>
                  <a:lnTo>
                    <a:pt x="2" y="130"/>
                  </a:lnTo>
                  <a:lnTo>
                    <a:pt x="0" y="135"/>
                  </a:lnTo>
                  <a:lnTo>
                    <a:pt x="0" y="138"/>
                  </a:lnTo>
                  <a:lnTo>
                    <a:pt x="0" y="141"/>
                  </a:lnTo>
                  <a:lnTo>
                    <a:pt x="0" y="177"/>
                  </a:lnTo>
                  <a:lnTo>
                    <a:pt x="0" y="182"/>
                  </a:lnTo>
                  <a:lnTo>
                    <a:pt x="3" y="185"/>
                  </a:lnTo>
                  <a:lnTo>
                    <a:pt x="6" y="192"/>
                  </a:lnTo>
                  <a:lnTo>
                    <a:pt x="6" y="193"/>
                  </a:lnTo>
                  <a:lnTo>
                    <a:pt x="6" y="195"/>
                  </a:lnTo>
                  <a:lnTo>
                    <a:pt x="10" y="192"/>
                  </a:lnTo>
                  <a:lnTo>
                    <a:pt x="10" y="192"/>
                  </a:lnTo>
                  <a:lnTo>
                    <a:pt x="13" y="185"/>
                  </a:lnTo>
                  <a:lnTo>
                    <a:pt x="14" y="185"/>
                  </a:lnTo>
                  <a:lnTo>
                    <a:pt x="16" y="182"/>
                  </a:lnTo>
                  <a:lnTo>
                    <a:pt x="21" y="176"/>
                  </a:lnTo>
                  <a:lnTo>
                    <a:pt x="32" y="163"/>
                  </a:lnTo>
                  <a:lnTo>
                    <a:pt x="43" y="154"/>
                  </a:lnTo>
                  <a:lnTo>
                    <a:pt x="48" y="147"/>
                  </a:lnTo>
                  <a:lnTo>
                    <a:pt x="54" y="144"/>
                  </a:lnTo>
                  <a:lnTo>
                    <a:pt x="65" y="135"/>
                  </a:lnTo>
                  <a:lnTo>
                    <a:pt x="76" y="125"/>
                  </a:lnTo>
                  <a:lnTo>
                    <a:pt x="87" y="111"/>
                  </a:lnTo>
                  <a:lnTo>
                    <a:pt x="91" y="104"/>
                  </a:lnTo>
                  <a:lnTo>
                    <a:pt x="94" y="98"/>
                  </a:lnTo>
                  <a:lnTo>
                    <a:pt x="97" y="92"/>
                  </a:lnTo>
                  <a:lnTo>
                    <a:pt x="102" y="84"/>
                  </a:lnTo>
                  <a:lnTo>
                    <a:pt x="103" y="79"/>
                  </a:lnTo>
                  <a:lnTo>
                    <a:pt x="106" y="71"/>
                  </a:lnTo>
                  <a:lnTo>
                    <a:pt x="110" y="66"/>
                  </a:lnTo>
                  <a:lnTo>
                    <a:pt x="111" y="63"/>
                  </a:lnTo>
                  <a:lnTo>
                    <a:pt x="113" y="57"/>
                  </a:lnTo>
                  <a:lnTo>
                    <a:pt x="116" y="55"/>
                  </a:lnTo>
                  <a:lnTo>
                    <a:pt x="118" y="49"/>
                  </a:lnTo>
                  <a:lnTo>
                    <a:pt x="119" y="44"/>
                  </a:lnTo>
                  <a:lnTo>
                    <a:pt x="122" y="39"/>
                  </a:lnTo>
                  <a:lnTo>
                    <a:pt x="125" y="36"/>
                  </a:lnTo>
                  <a:lnTo>
                    <a:pt x="125" y="31"/>
                  </a:lnTo>
                  <a:lnTo>
                    <a:pt x="125" y="25"/>
                  </a:lnTo>
                  <a:lnTo>
                    <a:pt x="125" y="22"/>
                  </a:lnTo>
                  <a:lnTo>
                    <a:pt x="129" y="22"/>
                  </a:lnTo>
                  <a:lnTo>
                    <a:pt x="130" y="22"/>
                  </a:lnTo>
                  <a:lnTo>
                    <a:pt x="129" y="20"/>
                  </a:lnTo>
                  <a:lnTo>
                    <a:pt x="129" y="20"/>
                  </a:lnTo>
                  <a:lnTo>
                    <a:pt x="129" y="20"/>
                  </a:lnTo>
                  <a:lnTo>
                    <a:pt x="129" y="20"/>
                  </a:lnTo>
                  <a:lnTo>
                    <a:pt x="129" y="20"/>
                  </a:lnTo>
                  <a:lnTo>
                    <a:pt x="129" y="20"/>
                  </a:lnTo>
                  <a:lnTo>
                    <a:pt x="129" y="20"/>
                  </a:lnTo>
                  <a:lnTo>
                    <a:pt x="129" y="20"/>
                  </a:lnTo>
                  <a:lnTo>
                    <a:pt x="129" y="2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3" name="Freeform 100">
              <a:extLst>
                <a:ext uri="{FF2B5EF4-FFF2-40B4-BE49-F238E27FC236}">
                  <a16:creationId xmlns:a16="http://schemas.microsoft.com/office/drawing/2014/main" id="{2BD6BE19-EE94-ECDE-0707-F165AEB8CCE4}"/>
                </a:ext>
              </a:extLst>
            </p:cNvPr>
            <p:cNvSpPr>
              <a:spLocks/>
            </p:cNvSpPr>
            <p:nvPr/>
          </p:nvSpPr>
          <p:spPr bwMode="auto">
            <a:xfrm>
              <a:off x="6713505" y="3547335"/>
              <a:ext cx="419454" cy="370107"/>
            </a:xfrm>
            <a:custGeom>
              <a:avLst/>
              <a:gdLst>
                <a:gd name="T0" fmla="*/ 38 w 187"/>
                <a:gd name="T1" fmla="*/ 22 h 165"/>
                <a:gd name="T2" fmla="*/ 37 w 187"/>
                <a:gd name="T3" fmla="*/ 31 h 165"/>
                <a:gd name="T4" fmla="*/ 33 w 187"/>
                <a:gd name="T5" fmla="*/ 33 h 165"/>
                <a:gd name="T6" fmla="*/ 27 w 187"/>
                <a:gd name="T7" fmla="*/ 43 h 165"/>
                <a:gd name="T8" fmla="*/ 24 w 187"/>
                <a:gd name="T9" fmla="*/ 49 h 165"/>
                <a:gd name="T10" fmla="*/ 24 w 187"/>
                <a:gd name="T11" fmla="*/ 55 h 165"/>
                <a:gd name="T12" fmla="*/ 19 w 187"/>
                <a:gd name="T13" fmla="*/ 58 h 165"/>
                <a:gd name="T14" fmla="*/ 16 w 187"/>
                <a:gd name="T15" fmla="*/ 63 h 165"/>
                <a:gd name="T16" fmla="*/ 13 w 187"/>
                <a:gd name="T17" fmla="*/ 74 h 165"/>
                <a:gd name="T18" fmla="*/ 13 w 187"/>
                <a:gd name="T19" fmla="*/ 89 h 165"/>
                <a:gd name="T20" fmla="*/ 3 w 187"/>
                <a:gd name="T21" fmla="*/ 93 h 165"/>
                <a:gd name="T22" fmla="*/ 2 w 187"/>
                <a:gd name="T23" fmla="*/ 98 h 165"/>
                <a:gd name="T24" fmla="*/ 0 w 187"/>
                <a:gd name="T25" fmla="*/ 103 h 165"/>
                <a:gd name="T26" fmla="*/ 13 w 187"/>
                <a:gd name="T27" fmla="*/ 109 h 165"/>
                <a:gd name="T28" fmla="*/ 21 w 187"/>
                <a:gd name="T29" fmla="*/ 119 h 165"/>
                <a:gd name="T30" fmla="*/ 25 w 187"/>
                <a:gd name="T31" fmla="*/ 133 h 165"/>
                <a:gd name="T32" fmla="*/ 30 w 187"/>
                <a:gd name="T33" fmla="*/ 136 h 165"/>
                <a:gd name="T34" fmla="*/ 33 w 187"/>
                <a:gd name="T35" fmla="*/ 139 h 165"/>
                <a:gd name="T36" fmla="*/ 35 w 187"/>
                <a:gd name="T37" fmla="*/ 146 h 165"/>
                <a:gd name="T38" fmla="*/ 37 w 187"/>
                <a:gd name="T39" fmla="*/ 149 h 165"/>
                <a:gd name="T40" fmla="*/ 48 w 187"/>
                <a:gd name="T41" fmla="*/ 151 h 165"/>
                <a:gd name="T42" fmla="*/ 56 w 187"/>
                <a:gd name="T43" fmla="*/ 155 h 165"/>
                <a:gd name="T44" fmla="*/ 65 w 187"/>
                <a:gd name="T45" fmla="*/ 162 h 165"/>
                <a:gd name="T46" fmla="*/ 75 w 187"/>
                <a:gd name="T47" fmla="*/ 165 h 165"/>
                <a:gd name="T48" fmla="*/ 83 w 187"/>
                <a:gd name="T49" fmla="*/ 165 h 165"/>
                <a:gd name="T50" fmla="*/ 92 w 187"/>
                <a:gd name="T51" fmla="*/ 155 h 165"/>
                <a:gd name="T52" fmla="*/ 100 w 187"/>
                <a:gd name="T53" fmla="*/ 155 h 165"/>
                <a:gd name="T54" fmla="*/ 108 w 187"/>
                <a:gd name="T55" fmla="*/ 158 h 165"/>
                <a:gd name="T56" fmla="*/ 114 w 187"/>
                <a:gd name="T57" fmla="*/ 155 h 165"/>
                <a:gd name="T58" fmla="*/ 125 w 187"/>
                <a:gd name="T59" fmla="*/ 151 h 165"/>
                <a:gd name="T60" fmla="*/ 146 w 187"/>
                <a:gd name="T61" fmla="*/ 144 h 165"/>
                <a:gd name="T62" fmla="*/ 187 w 187"/>
                <a:gd name="T63" fmla="*/ 100 h 165"/>
                <a:gd name="T64" fmla="*/ 160 w 187"/>
                <a:gd name="T65" fmla="*/ 93 h 165"/>
                <a:gd name="T66" fmla="*/ 135 w 187"/>
                <a:gd name="T67" fmla="*/ 82 h 165"/>
                <a:gd name="T68" fmla="*/ 129 w 187"/>
                <a:gd name="T69" fmla="*/ 74 h 165"/>
                <a:gd name="T70" fmla="*/ 122 w 187"/>
                <a:gd name="T71" fmla="*/ 63 h 165"/>
                <a:gd name="T72" fmla="*/ 122 w 187"/>
                <a:gd name="T73" fmla="*/ 55 h 165"/>
                <a:gd name="T74" fmla="*/ 111 w 187"/>
                <a:gd name="T75" fmla="*/ 57 h 165"/>
                <a:gd name="T76" fmla="*/ 110 w 187"/>
                <a:gd name="T77" fmla="*/ 47 h 165"/>
                <a:gd name="T78" fmla="*/ 114 w 187"/>
                <a:gd name="T79" fmla="*/ 39 h 165"/>
                <a:gd name="T80" fmla="*/ 113 w 187"/>
                <a:gd name="T81" fmla="*/ 31 h 165"/>
                <a:gd name="T82" fmla="*/ 105 w 187"/>
                <a:gd name="T83" fmla="*/ 22 h 165"/>
                <a:gd name="T84" fmla="*/ 97 w 187"/>
                <a:gd name="T85" fmla="*/ 12 h 165"/>
                <a:gd name="T86" fmla="*/ 87 w 187"/>
                <a:gd name="T87" fmla="*/ 8 h 165"/>
                <a:gd name="T88" fmla="*/ 78 w 187"/>
                <a:gd name="T89" fmla="*/ 4 h 165"/>
                <a:gd name="T90" fmla="*/ 73 w 187"/>
                <a:gd name="T91" fmla="*/ 4 h 165"/>
                <a:gd name="T92" fmla="*/ 65 w 187"/>
                <a:gd name="T93" fmla="*/ 8 h 165"/>
                <a:gd name="T94" fmla="*/ 62 w 187"/>
                <a:gd name="T95" fmla="*/ 1 h 165"/>
                <a:gd name="T96" fmla="*/ 54 w 187"/>
                <a:gd name="T97" fmla="*/ 9 h 165"/>
                <a:gd name="T98" fmla="*/ 48 w 187"/>
                <a:gd name="T99" fmla="*/ 8 h 165"/>
                <a:gd name="T100" fmla="*/ 41 w 187"/>
                <a:gd name="T101" fmla="*/ 9 h 165"/>
                <a:gd name="T102" fmla="*/ 40 w 187"/>
                <a:gd name="T103" fmla="*/ 17 h 165"/>
                <a:gd name="T104" fmla="*/ 40 w 187"/>
                <a:gd name="T105" fmla="*/ 17 h 165"/>
                <a:gd name="T106" fmla="*/ 40 w 187"/>
                <a:gd name="T107" fmla="*/ 1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165">
                  <a:moveTo>
                    <a:pt x="40" y="17"/>
                  </a:moveTo>
                  <a:lnTo>
                    <a:pt x="38" y="22"/>
                  </a:lnTo>
                  <a:lnTo>
                    <a:pt x="38" y="22"/>
                  </a:lnTo>
                  <a:lnTo>
                    <a:pt x="38" y="27"/>
                  </a:lnTo>
                  <a:lnTo>
                    <a:pt x="38" y="30"/>
                  </a:lnTo>
                  <a:lnTo>
                    <a:pt x="37" y="31"/>
                  </a:lnTo>
                  <a:lnTo>
                    <a:pt x="37" y="33"/>
                  </a:lnTo>
                  <a:lnTo>
                    <a:pt x="33" y="33"/>
                  </a:lnTo>
                  <a:lnTo>
                    <a:pt x="33" y="33"/>
                  </a:lnTo>
                  <a:lnTo>
                    <a:pt x="30" y="33"/>
                  </a:lnTo>
                  <a:lnTo>
                    <a:pt x="27" y="39"/>
                  </a:lnTo>
                  <a:lnTo>
                    <a:pt x="27" y="43"/>
                  </a:lnTo>
                  <a:lnTo>
                    <a:pt x="25" y="44"/>
                  </a:lnTo>
                  <a:lnTo>
                    <a:pt x="25" y="47"/>
                  </a:lnTo>
                  <a:lnTo>
                    <a:pt x="24" y="49"/>
                  </a:lnTo>
                  <a:lnTo>
                    <a:pt x="24" y="52"/>
                  </a:lnTo>
                  <a:lnTo>
                    <a:pt x="24" y="54"/>
                  </a:lnTo>
                  <a:lnTo>
                    <a:pt x="24" y="55"/>
                  </a:lnTo>
                  <a:lnTo>
                    <a:pt x="24" y="57"/>
                  </a:lnTo>
                  <a:lnTo>
                    <a:pt x="21" y="62"/>
                  </a:lnTo>
                  <a:lnTo>
                    <a:pt x="19" y="58"/>
                  </a:lnTo>
                  <a:lnTo>
                    <a:pt x="17" y="58"/>
                  </a:lnTo>
                  <a:lnTo>
                    <a:pt x="17" y="60"/>
                  </a:lnTo>
                  <a:lnTo>
                    <a:pt x="16" y="63"/>
                  </a:lnTo>
                  <a:lnTo>
                    <a:pt x="16" y="65"/>
                  </a:lnTo>
                  <a:lnTo>
                    <a:pt x="14" y="71"/>
                  </a:lnTo>
                  <a:lnTo>
                    <a:pt x="13" y="74"/>
                  </a:lnTo>
                  <a:lnTo>
                    <a:pt x="13" y="77"/>
                  </a:lnTo>
                  <a:lnTo>
                    <a:pt x="13" y="82"/>
                  </a:lnTo>
                  <a:lnTo>
                    <a:pt x="13" y="89"/>
                  </a:lnTo>
                  <a:lnTo>
                    <a:pt x="13" y="92"/>
                  </a:lnTo>
                  <a:lnTo>
                    <a:pt x="10" y="93"/>
                  </a:lnTo>
                  <a:lnTo>
                    <a:pt x="3" y="93"/>
                  </a:lnTo>
                  <a:lnTo>
                    <a:pt x="3" y="93"/>
                  </a:lnTo>
                  <a:lnTo>
                    <a:pt x="2" y="95"/>
                  </a:lnTo>
                  <a:lnTo>
                    <a:pt x="2" y="98"/>
                  </a:lnTo>
                  <a:lnTo>
                    <a:pt x="0" y="100"/>
                  </a:lnTo>
                  <a:lnTo>
                    <a:pt x="0" y="100"/>
                  </a:lnTo>
                  <a:lnTo>
                    <a:pt x="0" y="103"/>
                  </a:lnTo>
                  <a:lnTo>
                    <a:pt x="6" y="103"/>
                  </a:lnTo>
                  <a:lnTo>
                    <a:pt x="10" y="106"/>
                  </a:lnTo>
                  <a:lnTo>
                    <a:pt x="13" y="109"/>
                  </a:lnTo>
                  <a:lnTo>
                    <a:pt x="14" y="111"/>
                  </a:lnTo>
                  <a:lnTo>
                    <a:pt x="16" y="114"/>
                  </a:lnTo>
                  <a:lnTo>
                    <a:pt x="21" y="119"/>
                  </a:lnTo>
                  <a:lnTo>
                    <a:pt x="22" y="122"/>
                  </a:lnTo>
                  <a:lnTo>
                    <a:pt x="24" y="124"/>
                  </a:lnTo>
                  <a:lnTo>
                    <a:pt x="25" y="133"/>
                  </a:lnTo>
                  <a:lnTo>
                    <a:pt x="27" y="135"/>
                  </a:lnTo>
                  <a:lnTo>
                    <a:pt x="27" y="135"/>
                  </a:lnTo>
                  <a:lnTo>
                    <a:pt x="30" y="136"/>
                  </a:lnTo>
                  <a:lnTo>
                    <a:pt x="30" y="136"/>
                  </a:lnTo>
                  <a:lnTo>
                    <a:pt x="33" y="136"/>
                  </a:lnTo>
                  <a:lnTo>
                    <a:pt x="33" y="139"/>
                  </a:lnTo>
                  <a:lnTo>
                    <a:pt x="35" y="141"/>
                  </a:lnTo>
                  <a:lnTo>
                    <a:pt x="33" y="144"/>
                  </a:lnTo>
                  <a:lnTo>
                    <a:pt x="35" y="146"/>
                  </a:lnTo>
                  <a:lnTo>
                    <a:pt x="37" y="147"/>
                  </a:lnTo>
                  <a:lnTo>
                    <a:pt x="35" y="147"/>
                  </a:lnTo>
                  <a:lnTo>
                    <a:pt x="37" y="149"/>
                  </a:lnTo>
                  <a:lnTo>
                    <a:pt x="38" y="151"/>
                  </a:lnTo>
                  <a:lnTo>
                    <a:pt x="44" y="151"/>
                  </a:lnTo>
                  <a:lnTo>
                    <a:pt x="48" y="151"/>
                  </a:lnTo>
                  <a:lnTo>
                    <a:pt x="49" y="152"/>
                  </a:lnTo>
                  <a:lnTo>
                    <a:pt x="51" y="152"/>
                  </a:lnTo>
                  <a:lnTo>
                    <a:pt x="56" y="155"/>
                  </a:lnTo>
                  <a:lnTo>
                    <a:pt x="62" y="158"/>
                  </a:lnTo>
                  <a:lnTo>
                    <a:pt x="62" y="162"/>
                  </a:lnTo>
                  <a:lnTo>
                    <a:pt x="65" y="162"/>
                  </a:lnTo>
                  <a:lnTo>
                    <a:pt x="68" y="162"/>
                  </a:lnTo>
                  <a:lnTo>
                    <a:pt x="71" y="162"/>
                  </a:lnTo>
                  <a:lnTo>
                    <a:pt x="75" y="165"/>
                  </a:lnTo>
                  <a:lnTo>
                    <a:pt x="78" y="165"/>
                  </a:lnTo>
                  <a:lnTo>
                    <a:pt x="81" y="165"/>
                  </a:lnTo>
                  <a:lnTo>
                    <a:pt x="83" y="165"/>
                  </a:lnTo>
                  <a:lnTo>
                    <a:pt x="84" y="162"/>
                  </a:lnTo>
                  <a:lnTo>
                    <a:pt x="87" y="158"/>
                  </a:lnTo>
                  <a:lnTo>
                    <a:pt x="92" y="155"/>
                  </a:lnTo>
                  <a:lnTo>
                    <a:pt x="97" y="154"/>
                  </a:lnTo>
                  <a:lnTo>
                    <a:pt x="100" y="154"/>
                  </a:lnTo>
                  <a:lnTo>
                    <a:pt x="100" y="155"/>
                  </a:lnTo>
                  <a:lnTo>
                    <a:pt x="103" y="158"/>
                  </a:lnTo>
                  <a:lnTo>
                    <a:pt x="105" y="158"/>
                  </a:lnTo>
                  <a:lnTo>
                    <a:pt x="108" y="158"/>
                  </a:lnTo>
                  <a:lnTo>
                    <a:pt x="110" y="158"/>
                  </a:lnTo>
                  <a:lnTo>
                    <a:pt x="113" y="158"/>
                  </a:lnTo>
                  <a:lnTo>
                    <a:pt x="114" y="155"/>
                  </a:lnTo>
                  <a:lnTo>
                    <a:pt x="121" y="154"/>
                  </a:lnTo>
                  <a:lnTo>
                    <a:pt x="124" y="152"/>
                  </a:lnTo>
                  <a:lnTo>
                    <a:pt x="125" y="151"/>
                  </a:lnTo>
                  <a:lnTo>
                    <a:pt x="132" y="146"/>
                  </a:lnTo>
                  <a:lnTo>
                    <a:pt x="138" y="143"/>
                  </a:lnTo>
                  <a:lnTo>
                    <a:pt x="146" y="144"/>
                  </a:lnTo>
                  <a:lnTo>
                    <a:pt x="151" y="144"/>
                  </a:lnTo>
                  <a:lnTo>
                    <a:pt x="152" y="141"/>
                  </a:lnTo>
                  <a:lnTo>
                    <a:pt x="187" y="100"/>
                  </a:lnTo>
                  <a:lnTo>
                    <a:pt x="183" y="100"/>
                  </a:lnTo>
                  <a:lnTo>
                    <a:pt x="176" y="100"/>
                  </a:lnTo>
                  <a:lnTo>
                    <a:pt x="160" y="93"/>
                  </a:lnTo>
                  <a:lnTo>
                    <a:pt x="148" y="89"/>
                  </a:lnTo>
                  <a:lnTo>
                    <a:pt x="140" y="85"/>
                  </a:lnTo>
                  <a:lnTo>
                    <a:pt x="135" y="82"/>
                  </a:lnTo>
                  <a:lnTo>
                    <a:pt x="132" y="79"/>
                  </a:lnTo>
                  <a:lnTo>
                    <a:pt x="129" y="77"/>
                  </a:lnTo>
                  <a:lnTo>
                    <a:pt x="129" y="74"/>
                  </a:lnTo>
                  <a:lnTo>
                    <a:pt x="125" y="68"/>
                  </a:lnTo>
                  <a:lnTo>
                    <a:pt x="122" y="65"/>
                  </a:lnTo>
                  <a:lnTo>
                    <a:pt x="122" y="63"/>
                  </a:lnTo>
                  <a:lnTo>
                    <a:pt x="122" y="60"/>
                  </a:lnTo>
                  <a:lnTo>
                    <a:pt x="124" y="55"/>
                  </a:lnTo>
                  <a:lnTo>
                    <a:pt x="122" y="55"/>
                  </a:lnTo>
                  <a:lnTo>
                    <a:pt x="119" y="55"/>
                  </a:lnTo>
                  <a:lnTo>
                    <a:pt x="114" y="57"/>
                  </a:lnTo>
                  <a:lnTo>
                    <a:pt x="111" y="57"/>
                  </a:lnTo>
                  <a:lnTo>
                    <a:pt x="110" y="55"/>
                  </a:lnTo>
                  <a:lnTo>
                    <a:pt x="110" y="51"/>
                  </a:lnTo>
                  <a:lnTo>
                    <a:pt x="110" y="47"/>
                  </a:lnTo>
                  <a:lnTo>
                    <a:pt x="110" y="44"/>
                  </a:lnTo>
                  <a:lnTo>
                    <a:pt x="114" y="39"/>
                  </a:lnTo>
                  <a:lnTo>
                    <a:pt x="114" y="39"/>
                  </a:lnTo>
                  <a:lnTo>
                    <a:pt x="116" y="36"/>
                  </a:lnTo>
                  <a:lnTo>
                    <a:pt x="116" y="33"/>
                  </a:lnTo>
                  <a:lnTo>
                    <a:pt x="113" y="31"/>
                  </a:lnTo>
                  <a:lnTo>
                    <a:pt x="110" y="28"/>
                  </a:lnTo>
                  <a:lnTo>
                    <a:pt x="108" y="25"/>
                  </a:lnTo>
                  <a:lnTo>
                    <a:pt x="105" y="22"/>
                  </a:lnTo>
                  <a:lnTo>
                    <a:pt x="103" y="20"/>
                  </a:lnTo>
                  <a:lnTo>
                    <a:pt x="100" y="14"/>
                  </a:lnTo>
                  <a:lnTo>
                    <a:pt x="97" y="12"/>
                  </a:lnTo>
                  <a:lnTo>
                    <a:pt x="94" y="9"/>
                  </a:lnTo>
                  <a:lnTo>
                    <a:pt x="91" y="8"/>
                  </a:lnTo>
                  <a:lnTo>
                    <a:pt x="87" y="8"/>
                  </a:lnTo>
                  <a:lnTo>
                    <a:pt x="84" y="8"/>
                  </a:lnTo>
                  <a:lnTo>
                    <a:pt x="79" y="4"/>
                  </a:lnTo>
                  <a:lnTo>
                    <a:pt x="78" y="4"/>
                  </a:lnTo>
                  <a:lnTo>
                    <a:pt x="75" y="8"/>
                  </a:lnTo>
                  <a:lnTo>
                    <a:pt x="75" y="4"/>
                  </a:lnTo>
                  <a:lnTo>
                    <a:pt x="73" y="4"/>
                  </a:lnTo>
                  <a:lnTo>
                    <a:pt x="71" y="4"/>
                  </a:lnTo>
                  <a:lnTo>
                    <a:pt x="68" y="8"/>
                  </a:lnTo>
                  <a:lnTo>
                    <a:pt x="65" y="8"/>
                  </a:lnTo>
                  <a:lnTo>
                    <a:pt x="65" y="4"/>
                  </a:lnTo>
                  <a:lnTo>
                    <a:pt x="62" y="4"/>
                  </a:lnTo>
                  <a:lnTo>
                    <a:pt x="62" y="1"/>
                  </a:lnTo>
                  <a:lnTo>
                    <a:pt x="59" y="0"/>
                  </a:lnTo>
                  <a:lnTo>
                    <a:pt x="56" y="11"/>
                  </a:lnTo>
                  <a:lnTo>
                    <a:pt x="54" y="9"/>
                  </a:lnTo>
                  <a:lnTo>
                    <a:pt x="51" y="8"/>
                  </a:lnTo>
                  <a:lnTo>
                    <a:pt x="49" y="8"/>
                  </a:lnTo>
                  <a:lnTo>
                    <a:pt x="48" y="8"/>
                  </a:lnTo>
                  <a:lnTo>
                    <a:pt x="43" y="8"/>
                  </a:lnTo>
                  <a:lnTo>
                    <a:pt x="41" y="9"/>
                  </a:lnTo>
                  <a:lnTo>
                    <a:pt x="41" y="9"/>
                  </a:lnTo>
                  <a:lnTo>
                    <a:pt x="41" y="11"/>
                  </a:lnTo>
                  <a:lnTo>
                    <a:pt x="40" y="17"/>
                  </a:lnTo>
                  <a:lnTo>
                    <a:pt x="40" y="17"/>
                  </a:lnTo>
                  <a:lnTo>
                    <a:pt x="40" y="17"/>
                  </a:lnTo>
                  <a:lnTo>
                    <a:pt x="40" y="17"/>
                  </a:lnTo>
                  <a:lnTo>
                    <a:pt x="40" y="17"/>
                  </a:lnTo>
                  <a:lnTo>
                    <a:pt x="40" y="17"/>
                  </a:lnTo>
                  <a:lnTo>
                    <a:pt x="40" y="17"/>
                  </a:lnTo>
                  <a:lnTo>
                    <a:pt x="40" y="17"/>
                  </a:lnTo>
                  <a:lnTo>
                    <a:pt x="40" y="1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4" name="Freeform 106">
              <a:extLst>
                <a:ext uri="{FF2B5EF4-FFF2-40B4-BE49-F238E27FC236}">
                  <a16:creationId xmlns:a16="http://schemas.microsoft.com/office/drawing/2014/main" id="{EFEFD5C9-0AE6-0C78-97D8-A5E1D74CD4ED}"/>
                </a:ext>
              </a:extLst>
            </p:cNvPr>
            <p:cNvSpPr>
              <a:spLocks/>
            </p:cNvSpPr>
            <p:nvPr/>
          </p:nvSpPr>
          <p:spPr bwMode="auto">
            <a:xfrm>
              <a:off x="6738180" y="3877066"/>
              <a:ext cx="228793" cy="300571"/>
            </a:xfrm>
            <a:custGeom>
              <a:avLst/>
              <a:gdLst>
                <a:gd name="T0" fmla="*/ 95 w 102"/>
                <a:gd name="T1" fmla="*/ 88 h 134"/>
                <a:gd name="T2" fmla="*/ 89 w 102"/>
                <a:gd name="T3" fmla="*/ 78 h 134"/>
                <a:gd name="T4" fmla="*/ 89 w 102"/>
                <a:gd name="T5" fmla="*/ 37 h 134"/>
                <a:gd name="T6" fmla="*/ 89 w 102"/>
                <a:gd name="T7" fmla="*/ 31 h 134"/>
                <a:gd name="T8" fmla="*/ 94 w 102"/>
                <a:gd name="T9" fmla="*/ 21 h 134"/>
                <a:gd name="T10" fmla="*/ 102 w 102"/>
                <a:gd name="T11" fmla="*/ 11 h 134"/>
                <a:gd name="T12" fmla="*/ 97 w 102"/>
                <a:gd name="T13" fmla="*/ 11 h 134"/>
                <a:gd name="T14" fmla="*/ 92 w 102"/>
                <a:gd name="T15" fmla="*/ 11 h 134"/>
                <a:gd name="T16" fmla="*/ 89 w 102"/>
                <a:gd name="T17" fmla="*/ 7 h 134"/>
                <a:gd name="T18" fmla="*/ 81 w 102"/>
                <a:gd name="T19" fmla="*/ 8 h 134"/>
                <a:gd name="T20" fmla="*/ 73 w 102"/>
                <a:gd name="T21" fmla="*/ 15 h 134"/>
                <a:gd name="T22" fmla="*/ 70 w 102"/>
                <a:gd name="T23" fmla="*/ 18 h 134"/>
                <a:gd name="T24" fmla="*/ 64 w 102"/>
                <a:gd name="T25" fmla="*/ 18 h 134"/>
                <a:gd name="T26" fmla="*/ 57 w 102"/>
                <a:gd name="T27" fmla="*/ 15 h 134"/>
                <a:gd name="T28" fmla="*/ 51 w 102"/>
                <a:gd name="T29" fmla="*/ 15 h 134"/>
                <a:gd name="T30" fmla="*/ 43 w 102"/>
                <a:gd name="T31" fmla="*/ 8 h 134"/>
                <a:gd name="T32" fmla="*/ 37 w 102"/>
                <a:gd name="T33" fmla="*/ 5 h 134"/>
                <a:gd name="T34" fmla="*/ 33 w 102"/>
                <a:gd name="T35" fmla="*/ 4 h 134"/>
                <a:gd name="T36" fmla="*/ 26 w 102"/>
                <a:gd name="T37" fmla="*/ 2 h 134"/>
                <a:gd name="T38" fmla="*/ 16 w 102"/>
                <a:gd name="T39" fmla="*/ 0 h 134"/>
                <a:gd name="T40" fmla="*/ 5 w 102"/>
                <a:gd name="T41" fmla="*/ 4 h 134"/>
                <a:gd name="T42" fmla="*/ 0 w 102"/>
                <a:gd name="T43" fmla="*/ 7 h 134"/>
                <a:gd name="T44" fmla="*/ 2 w 102"/>
                <a:gd name="T45" fmla="*/ 11 h 134"/>
                <a:gd name="T46" fmla="*/ 5 w 102"/>
                <a:gd name="T47" fmla="*/ 15 h 134"/>
                <a:gd name="T48" fmla="*/ 5 w 102"/>
                <a:gd name="T49" fmla="*/ 18 h 134"/>
                <a:gd name="T50" fmla="*/ 8 w 102"/>
                <a:gd name="T51" fmla="*/ 21 h 134"/>
                <a:gd name="T52" fmla="*/ 11 w 102"/>
                <a:gd name="T53" fmla="*/ 31 h 134"/>
                <a:gd name="T54" fmla="*/ 14 w 102"/>
                <a:gd name="T55" fmla="*/ 40 h 134"/>
                <a:gd name="T56" fmla="*/ 11 w 102"/>
                <a:gd name="T57" fmla="*/ 46 h 134"/>
                <a:gd name="T58" fmla="*/ 11 w 102"/>
                <a:gd name="T59" fmla="*/ 50 h 134"/>
                <a:gd name="T60" fmla="*/ 5 w 102"/>
                <a:gd name="T61" fmla="*/ 53 h 134"/>
                <a:gd name="T62" fmla="*/ 2 w 102"/>
                <a:gd name="T63" fmla="*/ 59 h 134"/>
                <a:gd name="T64" fmla="*/ 2 w 102"/>
                <a:gd name="T65" fmla="*/ 70 h 134"/>
                <a:gd name="T66" fmla="*/ 8 w 102"/>
                <a:gd name="T67" fmla="*/ 70 h 134"/>
                <a:gd name="T68" fmla="*/ 11 w 102"/>
                <a:gd name="T69" fmla="*/ 72 h 134"/>
                <a:gd name="T70" fmla="*/ 5 w 102"/>
                <a:gd name="T71" fmla="*/ 75 h 134"/>
                <a:gd name="T72" fmla="*/ 2 w 102"/>
                <a:gd name="T73" fmla="*/ 78 h 134"/>
                <a:gd name="T74" fmla="*/ 2 w 102"/>
                <a:gd name="T75" fmla="*/ 81 h 134"/>
                <a:gd name="T76" fmla="*/ 46 w 102"/>
                <a:gd name="T77" fmla="*/ 111 h 134"/>
                <a:gd name="T78" fmla="*/ 46 w 102"/>
                <a:gd name="T79" fmla="*/ 115 h 134"/>
                <a:gd name="T80" fmla="*/ 48 w 102"/>
                <a:gd name="T81" fmla="*/ 118 h 134"/>
                <a:gd name="T82" fmla="*/ 62 w 102"/>
                <a:gd name="T83" fmla="*/ 131 h 134"/>
                <a:gd name="T84" fmla="*/ 67 w 102"/>
                <a:gd name="T85" fmla="*/ 134 h 134"/>
                <a:gd name="T86" fmla="*/ 70 w 102"/>
                <a:gd name="T87" fmla="*/ 134 h 134"/>
                <a:gd name="T88" fmla="*/ 72 w 102"/>
                <a:gd name="T89" fmla="*/ 131 h 134"/>
                <a:gd name="T90" fmla="*/ 73 w 102"/>
                <a:gd name="T91" fmla="*/ 126 h 134"/>
                <a:gd name="T92" fmla="*/ 75 w 102"/>
                <a:gd name="T93" fmla="*/ 121 h 134"/>
                <a:gd name="T94" fmla="*/ 80 w 102"/>
                <a:gd name="T95" fmla="*/ 113 h 134"/>
                <a:gd name="T96" fmla="*/ 81 w 102"/>
                <a:gd name="T97" fmla="*/ 105 h 134"/>
                <a:gd name="T98" fmla="*/ 83 w 102"/>
                <a:gd name="T99" fmla="*/ 105 h 134"/>
                <a:gd name="T100" fmla="*/ 86 w 102"/>
                <a:gd name="T101" fmla="*/ 102 h 134"/>
                <a:gd name="T102" fmla="*/ 89 w 102"/>
                <a:gd name="T103" fmla="*/ 102 h 134"/>
                <a:gd name="T104" fmla="*/ 89 w 102"/>
                <a:gd name="T105" fmla="*/ 96 h 134"/>
                <a:gd name="T106" fmla="*/ 89 w 102"/>
                <a:gd name="T107" fmla="*/ 96 h 134"/>
                <a:gd name="T108" fmla="*/ 94 w 102"/>
                <a:gd name="T109" fmla="*/ 96 h 134"/>
                <a:gd name="T110" fmla="*/ 100 w 102"/>
                <a:gd name="T111" fmla="*/ 88 h 134"/>
                <a:gd name="T112" fmla="*/ 97 w 102"/>
                <a:gd name="T113" fmla="*/ 89 h 134"/>
                <a:gd name="T114" fmla="*/ 97 w 102"/>
                <a:gd name="T115" fmla="*/ 89 h 134"/>
                <a:gd name="T116" fmla="*/ 97 w 102"/>
                <a:gd name="T117" fmla="*/ 89 h 134"/>
                <a:gd name="T118" fmla="*/ 97 w 102"/>
                <a:gd name="T119" fmla="*/ 89 h 134"/>
                <a:gd name="T120" fmla="*/ 97 w 102"/>
                <a:gd name="T121" fmla="*/ 8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34">
                  <a:moveTo>
                    <a:pt x="97" y="89"/>
                  </a:moveTo>
                  <a:lnTo>
                    <a:pt x="95" y="88"/>
                  </a:lnTo>
                  <a:lnTo>
                    <a:pt x="92" y="81"/>
                  </a:lnTo>
                  <a:lnTo>
                    <a:pt x="89" y="78"/>
                  </a:lnTo>
                  <a:lnTo>
                    <a:pt x="89" y="73"/>
                  </a:lnTo>
                  <a:lnTo>
                    <a:pt x="89" y="37"/>
                  </a:lnTo>
                  <a:lnTo>
                    <a:pt x="89" y="34"/>
                  </a:lnTo>
                  <a:lnTo>
                    <a:pt x="89" y="31"/>
                  </a:lnTo>
                  <a:lnTo>
                    <a:pt x="92" y="26"/>
                  </a:lnTo>
                  <a:lnTo>
                    <a:pt x="94" y="21"/>
                  </a:lnTo>
                  <a:lnTo>
                    <a:pt x="99" y="15"/>
                  </a:lnTo>
                  <a:lnTo>
                    <a:pt x="102" y="11"/>
                  </a:lnTo>
                  <a:lnTo>
                    <a:pt x="99" y="11"/>
                  </a:lnTo>
                  <a:lnTo>
                    <a:pt x="97" y="11"/>
                  </a:lnTo>
                  <a:lnTo>
                    <a:pt x="94" y="11"/>
                  </a:lnTo>
                  <a:lnTo>
                    <a:pt x="92" y="11"/>
                  </a:lnTo>
                  <a:lnTo>
                    <a:pt x="89" y="8"/>
                  </a:lnTo>
                  <a:lnTo>
                    <a:pt x="89" y="7"/>
                  </a:lnTo>
                  <a:lnTo>
                    <a:pt x="86" y="7"/>
                  </a:lnTo>
                  <a:lnTo>
                    <a:pt x="81" y="8"/>
                  </a:lnTo>
                  <a:lnTo>
                    <a:pt x="76" y="11"/>
                  </a:lnTo>
                  <a:lnTo>
                    <a:pt x="73" y="15"/>
                  </a:lnTo>
                  <a:lnTo>
                    <a:pt x="72" y="18"/>
                  </a:lnTo>
                  <a:lnTo>
                    <a:pt x="70" y="18"/>
                  </a:lnTo>
                  <a:lnTo>
                    <a:pt x="67" y="18"/>
                  </a:lnTo>
                  <a:lnTo>
                    <a:pt x="64" y="18"/>
                  </a:lnTo>
                  <a:lnTo>
                    <a:pt x="60" y="15"/>
                  </a:lnTo>
                  <a:lnTo>
                    <a:pt x="57" y="15"/>
                  </a:lnTo>
                  <a:lnTo>
                    <a:pt x="54" y="15"/>
                  </a:lnTo>
                  <a:lnTo>
                    <a:pt x="51" y="15"/>
                  </a:lnTo>
                  <a:lnTo>
                    <a:pt x="49" y="11"/>
                  </a:lnTo>
                  <a:lnTo>
                    <a:pt x="43" y="8"/>
                  </a:lnTo>
                  <a:lnTo>
                    <a:pt x="40" y="5"/>
                  </a:lnTo>
                  <a:lnTo>
                    <a:pt x="37" y="5"/>
                  </a:lnTo>
                  <a:lnTo>
                    <a:pt x="37" y="4"/>
                  </a:lnTo>
                  <a:lnTo>
                    <a:pt x="33" y="4"/>
                  </a:lnTo>
                  <a:lnTo>
                    <a:pt x="27" y="4"/>
                  </a:lnTo>
                  <a:lnTo>
                    <a:pt x="26" y="2"/>
                  </a:lnTo>
                  <a:lnTo>
                    <a:pt x="24" y="0"/>
                  </a:lnTo>
                  <a:lnTo>
                    <a:pt x="16" y="0"/>
                  </a:lnTo>
                  <a:lnTo>
                    <a:pt x="5" y="2"/>
                  </a:lnTo>
                  <a:lnTo>
                    <a:pt x="5" y="4"/>
                  </a:lnTo>
                  <a:lnTo>
                    <a:pt x="2" y="5"/>
                  </a:lnTo>
                  <a:lnTo>
                    <a:pt x="0" y="7"/>
                  </a:lnTo>
                  <a:lnTo>
                    <a:pt x="2" y="8"/>
                  </a:lnTo>
                  <a:lnTo>
                    <a:pt x="2" y="11"/>
                  </a:lnTo>
                  <a:lnTo>
                    <a:pt x="2" y="11"/>
                  </a:lnTo>
                  <a:lnTo>
                    <a:pt x="5" y="15"/>
                  </a:lnTo>
                  <a:lnTo>
                    <a:pt x="5" y="15"/>
                  </a:lnTo>
                  <a:lnTo>
                    <a:pt x="5" y="18"/>
                  </a:lnTo>
                  <a:lnTo>
                    <a:pt x="5" y="21"/>
                  </a:lnTo>
                  <a:lnTo>
                    <a:pt x="8" y="21"/>
                  </a:lnTo>
                  <a:lnTo>
                    <a:pt x="11" y="27"/>
                  </a:lnTo>
                  <a:lnTo>
                    <a:pt x="11" y="31"/>
                  </a:lnTo>
                  <a:lnTo>
                    <a:pt x="13" y="37"/>
                  </a:lnTo>
                  <a:lnTo>
                    <a:pt x="14" y="40"/>
                  </a:lnTo>
                  <a:lnTo>
                    <a:pt x="13" y="43"/>
                  </a:lnTo>
                  <a:lnTo>
                    <a:pt x="11" y="46"/>
                  </a:lnTo>
                  <a:lnTo>
                    <a:pt x="11" y="50"/>
                  </a:lnTo>
                  <a:lnTo>
                    <a:pt x="11" y="50"/>
                  </a:lnTo>
                  <a:lnTo>
                    <a:pt x="8" y="53"/>
                  </a:lnTo>
                  <a:lnTo>
                    <a:pt x="5" y="53"/>
                  </a:lnTo>
                  <a:lnTo>
                    <a:pt x="5" y="56"/>
                  </a:lnTo>
                  <a:lnTo>
                    <a:pt x="2" y="59"/>
                  </a:lnTo>
                  <a:lnTo>
                    <a:pt x="0" y="65"/>
                  </a:lnTo>
                  <a:lnTo>
                    <a:pt x="2" y="70"/>
                  </a:lnTo>
                  <a:lnTo>
                    <a:pt x="5" y="72"/>
                  </a:lnTo>
                  <a:lnTo>
                    <a:pt x="8" y="70"/>
                  </a:lnTo>
                  <a:lnTo>
                    <a:pt x="8" y="70"/>
                  </a:lnTo>
                  <a:lnTo>
                    <a:pt x="11" y="72"/>
                  </a:lnTo>
                  <a:lnTo>
                    <a:pt x="5" y="73"/>
                  </a:lnTo>
                  <a:lnTo>
                    <a:pt x="5" y="75"/>
                  </a:lnTo>
                  <a:lnTo>
                    <a:pt x="2" y="75"/>
                  </a:lnTo>
                  <a:lnTo>
                    <a:pt x="2" y="78"/>
                  </a:lnTo>
                  <a:lnTo>
                    <a:pt x="2" y="81"/>
                  </a:lnTo>
                  <a:lnTo>
                    <a:pt x="2" y="81"/>
                  </a:lnTo>
                  <a:lnTo>
                    <a:pt x="43" y="108"/>
                  </a:lnTo>
                  <a:lnTo>
                    <a:pt x="46" y="111"/>
                  </a:lnTo>
                  <a:lnTo>
                    <a:pt x="48" y="113"/>
                  </a:lnTo>
                  <a:lnTo>
                    <a:pt x="46" y="115"/>
                  </a:lnTo>
                  <a:lnTo>
                    <a:pt x="46" y="118"/>
                  </a:lnTo>
                  <a:lnTo>
                    <a:pt x="48" y="118"/>
                  </a:lnTo>
                  <a:lnTo>
                    <a:pt x="54" y="126"/>
                  </a:lnTo>
                  <a:lnTo>
                    <a:pt x="62" y="131"/>
                  </a:lnTo>
                  <a:lnTo>
                    <a:pt x="65" y="134"/>
                  </a:lnTo>
                  <a:lnTo>
                    <a:pt x="67" y="134"/>
                  </a:lnTo>
                  <a:lnTo>
                    <a:pt x="68" y="134"/>
                  </a:lnTo>
                  <a:lnTo>
                    <a:pt x="70" y="134"/>
                  </a:lnTo>
                  <a:lnTo>
                    <a:pt x="70" y="134"/>
                  </a:lnTo>
                  <a:lnTo>
                    <a:pt x="72" y="131"/>
                  </a:lnTo>
                  <a:lnTo>
                    <a:pt x="73" y="127"/>
                  </a:lnTo>
                  <a:lnTo>
                    <a:pt x="73" y="126"/>
                  </a:lnTo>
                  <a:lnTo>
                    <a:pt x="75" y="124"/>
                  </a:lnTo>
                  <a:lnTo>
                    <a:pt x="75" y="121"/>
                  </a:lnTo>
                  <a:lnTo>
                    <a:pt x="78" y="115"/>
                  </a:lnTo>
                  <a:lnTo>
                    <a:pt x="80" y="113"/>
                  </a:lnTo>
                  <a:lnTo>
                    <a:pt x="81" y="111"/>
                  </a:lnTo>
                  <a:lnTo>
                    <a:pt x="81" y="105"/>
                  </a:lnTo>
                  <a:lnTo>
                    <a:pt x="83" y="105"/>
                  </a:lnTo>
                  <a:lnTo>
                    <a:pt x="83" y="105"/>
                  </a:lnTo>
                  <a:lnTo>
                    <a:pt x="86" y="102"/>
                  </a:lnTo>
                  <a:lnTo>
                    <a:pt x="86" y="102"/>
                  </a:lnTo>
                  <a:lnTo>
                    <a:pt x="89" y="100"/>
                  </a:lnTo>
                  <a:lnTo>
                    <a:pt x="89" y="102"/>
                  </a:lnTo>
                  <a:lnTo>
                    <a:pt x="89" y="99"/>
                  </a:lnTo>
                  <a:lnTo>
                    <a:pt x="89" y="96"/>
                  </a:lnTo>
                  <a:lnTo>
                    <a:pt x="89" y="97"/>
                  </a:lnTo>
                  <a:lnTo>
                    <a:pt x="89" y="96"/>
                  </a:lnTo>
                  <a:lnTo>
                    <a:pt x="92" y="97"/>
                  </a:lnTo>
                  <a:lnTo>
                    <a:pt x="94" y="96"/>
                  </a:lnTo>
                  <a:lnTo>
                    <a:pt x="97" y="92"/>
                  </a:lnTo>
                  <a:lnTo>
                    <a:pt x="100" y="88"/>
                  </a:lnTo>
                  <a:lnTo>
                    <a:pt x="97" y="91"/>
                  </a:lnTo>
                  <a:lnTo>
                    <a:pt x="97" y="89"/>
                  </a:lnTo>
                  <a:lnTo>
                    <a:pt x="97" y="89"/>
                  </a:lnTo>
                  <a:lnTo>
                    <a:pt x="97" y="89"/>
                  </a:lnTo>
                  <a:lnTo>
                    <a:pt x="97" y="89"/>
                  </a:lnTo>
                  <a:lnTo>
                    <a:pt x="97" y="89"/>
                  </a:lnTo>
                  <a:lnTo>
                    <a:pt x="97" y="89"/>
                  </a:lnTo>
                  <a:lnTo>
                    <a:pt x="97" y="89"/>
                  </a:lnTo>
                  <a:lnTo>
                    <a:pt x="97" y="89"/>
                  </a:lnTo>
                  <a:lnTo>
                    <a:pt x="97" y="8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5" name="Freeform 126">
              <a:extLst>
                <a:ext uri="{FF2B5EF4-FFF2-40B4-BE49-F238E27FC236}">
                  <a16:creationId xmlns:a16="http://schemas.microsoft.com/office/drawing/2014/main" id="{98BD7045-DBA8-885F-B93F-2575703343E0}"/>
                </a:ext>
              </a:extLst>
            </p:cNvPr>
            <p:cNvSpPr>
              <a:spLocks/>
            </p:cNvSpPr>
            <p:nvPr/>
          </p:nvSpPr>
          <p:spPr bwMode="auto">
            <a:xfrm>
              <a:off x="6390503" y="3282652"/>
              <a:ext cx="468802" cy="634789"/>
            </a:xfrm>
            <a:custGeom>
              <a:avLst/>
              <a:gdLst>
                <a:gd name="T0" fmla="*/ 203 w 209"/>
                <a:gd name="T1" fmla="*/ 70 h 283"/>
                <a:gd name="T2" fmla="*/ 192 w 209"/>
                <a:gd name="T3" fmla="*/ 57 h 283"/>
                <a:gd name="T4" fmla="*/ 188 w 209"/>
                <a:gd name="T5" fmla="*/ 32 h 283"/>
                <a:gd name="T6" fmla="*/ 188 w 209"/>
                <a:gd name="T7" fmla="*/ 26 h 283"/>
                <a:gd name="T8" fmla="*/ 179 w 209"/>
                <a:gd name="T9" fmla="*/ 10 h 283"/>
                <a:gd name="T10" fmla="*/ 163 w 209"/>
                <a:gd name="T11" fmla="*/ 5 h 283"/>
                <a:gd name="T12" fmla="*/ 157 w 209"/>
                <a:gd name="T13" fmla="*/ 11 h 283"/>
                <a:gd name="T14" fmla="*/ 149 w 209"/>
                <a:gd name="T15" fmla="*/ 19 h 283"/>
                <a:gd name="T16" fmla="*/ 125 w 209"/>
                <a:gd name="T17" fmla="*/ 16 h 283"/>
                <a:gd name="T18" fmla="*/ 114 w 209"/>
                <a:gd name="T19" fmla="*/ 16 h 283"/>
                <a:gd name="T20" fmla="*/ 38 w 209"/>
                <a:gd name="T21" fmla="*/ 45 h 283"/>
                <a:gd name="T22" fmla="*/ 25 w 209"/>
                <a:gd name="T23" fmla="*/ 54 h 283"/>
                <a:gd name="T24" fmla="*/ 17 w 209"/>
                <a:gd name="T25" fmla="*/ 107 h 283"/>
                <a:gd name="T26" fmla="*/ 14 w 209"/>
                <a:gd name="T27" fmla="*/ 113 h 283"/>
                <a:gd name="T28" fmla="*/ 6 w 209"/>
                <a:gd name="T29" fmla="*/ 122 h 283"/>
                <a:gd name="T30" fmla="*/ 3 w 209"/>
                <a:gd name="T31" fmla="*/ 135 h 283"/>
                <a:gd name="T32" fmla="*/ 0 w 209"/>
                <a:gd name="T33" fmla="*/ 148 h 283"/>
                <a:gd name="T34" fmla="*/ 7 w 209"/>
                <a:gd name="T35" fmla="*/ 151 h 283"/>
                <a:gd name="T36" fmla="*/ 9 w 209"/>
                <a:gd name="T37" fmla="*/ 157 h 283"/>
                <a:gd name="T38" fmla="*/ 9 w 209"/>
                <a:gd name="T39" fmla="*/ 165 h 283"/>
                <a:gd name="T40" fmla="*/ 12 w 209"/>
                <a:gd name="T41" fmla="*/ 175 h 283"/>
                <a:gd name="T42" fmla="*/ 19 w 209"/>
                <a:gd name="T43" fmla="*/ 181 h 283"/>
                <a:gd name="T44" fmla="*/ 22 w 209"/>
                <a:gd name="T45" fmla="*/ 202 h 283"/>
                <a:gd name="T46" fmla="*/ 31 w 209"/>
                <a:gd name="T47" fmla="*/ 208 h 283"/>
                <a:gd name="T48" fmla="*/ 34 w 209"/>
                <a:gd name="T49" fmla="*/ 215 h 283"/>
                <a:gd name="T50" fmla="*/ 42 w 209"/>
                <a:gd name="T51" fmla="*/ 221 h 283"/>
                <a:gd name="T52" fmla="*/ 47 w 209"/>
                <a:gd name="T53" fmla="*/ 227 h 283"/>
                <a:gd name="T54" fmla="*/ 58 w 209"/>
                <a:gd name="T55" fmla="*/ 237 h 283"/>
                <a:gd name="T56" fmla="*/ 60 w 209"/>
                <a:gd name="T57" fmla="*/ 242 h 283"/>
                <a:gd name="T58" fmla="*/ 66 w 209"/>
                <a:gd name="T59" fmla="*/ 248 h 283"/>
                <a:gd name="T60" fmla="*/ 69 w 209"/>
                <a:gd name="T61" fmla="*/ 257 h 283"/>
                <a:gd name="T62" fmla="*/ 79 w 209"/>
                <a:gd name="T63" fmla="*/ 269 h 283"/>
                <a:gd name="T64" fmla="*/ 90 w 209"/>
                <a:gd name="T65" fmla="*/ 267 h 283"/>
                <a:gd name="T66" fmla="*/ 98 w 209"/>
                <a:gd name="T67" fmla="*/ 267 h 283"/>
                <a:gd name="T68" fmla="*/ 104 w 209"/>
                <a:gd name="T69" fmla="*/ 273 h 283"/>
                <a:gd name="T70" fmla="*/ 114 w 209"/>
                <a:gd name="T71" fmla="*/ 280 h 283"/>
                <a:gd name="T72" fmla="*/ 122 w 209"/>
                <a:gd name="T73" fmla="*/ 276 h 283"/>
                <a:gd name="T74" fmla="*/ 128 w 209"/>
                <a:gd name="T75" fmla="*/ 280 h 283"/>
                <a:gd name="T76" fmla="*/ 138 w 209"/>
                <a:gd name="T77" fmla="*/ 278 h 283"/>
                <a:gd name="T78" fmla="*/ 147 w 209"/>
                <a:gd name="T79" fmla="*/ 278 h 283"/>
                <a:gd name="T80" fmla="*/ 155 w 209"/>
                <a:gd name="T81" fmla="*/ 272 h 283"/>
                <a:gd name="T82" fmla="*/ 179 w 209"/>
                <a:gd name="T83" fmla="*/ 265 h 283"/>
                <a:gd name="T84" fmla="*/ 177 w 209"/>
                <a:gd name="T85" fmla="*/ 257 h 283"/>
                <a:gd name="T86" fmla="*/ 169 w 209"/>
                <a:gd name="T87" fmla="*/ 253 h 283"/>
                <a:gd name="T88" fmla="*/ 160 w 209"/>
                <a:gd name="T89" fmla="*/ 232 h 283"/>
                <a:gd name="T90" fmla="*/ 142 w 209"/>
                <a:gd name="T91" fmla="*/ 221 h 283"/>
                <a:gd name="T92" fmla="*/ 146 w 209"/>
                <a:gd name="T93" fmla="*/ 211 h 283"/>
                <a:gd name="T94" fmla="*/ 157 w 209"/>
                <a:gd name="T95" fmla="*/ 200 h 283"/>
                <a:gd name="T96" fmla="*/ 160 w 209"/>
                <a:gd name="T97" fmla="*/ 181 h 283"/>
                <a:gd name="T98" fmla="*/ 166 w 209"/>
                <a:gd name="T99" fmla="*/ 175 h 283"/>
                <a:gd name="T100" fmla="*/ 168 w 209"/>
                <a:gd name="T101" fmla="*/ 165 h 283"/>
                <a:gd name="T102" fmla="*/ 176 w 209"/>
                <a:gd name="T103" fmla="*/ 151 h 283"/>
                <a:gd name="T104" fmla="*/ 182 w 209"/>
                <a:gd name="T105" fmla="*/ 145 h 283"/>
                <a:gd name="T106" fmla="*/ 185 w 209"/>
                <a:gd name="T107" fmla="*/ 127 h 283"/>
                <a:gd name="T108" fmla="*/ 188 w 209"/>
                <a:gd name="T109" fmla="*/ 102 h 283"/>
                <a:gd name="T110" fmla="*/ 192 w 209"/>
                <a:gd name="T111" fmla="*/ 88 h 283"/>
                <a:gd name="T112" fmla="*/ 203 w 209"/>
                <a:gd name="T113" fmla="*/ 81 h 283"/>
                <a:gd name="T114" fmla="*/ 208 w 209"/>
                <a:gd name="T115" fmla="*/ 72 h 283"/>
                <a:gd name="T116" fmla="*/ 208 w 209"/>
                <a:gd name="T117" fmla="*/ 7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 h="283">
                  <a:moveTo>
                    <a:pt x="208" y="72"/>
                  </a:moveTo>
                  <a:lnTo>
                    <a:pt x="206" y="72"/>
                  </a:lnTo>
                  <a:lnTo>
                    <a:pt x="206" y="70"/>
                  </a:lnTo>
                  <a:lnTo>
                    <a:pt x="204" y="70"/>
                  </a:lnTo>
                  <a:lnTo>
                    <a:pt x="203" y="70"/>
                  </a:lnTo>
                  <a:lnTo>
                    <a:pt x="201" y="67"/>
                  </a:lnTo>
                  <a:lnTo>
                    <a:pt x="198" y="64"/>
                  </a:lnTo>
                  <a:lnTo>
                    <a:pt x="198" y="64"/>
                  </a:lnTo>
                  <a:lnTo>
                    <a:pt x="195" y="61"/>
                  </a:lnTo>
                  <a:lnTo>
                    <a:pt x="192" y="57"/>
                  </a:lnTo>
                  <a:lnTo>
                    <a:pt x="192" y="51"/>
                  </a:lnTo>
                  <a:lnTo>
                    <a:pt x="190" y="45"/>
                  </a:lnTo>
                  <a:lnTo>
                    <a:pt x="190" y="37"/>
                  </a:lnTo>
                  <a:lnTo>
                    <a:pt x="190" y="35"/>
                  </a:lnTo>
                  <a:lnTo>
                    <a:pt x="188" y="32"/>
                  </a:lnTo>
                  <a:lnTo>
                    <a:pt x="188" y="29"/>
                  </a:lnTo>
                  <a:lnTo>
                    <a:pt x="190" y="29"/>
                  </a:lnTo>
                  <a:lnTo>
                    <a:pt x="192" y="29"/>
                  </a:lnTo>
                  <a:lnTo>
                    <a:pt x="190" y="26"/>
                  </a:lnTo>
                  <a:lnTo>
                    <a:pt x="188" y="26"/>
                  </a:lnTo>
                  <a:lnTo>
                    <a:pt x="185" y="21"/>
                  </a:lnTo>
                  <a:lnTo>
                    <a:pt x="185" y="16"/>
                  </a:lnTo>
                  <a:lnTo>
                    <a:pt x="185" y="15"/>
                  </a:lnTo>
                  <a:lnTo>
                    <a:pt x="182" y="13"/>
                  </a:lnTo>
                  <a:lnTo>
                    <a:pt x="179" y="10"/>
                  </a:lnTo>
                  <a:lnTo>
                    <a:pt x="176" y="5"/>
                  </a:lnTo>
                  <a:lnTo>
                    <a:pt x="171" y="5"/>
                  </a:lnTo>
                  <a:lnTo>
                    <a:pt x="168" y="0"/>
                  </a:lnTo>
                  <a:lnTo>
                    <a:pt x="166" y="2"/>
                  </a:lnTo>
                  <a:lnTo>
                    <a:pt x="163" y="5"/>
                  </a:lnTo>
                  <a:lnTo>
                    <a:pt x="163" y="5"/>
                  </a:lnTo>
                  <a:lnTo>
                    <a:pt x="163" y="5"/>
                  </a:lnTo>
                  <a:lnTo>
                    <a:pt x="160" y="5"/>
                  </a:lnTo>
                  <a:lnTo>
                    <a:pt x="160" y="8"/>
                  </a:lnTo>
                  <a:lnTo>
                    <a:pt x="157" y="11"/>
                  </a:lnTo>
                  <a:lnTo>
                    <a:pt x="157" y="11"/>
                  </a:lnTo>
                  <a:lnTo>
                    <a:pt x="154" y="13"/>
                  </a:lnTo>
                  <a:lnTo>
                    <a:pt x="152" y="15"/>
                  </a:lnTo>
                  <a:lnTo>
                    <a:pt x="150" y="18"/>
                  </a:lnTo>
                  <a:lnTo>
                    <a:pt x="149" y="19"/>
                  </a:lnTo>
                  <a:lnTo>
                    <a:pt x="147" y="19"/>
                  </a:lnTo>
                  <a:lnTo>
                    <a:pt x="144" y="19"/>
                  </a:lnTo>
                  <a:lnTo>
                    <a:pt x="141" y="18"/>
                  </a:lnTo>
                  <a:lnTo>
                    <a:pt x="136" y="16"/>
                  </a:lnTo>
                  <a:lnTo>
                    <a:pt x="125" y="16"/>
                  </a:lnTo>
                  <a:lnTo>
                    <a:pt x="117" y="16"/>
                  </a:lnTo>
                  <a:lnTo>
                    <a:pt x="119" y="13"/>
                  </a:lnTo>
                  <a:lnTo>
                    <a:pt x="117" y="13"/>
                  </a:lnTo>
                  <a:lnTo>
                    <a:pt x="115" y="15"/>
                  </a:lnTo>
                  <a:lnTo>
                    <a:pt x="114" y="16"/>
                  </a:lnTo>
                  <a:lnTo>
                    <a:pt x="109" y="16"/>
                  </a:lnTo>
                  <a:lnTo>
                    <a:pt x="103" y="16"/>
                  </a:lnTo>
                  <a:lnTo>
                    <a:pt x="69" y="16"/>
                  </a:lnTo>
                  <a:lnTo>
                    <a:pt x="38" y="16"/>
                  </a:lnTo>
                  <a:lnTo>
                    <a:pt x="38" y="45"/>
                  </a:lnTo>
                  <a:lnTo>
                    <a:pt x="25" y="45"/>
                  </a:lnTo>
                  <a:lnTo>
                    <a:pt x="25" y="53"/>
                  </a:lnTo>
                  <a:lnTo>
                    <a:pt x="12" y="45"/>
                  </a:lnTo>
                  <a:lnTo>
                    <a:pt x="25" y="54"/>
                  </a:lnTo>
                  <a:lnTo>
                    <a:pt x="25" y="54"/>
                  </a:lnTo>
                  <a:lnTo>
                    <a:pt x="27" y="107"/>
                  </a:lnTo>
                  <a:lnTo>
                    <a:pt x="23" y="105"/>
                  </a:lnTo>
                  <a:lnTo>
                    <a:pt x="20" y="107"/>
                  </a:lnTo>
                  <a:lnTo>
                    <a:pt x="19" y="107"/>
                  </a:lnTo>
                  <a:lnTo>
                    <a:pt x="17" y="107"/>
                  </a:lnTo>
                  <a:lnTo>
                    <a:pt x="15" y="107"/>
                  </a:lnTo>
                  <a:lnTo>
                    <a:pt x="14" y="108"/>
                  </a:lnTo>
                  <a:lnTo>
                    <a:pt x="12" y="108"/>
                  </a:lnTo>
                  <a:lnTo>
                    <a:pt x="12" y="111"/>
                  </a:lnTo>
                  <a:lnTo>
                    <a:pt x="14" y="113"/>
                  </a:lnTo>
                  <a:lnTo>
                    <a:pt x="14" y="113"/>
                  </a:lnTo>
                  <a:lnTo>
                    <a:pt x="12" y="116"/>
                  </a:lnTo>
                  <a:lnTo>
                    <a:pt x="11" y="119"/>
                  </a:lnTo>
                  <a:lnTo>
                    <a:pt x="7" y="122"/>
                  </a:lnTo>
                  <a:lnTo>
                    <a:pt x="6" y="122"/>
                  </a:lnTo>
                  <a:lnTo>
                    <a:pt x="6" y="126"/>
                  </a:lnTo>
                  <a:lnTo>
                    <a:pt x="7" y="129"/>
                  </a:lnTo>
                  <a:lnTo>
                    <a:pt x="3" y="132"/>
                  </a:lnTo>
                  <a:lnTo>
                    <a:pt x="3" y="134"/>
                  </a:lnTo>
                  <a:lnTo>
                    <a:pt x="3" y="135"/>
                  </a:lnTo>
                  <a:lnTo>
                    <a:pt x="6" y="138"/>
                  </a:lnTo>
                  <a:lnTo>
                    <a:pt x="6" y="142"/>
                  </a:lnTo>
                  <a:lnTo>
                    <a:pt x="3" y="143"/>
                  </a:lnTo>
                  <a:lnTo>
                    <a:pt x="0" y="146"/>
                  </a:lnTo>
                  <a:lnTo>
                    <a:pt x="0" y="148"/>
                  </a:lnTo>
                  <a:lnTo>
                    <a:pt x="0" y="151"/>
                  </a:lnTo>
                  <a:lnTo>
                    <a:pt x="3" y="151"/>
                  </a:lnTo>
                  <a:lnTo>
                    <a:pt x="6" y="149"/>
                  </a:lnTo>
                  <a:lnTo>
                    <a:pt x="6" y="151"/>
                  </a:lnTo>
                  <a:lnTo>
                    <a:pt x="7" y="151"/>
                  </a:lnTo>
                  <a:lnTo>
                    <a:pt x="7" y="151"/>
                  </a:lnTo>
                  <a:lnTo>
                    <a:pt x="6" y="154"/>
                  </a:lnTo>
                  <a:lnTo>
                    <a:pt x="7" y="157"/>
                  </a:lnTo>
                  <a:lnTo>
                    <a:pt x="7" y="161"/>
                  </a:lnTo>
                  <a:lnTo>
                    <a:pt x="9" y="157"/>
                  </a:lnTo>
                  <a:lnTo>
                    <a:pt x="9" y="161"/>
                  </a:lnTo>
                  <a:lnTo>
                    <a:pt x="9" y="161"/>
                  </a:lnTo>
                  <a:lnTo>
                    <a:pt x="9" y="162"/>
                  </a:lnTo>
                  <a:lnTo>
                    <a:pt x="9" y="164"/>
                  </a:lnTo>
                  <a:lnTo>
                    <a:pt x="9" y="165"/>
                  </a:lnTo>
                  <a:lnTo>
                    <a:pt x="11" y="167"/>
                  </a:lnTo>
                  <a:lnTo>
                    <a:pt x="14" y="169"/>
                  </a:lnTo>
                  <a:lnTo>
                    <a:pt x="14" y="170"/>
                  </a:lnTo>
                  <a:lnTo>
                    <a:pt x="14" y="172"/>
                  </a:lnTo>
                  <a:lnTo>
                    <a:pt x="12" y="175"/>
                  </a:lnTo>
                  <a:lnTo>
                    <a:pt x="12" y="176"/>
                  </a:lnTo>
                  <a:lnTo>
                    <a:pt x="12" y="176"/>
                  </a:lnTo>
                  <a:lnTo>
                    <a:pt x="15" y="180"/>
                  </a:lnTo>
                  <a:lnTo>
                    <a:pt x="17" y="180"/>
                  </a:lnTo>
                  <a:lnTo>
                    <a:pt x="19" y="181"/>
                  </a:lnTo>
                  <a:lnTo>
                    <a:pt x="22" y="186"/>
                  </a:lnTo>
                  <a:lnTo>
                    <a:pt x="23" y="192"/>
                  </a:lnTo>
                  <a:lnTo>
                    <a:pt x="23" y="197"/>
                  </a:lnTo>
                  <a:lnTo>
                    <a:pt x="23" y="199"/>
                  </a:lnTo>
                  <a:lnTo>
                    <a:pt x="22" y="202"/>
                  </a:lnTo>
                  <a:lnTo>
                    <a:pt x="22" y="203"/>
                  </a:lnTo>
                  <a:lnTo>
                    <a:pt x="22" y="205"/>
                  </a:lnTo>
                  <a:lnTo>
                    <a:pt x="22" y="207"/>
                  </a:lnTo>
                  <a:lnTo>
                    <a:pt x="27" y="207"/>
                  </a:lnTo>
                  <a:lnTo>
                    <a:pt x="31" y="208"/>
                  </a:lnTo>
                  <a:lnTo>
                    <a:pt x="31" y="210"/>
                  </a:lnTo>
                  <a:lnTo>
                    <a:pt x="31" y="211"/>
                  </a:lnTo>
                  <a:lnTo>
                    <a:pt x="31" y="213"/>
                  </a:lnTo>
                  <a:lnTo>
                    <a:pt x="31" y="215"/>
                  </a:lnTo>
                  <a:lnTo>
                    <a:pt x="34" y="215"/>
                  </a:lnTo>
                  <a:lnTo>
                    <a:pt x="34" y="215"/>
                  </a:lnTo>
                  <a:lnTo>
                    <a:pt x="41" y="216"/>
                  </a:lnTo>
                  <a:lnTo>
                    <a:pt x="41" y="218"/>
                  </a:lnTo>
                  <a:lnTo>
                    <a:pt x="41" y="218"/>
                  </a:lnTo>
                  <a:lnTo>
                    <a:pt x="42" y="221"/>
                  </a:lnTo>
                  <a:lnTo>
                    <a:pt x="44" y="221"/>
                  </a:lnTo>
                  <a:lnTo>
                    <a:pt x="42" y="224"/>
                  </a:lnTo>
                  <a:lnTo>
                    <a:pt x="42" y="224"/>
                  </a:lnTo>
                  <a:lnTo>
                    <a:pt x="44" y="226"/>
                  </a:lnTo>
                  <a:lnTo>
                    <a:pt x="47" y="227"/>
                  </a:lnTo>
                  <a:lnTo>
                    <a:pt x="52" y="230"/>
                  </a:lnTo>
                  <a:lnTo>
                    <a:pt x="54" y="232"/>
                  </a:lnTo>
                  <a:lnTo>
                    <a:pt x="55" y="234"/>
                  </a:lnTo>
                  <a:lnTo>
                    <a:pt x="57" y="235"/>
                  </a:lnTo>
                  <a:lnTo>
                    <a:pt x="58" y="237"/>
                  </a:lnTo>
                  <a:lnTo>
                    <a:pt x="58" y="238"/>
                  </a:lnTo>
                  <a:lnTo>
                    <a:pt x="58" y="240"/>
                  </a:lnTo>
                  <a:lnTo>
                    <a:pt x="58" y="242"/>
                  </a:lnTo>
                  <a:lnTo>
                    <a:pt x="60" y="242"/>
                  </a:lnTo>
                  <a:lnTo>
                    <a:pt x="60" y="242"/>
                  </a:lnTo>
                  <a:lnTo>
                    <a:pt x="60" y="242"/>
                  </a:lnTo>
                  <a:lnTo>
                    <a:pt x="60" y="245"/>
                  </a:lnTo>
                  <a:lnTo>
                    <a:pt x="61" y="245"/>
                  </a:lnTo>
                  <a:lnTo>
                    <a:pt x="65" y="248"/>
                  </a:lnTo>
                  <a:lnTo>
                    <a:pt x="66" y="248"/>
                  </a:lnTo>
                  <a:lnTo>
                    <a:pt x="69" y="251"/>
                  </a:lnTo>
                  <a:lnTo>
                    <a:pt x="69" y="251"/>
                  </a:lnTo>
                  <a:lnTo>
                    <a:pt x="69" y="253"/>
                  </a:lnTo>
                  <a:lnTo>
                    <a:pt x="69" y="254"/>
                  </a:lnTo>
                  <a:lnTo>
                    <a:pt x="69" y="257"/>
                  </a:lnTo>
                  <a:lnTo>
                    <a:pt x="73" y="261"/>
                  </a:lnTo>
                  <a:lnTo>
                    <a:pt x="76" y="262"/>
                  </a:lnTo>
                  <a:lnTo>
                    <a:pt x="76" y="264"/>
                  </a:lnTo>
                  <a:lnTo>
                    <a:pt x="77" y="267"/>
                  </a:lnTo>
                  <a:lnTo>
                    <a:pt x="79" y="269"/>
                  </a:lnTo>
                  <a:lnTo>
                    <a:pt x="82" y="270"/>
                  </a:lnTo>
                  <a:lnTo>
                    <a:pt x="84" y="270"/>
                  </a:lnTo>
                  <a:lnTo>
                    <a:pt x="85" y="270"/>
                  </a:lnTo>
                  <a:lnTo>
                    <a:pt x="87" y="269"/>
                  </a:lnTo>
                  <a:lnTo>
                    <a:pt x="90" y="267"/>
                  </a:lnTo>
                  <a:lnTo>
                    <a:pt x="92" y="269"/>
                  </a:lnTo>
                  <a:lnTo>
                    <a:pt x="93" y="269"/>
                  </a:lnTo>
                  <a:lnTo>
                    <a:pt x="95" y="269"/>
                  </a:lnTo>
                  <a:lnTo>
                    <a:pt x="96" y="269"/>
                  </a:lnTo>
                  <a:lnTo>
                    <a:pt x="98" y="267"/>
                  </a:lnTo>
                  <a:lnTo>
                    <a:pt x="100" y="265"/>
                  </a:lnTo>
                  <a:lnTo>
                    <a:pt x="101" y="265"/>
                  </a:lnTo>
                  <a:lnTo>
                    <a:pt x="101" y="267"/>
                  </a:lnTo>
                  <a:lnTo>
                    <a:pt x="103" y="270"/>
                  </a:lnTo>
                  <a:lnTo>
                    <a:pt x="104" y="273"/>
                  </a:lnTo>
                  <a:lnTo>
                    <a:pt x="109" y="276"/>
                  </a:lnTo>
                  <a:lnTo>
                    <a:pt x="112" y="276"/>
                  </a:lnTo>
                  <a:lnTo>
                    <a:pt x="111" y="280"/>
                  </a:lnTo>
                  <a:lnTo>
                    <a:pt x="112" y="280"/>
                  </a:lnTo>
                  <a:lnTo>
                    <a:pt x="114" y="280"/>
                  </a:lnTo>
                  <a:lnTo>
                    <a:pt x="115" y="283"/>
                  </a:lnTo>
                  <a:lnTo>
                    <a:pt x="117" y="280"/>
                  </a:lnTo>
                  <a:lnTo>
                    <a:pt x="119" y="280"/>
                  </a:lnTo>
                  <a:lnTo>
                    <a:pt x="120" y="278"/>
                  </a:lnTo>
                  <a:lnTo>
                    <a:pt x="122" y="276"/>
                  </a:lnTo>
                  <a:lnTo>
                    <a:pt x="122" y="280"/>
                  </a:lnTo>
                  <a:lnTo>
                    <a:pt x="125" y="280"/>
                  </a:lnTo>
                  <a:lnTo>
                    <a:pt x="125" y="280"/>
                  </a:lnTo>
                  <a:lnTo>
                    <a:pt x="128" y="276"/>
                  </a:lnTo>
                  <a:lnTo>
                    <a:pt x="128" y="280"/>
                  </a:lnTo>
                  <a:lnTo>
                    <a:pt x="131" y="280"/>
                  </a:lnTo>
                  <a:lnTo>
                    <a:pt x="131" y="283"/>
                  </a:lnTo>
                  <a:lnTo>
                    <a:pt x="133" y="280"/>
                  </a:lnTo>
                  <a:lnTo>
                    <a:pt x="134" y="280"/>
                  </a:lnTo>
                  <a:lnTo>
                    <a:pt x="138" y="278"/>
                  </a:lnTo>
                  <a:lnTo>
                    <a:pt x="141" y="276"/>
                  </a:lnTo>
                  <a:lnTo>
                    <a:pt x="142" y="276"/>
                  </a:lnTo>
                  <a:lnTo>
                    <a:pt x="144" y="276"/>
                  </a:lnTo>
                  <a:lnTo>
                    <a:pt x="147" y="278"/>
                  </a:lnTo>
                  <a:lnTo>
                    <a:pt x="147" y="278"/>
                  </a:lnTo>
                  <a:lnTo>
                    <a:pt x="147" y="280"/>
                  </a:lnTo>
                  <a:lnTo>
                    <a:pt x="149" y="280"/>
                  </a:lnTo>
                  <a:lnTo>
                    <a:pt x="152" y="276"/>
                  </a:lnTo>
                  <a:lnTo>
                    <a:pt x="154" y="275"/>
                  </a:lnTo>
                  <a:lnTo>
                    <a:pt x="155" y="272"/>
                  </a:lnTo>
                  <a:lnTo>
                    <a:pt x="157" y="270"/>
                  </a:lnTo>
                  <a:lnTo>
                    <a:pt x="160" y="269"/>
                  </a:lnTo>
                  <a:lnTo>
                    <a:pt x="160" y="267"/>
                  </a:lnTo>
                  <a:lnTo>
                    <a:pt x="171" y="265"/>
                  </a:lnTo>
                  <a:lnTo>
                    <a:pt x="179" y="265"/>
                  </a:lnTo>
                  <a:lnTo>
                    <a:pt x="181" y="265"/>
                  </a:lnTo>
                  <a:lnTo>
                    <a:pt x="179" y="264"/>
                  </a:lnTo>
                  <a:lnTo>
                    <a:pt x="177" y="262"/>
                  </a:lnTo>
                  <a:lnTo>
                    <a:pt x="179" y="259"/>
                  </a:lnTo>
                  <a:lnTo>
                    <a:pt x="177" y="257"/>
                  </a:lnTo>
                  <a:lnTo>
                    <a:pt x="177" y="254"/>
                  </a:lnTo>
                  <a:lnTo>
                    <a:pt x="174" y="254"/>
                  </a:lnTo>
                  <a:lnTo>
                    <a:pt x="173" y="254"/>
                  </a:lnTo>
                  <a:lnTo>
                    <a:pt x="171" y="253"/>
                  </a:lnTo>
                  <a:lnTo>
                    <a:pt x="169" y="253"/>
                  </a:lnTo>
                  <a:lnTo>
                    <a:pt x="168" y="251"/>
                  </a:lnTo>
                  <a:lnTo>
                    <a:pt x="166" y="242"/>
                  </a:lnTo>
                  <a:lnTo>
                    <a:pt x="166" y="240"/>
                  </a:lnTo>
                  <a:lnTo>
                    <a:pt x="163" y="237"/>
                  </a:lnTo>
                  <a:lnTo>
                    <a:pt x="160" y="232"/>
                  </a:lnTo>
                  <a:lnTo>
                    <a:pt x="157" y="229"/>
                  </a:lnTo>
                  <a:lnTo>
                    <a:pt x="155" y="227"/>
                  </a:lnTo>
                  <a:lnTo>
                    <a:pt x="154" y="224"/>
                  </a:lnTo>
                  <a:lnTo>
                    <a:pt x="150" y="221"/>
                  </a:lnTo>
                  <a:lnTo>
                    <a:pt x="142" y="221"/>
                  </a:lnTo>
                  <a:lnTo>
                    <a:pt x="142" y="218"/>
                  </a:lnTo>
                  <a:lnTo>
                    <a:pt x="142" y="218"/>
                  </a:lnTo>
                  <a:lnTo>
                    <a:pt x="144" y="216"/>
                  </a:lnTo>
                  <a:lnTo>
                    <a:pt x="144" y="213"/>
                  </a:lnTo>
                  <a:lnTo>
                    <a:pt x="146" y="211"/>
                  </a:lnTo>
                  <a:lnTo>
                    <a:pt x="147" y="211"/>
                  </a:lnTo>
                  <a:lnTo>
                    <a:pt x="154" y="211"/>
                  </a:lnTo>
                  <a:lnTo>
                    <a:pt x="157" y="210"/>
                  </a:lnTo>
                  <a:lnTo>
                    <a:pt x="157" y="207"/>
                  </a:lnTo>
                  <a:lnTo>
                    <a:pt x="157" y="200"/>
                  </a:lnTo>
                  <a:lnTo>
                    <a:pt x="157" y="195"/>
                  </a:lnTo>
                  <a:lnTo>
                    <a:pt x="157" y="192"/>
                  </a:lnTo>
                  <a:lnTo>
                    <a:pt x="157" y="189"/>
                  </a:lnTo>
                  <a:lnTo>
                    <a:pt x="160" y="183"/>
                  </a:lnTo>
                  <a:lnTo>
                    <a:pt x="160" y="181"/>
                  </a:lnTo>
                  <a:lnTo>
                    <a:pt x="160" y="178"/>
                  </a:lnTo>
                  <a:lnTo>
                    <a:pt x="160" y="176"/>
                  </a:lnTo>
                  <a:lnTo>
                    <a:pt x="163" y="176"/>
                  </a:lnTo>
                  <a:lnTo>
                    <a:pt x="163" y="180"/>
                  </a:lnTo>
                  <a:lnTo>
                    <a:pt x="166" y="175"/>
                  </a:lnTo>
                  <a:lnTo>
                    <a:pt x="166" y="173"/>
                  </a:lnTo>
                  <a:lnTo>
                    <a:pt x="166" y="172"/>
                  </a:lnTo>
                  <a:lnTo>
                    <a:pt x="166" y="170"/>
                  </a:lnTo>
                  <a:lnTo>
                    <a:pt x="166" y="167"/>
                  </a:lnTo>
                  <a:lnTo>
                    <a:pt x="168" y="165"/>
                  </a:lnTo>
                  <a:lnTo>
                    <a:pt x="168" y="162"/>
                  </a:lnTo>
                  <a:lnTo>
                    <a:pt x="169" y="161"/>
                  </a:lnTo>
                  <a:lnTo>
                    <a:pt x="171" y="157"/>
                  </a:lnTo>
                  <a:lnTo>
                    <a:pt x="174" y="151"/>
                  </a:lnTo>
                  <a:lnTo>
                    <a:pt x="176" y="151"/>
                  </a:lnTo>
                  <a:lnTo>
                    <a:pt x="177" y="151"/>
                  </a:lnTo>
                  <a:lnTo>
                    <a:pt x="181" y="151"/>
                  </a:lnTo>
                  <a:lnTo>
                    <a:pt x="181" y="149"/>
                  </a:lnTo>
                  <a:lnTo>
                    <a:pt x="182" y="148"/>
                  </a:lnTo>
                  <a:lnTo>
                    <a:pt x="182" y="145"/>
                  </a:lnTo>
                  <a:lnTo>
                    <a:pt x="182" y="140"/>
                  </a:lnTo>
                  <a:lnTo>
                    <a:pt x="182" y="140"/>
                  </a:lnTo>
                  <a:lnTo>
                    <a:pt x="184" y="135"/>
                  </a:lnTo>
                  <a:lnTo>
                    <a:pt x="185" y="129"/>
                  </a:lnTo>
                  <a:lnTo>
                    <a:pt x="185" y="127"/>
                  </a:lnTo>
                  <a:lnTo>
                    <a:pt x="184" y="122"/>
                  </a:lnTo>
                  <a:lnTo>
                    <a:pt x="184" y="119"/>
                  </a:lnTo>
                  <a:lnTo>
                    <a:pt x="184" y="115"/>
                  </a:lnTo>
                  <a:lnTo>
                    <a:pt x="187" y="108"/>
                  </a:lnTo>
                  <a:lnTo>
                    <a:pt x="188" y="102"/>
                  </a:lnTo>
                  <a:lnTo>
                    <a:pt x="190" y="99"/>
                  </a:lnTo>
                  <a:lnTo>
                    <a:pt x="190" y="92"/>
                  </a:lnTo>
                  <a:lnTo>
                    <a:pt x="190" y="91"/>
                  </a:lnTo>
                  <a:lnTo>
                    <a:pt x="192" y="88"/>
                  </a:lnTo>
                  <a:lnTo>
                    <a:pt x="192" y="88"/>
                  </a:lnTo>
                  <a:lnTo>
                    <a:pt x="195" y="88"/>
                  </a:lnTo>
                  <a:lnTo>
                    <a:pt x="195" y="88"/>
                  </a:lnTo>
                  <a:lnTo>
                    <a:pt x="195" y="84"/>
                  </a:lnTo>
                  <a:lnTo>
                    <a:pt x="198" y="83"/>
                  </a:lnTo>
                  <a:lnTo>
                    <a:pt x="203" y="81"/>
                  </a:lnTo>
                  <a:lnTo>
                    <a:pt x="206" y="78"/>
                  </a:lnTo>
                  <a:lnTo>
                    <a:pt x="209" y="73"/>
                  </a:lnTo>
                  <a:lnTo>
                    <a:pt x="208" y="72"/>
                  </a:lnTo>
                  <a:lnTo>
                    <a:pt x="208" y="72"/>
                  </a:lnTo>
                  <a:lnTo>
                    <a:pt x="208" y="72"/>
                  </a:lnTo>
                  <a:lnTo>
                    <a:pt x="208" y="72"/>
                  </a:lnTo>
                  <a:lnTo>
                    <a:pt x="208" y="72"/>
                  </a:lnTo>
                  <a:lnTo>
                    <a:pt x="208" y="72"/>
                  </a:lnTo>
                  <a:lnTo>
                    <a:pt x="208" y="72"/>
                  </a:lnTo>
                  <a:lnTo>
                    <a:pt x="208" y="72"/>
                  </a:lnTo>
                  <a:lnTo>
                    <a:pt x="208" y="7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6" name="Freeform 144">
              <a:extLst>
                <a:ext uri="{FF2B5EF4-FFF2-40B4-BE49-F238E27FC236}">
                  <a16:creationId xmlns:a16="http://schemas.microsoft.com/office/drawing/2014/main" id="{BA6844CD-65A9-558E-2A35-08B43C398D20}"/>
                </a:ext>
              </a:extLst>
            </p:cNvPr>
            <p:cNvSpPr>
              <a:spLocks/>
            </p:cNvSpPr>
            <p:nvPr/>
          </p:nvSpPr>
          <p:spPr bwMode="auto">
            <a:xfrm>
              <a:off x="5780388" y="3269194"/>
              <a:ext cx="441885" cy="381322"/>
            </a:xfrm>
            <a:custGeom>
              <a:avLst/>
              <a:gdLst>
                <a:gd name="T0" fmla="*/ 192 w 197"/>
                <a:gd name="T1" fmla="*/ 38 h 170"/>
                <a:gd name="T2" fmla="*/ 187 w 197"/>
                <a:gd name="T3" fmla="*/ 30 h 170"/>
                <a:gd name="T4" fmla="*/ 186 w 197"/>
                <a:gd name="T5" fmla="*/ 19 h 170"/>
                <a:gd name="T6" fmla="*/ 176 w 197"/>
                <a:gd name="T7" fmla="*/ 13 h 170"/>
                <a:gd name="T8" fmla="*/ 173 w 197"/>
                <a:gd name="T9" fmla="*/ 11 h 170"/>
                <a:gd name="T10" fmla="*/ 167 w 197"/>
                <a:gd name="T11" fmla="*/ 6 h 170"/>
                <a:gd name="T12" fmla="*/ 156 w 197"/>
                <a:gd name="T13" fmla="*/ 3 h 170"/>
                <a:gd name="T14" fmla="*/ 146 w 197"/>
                <a:gd name="T15" fmla="*/ 1 h 170"/>
                <a:gd name="T16" fmla="*/ 78 w 197"/>
                <a:gd name="T17" fmla="*/ 51 h 170"/>
                <a:gd name="T18" fmla="*/ 65 w 197"/>
                <a:gd name="T19" fmla="*/ 60 h 170"/>
                <a:gd name="T20" fmla="*/ 51 w 197"/>
                <a:gd name="T21" fmla="*/ 63 h 170"/>
                <a:gd name="T22" fmla="*/ 49 w 197"/>
                <a:gd name="T23" fmla="*/ 101 h 170"/>
                <a:gd name="T24" fmla="*/ 45 w 197"/>
                <a:gd name="T25" fmla="*/ 113 h 170"/>
                <a:gd name="T26" fmla="*/ 40 w 197"/>
                <a:gd name="T27" fmla="*/ 117 h 170"/>
                <a:gd name="T28" fmla="*/ 33 w 197"/>
                <a:gd name="T29" fmla="*/ 117 h 170"/>
                <a:gd name="T30" fmla="*/ 14 w 197"/>
                <a:gd name="T31" fmla="*/ 119 h 170"/>
                <a:gd name="T32" fmla="*/ 6 w 197"/>
                <a:gd name="T33" fmla="*/ 124 h 170"/>
                <a:gd name="T34" fmla="*/ 0 w 197"/>
                <a:gd name="T35" fmla="*/ 125 h 170"/>
                <a:gd name="T36" fmla="*/ 2 w 197"/>
                <a:gd name="T37" fmla="*/ 132 h 170"/>
                <a:gd name="T38" fmla="*/ 3 w 197"/>
                <a:gd name="T39" fmla="*/ 136 h 170"/>
                <a:gd name="T40" fmla="*/ 14 w 197"/>
                <a:gd name="T41" fmla="*/ 146 h 170"/>
                <a:gd name="T42" fmla="*/ 11 w 197"/>
                <a:gd name="T43" fmla="*/ 149 h 170"/>
                <a:gd name="T44" fmla="*/ 21 w 197"/>
                <a:gd name="T45" fmla="*/ 157 h 170"/>
                <a:gd name="T46" fmla="*/ 24 w 197"/>
                <a:gd name="T47" fmla="*/ 157 h 170"/>
                <a:gd name="T48" fmla="*/ 24 w 197"/>
                <a:gd name="T49" fmla="*/ 163 h 170"/>
                <a:gd name="T50" fmla="*/ 27 w 197"/>
                <a:gd name="T51" fmla="*/ 167 h 170"/>
                <a:gd name="T52" fmla="*/ 27 w 197"/>
                <a:gd name="T53" fmla="*/ 163 h 170"/>
                <a:gd name="T54" fmla="*/ 32 w 197"/>
                <a:gd name="T55" fmla="*/ 160 h 170"/>
                <a:gd name="T56" fmla="*/ 33 w 197"/>
                <a:gd name="T57" fmla="*/ 160 h 170"/>
                <a:gd name="T58" fmla="*/ 37 w 197"/>
                <a:gd name="T59" fmla="*/ 163 h 170"/>
                <a:gd name="T60" fmla="*/ 41 w 197"/>
                <a:gd name="T61" fmla="*/ 168 h 170"/>
                <a:gd name="T62" fmla="*/ 43 w 197"/>
                <a:gd name="T63" fmla="*/ 157 h 170"/>
                <a:gd name="T64" fmla="*/ 48 w 197"/>
                <a:gd name="T65" fmla="*/ 151 h 170"/>
                <a:gd name="T66" fmla="*/ 51 w 197"/>
                <a:gd name="T67" fmla="*/ 143 h 170"/>
                <a:gd name="T68" fmla="*/ 59 w 197"/>
                <a:gd name="T69" fmla="*/ 140 h 170"/>
                <a:gd name="T70" fmla="*/ 65 w 197"/>
                <a:gd name="T71" fmla="*/ 138 h 170"/>
                <a:gd name="T72" fmla="*/ 75 w 197"/>
                <a:gd name="T73" fmla="*/ 141 h 170"/>
                <a:gd name="T74" fmla="*/ 83 w 197"/>
                <a:gd name="T75" fmla="*/ 149 h 170"/>
                <a:gd name="T76" fmla="*/ 87 w 197"/>
                <a:gd name="T77" fmla="*/ 151 h 170"/>
                <a:gd name="T78" fmla="*/ 94 w 197"/>
                <a:gd name="T79" fmla="*/ 148 h 170"/>
                <a:gd name="T80" fmla="*/ 103 w 197"/>
                <a:gd name="T81" fmla="*/ 151 h 170"/>
                <a:gd name="T82" fmla="*/ 111 w 197"/>
                <a:gd name="T83" fmla="*/ 154 h 170"/>
                <a:gd name="T84" fmla="*/ 119 w 197"/>
                <a:gd name="T85" fmla="*/ 152 h 170"/>
                <a:gd name="T86" fmla="*/ 130 w 197"/>
                <a:gd name="T87" fmla="*/ 146 h 170"/>
                <a:gd name="T88" fmla="*/ 140 w 197"/>
                <a:gd name="T89" fmla="*/ 146 h 170"/>
                <a:gd name="T90" fmla="*/ 149 w 197"/>
                <a:gd name="T91" fmla="*/ 151 h 170"/>
                <a:gd name="T92" fmla="*/ 156 w 197"/>
                <a:gd name="T93" fmla="*/ 148 h 170"/>
                <a:gd name="T94" fmla="*/ 162 w 197"/>
                <a:gd name="T95" fmla="*/ 143 h 170"/>
                <a:gd name="T96" fmla="*/ 167 w 197"/>
                <a:gd name="T97" fmla="*/ 141 h 170"/>
                <a:gd name="T98" fmla="*/ 167 w 197"/>
                <a:gd name="T99" fmla="*/ 135 h 170"/>
                <a:gd name="T100" fmla="*/ 168 w 197"/>
                <a:gd name="T101" fmla="*/ 128 h 170"/>
                <a:gd name="T102" fmla="*/ 178 w 197"/>
                <a:gd name="T103" fmla="*/ 111 h 170"/>
                <a:gd name="T104" fmla="*/ 191 w 197"/>
                <a:gd name="T105" fmla="*/ 95 h 170"/>
                <a:gd name="T106" fmla="*/ 192 w 197"/>
                <a:gd name="T107" fmla="*/ 76 h 170"/>
                <a:gd name="T108" fmla="*/ 195 w 197"/>
                <a:gd name="T109" fmla="*/ 49 h 170"/>
                <a:gd name="T110" fmla="*/ 194 w 197"/>
                <a:gd name="T111" fmla="*/ 41 h 170"/>
                <a:gd name="T112" fmla="*/ 194 w 197"/>
                <a:gd name="T113" fmla="*/ 41 h 170"/>
                <a:gd name="T114" fmla="*/ 194 w 197"/>
                <a:gd name="T115" fmla="*/ 4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7" h="170">
                  <a:moveTo>
                    <a:pt x="194" y="41"/>
                  </a:moveTo>
                  <a:lnTo>
                    <a:pt x="192" y="41"/>
                  </a:lnTo>
                  <a:lnTo>
                    <a:pt x="192" y="38"/>
                  </a:lnTo>
                  <a:lnTo>
                    <a:pt x="192" y="38"/>
                  </a:lnTo>
                  <a:lnTo>
                    <a:pt x="189" y="32"/>
                  </a:lnTo>
                  <a:lnTo>
                    <a:pt x="187" y="30"/>
                  </a:lnTo>
                  <a:lnTo>
                    <a:pt x="187" y="27"/>
                  </a:lnTo>
                  <a:lnTo>
                    <a:pt x="186" y="19"/>
                  </a:lnTo>
                  <a:lnTo>
                    <a:pt x="186" y="19"/>
                  </a:lnTo>
                  <a:lnTo>
                    <a:pt x="186" y="14"/>
                  </a:lnTo>
                  <a:lnTo>
                    <a:pt x="184" y="8"/>
                  </a:lnTo>
                  <a:lnTo>
                    <a:pt x="176" y="13"/>
                  </a:lnTo>
                  <a:lnTo>
                    <a:pt x="175" y="13"/>
                  </a:lnTo>
                  <a:lnTo>
                    <a:pt x="175" y="11"/>
                  </a:lnTo>
                  <a:lnTo>
                    <a:pt x="173" y="11"/>
                  </a:lnTo>
                  <a:lnTo>
                    <a:pt x="170" y="8"/>
                  </a:lnTo>
                  <a:lnTo>
                    <a:pt x="168" y="8"/>
                  </a:lnTo>
                  <a:lnTo>
                    <a:pt x="167" y="6"/>
                  </a:lnTo>
                  <a:lnTo>
                    <a:pt x="162" y="5"/>
                  </a:lnTo>
                  <a:lnTo>
                    <a:pt x="159" y="5"/>
                  </a:lnTo>
                  <a:lnTo>
                    <a:pt x="156" y="3"/>
                  </a:lnTo>
                  <a:lnTo>
                    <a:pt x="149" y="1"/>
                  </a:lnTo>
                  <a:lnTo>
                    <a:pt x="146" y="0"/>
                  </a:lnTo>
                  <a:lnTo>
                    <a:pt x="146" y="1"/>
                  </a:lnTo>
                  <a:lnTo>
                    <a:pt x="111" y="25"/>
                  </a:lnTo>
                  <a:lnTo>
                    <a:pt x="94" y="38"/>
                  </a:lnTo>
                  <a:lnTo>
                    <a:pt x="78" y="51"/>
                  </a:lnTo>
                  <a:lnTo>
                    <a:pt x="75" y="55"/>
                  </a:lnTo>
                  <a:lnTo>
                    <a:pt x="70" y="59"/>
                  </a:lnTo>
                  <a:lnTo>
                    <a:pt x="65" y="60"/>
                  </a:lnTo>
                  <a:lnTo>
                    <a:pt x="62" y="60"/>
                  </a:lnTo>
                  <a:lnTo>
                    <a:pt x="52" y="63"/>
                  </a:lnTo>
                  <a:lnTo>
                    <a:pt x="51" y="63"/>
                  </a:lnTo>
                  <a:lnTo>
                    <a:pt x="51" y="78"/>
                  </a:lnTo>
                  <a:lnTo>
                    <a:pt x="51" y="95"/>
                  </a:lnTo>
                  <a:lnTo>
                    <a:pt x="49" y="101"/>
                  </a:lnTo>
                  <a:lnTo>
                    <a:pt x="48" y="108"/>
                  </a:lnTo>
                  <a:lnTo>
                    <a:pt x="46" y="111"/>
                  </a:lnTo>
                  <a:lnTo>
                    <a:pt x="45" y="113"/>
                  </a:lnTo>
                  <a:lnTo>
                    <a:pt x="43" y="114"/>
                  </a:lnTo>
                  <a:lnTo>
                    <a:pt x="41" y="117"/>
                  </a:lnTo>
                  <a:lnTo>
                    <a:pt x="40" y="117"/>
                  </a:lnTo>
                  <a:lnTo>
                    <a:pt x="37" y="117"/>
                  </a:lnTo>
                  <a:lnTo>
                    <a:pt x="35" y="117"/>
                  </a:lnTo>
                  <a:lnTo>
                    <a:pt x="33" y="117"/>
                  </a:lnTo>
                  <a:lnTo>
                    <a:pt x="27" y="119"/>
                  </a:lnTo>
                  <a:lnTo>
                    <a:pt x="21" y="119"/>
                  </a:lnTo>
                  <a:lnTo>
                    <a:pt x="14" y="119"/>
                  </a:lnTo>
                  <a:lnTo>
                    <a:pt x="11" y="122"/>
                  </a:lnTo>
                  <a:lnTo>
                    <a:pt x="8" y="124"/>
                  </a:lnTo>
                  <a:lnTo>
                    <a:pt x="6" y="124"/>
                  </a:lnTo>
                  <a:lnTo>
                    <a:pt x="2" y="124"/>
                  </a:lnTo>
                  <a:lnTo>
                    <a:pt x="0" y="124"/>
                  </a:lnTo>
                  <a:lnTo>
                    <a:pt x="0" y="125"/>
                  </a:lnTo>
                  <a:lnTo>
                    <a:pt x="0" y="127"/>
                  </a:lnTo>
                  <a:lnTo>
                    <a:pt x="0" y="128"/>
                  </a:lnTo>
                  <a:lnTo>
                    <a:pt x="2" y="132"/>
                  </a:lnTo>
                  <a:lnTo>
                    <a:pt x="2" y="132"/>
                  </a:lnTo>
                  <a:lnTo>
                    <a:pt x="2" y="133"/>
                  </a:lnTo>
                  <a:lnTo>
                    <a:pt x="3" y="136"/>
                  </a:lnTo>
                  <a:lnTo>
                    <a:pt x="5" y="138"/>
                  </a:lnTo>
                  <a:lnTo>
                    <a:pt x="5" y="141"/>
                  </a:lnTo>
                  <a:lnTo>
                    <a:pt x="14" y="146"/>
                  </a:lnTo>
                  <a:lnTo>
                    <a:pt x="11" y="146"/>
                  </a:lnTo>
                  <a:lnTo>
                    <a:pt x="11" y="146"/>
                  </a:lnTo>
                  <a:lnTo>
                    <a:pt x="11" y="149"/>
                  </a:lnTo>
                  <a:lnTo>
                    <a:pt x="11" y="152"/>
                  </a:lnTo>
                  <a:lnTo>
                    <a:pt x="18" y="157"/>
                  </a:lnTo>
                  <a:lnTo>
                    <a:pt x="21" y="157"/>
                  </a:lnTo>
                  <a:lnTo>
                    <a:pt x="21" y="157"/>
                  </a:lnTo>
                  <a:lnTo>
                    <a:pt x="22" y="155"/>
                  </a:lnTo>
                  <a:lnTo>
                    <a:pt x="24" y="157"/>
                  </a:lnTo>
                  <a:lnTo>
                    <a:pt x="25" y="160"/>
                  </a:lnTo>
                  <a:lnTo>
                    <a:pt x="24" y="160"/>
                  </a:lnTo>
                  <a:lnTo>
                    <a:pt x="24" y="163"/>
                  </a:lnTo>
                  <a:lnTo>
                    <a:pt x="25" y="167"/>
                  </a:lnTo>
                  <a:lnTo>
                    <a:pt x="27" y="168"/>
                  </a:lnTo>
                  <a:lnTo>
                    <a:pt x="27" y="167"/>
                  </a:lnTo>
                  <a:lnTo>
                    <a:pt x="27" y="167"/>
                  </a:lnTo>
                  <a:lnTo>
                    <a:pt x="27" y="163"/>
                  </a:lnTo>
                  <a:lnTo>
                    <a:pt x="27" y="163"/>
                  </a:lnTo>
                  <a:lnTo>
                    <a:pt x="29" y="160"/>
                  </a:lnTo>
                  <a:lnTo>
                    <a:pt x="30" y="160"/>
                  </a:lnTo>
                  <a:lnTo>
                    <a:pt x="32" y="160"/>
                  </a:lnTo>
                  <a:lnTo>
                    <a:pt x="32" y="160"/>
                  </a:lnTo>
                  <a:lnTo>
                    <a:pt x="32" y="160"/>
                  </a:lnTo>
                  <a:lnTo>
                    <a:pt x="33" y="160"/>
                  </a:lnTo>
                  <a:lnTo>
                    <a:pt x="33" y="160"/>
                  </a:lnTo>
                  <a:lnTo>
                    <a:pt x="37" y="163"/>
                  </a:lnTo>
                  <a:lnTo>
                    <a:pt x="37" y="163"/>
                  </a:lnTo>
                  <a:lnTo>
                    <a:pt x="41" y="170"/>
                  </a:lnTo>
                  <a:lnTo>
                    <a:pt x="41" y="170"/>
                  </a:lnTo>
                  <a:lnTo>
                    <a:pt x="41" y="168"/>
                  </a:lnTo>
                  <a:lnTo>
                    <a:pt x="41" y="168"/>
                  </a:lnTo>
                  <a:lnTo>
                    <a:pt x="43" y="160"/>
                  </a:lnTo>
                  <a:lnTo>
                    <a:pt x="43" y="157"/>
                  </a:lnTo>
                  <a:lnTo>
                    <a:pt x="45" y="157"/>
                  </a:lnTo>
                  <a:lnTo>
                    <a:pt x="46" y="154"/>
                  </a:lnTo>
                  <a:lnTo>
                    <a:pt x="48" y="151"/>
                  </a:lnTo>
                  <a:lnTo>
                    <a:pt x="49" y="146"/>
                  </a:lnTo>
                  <a:lnTo>
                    <a:pt x="49" y="144"/>
                  </a:lnTo>
                  <a:lnTo>
                    <a:pt x="51" y="143"/>
                  </a:lnTo>
                  <a:lnTo>
                    <a:pt x="52" y="141"/>
                  </a:lnTo>
                  <a:lnTo>
                    <a:pt x="56" y="141"/>
                  </a:lnTo>
                  <a:lnTo>
                    <a:pt x="59" y="140"/>
                  </a:lnTo>
                  <a:lnTo>
                    <a:pt x="62" y="140"/>
                  </a:lnTo>
                  <a:lnTo>
                    <a:pt x="62" y="140"/>
                  </a:lnTo>
                  <a:lnTo>
                    <a:pt x="65" y="138"/>
                  </a:lnTo>
                  <a:lnTo>
                    <a:pt x="68" y="140"/>
                  </a:lnTo>
                  <a:lnTo>
                    <a:pt x="73" y="141"/>
                  </a:lnTo>
                  <a:lnTo>
                    <a:pt x="75" y="141"/>
                  </a:lnTo>
                  <a:lnTo>
                    <a:pt x="78" y="143"/>
                  </a:lnTo>
                  <a:lnTo>
                    <a:pt x="79" y="144"/>
                  </a:lnTo>
                  <a:lnTo>
                    <a:pt x="83" y="149"/>
                  </a:lnTo>
                  <a:lnTo>
                    <a:pt x="84" y="151"/>
                  </a:lnTo>
                  <a:lnTo>
                    <a:pt x="84" y="151"/>
                  </a:lnTo>
                  <a:lnTo>
                    <a:pt x="87" y="151"/>
                  </a:lnTo>
                  <a:lnTo>
                    <a:pt x="87" y="149"/>
                  </a:lnTo>
                  <a:lnTo>
                    <a:pt x="91" y="149"/>
                  </a:lnTo>
                  <a:lnTo>
                    <a:pt x="94" y="148"/>
                  </a:lnTo>
                  <a:lnTo>
                    <a:pt x="97" y="146"/>
                  </a:lnTo>
                  <a:lnTo>
                    <a:pt x="98" y="148"/>
                  </a:lnTo>
                  <a:lnTo>
                    <a:pt x="103" y="151"/>
                  </a:lnTo>
                  <a:lnTo>
                    <a:pt x="105" y="151"/>
                  </a:lnTo>
                  <a:lnTo>
                    <a:pt x="108" y="152"/>
                  </a:lnTo>
                  <a:lnTo>
                    <a:pt x="111" y="154"/>
                  </a:lnTo>
                  <a:lnTo>
                    <a:pt x="114" y="154"/>
                  </a:lnTo>
                  <a:lnTo>
                    <a:pt x="118" y="154"/>
                  </a:lnTo>
                  <a:lnTo>
                    <a:pt x="119" y="152"/>
                  </a:lnTo>
                  <a:lnTo>
                    <a:pt x="121" y="149"/>
                  </a:lnTo>
                  <a:lnTo>
                    <a:pt x="125" y="148"/>
                  </a:lnTo>
                  <a:lnTo>
                    <a:pt x="130" y="146"/>
                  </a:lnTo>
                  <a:lnTo>
                    <a:pt x="132" y="146"/>
                  </a:lnTo>
                  <a:lnTo>
                    <a:pt x="138" y="146"/>
                  </a:lnTo>
                  <a:lnTo>
                    <a:pt x="140" y="146"/>
                  </a:lnTo>
                  <a:lnTo>
                    <a:pt x="140" y="146"/>
                  </a:lnTo>
                  <a:lnTo>
                    <a:pt x="146" y="148"/>
                  </a:lnTo>
                  <a:lnTo>
                    <a:pt x="149" y="151"/>
                  </a:lnTo>
                  <a:lnTo>
                    <a:pt x="152" y="151"/>
                  </a:lnTo>
                  <a:lnTo>
                    <a:pt x="152" y="149"/>
                  </a:lnTo>
                  <a:lnTo>
                    <a:pt x="156" y="148"/>
                  </a:lnTo>
                  <a:lnTo>
                    <a:pt x="156" y="148"/>
                  </a:lnTo>
                  <a:lnTo>
                    <a:pt x="157" y="144"/>
                  </a:lnTo>
                  <a:lnTo>
                    <a:pt x="162" y="143"/>
                  </a:lnTo>
                  <a:lnTo>
                    <a:pt x="164" y="141"/>
                  </a:lnTo>
                  <a:lnTo>
                    <a:pt x="164" y="141"/>
                  </a:lnTo>
                  <a:lnTo>
                    <a:pt x="167" y="141"/>
                  </a:lnTo>
                  <a:lnTo>
                    <a:pt x="168" y="141"/>
                  </a:lnTo>
                  <a:lnTo>
                    <a:pt x="168" y="141"/>
                  </a:lnTo>
                  <a:lnTo>
                    <a:pt x="167" y="135"/>
                  </a:lnTo>
                  <a:lnTo>
                    <a:pt x="165" y="132"/>
                  </a:lnTo>
                  <a:lnTo>
                    <a:pt x="167" y="132"/>
                  </a:lnTo>
                  <a:lnTo>
                    <a:pt x="168" y="128"/>
                  </a:lnTo>
                  <a:lnTo>
                    <a:pt x="170" y="127"/>
                  </a:lnTo>
                  <a:lnTo>
                    <a:pt x="175" y="117"/>
                  </a:lnTo>
                  <a:lnTo>
                    <a:pt x="178" y="111"/>
                  </a:lnTo>
                  <a:lnTo>
                    <a:pt x="187" y="101"/>
                  </a:lnTo>
                  <a:lnTo>
                    <a:pt x="189" y="98"/>
                  </a:lnTo>
                  <a:lnTo>
                    <a:pt x="191" y="95"/>
                  </a:lnTo>
                  <a:lnTo>
                    <a:pt x="191" y="90"/>
                  </a:lnTo>
                  <a:lnTo>
                    <a:pt x="191" y="87"/>
                  </a:lnTo>
                  <a:lnTo>
                    <a:pt x="192" y="76"/>
                  </a:lnTo>
                  <a:lnTo>
                    <a:pt x="192" y="63"/>
                  </a:lnTo>
                  <a:lnTo>
                    <a:pt x="194" y="52"/>
                  </a:lnTo>
                  <a:lnTo>
                    <a:pt x="195" y="49"/>
                  </a:lnTo>
                  <a:lnTo>
                    <a:pt x="197" y="47"/>
                  </a:lnTo>
                  <a:lnTo>
                    <a:pt x="197" y="44"/>
                  </a:lnTo>
                  <a:lnTo>
                    <a:pt x="194" y="41"/>
                  </a:lnTo>
                  <a:lnTo>
                    <a:pt x="194" y="41"/>
                  </a:lnTo>
                  <a:lnTo>
                    <a:pt x="194" y="41"/>
                  </a:lnTo>
                  <a:lnTo>
                    <a:pt x="194" y="41"/>
                  </a:lnTo>
                  <a:lnTo>
                    <a:pt x="194" y="41"/>
                  </a:lnTo>
                  <a:lnTo>
                    <a:pt x="194" y="41"/>
                  </a:lnTo>
                  <a:lnTo>
                    <a:pt x="194" y="41"/>
                  </a:lnTo>
                  <a:lnTo>
                    <a:pt x="194" y="41"/>
                  </a:lnTo>
                  <a:lnTo>
                    <a:pt x="194" y="4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7" name="Freeform 154">
              <a:extLst>
                <a:ext uri="{FF2B5EF4-FFF2-40B4-BE49-F238E27FC236}">
                  <a16:creationId xmlns:a16="http://schemas.microsoft.com/office/drawing/2014/main" id="{49F68541-199B-404A-DE74-2796EAB42D15}"/>
                </a:ext>
              </a:extLst>
            </p:cNvPr>
            <p:cNvSpPr>
              <a:spLocks/>
            </p:cNvSpPr>
            <p:nvPr/>
          </p:nvSpPr>
          <p:spPr bwMode="auto">
            <a:xfrm>
              <a:off x="6154980" y="3271437"/>
              <a:ext cx="298329" cy="513663"/>
            </a:xfrm>
            <a:custGeom>
              <a:avLst/>
              <a:gdLst>
                <a:gd name="T0" fmla="*/ 130 w 133"/>
                <a:gd name="T1" fmla="*/ 58 h 229"/>
                <a:gd name="T2" fmla="*/ 32 w 133"/>
                <a:gd name="T3" fmla="*/ 0 h 229"/>
                <a:gd name="T4" fmla="*/ 19 w 133"/>
                <a:gd name="T5" fmla="*/ 18 h 229"/>
                <a:gd name="T6" fmla="*/ 22 w 133"/>
                <a:gd name="T7" fmla="*/ 29 h 229"/>
                <a:gd name="T8" fmla="*/ 25 w 133"/>
                <a:gd name="T9" fmla="*/ 37 h 229"/>
                <a:gd name="T10" fmla="*/ 32 w 133"/>
                <a:gd name="T11" fmla="*/ 43 h 229"/>
                <a:gd name="T12" fmla="*/ 28 w 133"/>
                <a:gd name="T13" fmla="*/ 51 h 229"/>
                <a:gd name="T14" fmla="*/ 25 w 133"/>
                <a:gd name="T15" fmla="*/ 86 h 229"/>
                <a:gd name="T16" fmla="*/ 22 w 133"/>
                <a:gd name="T17" fmla="*/ 97 h 229"/>
                <a:gd name="T18" fmla="*/ 8 w 133"/>
                <a:gd name="T19" fmla="*/ 116 h 229"/>
                <a:gd name="T20" fmla="*/ 1 w 133"/>
                <a:gd name="T21" fmla="*/ 131 h 229"/>
                <a:gd name="T22" fmla="*/ 1 w 133"/>
                <a:gd name="T23" fmla="*/ 140 h 229"/>
                <a:gd name="T24" fmla="*/ 8 w 133"/>
                <a:gd name="T25" fmla="*/ 150 h 229"/>
                <a:gd name="T26" fmla="*/ 12 w 133"/>
                <a:gd name="T27" fmla="*/ 150 h 229"/>
                <a:gd name="T28" fmla="*/ 14 w 133"/>
                <a:gd name="T29" fmla="*/ 154 h 229"/>
                <a:gd name="T30" fmla="*/ 19 w 133"/>
                <a:gd name="T31" fmla="*/ 162 h 229"/>
                <a:gd name="T32" fmla="*/ 20 w 133"/>
                <a:gd name="T33" fmla="*/ 167 h 229"/>
                <a:gd name="T34" fmla="*/ 20 w 133"/>
                <a:gd name="T35" fmla="*/ 181 h 229"/>
                <a:gd name="T36" fmla="*/ 28 w 133"/>
                <a:gd name="T37" fmla="*/ 194 h 229"/>
                <a:gd name="T38" fmla="*/ 22 w 133"/>
                <a:gd name="T39" fmla="*/ 194 h 229"/>
                <a:gd name="T40" fmla="*/ 12 w 133"/>
                <a:gd name="T41" fmla="*/ 194 h 229"/>
                <a:gd name="T42" fmla="*/ 8 w 133"/>
                <a:gd name="T43" fmla="*/ 197 h 229"/>
                <a:gd name="T44" fmla="*/ 14 w 133"/>
                <a:gd name="T45" fmla="*/ 208 h 229"/>
                <a:gd name="T46" fmla="*/ 25 w 133"/>
                <a:gd name="T47" fmla="*/ 223 h 229"/>
                <a:gd name="T48" fmla="*/ 25 w 133"/>
                <a:gd name="T49" fmla="*/ 229 h 229"/>
                <a:gd name="T50" fmla="*/ 35 w 133"/>
                <a:gd name="T51" fmla="*/ 229 h 229"/>
                <a:gd name="T52" fmla="*/ 38 w 133"/>
                <a:gd name="T53" fmla="*/ 226 h 229"/>
                <a:gd name="T54" fmla="*/ 41 w 133"/>
                <a:gd name="T55" fmla="*/ 226 h 229"/>
                <a:gd name="T56" fmla="*/ 47 w 133"/>
                <a:gd name="T57" fmla="*/ 226 h 229"/>
                <a:gd name="T58" fmla="*/ 60 w 133"/>
                <a:gd name="T59" fmla="*/ 223 h 229"/>
                <a:gd name="T60" fmla="*/ 66 w 133"/>
                <a:gd name="T61" fmla="*/ 221 h 229"/>
                <a:gd name="T62" fmla="*/ 70 w 133"/>
                <a:gd name="T63" fmla="*/ 212 h 229"/>
                <a:gd name="T64" fmla="*/ 73 w 133"/>
                <a:gd name="T65" fmla="*/ 208 h 229"/>
                <a:gd name="T66" fmla="*/ 87 w 133"/>
                <a:gd name="T67" fmla="*/ 205 h 229"/>
                <a:gd name="T68" fmla="*/ 98 w 133"/>
                <a:gd name="T69" fmla="*/ 197 h 229"/>
                <a:gd name="T70" fmla="*/ 101 w 133"/>
                <a:gd name="T71" fmla="*/ 191 h 229"/>
                <a:gd name="T72" fmla="*/ 105 w 133"/>
                <a:gd name="T73" fmla="*/ 188 h 229"/>
                <a:gd name="T74" fmla="*/ 108 w 133"/>
                <a:gd name="T75" fmla="*/ 183 h 229"/>
                <a:gd name="T76" fmla="*/ 116 w 133"/>
                <a:gd name="T77" fmla="*/ 180 h 229"/>
                <a:gd name="T78" fmla="*/ 119 w 133"/>
                <a:gd name="T79" fmla="*/ 180 h 229"/>
                <a:gd name="T80" fmla="*/ 120 w 133"/>
                <a:gd name="T81" fmla="*/ 174 h 229"/>
                <a:gd name="T82" fmla="*/ 116 w 133"/>
                <a:gd name="T83" fmla="*/ 169 h 229"/>
                <a:gd name="T84" fmla="*/ 116 w 133"/>
                <a:gd name="T85" fmla="*/ 166 h 229"/>
                <a:gd name="T86" fmla="*/ 114 w 133"/>
                <a:gd name="T87" fmla="*/ 162 h 229"/>
                <a:gd name="T88" fmla="*/ 114 w 133"/>
                <a:gd name="T89" fmla="*/ 156 h 229"/>
                <a:gd name="T90" fmla="*/ 109 w 133"/>
                <a:gd name="T91" fmla="*/ 156 h 229"/>
                <a:gd name="T92" fmla="*/ 106 w 133"/>
                <a:gd name="T93" fmla="*/ 151 h 229"/>
                <a:gd name="T94" fmla="*/ 111 w 133"/>
                <a:gd name="T95" fmla="*/ 143 h 229"/>
                <a:gd name="T96" fmla="*/ 109 w 133"/>
                <a:gd name="T97" fmla="*/ 137 h 229"/>
                <a:gd name="T98" fmla="*/ 112 w 133"/>
                <a:gd name="T99" fmla="*/ 127 h 229"/>
                <a:gd name="T100" fmla="*/ 119 w 133"/>
                <a:gd name="T101" fmla="*/ 121 h 229"/>
                <a:gd name="T102" fmla="*/ 119 w 133"/>
                <a:gd name="T103" fmla="*/ 116 h 229"/>
                <a:gd name="T104" fmla="*/ 122 w 133"/>
                <a:gd name="T105" fmla="*/ 112 h 229"/>
                <a:gd name="T106" fmla="*/ 127 w 133"/>
                <a:gd name="T107" fmla="*/ 112 h 229"/>
                <a:gd name="T108" fmla="*/ 130 w 133"/>
                <a:gd name="T109" fmla="*/ 59 h 229"/>
                <a:gd name="T110" fmla="*/ 130 w 133"/>
                <a:gd name="T111" fmla="*/ 59 h 229"/>
                <a:gd name="T112" fmla="*/ 130 w 133"/>
                <a:gd name="T113" fmla="*/ 59 h 229"/>
                <a:gd name="T114" fmla="*/ 130 w 133"/>
                <a:gd name="T115" fmla="*/ 5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 h="229">
                  <a:moveTo>
                    <a:pt x="130" y="59"/>
                  </a:moveTo>
                  <a:lnTo>
                    <a:pt x="130" y="53"/>
                  </a:lnTo>
                  <a:lnTo>
                    <a:pt x="130" y="58"/>
                  </a:lnTo>
                  <a:lnTo>
                    <a:pt x="119" y="50"/>
                  </a:lnTo>
                  <a:lnTo>
                    <a:pt x="103" y="40"/>
                  </a:lnTo>
                  <a:lnTo>
                    <a:pt x="32" y="0"/>
                  </a:lnTo>
                  <a:lnTo>
                    <a:pt x="19" y="7"/>
                  </a:lnTo>
                  <a:lnTo>
                    <a:pt x="19" y="13"/>
                  </a:lnTo>
                  <a:lnTo>
                    <a:pt x="19" y="18"/>
                  </a:lnTo>
                  <a:lnTo>
                    <a:pt x="19" y="18"/>
                  </a:lnTo>
                  <a:lnTo>
                    <a:pt x="20" y="26"/>
                  </a:lnTo>
                  <a:lnTo>
                    <a:pt x="22" y="29"/>
                  </a:lnTo>
                  <a:lnTo>
                    <a:pt x="22" y="31"/>
                  </a:lnTo>
                  <a:lnTo>
                    <a:pt x="25" y="37"/>
                  </a:lnTo>
                  <a:lnTo>
                    <a:pt x="25" y="37"/>
                  </a:lnTo>
                  <a:lnTo>
                    <a:pt x="25" y="40"/>
                  </a:lnTo>
                  <a:lnTo>
                    <a:pt x="28" y="40"/>
                  </a:lnTo>
                  <a:lnTo>
                    <a:pt x="32" y="43"/>
                  </a:lnTo>
                  <a:lnTo>
                    <a:pt x="32" y="46"/>
                  </a:lnTo>
                  <a:lnTo>
                    <a:pt x="28" y="48"/>
                  </a:lnTo>
                  <a:lnTo>
                    <a:pt x="28" y="51"/>
                  </a:lnTo>
                  <a:lnTo>
                    <a:pt x="25" y="62"/>
                  </a:lnTo>
                  <a:lnTo>
                    <a:pt x="25" y="75"/>
                  </a:lnTo>
                  <a:lnTo>
                    <a:pt x="25" y="86"/>
                  </a:lnTo>
                  <a:lnTo>
                    <a:pt x="25" y="89"/>
                  </a:lnTo>
                  <a:lnTo>
                    <a:pt x="25" y="94"/>
                  </a:lnTo>
                  <a:lnTo>
                    <a:pt x="22" y="97"/>
                  </a:lnTo>
                  <a:lnTo>
                    <a:pt x="20" y="100"/>
                  </a:lnTo>
                  <a:lnTo>
                    <a:pt x="12" y="110"/>
                  </a:lnTo>
                  <a:lnTo>
                    <a:pt x="8" y="116"/>
                  </a:lnTo>
                  <a:lnTo>
                    <a:pt x="5" y="126"/>
                  </a:lnTo>
                  <a:lnTo>
                    <a:pt x="1" y="127"/>
                  </a:lnTo>
                  <a:lnTo>
                    <a:pt x="1" y="131"/>
                  </a:lnTo>
                  <a:lnTo>
                    <a:pt x="0" y="131"/>
                  </a:lnTo>
                  <a:lnTo>
                    <a:pt x="1" y="134"/>
                  </a:lnTo>
                  <a:lnTo>
                    <a:pt x="1" y="140"/>
                  </a:lnTo>
                  <a:lnTo>
                    <a:pt x="3" y="143"/>
                  </a:lnTo>
                  <a:lnTo>
                    <a:pt x="8" y="150"/>
                  </a:lnTo>
                  <a:lnTo>
                    <a:pt x="8" y="150"/>
                  </a:lnTo>
                  <a:lnTo>
                    <a:pt x="8" y="150"/>
                  </a:lnTo>
                  <a:lnTo>
                    <a:pt x="9" y="150"/>
                  </a:lnTo>
                  <a:lnTo>
                    <a:pt x="12" y="150"/>
                  </a:lnTo>
                  <a:lnTo>
                    <a:pt x="12" y="151"/>
                  </a:lnTo>
                  <a:lnTo>
                    <a:pt x="12" y="153"/>
                  </a:lnTo>
                  <a:lnTo>
                    <a:pt x="14" y="154"/>
                  </a:lnTo>
                  <a:lnTo>
                    <a:pt x="16" y="156"/>
                  </a:lnTo>
                  <a:lnTo>
                    <a:pt x="17" y="156"/>
                  </a:lnTo>
                  <a:lnTo>
                    <a:pt x="19" y="162"/>
                  </a:lnTo>
                  <a:lnTo>
                    <a:pt x="19" y="162"/>
                  </a:lnTo>
                  <a:lnTo>
                    <a:pt x="20" y="162"/>
                  </a:lnTo>
                  <a:lnTo>
                    <a:pt x="20" y="167"/>
                  </a:lnTo>
                  <a:lnTo>
                    <a:pt x="20" y="172"/>
                  </a:lnTo>
                  <a:lnTo>
                    <a:pt x="20" y="175"/>
                  </a:lnTo>
                  <a:lnTo>
                    <a:pt x="20" y="181"/>
                  </a:lnTo>
                  <a:lnTo>
                    <a:pt x="22" y="186"/>
                  </a:lnTo>
                  <a:lnTo>
                    <a:pt x="25" y="191"/>
                  </a:lnTo>
                  <a:lnTo>
                    <a:pt x="28" y="194"/>
                  </a:lnTo>
                  <a:lnTo>
                    <a:pt x="25" y="194"/>
                  </a:lnTo>
                  <a:lnTo>
                    <a:pt x="25" y="194"/>
                  </a:lnTo>
                  <a:lnTo>
                    <a:pt x="22" y="194"/>
                  </a:lnTo>
                  <a:lnTo>
                    <a:pt x="20" y="194"/>
                  </a:lnTo>
                  <a:lnTo>
                    <a:pt x="16" y="194"/>
                  </a:lnTo>
                  <a:lnTo>
                    <a:pt x="12" y="194"/>
                  </a:lnTo>
                  <a:lnTo>
                    <a:pt x="9" y="194"/>
                  </a:lnTo>
                  <a:lnTo>
                    <a:pt x="8" y="197"/>
                  </a:lnTo>
                  <a:lnTo>
                    <a:pt x="8" y="197"/>
                  </a:lnTo>
                  <a:lnTo>
                    <a:pt x="8" y="200"/>
                  </a:lnTo>
                  <a:lnTo>
                    <a:pt x="9" y="202"/>
                  </a:lnTo>
                  <a:lnTo>
                    <a:pt x="14" y="208"/>
                  </a:lnTo>
                  <a:lnTo>
                    <a:pt x="22" y="215"/>
                  </a:lnTo>
                  <a:lnTo>
                    <a:pt x="22" y="220"/>
                  </a:lnTo>
                  <a:lnTo>
                    <a:pt x="25" y="223"/>
                  </a:lnTo>
                  <a:lnTo>
                    <a:pt x="25" y="226"/>
                  </a:lnTo>
                  <a:lnTo>
                    <a:pt x="25" y="229"/>
                  </a:lnTo>
                  <a:lnTo>
                    <a:pt x="25" y="229"/>
                  </a:lnTo>
                  <a:lnTo>
                    <a:pt x="28" y="229"/>
                  </a:lnTo>
                  <a:lnTo>
                    <a:pt x="32" y="229"/>
                  </a:lnTo>
                  <a:lnTo>
                    <a:pt x="35" y="229"/>
                  </a:lnTo>
                  <a:lnTo>
                    <a:pt x="35" y="227"/>
                  </a:lnTo>
                  <a:lnTo>
                    <a:pt x="36" y="226"/>
                  </a:lnTo>
                  <a:lnTo>
                    <a:pt x="38" y="226"/>
                  </a:lnTo>
                  <a:lnTo>
                    <a:pt x="38" y="226"/>
                  </a:lnTo>
                  <a:lnTo>
                    <a:pt x="39" y="223"/>
                  </a:lnTo>
                  <a:lnTo>
                    <a:pt x="41" y="226"/>
                  </a:lnTo>
                  <a:lnTo>
                    <a:pt x="43" y="229"/>
                  </a:lnTo>
                  <a:lnTo>
                    <a:pt x="44" y="226"/>
                  </a:lnTo>
                  <a:lnTo>
                    <a:pt x="47" y="226"/>
                  </a:lnTo>
                  <a:lnTo>
                    <a:pt x="52" y="223"/>
                  </a:lnTo>
                  <a:lnTo>
                    <a:pt x="57" y="223"/>
                  </a:lnTo>
                  <a:lnTo>
                    <a:pt x="60" y="223"/>
                  </a:lnTo>
                  <a:lnTo>
                    <a:pt x="63" y="223"/>
                  </a:lnTo>
                  <a:lnTo>
                    <a:pt x="63" y="223"/>
                  </a:lnTo>
                  <a:lnTo>
                    <a:pt x="66" y="221"/>
                  </a:lnTo>
                  <a:lnTo>
                    <a:pt x="66" y="220"/>
                  </a:lnTo>
                  <a:lnTo>
                    <a:pt x="71" y="213"/>
                  </a:lnTo>
                  <a:lnTo>
                    <a:pt x="70" y="212"/>
                  </a:lnTo>
                  <a:lnTo>
                    <a:pt x="68" y="210"/>
                  </a:lnTo>
                  <a:lnTo>
                    <a:pt x="70" y="208"/>
                  </a:lnTo>
                  <a:lnTo>
                    <a:pt x="73" y="208"/>
                  </a:lnTo>
                  <a:lnTo>
                    <a:pt x="78" y="208"/>
                  </a:lnTo>
                  <a:lnTo>
                    <a:pt x="82" y="207"/>
                  </a:lnTo>
                  <a:lnTo>
                    <a:pt x="87" y="205"/>
                  </a:lnTo>
                  <a:lnTo>
                    <a:pt x="92" y="204"/>
                  </a:lnTo>
                  <a:lnTo>
                    <a:pt x="95" y="200"/>
                  </a:lnTo>
                  <a:lnTo>
                    <a:pt x="98" y="197"/>
                  </a:lnTo>
                  <a:lnTo>
                    <a:pt x="98" y="194"/>
                  </a:lnTo>
                  <a:lnTo>
                    <a:pt x="101" y="194"/>
                  </a:lnTo>
                  <a:lnTo>
                    <a:pt x="101" y="191"/>
                  </a:lnTo>
                  <a:lnTo>
                    <a:pt x="103" y="191"/>
                  </a:lnTo>
                  <a:lnTo>
                    <a:pt x="103" y="188"/>
                  </a:lnTo>
                  <a:lnTo>
                    <a:pt x="105" y="188"/>
                  </a:lnTo>
                  <a:lnTo>
                    <a:pt x="105" y="186"/>
                  </a:lnTo>
                  <a:lnTo>
                    <a:pt x="105" y="185"/>
                  </a:lnTo>
                  <a:lnTo>
                    <a:pt x="108" y="183"/>
                  </a:lnTo>
                  <a:lnTo>
                    <a:pt x="111" y="181"/>
                  </a:lnTo>
                  <a:lnTo>
                    <a:pt x="114" y="180"/>
                  </a:lnTo>
                  <a:lnTo>
                    <a:pt x="116" y="180"/>
                  </a:lnTo>
                  <a:lnTo>
                    <a:pt x="117" y="180"/>
                  </a:lnTo>
                  <a:lnTo>
                    <a:pt x="119" y="181"/>
                  </a:lnTo>
                  <a:lnTo>
                    <a:pt x="119" y="180"/>
                  </a:lnTo>
                  <a:lnTo>
                    <a:pt x="120" y="177"/>
                  </a:lnTo>
                  <a:lnTo>
                    <a:pt x="120" y="175"/>
                  </a:lnTo>
                  <a:lnTo>
                    <a:pt x="120" y="174"/>
                  </a:lnTo>
                  <a:lnTo>
                    <a:pt x="117" y="172"/>
                  </a:lnTo>
                  <a:lnTo>
                    <a:pt x="116" y="170"/>
                  </a:lnTo>
                  <a:lnTo>
                    <a:pt x="116" y="169"/>
                  </a:lnTo>
                  <a:lnTo>
                    <a:pt x="116" y="167"/>
                  </a:lnTo>
                  <a:lnTo>
                    <a:pt x="116" y="166"/>
                  </a:lnTo>
                  <a:lnTo>
                    <a:pt x="116" y="166"/>
                  </a:lnTo>
                  <a:lnTo>
                    <a:pt x="116" y="162"/>
                  </a:lnTo>
                  <a:lnTo>
                    <a:pt x="114" y="166"/>
                  </a:lnTo>
                  <a:lnTo>
                    <a:pt x="114" y="162"/>
                  </a:lnTo>
                  <a:lnTo>
                    <a:pt x="112" y="159"/>
                  </a:lnTo>
                  <a:lnTo>
                    <a:pt x="114" y="156"/>
                  </a:lnTo>
                  <a:lnTo>
                    <a:pt x="114" y="156"/>
                  </a:lnTo>
                  <a:lnTo>
                    <a:pt x="112" y="156"/>
                  </a:lnTo>
                  <a:lnTo>
                    <a:pt x="111" y="154"/>
                  </a:lnTo>
                  <a:lnTo>
                    <a:pt x="109" y="156"/>
                  </a:lnTo>
                  <a:lnTo>
                    <a:pt x="106" y="156"/>
                  </a:lnTo>
                  <a:lnTo>
                    <a:pt x="105" y="153"/>
                  </a:lnTo>
                  <a:lnTo>
                    <a:pt x="106" y="151"/>
                  </a:lnTo>
                  <a:lnTo>
                    <a:pt x="108" y="148"/>
                  </a:lnTo>
                  <a:lnTo>
                    <a:pt x="111" y="147"/>
                  </a:lnTo>
                  <a:lnTo>
                    <a:pt x="111" y="143"/>
                  </a:lnTo>
                  <a:lnTo>
                    <a:pt x="109" y="140"/>
                  </a:lnTo>
                  <a:lnTo>
                    <a:pt x="109" y="139"/>
                  </a:lnTo>
                  <a:lnTo>
                    <a:pt x="109" y="137"/>
                  </a:lnTo>
                  <a:lnTo>
                    <a:pt x="114" y="134"/>
                  </a:lnTo>
                  <a:lnTo>
                    <a:pt x="112" y="131"/>
                  </a:lnTo>
                  <a:lnTo>
                    <a:pt x="112" y="127"/>
                  </a:lnTo>
                  <a:lnTo>
                    <a:pt x="114" y="127"/>
                  </a:lnTo>
                  <a:lnTo>
                    <a:pt x="117" y="124"/>
                  </a:lnTo>
                  <a:lnTo>
                    <a:pt x="119" y="121"/>
                  </a:lnTo>
                  <a:lnTo>
                    <a:pt x="120" y="118"/>
                  </a:lnTo>
                  <a:lnTo>
                    <a:pt x="120" y="118"/>
                  </a:lnTo>
                  <a:lnTo>
                    <a:pt x="119" y="116"/>
                  </a:lnTo>
                  <a:lnTo>
                    <a:pt x="119" y="113"/>
                  </a:lnTo>
                  <a:lnTo>
                    <a:pt x="120" y="113"/>
                  </a:lnTo>
                  <a:lnTo>
                    <a:pt x="122" y="112"/>
                  </a:lnTo>
                  <a:lnTo>
                    <a:pt x="124" y="112"/>
                  </a:lnTo>
                  <a:lnTo>
                    <a:pt x="125" y="112"/>
                  </a:lnTo>
                  <a:lnTo>
                    <a:pt x="127" y="112"/>
                  </a:lnTo>
                  <a:lnTo>
                    <a:pt x="130" y="110"/>
                  </a:lnTo>
                  <a:lnTo>
                    <a:pt x="133" y="112"/>
                  </a:lnTo>
                  <a:lnTo>
                    <a:pt x="130" y="59"/>
                  </a:lnTo>
                  <a:lnTo>
                    <a:pt x="130" y="59"/>
                  </a:lnTo>
                  <a:lnTo>
                    <a:pt x="130" y="59"/>
                  </a:lnTo>
                  <a:lnTo>
                    <a:pt x="130" y="59"/>
                  </a:lnTo>
                  <a:lnTo>
                    <a:pt x="130" y="59"/>
                  </a:lnTo>
                  <a:lnTo>
                    <a:pt x="130" y="59"/>
                  </a:lnTo>
                  <a:lnTo>
                    <a:pt x="130" y="59"/>
                  </a:lnTo>
                  <a:lnTo>
                    <a:pt x="130" y="59"/>
                  </a:lnTo>
                  <a:lnTo>
                    <a:pt x="130" y="59"/>
                  </a:lnTo>
                  <a:lnTo>
                    <a:pt x="130" y="5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8" name="Freeform 156">
              <a:extLst>
                <a:ext uri="{FF2B5EF4-FFF2-40B4-BE49-F238E27FC236}">
                  <a16:creationId xmlns:a16="http://schemas.microsoft.com/office/drawing/2014/main" id="{62004A65-1A69-12F9-7A30-44C909528CE1}"/>
                </a:ext>
              </a:extLst>
            </p:cNvPr>
            <p:cNvSpPr>
              <a:spLocks/>
            </p:cNvSpPr>
            <p:nvPr/>
          </p:nvSpPr>
          <p:spPr bwMode="auto">
            <a:xfrm>
              <a:off x="5414767" y="2869927"/>
              <a:ext cx="340947" cy="266925"/>
            </a:xfrm>
            <a:custGeom>
              <a:avLst/>
              <a:gdLst>
                <a:gd name="T0" fmla="*/ 58 w 152"/>
                <a:gd name="T1" fmla="*/ 102 h 119"/>
                <a:gd name="T2" fmla="*/ 65 w 152"/>
                <a:gd name="T3" fmla="*/ 97 h 119"/>
                <a:gd name="T4" fmla="*/ 71 w 152"/>
                <a:gd name="T5" fmla="*/ 94 h 119"/>
                <a:gd name="T6" fmla="*/ 76 w 152"/>
                <a:gd name="T7" fmla="*/ 91 h 119"/>
                <a:gd name="T8" fmla="*/ 82 w 152"/>
                <a:gd name="T9" fmla="*/ 91 h 119"/>
                <a:gd name="T10" fmla="*/ 87 w 152"/>
                <a:gd name="T11" fmla="*/ 87 h 119"/>
                <a:gd name="T12" fmla="*/ 96 w 152"/>
                <a:gd name="T13" fmla="*/ 84 h 119"/>
                <a:gd name="T14" fmla="*/ 100 w 152"/>
                <a:gd name="T15" fmla="*/ 81 h 119"/>
                <a:gd name="T16" fmla="*/ 104 w 152"/>
                <a:gd name="T17" fmla="*/ 76 h 119"/>
                <a:gd name="T18" fmla="*/ 112 w 152"/>
                <a:gd name="T19" fmla="*/ 73 h 119"/>
                <a:gd name="T20" fmla="*/ 119 w 152"/>
                <a:gd name="T21" fmla="*/ 70 h 119"/>
                <a:gd name="T22" fmla="*/ 120 w 152"/>
                <a:gd name="T23" fmla="*/ 70 h 119"/>
                <a:gd name="T24" fmla="*/ 117 w 152"/>
                <a:gd name="T25" fmla="*/ 67 h 119"/>
                <a:gd name="T26" fmla="*/ 117 w 152"/>
                <a:gd name="T27" fmla="*/ 64 h 119"/>
                <a:gd name="T28" fmla="*/ 119 w 152"/>
                <a:gd name="T29" fmla="*/ 60 h 119"/>
                <a:gd name="T30" fmla="*/ 125 w 152"/>
                <a:gd name="T31" fmla="*/ 60 h 119"/>
                <a:gd name="T32" fmla="*/ 128 w 152"/>
                <a:gd name="T33" fmla="*/ 56 h 119"/>
                <a:gd name="T34" fmla="*/ 138 w 152"/>
                <a:gd name="T35" fmla="*/ 54 h 119"/>
                <a:gd name="T36" fmla="*/ 149 w 152"/>
                <a:gd name="T37" fmla="*/ 56 h 119"/>
                <a:gd name="T38" fmla="*/ 149 w 152"/>
                <a:gd name="T39" fmla="*/ 51 h 119"/>
                <a:gd name="T40" fmla="*/ 149 w 152"/>
                <a:gd name="T41" fmla="*/ 48 h 119"/>
                <a:gd name="T42" fmla="*/ 146 w 152"/>
                <a:gd name="T43" fmla="*/ 41 h 119"/>
                <a:gd name="T44" fmla="*/ 144 w 152"/>
                <a:gd name="T45" fmla="*/ 38 h 119"/>
                <a:gd name="T46" fmla="*/ 144 w 152"/>
                <a:gd name="T47" fmla="*/ 32 h 119"/>
                <a:gd name="T48" fmla="*/ 144 w 152"/>
                <a:gd name="T49" fmla="*/ 25 h 119"/>
                <a:gd name="T50" fmla="*/ 146 w 152"/>
                <a:gd name="T51" fmla="*/ 21 h 119"/>
                <a:gd name="T52" fmla="*/ 144 w 152"/>
                <a:gd name="T53" fmla="*/ 16 h 119"/>
                <a:gd name="T54" fmla="*/ 138 w 152"/>
                <a:gd name="T55" fmla="*/ 11 h 119"/>
                <a:gd name="T56" fmla="*/ 134 w 152"/>
                <a:gd name="T57" fmla="*/ 11 h 119"/>
                <a:gd name="T58" fmla="*/ 131 w 152"/>
                <a:gd name="T59" fmla="*/ 11 h 119"/>
                <a:gd name="T60" fmla="*/ 131 w 152"/>
                <a:gd name="T61" fmla="*/ 6 h 119"/>
                <a:gd name="T62" fmla="*/ 125 w 152"/>
                <a:gd name="T63" fmla="*/ 10 h 119"/>
                <a:gd name="T64" fmla="*/ 112 w 152"/>
                <a:gd name="T65" fmla="*/ 10 h 119"/>
                <a:gd name="T66" fmla="*/ 106 w 152"/>
                <a:gd name="T67" fmla="*/ 8 h 119"/>
                <a:gd name="T68" fmla="*/ 103 w 152"/>
                <a:gd name="T69" fmla="*/ 3 h 119"/>
                <a:gd name="T70" fmla="*/ 100 w 152"/>
                <a:gd name="T71" fmla="*/ 0 h 119"/>
                <a:gd name="T72" fmla="*/ 93 w 152"/>
                <a:gd name="T73" fmla="*/ 3 h 119"/>
                <a:gd name="T74" fmla="*/ 88 w 152"/>
                <a:gd name="T75" fmla="*/ 19 h 119"/>
                <a:gd name="T76" fmla="*/ 79 w 152"/>
                <a:gd name="T77" fmla="*/ 29 h 119"/>
                <a:gd name="T78" fmla="*/ 61 w 152"/>
                <a:gd name="T79" fmla="*/ 40 h 119"/>
                <a:gd name="T80" fmla="*/ 54 w 152"/>
                <a:gd name="T81" fmla="*/ 46 h 119"/>
                <a:gd name="T82" fmla="*/ 52 w 152"/>
                <a:gd name="T83" fmla="*/ 52 h 119"/>
                <a:gd name="T84" fmla="*/ 46 w 152"/>
                <a:gd name="T85" fmla="*/ 60 h 119"/>
                <a:gd name="T86" fmla="*/ 42 w 152"/>
                <a:gd name="T87" fmla="*/ 75 h 119"/>
                <a:gd name="T88" fmla="*/ 44 w 152"/>
                <a:gd name="T89" fmla="*/ 76 h 119"/>
                <a:gd name="T90" fmla="*/ 46 w 152"/>
                <a:gd name="T91" fmla="*/ 83 h 119"/>
                <a:gd name="T92" fmla="*/ 38 w 152"/>
                <a:gd name="T93" fmla="*/ 94 h 119"/>
                <a:gd name="T94" fmla="*/ 23 w 152"/>
                <a:gd name="T95" fmla="*/ 108 h 119"/>
                <a:gd name="T96" fmla="*/ 11 w 152"/>
                <a:gd name="T97" fmla="*/ 113 h 119"/>
                <a:gd name="T98" fmla="*/ 0 w 152"/>
                <a:gd name="T99" fmla="*/ 119 h 119"/>
                <a:gd name="T100" fmla="*/ 57 w 152"/>
                <a:gd name="T101" fmla="*/ 105 h 119"/>
                <a:gd name="T102" fmla="*/ 57 w 152"/>
                <a:gd name="T103" fmla="*/ 105 h 119"/>
                <a:gd name="T104" fmla="*/ 57 w 152"/>
                <a:gd name="T105" fmla="*/ 105 h 119"/>
                <a:gd name="T106" fmla="*/ 57 w 152"/>
                <a:gd name="T107" fmla="*/ 105 h 119"/>
                <a:gd name="T108" fmla="*/ 57 w 152"/>
                <a:gd name="T109" fmla="*/ 10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19">
                  <a:moveTo>
                    <a:pt x="57" y="105"/>
                  </a:moveTo>
                  <a:lnTo>
                    <a:pt x="58" y="102"/>
                  </a:lnTo>
                  <a:lnTo>
                    <a:pt x="58" y="100"/>
                  </a:lnTo>
                  <a:lnTo>
                    <a:pt x="65" y="97"/>
                  </a:lnTo>
                  <a:lnTo>
                    <a:pt x="68" y="94"/>
                  </a:lnTo>
                  <a:lnTo>
                    <a:pt x="71" y="94"/>
                  </a:lnTo>
                  <a:lnTo>
                    <a:pt x="73" y="91"/>
                  </a:lnTo>
                  <a:lnTo>
                    <a:pt x="76" y="91"/>
                  </a:lnTo>
                  <a:lnTo>
                    <a:pt x="80" y="91"/>
                  </a:lnTo>
                  <a:lnTo>
                    <a:pt x="82" y="91"/>
                  </a:lnTo>
                  <a:lnTo>
                    <a:pt x="84" y="87"/>
                  </a:lnTo>
                  <a:lnTo>
                    <a:pt x="87" y="87"/>
                  </a:lnTo>
                  <a:lnTo>
                    <a:pt x="88" y="87"/>
                  </a:lnTo>
                  <a:lnTo>
                    <a:pt x="96" y="84"/>
                  </a:lnTo>
                  <a:lnTo>
                    <a:pt x="100" y="84"/>
                  </a:lnTo>
                  <a:lnTo>
                    <a:pt x="100" y="81"/>
                  </a:lnTo>
                  <a:lnTo>
                    <a:pt x="103" y="79"/>
                  </a:lnTo>
                  <a:lnTo>
                    <a:pt x="104" y="76"/>
                  </a:lnTo>
                  <a:lnTo>
                    <a:pt x="111" y="75"/>
                  </a:lnTo>
                  <a:lnTo>
                    <a:pt x="112" y="73"/>
                  </a:lnTo>
                  <a:lnTo>
                    <a:pt x="115" y="71"/>
                  </a:lnTo>
                  <a:lnTo>
                    <a:pt x="119" y="70"/>
                  </a:lnTo>
                  <a:lnTo>
                    <a:pt x="120" y="70"/>
                  </a:lnTo>
                  <a:lnTo>
                    <a:pt x="120" y="70"/>
                  </a:lnTo>
                  <a:lnTo>
                    <a:pt x="117" y="67"/>
                  </a:lnTo>
                  <a:lnTo>
                    <a:pt x="117" y="67"/>
                  </a:lnTo>
                  <a:lnTo>
                    <a:pt x="119" y="64"/>
                  </a:lnTo>
                  <a:lnTo>
                    <a:pt x="117" y="64"/>
                  </a:lnTo>
                  <a:lnTo>
                    <a:pt x="117" y="60"/>
                  </a:lnTo>
                  <a:lnTo>
                    <a:pt x="119" y="60"/>
                  </a:lnTo>
                  <a:lnTo>
                    <a:pt x="122" y="60"/>
                  </a:lnTo>
                  <a:lnTo>
                    <a:pt x="125" y="60"/>
                  </a:lnTo>
                  <a:lnTo>
                    <a:pt x="128" y="57"/>
                  </a:lnTo>
                  <a:lnTo>
                    <a:pt x="128" y="56"/>
                  </a:lnTo>
                  <a:lnTo>
                    <a:pt x="131" y="54"/>
                  </a:lnTo>
                  <a:lnTo>
                    <a:pt x="138" y="54"/>
                  </a:lnTo>
                  <a:lnTo>
                    <a:pt x="146" y="56"/>
                  </a:lnTo>
                  <a:lnTo>
                    <a:pt x="149" y="56"/>
                  </a:lnTo>
                  <a:lnTo>
                    <a:pt x="149" y="52"/>
                  </a:lnTo>
                  <a:lnTo>
                    <a:pt x="149" y="51"/>
                  </a:lnTo>
                  <a:lnTo>
                    <a:pt x="152" y="49"/>
                  </a:lnTo>
                  <a:lnTo>
                    <a:pt x="149" y="48"/>
                  </a:lnTo>
                  <a:lnTo>
                    <a:pt x="147" y="45"/>
                  </a:lnTo>
                  <a:lnTo>
                    <a:pt x="146" y="41"/>
                  </a:lnTo>
                  <a:lnTo>
                    <a:pt x="146" y="38"/>
                  </a:lnTo>
                  <a:lnTo>
                    <a:pt x="144" y="38"/>
                  </a:lnTo>
                  <a:lnTo>
                    <a:pt x="146" y="35"/>
                  </a:lnTo>
                  <a:lnTo>
                    <a:pt x="144" y="32"/>
                  </a:lnTo>
                  <a:lnTo>
                    <a:pt x="144" y="32"/>
                  </a:lnTo>
                  <a:lnTo>
                    <a:pt x="144" y="25"/>
                  </a:lnTo>
                  <a:lnTo>
                    <a:pt x="144" y="22"/>
                  </a:lnTo>
                  <a:lnTo>
                    <a:pt x="146" y="21"/>
                  </a:lnTo>
                  <a:lnTo>
                    <a:pt x="144" y="19"/>
                  </a:lnTo>
                  <a:lnTo>
                    <a:pt x="144" y="16"/>
                  </a:lnTo>
                  <a:lnTo>
                    <a:pt x="141" y="14"/>
                  </a:lnTo>
                  <a:lnTo>
                    <a:pt x="138" y="11"/>
                  </a:lnTo>
                  <a:lnTo>
                    <a:pt x="136" y="11"/>
                  </a:lnTo>
                  <a:lnTo>
                    <a:pt x="134" y="11"/>
                  </a:lnTo>
                  <a:lnTo>
                    <a:pt x="131" y="10"/>
                  </a:lnTo>
                  <a:lnTo>
                    <a:pt x="131" y="11"/>
                  </a:lnTo>
                  <a:lnTo>
                    <a:pt x="131" y="10"/>
                  </a:lnTo>
                  <a:lnTo>
                    <a:pt x="131" y="6"/>
                  </a:lnTo>
                  <a:lnTo>
                    <a:pt x="128" y="8"/>
                  </a:lnTo>
                  <a:lnTo>
                    <a:pt x="125" y="10"/>
                  </a:lnTo>
                  <a:lnTo>
                    <a:pt x="119" y="10"/>
                  </a:lnTo>
                  <a:lnTo>
                    <a:pt x="112" y="10"/>
                  </a:lnTo>
                  <a:lnTo>
                    <a:pt x="109" y="10"/>
                  </a:lnTo>
                  <a:lnTo>
                    <a:pt x="106" y="8"/>
                  </a:lnTo>
                  <a:lnTo>
                    <a:pt x="104" y="5"/>
                  </a:lnTo>
                  <a:lnTo>
                    <a:pt x="103" y="3"/>
                  </a:lnTo>
                  <a:lnTo>
                    <a:pt x="103" y="0"/>
                  </a:lnTo>
                  <a:lnTo>
                    <a:pt x="100" y="0"/>
                  </a:lnTo>
                  <a:lnTo>
                    <a:pt x="96" y="0"/>
                  </a:lnTo>
                  <a:lnTo>
                    <a:pt x="93" y="3"/>
                  </a:lnTo>
                  <a:lnTo>
                    <a:pt x="93" y="6"/>
                  </a:lnTo>
                  <a:lnTo>
                    <a:pt x="88" y="19"/>
                  </a:lnTo>
                  <a:lnTo>
                    <a:pt x="84" y="25"/>
                  </a:lnTo>
                  <a:lnTo>
                    <a:pt x="79" y="29"/>
                  </a:lnTo>
                  <a:lnTo>
                    <a:pt x="65" y="35"/>
                  </a:lnTo>
                  <a:lnTo>
                    <a:pt x="61" y="40"/>
                  </a:lnTo>
                  <a:lnTo>
                    <a:pt x="57" y="45"/>
                  </a:lnTo>
                  <a:lnTo>
                    <a:pt x="54" y="46"/>
                  </a:lnTo>
                  <a:lnTo>
                    <a:pt x="52" y="49"/>
                  </a:lnTo>
                  <a:lnTo>
                    <a:pt x="52" y="52"/>
                  </a:lnTo>
                  <a:lnTo>
                    <a:pt x="50" y="57"/>
                  </a:lnTo>
                  <a:lnTo>
                    <a:pt x="46" y="60"/>
                  </a:lnTo>
                  <a:lnTo>
                    <a:pt x="44" y="70"/>
                  </a:lnTo>
                  <a:lnTo>
                    <a:pt x="42" y="75"/>
                  </a:lnTo>
                  <a:lnTo>
                    <a:pt x="42" y="76"/>
                  </a:lnTo>
                  <a:lnTo>
                    <a:pt x="44" y="76"/>
                  </a:lnTo>
                  <a:lnTo>
                    <a:pt x="46" y="79"/>
                  </a:lnTo>
                  <a:lnTo>
                    <a:pt x="46" y="83"/>
                  </a:lnTo>
                  <a:lnTo>
                    <a:pt x="42" y="87"/>
                  </a:lnTo>
                  <a:lnTo>
                    <a:pt x="38" y="94"/>
                  </a:lnTo>
                  <a:lnTo>
                    <a:pt x="33" y="98"/>
                  </a:lnTo>
                  <a:lnTo>
                    <a:pt x="23" y="108"/>
                  </a:lnTo>
                  <a:lnTo>
                    <a:pt x="17" y="111"/>
                  </a:lnTo>
                  <a:lnTo>
                    <a:pt x="11" y="113"/>
                  </a:lnTo>
                  <a:lnTo>
                    <a:pt x="3" y="114"/>
                  </a:lnTo>
                  <a:lnTo>
                    <a:pt x="0" y="119"/>
                  </a:lnTo>
                  <a:lnTo>
                    <a:pt x="57" y="119"/>
                  </a:lnTo>
                  <a:lnTo>
                    <a:pt x="57" y="105"/>
                  </a:lnTo>
                  <a:lnTo>
                    <a:pt x="57" y="105"/>
                  </a:lnTo>
                  <a:lnTo>
                    <a:pt x="57" y="105"/>
                  </a:lnTo>
                  <a:lnTo>
                    <a:pt x="57" y="105"/>
                  </a:lnTo>
                  <a:lnTo>
                    <a:pt x="57" y="105"/>
                  </a:lnTo>
                  <a:lnTo>
                    <a:pt x="57" y="105"/>
                  </a:lnTo>
                  <a:lnTo>
                    <a:pt x="57" y="105"/>
                  </a:lnTo>
                  <a:lnTo>
                    <a:pt x="57" y="105"/>
                  </a:lnTo>
                  <a:lnTo>
                    <a:pt x="57" y="10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69" name="Freeform 158">
              <a:extLst>
                <a:ext uri="{FF2B5EF4-FFF2-40B4-BE49-F238E27FC236}">
                  <a16:creationId xmlns:a16="http://schemas.microsoft.com/office/drawing/2014/main" id="{5F0558AD-3F13-30D8-8EDA-664227D658A8}"/>
                </a:ext>
              </a:extLst>
            </p:cNvPr>
            <p:cNvSpPr>
              <a:spLocks/>
            </p:cNvSpPr>
            <p:nvPr/>
          </p:nvSpPr>
          <p:spPr bwMode="auto">
            <a:xfrm>
              <a:off x="5538136" y="2831795"/>
              <a:ext cx="574226" cy="587684"/>
            </a:xfrm>
            <a:custGeom>
              <a:avLst/>
              <a:gdLst>
                <a:gd name="T0" fmla="*/ 249 w 256"/>
                <a:gd name="T1" fmla="*/ 185 h 262"/>
                <a:gd name="T2" fmla="*/ 240 w 256"/>
                <a:gd name="T3" fmla="*/ 181 h 262"/>
                <a:gd name="T4" fmla="*/ 233 w 256"/>
                <a:gd name="T5" fmla="*/ 181 h 262"/>
                <a:gd name="T6" fmla="*/ 230 w 256"/>
                <a:gd name="T7" fmla="*/ 168 h 262"/>
                <a:gd name="T8" fmla="*/ 224 w 256"/>
                <a:gd name="T9" fmla="*/ 155 h 262"/>
                <a:gd name="T10" fmla="*/ 229 w 256"/>
                <a:gd name="T11" fmla="*/ 150 h 262"/>
                <a:gd name="T12" fmla="*/ 229 w 256"/>
                <a:gd name="T13" fmla="*/ 136 h 262"/>
                <a:gd name="T14" fmla="*/ 229 w 256"/>
                <a:gd name="T15" fmla="*/ 125 h 262"/>
                <a:gd name="T16" fmla="*/ 229 w 256"/>
                <a:gd name="T17" fmla="*/ 112 h 262"/>
                <a:gd name="T18" fmla="*/ 224 w 256"/>
                <a:gd name="T19" fmla="*/ 101 h 262"/>
                <a:gd name="T20" fmla="*/ 224 w 256"/>
                <a:gd name="T21" fmla="*/ 90 h 262"/>
                <a:gd name="T22" fmla="*/ 218 w 256"/>
                <a:gd name="T23" fmla="*/ 71 h 262"/>
                <a:gd name="T24" fmla="*/ 208 w 256"/>
                <a:gd name="T25" fmla="*/ 58 h 262"/>
                <a:gd name="T26" fmla="*/ 202 w 256"/>
                <a:gd name="T27" fmla="*/ 55 h 262"/>
                <a:gd name="T28" fmla="*/ 202 w 256"/>
                <a:gd name="T29" fmla="*/ 42 h 262"/>
                <a:gd name="T30" fmla="*/ 210 w 256"/>
                <a:gd name="T31" fmla="*/ 33 h 262"/>
                <a:gd name="T32" fmla="*/ 211 w 256"/>
                <a:gd name="T33" fmla="*/ 14 h 262"/>
                <a:gd name="T34" fmla="*/ 211 w 256"/>
                <a:gd name="T35" fmla="*/ 6 h 262"/>
                <a:gd name="T36" fmla="*/ 206 w 256"/>
                <a:gd name="T37" fmla="*/ 3 h 262"/>
                <a:gd name="T38" fmla="*/ 205 w 256"/>
                <a:gd name="T39" fmla="*/ 1 h 262"/>
                <a:gd name="T40" fmla="*/ 194 w 256"/>
                <a:gd name="T41" fmla="*/ 3 h 262"/>
                <a:gd name="T42" fmla="*/ 186 w 256"/>
                <a:gd name="T43" fmla="*/ 0 h 262"/>
                <a:gd name="T44" fmla="*/ 179 w 256"/>
                <a:gd name="T45" fmla="*/ 4 h 262"/>
                <a:gd name="T46" fmla="*/ 173 w 256"/>
                <a:gd name="T47" fmla="*/ 6 h 262"/>
                <a:gd name="T48" fmla="*/ 154 w 256"/>
                <a:gd name="T49" fmla="*/ 4 h 262"/>
                <a:gd name="T50" fmla="*/ 146 w 256"/>
                <a:gd name="T51" fmla="*/ 4 h 262"/>
                <a:gd name="T52" fmla="*/ 135 w 256"/>
                <a:gd name="T53" fmla="*/ 8 h 262"/>
                <a:gd name="T54" fmla="*/ 114 w 256"/>
                <a:gd name="T55" fmla="*/ 14 h 262"/>
                <a:gd name="T56" fmla="*/ 108 w 256"/>
                <a:gd name="T57" fmla="*/ 19 h 262"/>
                <a:gd name="T58" fmla="*/ 103 w 256"/>
                <a:gd name="T59" fmla="*/ 20 h 262"/>
                <a:gd name="T60" fmla="*/ 95 w 256"/>
                <a:gd name="T61" fmla="*/ 25 h 262"/>
                <a:gd name="T62" fmla="*/ 83 w 256"/>
                <a:gd name="T63" fmla="*/ 28 h 262"/>
                <a:gd name="T64" fmla="*/ 91 w 256"/>
                <a:gd name="T65" fmla="*/ 38 h 262"/>
                <a:gd name="T66" fmla="*/ 89 w 256"/>
                <a:gd name="T67" fmla="*/ 49 h 262"/>
                <a:gd name="T68" fmla="*/ 91 w 256"/>
                <a:gd name="T69" fmla="*/ 55 h 262"/>
                <a:gd name="T70" fmla="*/ 95 w 256"/>
                <a:gd name="T71" fmla="*/ 65 h 262"/>
                <a:gd name="T72" fmla="*/ 95 w 256"/>
                <a:gd name="T73" fmla="*/ 73 h 262"/>
                <a:gd name="T74" fmla="*/ 76 w 256"/>
                <a:gd name="T75" fmla="*/ 71 h 262"/>
                <a:gd name="T76" fmla="*/ 67 w 256"/>
                <a:gd name="T77" fmla="*/ 77 h 262"/>
                <a:gd name="T78" fmla="*/ 62 w 256"/>
                <a:gd name="T79" fmla="*/ 81 h 262"/>
                <a:gd name="T80" fmla="*/ 65 w 256"/>
                <a:gd name="T81" fmla="*/ 87 h 262"/>
                <a:gd name="T82" fmla="*/ 60 w 256"/>
                <a:gd name="T83" fmla="*/ 90 h 262"/>
                <a:gd name="T84" fmla="*/ 48 w 256"/>
                <a:gd name="T85" fmla="*/ 96 h 262"/>
                <a:gd name="T86" fmla="*/ 41 w 256"/>
                <a:gd name="T87" fmla="*/ 103 h 262"/>
                <a:gd name="T88" fmla="*/ 27 w 256"/>
                <a:gd name="T89" fmla="*/ 108 h 262"/>
                <a:gd name="T90" fmla="*/ 18 w 256"/>
                <a:gd name="T91" fmla="*/ 109 h 262"/>
                <a:gd name="T92" fmla="*/ 5 w 256"/>
                <a:gd name="T93" fmla="*/ 119 h 262"/>
                <a:gd name="T94" fmla="*/ 2 w 256"/>
                <a:gd name="T95" fmla="*/ 136 h 262"/>
                <a:gd name="T96" fmla="*/ 0 w 256"/>
                <a:gd name="T97" fmla="*/ 158 h 262"/>
                <a:gd name="T98" fmla="*/ 46 w 256"/>
                <a:gd name="T99" fmla="*/ 174 h 262"/>
                <a:gd name="T100" fmla="*/ 108 w 256"/>
                <a:gd name="T101" fmla="*/ 220 h 262"/>
                <a:gd name="T102" fmla="*/ 119 w 256"/>
                <a:gd name="T103" fmla="*/ 230 h 262"/>
                <a:gd name="T104" fmla="*/ 121 w 256"/>
                <a:gd name="T105" fmla="*/ 236 h 262"/>
                <a:gd name="T106" fmla="*/ 129 w 256"/>
                <a:gd name="T107" fmla="*/ 241 h 262"/>
                <a:gd name="T108" fmla="*/ 135 w 256"/>
                <a:gd name="T109" fmla="*/ 244 h 262"/>
                <a:gd name="T110" fmla="*/ 146 w 256"/>
                <a:gd name="T111" fmla="*/ 250 h 262"/>
                <a:gd name="T112" fmla="*/ 146 w 256"/>
                <a:gd name="T113" fmla="*/ 258 h 262"/>
                <a:gd name="T114" fmla="*/ 156 w 256"/>
                <a:gd name="T115" fmla="*/ 258 h 262"/>
                <a:gd name="T116" fmla="*/ 160 w 256"/>
                <a:gd name="T117" fmla="*/ 258 h 262"/>
                <a:gd name="T118" fmla="*/ 178 w 256"/>
                <a:gd name="T119" fmla="*/ 254 h 262"/>
                <a:gd name="T120" fmla="*/ 219 w 256"/>
                <a:gd name="T121" fmla="*/ 220 h 262"/>
                <a:gd name="T122" fmla="*/ 254 w 256"/>
                <a:gd name="T123" fmla="*/ 193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262">
                  <a:moveTo>
                    <a:pt x="254" y="193"/>
                  </a:moveTo>
                  <a:lnTo>
                    <a:pt x="254" y="193"/>
                  </a:lnTo>
                  <a:lnTo>
                    <a:pt x="254" y="193"/>
                  </a:lnTo>
                  <a:lnTo>
                    <a:pt x="253" y="190"/>
                  </a:lnTo>
                  <a:lnTo>
                    <a:pt x="253" y="190"/>
                  </a:lnTo>
                  <a:lnTo>
                    <a:pt x="249" y="185"/>
                  </a:lnTo>
                  <a:lnTo>
                    <a:pt x="249" y="185"/>
                  </a:lnTo>
                  <a:lnTo>
                    <a:pt x="249" y="184"/>
                  </a:lnTo>
                  <a:lnTo>
                    <a:pt x="249" y="184"/>
                  </a:lnTo>
                  <a:lnTo>
                    <a:pt x="243" y="182"/>
                  </a:lnTo>
                  <a:lnTo>
                    <a:pt x="243" y="182"/>
                  </a:lnTo>
                  <a:lnTo>
                    <a:pt x="241" y="181"/>
                  </a:lnTo>
                  <a:lnTo>
                    <a:pt x="241" y="181"/>
                  </a:lnTo>
                  <a:lnTo>
                    <a:pt x="240" y="181"/>
                  </a:lnTo>
                  <a:lnTo>
                    <a:pt x="240" y="181"/>
                  </a:lnTo>
                  <a:lnTo>
                    <a:pt x="240" y="181"/>
                  </a:lnTo>
                  <a:lnTo>
                    <a:pt x="237" y="181"/>
                  </a:lnTo>
                  <a:lnTo>
                    <a:pt x="237" y="181"/>
                  </a:lnTo>
                  <a:lnTo>
                    <a:pt x="237" y="181"/>
                  </a:lnTo>
                  <a:lnTo>
                    <a:pt x="237" y="181"/>
                  </a:lnTo>
                  <a:lnTo>
                    <a:pt x="233" y="181"/>
                  </a:lnTo>
                  <a:lnTo>
                    <a:pt x="233" y="181"/>
                  </a:lnTo>
                  <a:lnTo>
                    <a:pt x="233" y="177"/>
                  </a:lnTo>
                  <a:lnTo>
                    <a:pt x="233" y="177"/>
                  </a:lnTo>
                  <a:lnTo>
                    <a:pt x="230" y="174"/>
                  </a:lnTo>
                  <a:lnTo>
                    <a:pt x="230" y="174"/>
                  </a:lnTo>
                  <a:lnTo>
                    <a:pt x="230" y="168"/>
                  </a:lnTo>
                  <a:lnTo>
                    <a:pt x="230" y="168"/>
                  </a:lnTo>
                  <a:lnTo>
                    <a:pt x="229" y="166"/>
                  </a:lnTo>
                  <a:lnTo>
                    <a:pt x="229" y="166"/>
                  </a:lnTo>
                  <a:lnTo>
                    <a:pt x="226" y="160"/>
                  </a:lnTo>
                  <a:lnTo>
                    <a:pt x="226" y="160"/>
                  </a:lnTo>
                  <a:lnTo>
                    <a:pt x="224" y="157"/>
                  </a:lnTo>
                  <a:lnTo>
                    <a:pt x="224" y="157"/>
                  </a:lnTo>
                  <a:lnTo>
                    <a:pt x="224" y="155"/>
                  </a:lnTo>
                  <a:lnTo>
                    <a:pt x="224" y="155"/>
                  </a:lnTo>
                  <a:lnTo>
                    <a:pt x="226" y="154"/>
                  </a:lnTo>
                  <a:lnTo>
                    <a:pt x="226" y="154"/>
                  </a:lnTo>
                  <a:lnTo>
                    <a:pt x="227" y="152"/>
                  </a:lnTo>
                  <a:lnTo>
                    <a:pt x="227" y="152"/>
                  </a:lnTo>
                  <a:lnTo>
                    <a:pt x="229" y="150"/>
                  </a:lnTo>
                  <a:lnTo>
                    <a:pt x="229" y="150"/>
                  </a:lnTo>
                  <a:lnTo>
                    <a:pt x="230" y="149"/>
                  </a:lnTo>
                  <a:lnTo>
                    <a:pt x="230" y="149"/>
                  </a:lnTo>
                  <a:lnTo>
                    <a:pt x="229" y="146"/>
                  </a:lnTo>
                  <a:lnTo>
                    <a:pt x="229" y="146"/>
                  </a:lnTo>
                  <a:lnTo>
                    <a:pt x="229" y="142"/>
                  </a:lnTo>
                  <a:lnTo>
                    <a:pt x="229" y="142"/>
                  </a:lnTo>
                  <a:lnTo>
                    <a:pt x="229" y="136"/>
                  </a:lnTo>
                  <a:lnTo>
                    <a:pt x="229" y="136"/>
                  </a:lnTo>
                  <a:lnTo>
                    <a:pt x="230" y="133"/>
                  </a:lnTo>
                  <a:lnTo>
                    <a:pt x="230" y="133"/>
                  </a:lnTo>
                  <a:lnTo>
                    <a:pt x="229" y="130"/>
                  </a:lnTo>
                  <a:lnTo>
                    <a:pt x="229" y="130"/>
                  </a:lnTo>
                  <a:lnTo>
                    <a:pt x="229" y="125"/>
                  </a:lnTo>
                  <a:lnTo>
                    <a:pt x="229" y="125"/>
                  </a:lnTo>
                  <a:lnTo>
                    <a:pt x="229" y="122"/>
                  </a:lnTo>
                  <a:lnTo>
                    <a:pt x="229" y="122"/>
                  </a:lnTo>
                  <a:lnTo>
                    <a:pt x="229" y="122"/>
                  </a:lnTo>
                  <a:lnTo>
                    <a:pt x="229" y="122"/>
                  </a:lnTo>
                  <a:lnTo>
                    <a:pt x="229" y="115"/>
                  </a:lnTo>
                  <a:lnTo>
                    <a:pt x="229" y="115"/>
                  </a:lnTo>
                  <a:lnTo>
                    <a:pt x="229" y="112"/>
                  </a:lnTo>
                  <a:lnTo>
                    <a:pt x="229" y="112"/>
                  </a:lnTo>
                  <a:lnTo>
                    <a:pt x="229" y="111"/>
                  </a:lnTo>
                  <a:lnTo>
                    <a:pt x="229" y="111"/>
                  </a:lnTo>
                  <a:lnTo>
                    <a:pt x="227" y="108"/>
                  </a:lnTo>
                  <a:lnTo>
                    <a:pt x="227" y="108"/>
                  </a:lnTo>
                  <a:lnTo>
                    <a:pt x="224" y="101"/>
                  </a:lnTo>
                  <a:lnTo>
                    <a:pt x="224" y="101"/>
                  </a:lnTo>
                  <a:lnTo>
                    <a:pt x="222" y="101"/>
                  </a:lnTo>
                  <a:lnTo>
                    <a:pt x="222" y="101"/>
                  </a:lnTo>
                  <a:lnTo>
                    <a:pt x="224" y="100"/>
                  </a:lnTo>
                  <a:lnTo>
                    <a:pt x="224" y="100"/>
                  </a:lnTo>
                  <a:lnTo>
                    <a:pt x="226" y="98"/>
                  </a:lnTo>
                  <a:lnTo>
                    <a:pt x="226" y="98"/>
                  </a:lnTo>
                  <a:lnTo>
                    <a:pt x="224" y="90"/>
                  </a:lnTo>
                  <a:lnTo>
                    <a:pt x="224" y="90"/>
                  </a:lnTo>
                  <a:lnTo>
                    <a:pt x="221" y="81"/>
                  </a:lnTo>
                  <a:lnTo>
                    <a:pt x="221" y="81"/>
                  </a:lnTo>
                  <a:lnTo>
                    <a:pt x="221" y="76"/>
                  </a:lnTo>
                  <a:lnTo>
                    <a:pt x="221" y="76"/>
                  </a:lnTo>
                  <a:lnTo>
                    <a:pt x="218" y="71"/>
                  </a:lnTo>
                  <a:lnTo>
                    <a:pt x="218" y="71"/>
                  </a:lnTo>
                  <a:lnTo>
                    <a:pt x="213" y="68"/>
                  </a:lnTo>
                  <a:lnTo>
                    <a:pt x="213" y="68"/>
                  </a:lnTo>
                  <a:lnTo>
                    <a:pt x="211" y="65"/>
                  </a:lnTo>
                  <a:lnTo>
                    <a:pt x="211" y="65"/>
                  </a:lnTo>
                  <a:lnTo>
                    <a:pt x="210" y="62"/>
                  </a:lnTo>
                  <a:lnTo>
                    <a:pt x="210" y="62"/>
                  </a:lnTo>
                  <a:lnTo>
                    <a:pt x="208" y="58"/>
                  </a:lnTo>
                  <a:lnTo>
                    <a:pt x="208" y="58"/>
                  </a:lnTo>
                  <a:lnTo>
                    <a:pt x="205" y="57"/>
                  </a:lnTo>
                  <a:lnTo>
                    <a:pt x="205" y="57"/>
                  </a:lnTo>
                  <a:lnTo>
                    <a:pt x="205" y="55"/>
                  </a:lnTo>
                  <a:lnTo>
                    <a:pt x="205" y="55"/>
                  </a:lnTo>
                  <a:lnTo>
                    <a:pt x="202" y="55"/>
                  </a:lnTo>
                  <a:lnTo>
                    <a:pt x="202" y="55"/>
                  </a:lnTo>
                  <a:lnTo>
                    <a:pt x="202" y="49"/>
                  </a:lnTo>
                  <a:lnTo>
                    <a:pt x="202" y="49"/>
                  </a:lnTo>
                  <a:lnTo>
                    <a:pt x="202" y="47"/>
                  </a:lnTo>
                  <a:lnTo>
                    <a:pt x="202" y="47"/>
                  </a:lnTo>
                  <a:lnTo>
                    <a:pt x="202" y="44"/>
                  </a:lnTo>
                  <a:lnTo>
                    <a:pt x="202" y="44"/>
                  </a:lnTo>
                  <a:lnTo>
                    <a:pt x="202" y="42"/>
                  </a:lnTo>
                  <a:lnTo>
                    <a:pt x="202" y="42"/>
                  </a:lnTo>
                  <a:lnTo>
                    <a:pt x="206" y="38"/>
                  </a:lnTo>
                  <a:lnTo>
                    <a:pt x="206" y="38"/>
                  </a:lnTo>
                  <a:lnTo>
                    <a:pt x="208" y="35"/>
                  </a:lnTo>
                  <a:lnTo>
                    <a:pt x="208" y="35"/>
                  </a:lnTo>
                  <a:lnTo>
                    <a:pt x="210" y="33"/>
                  </a:lnTo>
                  <a:lnTo>
                    <a:pt x="210" y="33"/>
                  </a:lnTo>
                  <a:lnTo>
                    <a:pt x="211" y="25"/>
                  </a:lnTo>
                  <a:lnTo>
                    <a:pt x="211" y="25"/>
                  </a:lnTo>
                  <a:lnTo>
                    <a:pt x="210" y="19"/>
                  </a:lnTo>
                  <a:lnTo>
                    <a:pt x="210" y="19"/>
                  </a:lnTo>
                  <a:lnTo>
                    <a:pt x="210" y="17"/>
                  </a:lnTo>
                  <a:lnTo>
                    <a:pt x="210" y="17"/>
                  </a:lnTo>
                  <a:lnTo>
                    <a:pt x="211" y="14"/>
                  </a:lnTo>
                  <a:lnTo>
                    <a:pt x="211" y="14"/>
                  </a:lnTo>
                  <a:lnTo>
                    <a:pt x="211" y="11"/>
                  </a:lnTo>
                  <a:lnTo>
                    <a:pt x="211" y="11"/>
                  </a:lnTo>
                  <a:lnTo>
                    <a:pt x="208" y="9"/>
                  </a:lnTo>
                  <a:lnTo>
                    <a:pt x="208" y="9"/>
                  </a:lnTo>
                  <a:lnTo>
                    <a:pt x="211" y="6"/>
                  </a:lnTo>
                  <a:lnTo>
                    <a:pt x="211" y="6"/>
                  </a:lnTo>
                  <a:lnTo>
                    <a:pt x="213" y="6"/>
                  </a:lnTo>
                  <a:lnTo>
                    <a:pt x="213" y="6"/>
                  </a:lnTo>
                  <a:lnTo>
                    <a:pt x="213" y="4"/>
                  </a:lnTo>
                  <a:lnTo>
                    <a:pt x="213" y="4"/>
                  </a:lnTo>
                  <a:lnTo>
                    <a:pt x="214" y="3"/>
                  </a:lnTo>
                  <a:lnTo>
                    <a:pt x="214" y="3"/>
                  </a:lnTo>
                  <a:lnTo>
                    <a:pt x="206" y="3"/>
                  </a:lnTo>
                  <a:lnTo>
                    <a:pt x="206" y="3"/>
                  </a:lnTo>
                  <a:lnTo>
                    <a:pt x="205" y="3"/>
                  </a:lnTo>
                  <a:lnTo>
                    <a:pt x="205" y="3"/>
                  </a:lnTo>
                  <a:lnTo>
                    <a:pt x="205" y="3"/>
                  </a:lnTo>
                  <a:lnTo>
                    <a:pt x="205" y="3"/>
                  </a:lnTo>
                  <a:lnTo>
                    <a:pt x="205" y="1"/>
                  </a:lnTo>
                  <a:lnTo>
                    <a:pt x="205" y="1"/>
                  </a:lnTo>
                  <a:lnTo>
                    <a:pt x="199" y="0"/>
                  </a:lnTo>
                  <a:lnTo>
                    <a:pt x="199" y="0"/>
                  </a:lnTo>
                  <a:lnTo>
                    <a:pt x="199" y="0"/>
                  </a:lnTo>
                  <a:lnTo>
                    <a:pt x="199" y="0"/>
                  </a:lnTo>
                  <a:lnTo>
                    <a:pt x="199" y="1"/>
                  </a:lnTo>
                  <a:lnTo>
                    <a:pt x="199" y="1"/>
                  </a:lnTo>
                  <a:lnTo>
                    <a:pt x="194" y="3"/>
                  </a:lnTo>
                  <a:lnTo>
                    <a:pt x="194" y="3"/>
                  </a:lnTo>
                  <a:lnTo>
                    <a:pt x="191" y="1"/>
                  </a:lnTo>
                  <a:lnTo>
                    <a:pt x="191" y="1"/>
                  </a:lnTo>
                  <a:lnTo>
                    <a:pt x="187" y="0"/>
                  </a:lnTo>
                  <a:lnTo>
                    <a:pt x="187" y="0"/>
                  </a:lnTo>
                  <a:lnTo>
                    <a:pt x="186" y="0"/>
                  </a:lnTo>
                  <a:lnTo>
                    <a:pt x="186" y="0"/>
                  </a:lnTo>
                  <a:lnTo>
                    <a:pt x="186" y="1"/>
                  </a:lnTo>
                  <a:lnTo>
                    <a:pt x="186" y="1"/>
                  </a:lnTo>
                  <a:lnTo>
                    <a:pt x="186" y="3"/>
                  </a:lnTo>
                  <a:lnTo>
                    <a:pt x="186" y="3"/>
                  </a:lnTo>
                  <a:lnTo>
                    <a:pt x="183" y="3"/>
                  </a:lnTo>
                  <a:lnTo>
                    <a:pt x="183" y="3"/>
                  </a:lnTo>
                  <a:lnTo>
                    <a:pt x="179" y="4"/>
                  </a:lnTo>
                  <a:lnTo>
                    <a:pt x="179" y="4"/>
                  </a:lnTo>
                  <a:lnTo>
                    <a:pt x="176" y="6"/>
                  </a:lnTo>
                  <a:lnTo>
                    <a:pt x="176" y="6"/>
                  </a:lnTo>
                  <a:lnTo>
                    <a:pt x="175" y="6"/>
                  </a:lnTo>
                  <a:lnTo>
                    <a:pt x="175" y="6"/>
                  </a:lnTo>
                  <a:lnTo>
                    <a:pt x="173" y="6"/>
                  </a:lnTo>
                  <a:lnTo>
                    <a:pt x="173" y="6"/>
                  </a:lnTo>
                  <a:lnTo>
                    <a:pt x="170" y="3"/>
                  </a:lnTo>
                  <a:lnTo>
                    <a:pt x="170" y="3"/>
                  </a:lnTo>
                  <a:lnTo>
                    <a:pt x="167" y="3"/>
                  </a:lnTo>
                  <a:lnTo>
                    <a:pt x="167" y="3"/>
                  </a:lnTo>
                  <a:lnTo>
                    <a:pt x="160" y="3"/>
                  </a:lnTo>
                  <a:lnTo>
                    <a:pt x="160" y="3"/>
                  </a:lnTo>
                  <a:lnTo>
                    <a:pt x="154" y="4"/>
                  </a:lnTo>
                  <a:lnTo>
                    <a:pt x="154" y="4"/>
                  </a:lnTo>
                  <a:lnTo>
                    <a:pt x="149" y="4"/>
                  </a:lnTo>
                  <a:lnTo>
                    <a:pt x="149" y="4"/>
                  </a:lnTo>
                  <a:lnTo>
                    <a:pt x="149" y="4"/>
                  </a:lnTo>
                  <a:lnTo>
                    <a:pt x="149" y="4"/>
                  </a:lnTo>
                  <a:lnTo>
                    <a:pt x="146" y="4"/>
                  </a:lnTo>
                  <a:lnTo>
                    <a:pt x="146" y="4"/>
                  </a:lnTo>
                  <a:lnTo>
                    <a:pt x="146" y="6"/>
                  </a:lnTo>
                  <a:lnTo>
                    <a:pt x="146" y="6"/>
                  </a:lnTo>
                  <a:lnTo>
                    <a:pt x="143" y="6"/>
                  </a:lnTo>
                  <a:lnTo>
                    <a:pt x="143" y="6"/>
                  </a:lnTo>
                  <a:lnTo>
                    <a:pt x="140" y="8"/>
                  </a:lnTo>
                  <a:lnTo>
                    <a:pt x="140" y="8"/>
                  </a:lnTo>
                  <a:lnTo>
                    <a:pt x="135" y="8"/>
                  </a:lnTo>
                  <a:lnTo>
                    <a:pt x="135" y="8"/>
                  </a:lnTo>
                  <a:lnTo>
                    <a:pt x="130" y="8"/>
                  </a:lnTo>
                  <a:lnTo>
                    <a:pt x="130" y="8"/>
                  </a:lnTo>
                  <a:lnTo>
                    <a:pt x="119" y="11"/>
                  </a:lnTo>
                  <a:lnTo>
                    <a:pt x="119" y="11"/>
                  </a:lnTo>
                  <a:lnTo>
                    <a:pt x="114" y="14"/>
                  </a:lnTo>
                  <a:lnTo>
                    <a:pt x="114" y="14"/>
                  </a:lnTo>
                  <a:lnTo>
                    <a:pt x="111" y="17"/>
                  </a:lnTo>
                  <a:lnTo>
                    <a:pt x="111" y="17"/>
                  </a:lnTo>
                  <a:lnTo>
                    <a:pt x="111" y="19"/>
                  </a:lnTo>
                  <a:lnTo>
                    <a:pt x="111" y="19"/>
                  </a:lnTo>
                  <a:lnTo>
                    <a:pt x="108" y="19"/>
                  </a:lnTo>
                  <a:lnTo>
                    <a:pt x="108" y="19"/>
                  </a:lnTo>
                  <a:lnTo>
                    <a:pt x="108" y="19"/>
                  </a:lnTo>
                  <a:lnTo>
                    <a:pt x="108" y="19"/>
                  </a:lnTo>
                  <a:lnTo>
                    <a:pt x="105" y="19"/>
                  </a:lnTo>
                  <a:lnTo>
                    <a:pt x="105" y="19"/>
                  </a:lnTo>
                  <a:lnTo>
                    <a:pt x="105" y="20"/>
                  </a:lnTo>
                  <a:lnTo>
                    <a:pt x="105" y="20"/>
                  </a:lnTo>
                  <a:lnTo>
                    <a:pt x="103" y="20"/>
                  </a:lnTo>
                  <a:lnTo>
                    <a:pt x="103" y="20"/>
                  </a:lnTo>
                  <a:lnTo>
                    <a:pt x="102" y="20"/>
                  </a:lnTo>
                  <a:lnTo>
                    <a:pt x="102" y="20"/>
                  </a:lnTo>
                  <a:lnTo>
                    <a:pt x="99" y="22"/>
                  </a:lnTo>
                  <a:lnTo>
                    <a:pt x="99" y="22"/>
                  </a:lnTo>
                  <a:lnTo>
                    <a:pt x="97" y="25"/>
                  </a:lnTo>
                  <a:lnTo>
                    <a:pt x="97" y="25"/>
                  </a:lnTo>
                  <a:lnTo>
                    <a:pt x="95" y="25"/>
                  </a:lnTo>
                  <a:lnTo>
                    <a:pt x="95" y="25"/>
                  </a:lnTo>
                  <a:lnTo>
                    <a:pt x="92" y="25"/>
                  </a:lnTo>
                  <a:lnTo>
                    <a:pt x="92" y="25"/>
                  </a:lnTo>
                  <a:lnTo>
                    <a:pt x="89" y="28"/>
                  </a:lnTo>
                  <a:lnTo>
                    <a:pt x="89" y="28"/>
                  </a:lnTo>
                  <a:lnTo>
                    <a:pt x="83" y="28"/>
                  </a:lnTo>
                  <a:lnTo>
                    <a:pt x="83" y="28"/>
                  </a:lnTo>
                  <a:lnTo>
                    <a:pt x="86" y="31"/>
                  </a:lnTo>
                  <a:lnTo>
                    <a:pt x="86" y="31"/>
                  </a:lnTo>
                  <a:lnTo>
                    <a:pt x="89" y="33"/>
                  </a:lnTo>
                  <a:lnTo>
                    <a:pt x="89" y="33"/>
                  </a:lnTo>
                  <a:lnTo>
                    <a:pt x="89" y="36"/>
                  </a:lnTo>
                  <a:lnTo>
                    <a:pt x="89" y="36"/>
                  </a:lnTo>
                  <a:lnTo>
                    <a:pt x="91" y="38"/>
                  </a:lnTo>
                  <a:lnTo>
                    <a:pt x="91" y="38"/>
                  </a:lnTo>
                  <a:lnTo>
                    <a:pt x="89" y="39"/>
                  </a:lnTo>
                  <a:lnTo>
                    <a:pt x="89" y="39"/>
                  </a:lnTo>
                  <a:lnTo>
                    <a:pt x="89" y="42"/>
                  </a:lnTo>
                  <a:lnTo>
                    <a:pt x="89" y="42"/>
                  </a:lnTo>
                  <a:lnTo>
                    <a:pt x="89" y="49"/>
                  </a:lnTo>
                  <a:lnTo>
                    <a:pt x="89" y="49"/>
                  </a:lnTo>
                  <a:lnTo>
                    <a:pt x="89" y="49"/>
                  </a:lnTo>
                  <a:lnTo>
                    <a:pt x="89" y="49"/>
                  </a:lnTo>
                  <a:lnTo>
                    <a:pt x="91" y="52"/>
                  </a:lnTo>
                  <a:lnTo>
                    <a:pt x="91" y="52"/>
                  </a:lnTo>
                  <a:lnTo>
                    <a:pt x="89" y="55"/>
                  </a:lnTo>
                  <a:lnTo>
                    <a:pt x="89" y="55"/>
                  </a:lnTo>
                  <a:lnTo>
                    <a:pt x="91" y="55"/>
                  </a:lnTo>
                  <a:lnTo>
                    <a:pt x="91" y="55"/>
                  </a:lnTo>
                  <a:lnTo>
                    <a:pt x="91" y="58"/>
                  </a:lnTo>
                  <a:lnTo>
                    <a:pt x="91" y="58"/>
                  </a:lnTo>
                  <a:lnTo>
                    <a:pt x="92" y="62"/>
                  </a:lnTo>
                  <a:lnTo>
                    <a:pt x="92" y="62"/>
                  </a:lnTo>
                  <a:lnTo>
                    <a:pt x="95" y="65"/>
                  </a:lnTo>
                  <a:lnTo>
                    <a:pt x="95" y="65"/>
                  </a:lnTo>
                  <a:lnTo>
                    <a:pt x="97" y="66"/>
                  </a:lnTo>
                  <a:lnTo>
                    <a:pt x="97" y="66"/>
                  </a:lnTo>
                  <a:lnTo>
                    <a:pt x="95" y="68"/>
                  </a:lnTo>
                  <a:lnTo>
                    <a:pt x="95" y="68"/>
                  </a:lnTo>
                  <a:lnTo>
                    <a:pt x="94" y="69"/>
                  </a:lnTo>
                  <a:lnTo>
                    <a:pt x="94" y="69"/>
                  </a:lnTo>
                  <a:lnTo>
                    <a:pt x="95" y="73"/>
                  </a:lnTo>
                  <a:lnTo>
                    <a:pt x="95" y="73"/>
                  </a:lnTo>
                  <a:lnTo>
                    <a:pt x="91" y="73"/>
                  </a:lnTo>
                  <a:lnTo>
                    <a:pt x="91" y="73"/>
                  </a:lnTo>
                  <a:lnTo>
                    <a:pt x="83" y="71"/>
                  </a:lnTo>
                  <a:lnTo>
                    <a:pt x="83" y="71"/>
                  </a:lnTo>
                  <a:lnTo>
                    <a:pt x="76" y="71"/>
                  </a:lnTo>
                  <a:lnTo>
                    <a:pt x="76" y="71"/>
                  </a:lnTo>
                  <a:lnTo>
                    <a:pt x="73" y="73"/>
                  </a:lnTo>
                  <a:lnTo>
                    <a:pt x="73" y="73"/>
                  </a:lnTo>
                  <a:lnTo>
                    <a:pt x="73" y="74"/>
                  </a:lnTo>
                  <a:lnTo>
                    <a:pt x="73" y="74"/>
                  </a:lnTo>
                  <a:lnTo>
                    <a:pt x="70" y="77"/>
                  </a:lnTo>
                  <a:lnTo>
                    <a:pt x="70" y="77"/>
                  </a:lnTo>
                  <a:lnTo>
                    <a:pt x="67" y="77"/>
                  </a:lnTo>
                  <a:lnTo>
                    <a:pt x="67" y="77"/>
                  </a:lnTo>
                  <a:lnTo>
                    <a:pt x="64" y="77"/>
                  </a:lnTo>
                  <a:lnTo>
                    <a:pt x="64" y="77"/>
                  </a:lnTo>
                  <a:lnTo>
                    <a:pt x="62" y="77"/>
                  </a:lnTo>
                  <a:lnTo>
                    <a:pt x="62" y="77"/>
                  </a:lnTo>
                  <a:lnTo>
                    <a:pt x="62" y="81"/>
                  </a:lnTo>
                  <a:lnTo>
                    <a:pt x="62" y="81"/>
                  </a:lnTo>
                  <a:lnTo>
                    <a:pt x="64" y="81"/>
                  </a:lnTo>
                  <a:lnTo>
                    <a:pt x="64" y="81"/>
                  </a:lnTo>
                  <a:lnTo>
                    <a:pt x="62" y="84"/>
                  </a:lnTo>
                  <a:lnTo>
                    <a:pt x="62" y="84"/>
                  </a:lnTo>
                  <a:lnTo>
                    <a:pt x="62" y="84"/>
                  </a:lnTo>
                  <a:lnTo>
                    <a:pt x="62" y="84"/>
                  </a:lnTo>
                  <a:lnTo>
                    <a:pt x="65" y="87"/>
                  </a:lnTo>
                  <a:lnTo>
                    <a:pt x="65" y="87"/>
                  </a:lnTo>
                  <a:lnTo>
                    <a:pt x="65" y="87"/>
                  </a:lnTo>
                  <a:lnTo>
                    <a:pt x="65" y="87"/>
                  </a:lnTo>
                  <a:lnTo>
                    <a:pt x="64" y="87"/>
                  </a:lnTo>
                  <a:lnTo>
                    <a:pt x="64" y="87"/>
                  </a:lnTo>
                  <a:lnTo>
                    <a:pt x="60" y="90"/>
                  </a:lnTo>
                  <a:lnTo>
                    <a:pt x="60" y="90"/>
                  </a:lnTo>
                  <a:lnTo>
                    <a:pt x="57" y="90"/>
                  </a:lnTo>
                  <a:lnTo>
                    <a:pt x="57" y="90"/>
                  </a:lnTo>
                  <a:lnTo>
                    <a:pt x="56" y="92"/>
                  </a:lnTo>
                  <a:lnTo>
                    <a:pt x="56" y="92"/>
                  </a:lnTo>
                  <a:lnTo>
                    <a:pt x="49" y="93"/>
                  </a:lnTo>
                  <a:lnTo>
                    <a:pt x="49" y="93"/>
                  </a:lnTo>
                  <a:lnTo>
                    <a:pt x="48" y="96"/>
                  </a:lnTo>
                  <a:lnTo>
                    <a:pt x="48" y="96"/>
                  </a:lnTo>
                  <a:lnTo>
                    <a:pt x="45" y="98"/>
                  </a:lnTo>
                  <a:lnTo>
                    <a:pt x="45" y="98"/>
                  </a:lnTo>
                  <a:lnTo>
                    <a:pt x="45" y="101"/>
                  </a:lnTo>
                  <a:lnTo>
                    <a:pt x="45" y="101"/>
                  </a:lnTo>
                  <a:lnTo>
                    <a:pt x="41" y="103"/>
                  </a:lnTo>
                  <a:lnTo>
                    <a:pt x="41" y="103"/>
                  </a:lnTo>
                  <a:lnTo>
                    <a:pt x="33" y="104"/>
                  </a:lnTo>
                  <a:lnTo>
                    <a:pt x="33" y="104"/>
                  </a:lnTo>
                  <a:lnTo>
                    <a:pt x="32" y="104"/>
                  </a:lnTo>
                  <a:lnTo>
                    <a:pt x="32" y="104"/>
                  </a:lnTo>
                  <a:lnTo>
                    <a:pt x="29" y="106"/>
                  </a:lnTo>
                  <a:lnTo>
                    <a:pt x="29" y="106"/>
                  </a:lnTo>
                  <a:lnTo>
                    <a:pt x="27" y="108"/>
                  </a:lnTo>
                  <a:lnTo>
                    <a:pt x="27" y="108"/>
                  </a:lnTo>
                  <a:lnTo>
                    <a:pt x="25" y="109"/>
                  </a:lnTo>
                  <a:lnTo>
                    <a:pt x="25" y="109"/>
                  </a:lnTo>
                  <a:lnTo>
                    <a:pt x="21" y="108"/>
                  </a:lnTo>
                  <a:lnTo>
                    <a:pt x="21" y="108"/>
                  </a:lnTo>
                  <a:lnTo>
                    <a:pt x="18" y="109"/>
                  </a:lnTo>
                  <a:lnTo>
                    <a:pt x="18" y="109"/>
                  </a:lnTo>
                  <a:lnTo>
                    <a:pt x="16" y="111"/>
                  </a:lnTo>
                  <a:lnTo>
                    <a:pt x="16" y="111"/>
                  </a:lnTo>
                  <a:lnTo>
                    <a:pt x="13" y="112"/>
                  </a:lnTo>
                  <a:lnTo>
                    <a:pt x="13" y="112"/>
                  </a:lnTo>
                  <a:lnTo>
                    <a:pt x="11" y="115"/>
                  </a:lnTo>
                  <a:lnTo>
                    <a:pt x="11" y="115"/>
                  </a:lnTo>
                  <a:lnTo>
                    <a:pt x="5" y="119"/>
                  </a:lnTo>
                  <a:lnTo>
                    <a:pt x="5" y="119"/>
                  </a:lnTo>
                  <a:lnTo>
                    <a:pt x="3" y="119"/>
                  </a:lnTo>
                  <a:lnTo>
                    <a:pt x="3" y="119"/>
                  </a:lnTo>
                  <a:lnTo>
                    <a:pt x="2" y="122"/>
                  </a:lnTo>
                  <a:lnTo>
                    <a:pt x="2" y="122"/>
                  </a:lnTo>
                  <a:lnTo>
                    <a:pt x="2" y="136"/>
                  </a:lnTo>
                  <a:lnTo>
                    <a:pt x="2" y="136"/>
                  </a:lnTo>
                  <a:lnTo>
                    <a:pt x="2" y="138"/>
                  </a:lnTo>
                  <a:lnTo>
                    <a:pt x="2" y="138"/>
                  </a:lnTo>
                  <a:lnTo>
                    <a:pt x="2" y="138"/>
                  </a:lnTo>
                  <a:lnTo>
                    <a:pt x="2" y="138"/>
                  </a:lnTo>
                  <a:lnTo>
                    <a:pt x="2" y="139"/>
                  </a:lnTo>
                  <a:lnTo>
                    <a:pt x="2" y="139"/>
                  </a:lnTo>
                  <a:lnTo>
                    <a:pt x="0" y="158"/>
                  </a:lnTo>
                  <a:lnTo>
                    <a:pt x="0" y="158"/>
                  </a:lnTo>
                  <a:lnTo>
                    <a:pt x="0" y="158"/>
                  </a:lnTo>
                  <a:lnTo>
                    <a:pt x="2" y="139"/>
                  </a:lnTo>
                  <a:lnTo>
                    <a:pt x="2" y="139"/>
                  </a:lnTo>
                  <a:lnTo>
                    <a:pt x="48" y="174"/>
                  </a:lnTo>
                  <a:lnTo>
                    <a:pt x="48" y="174"/>
                  </a:lnTo>
                  <a:lnTo>
                    <a:pt x="46" y="174"/>
                  </a:lnTo>
                  <a:lnTo>
                    <a:pt x="46" y="174"/>
                  </a:lnTo>
                  <a:lnTo>
                    <a:pt x="54" y="181"/>
                  </a:lnTo>
                  <a:lnTo>
                    <a:pt x="54" y="181"/>
                  </a:lnTo>
                  <a:lnTo>
                    <a:pt x="89" y="206"/>
                  </a:lnTo>
                  <a:lnTo>
                    <a:pt x="89" y="206"/>
                  </a:lnTo>
                  <a:lnTo>
                    <a:pt x="108" y="220"/>
                  </a:lnTo>
                  <a:lnTo>
                    <a:pt x="108" y="220"/>
                  </a:lnTo>
                  <a:lnTo>
                    <a:pt x="108" y="220"/>
                  </a:lnTo>
                  <a:lnTo>
                    <a:pt x="108" y="220"/>
                  </a:lnTo>
                  <a:lnTo>
                    <a:pt x="114" y="225"/>
                  </a:lnTo>
                  <a:lnTo>
                    <a:pt x="114" y="225"/>
                  </a:lnTo>
                  <a:lnTo>
                    <a:pt x="118" y="227"/>
                  </a:lnTo>
                  <a:lnTo>
                    <a:pt x="118" y="227"/>
                  </a:lnTo>
                  <a:lnTo>
                    <a:pt x="119" y="230"/>
                  </a:lnTo>
                  <a:lnTo>
                    <a:pt x="119" y="230"/>
                  </a:lnTo>
                  <a:lnTo>
                    <a:pt x="121" y="233"/>
                  </a:lnTo>
                  <a:lnTo>
                    <a:pt x="121" y="233"/>
                  </a:lnTo>
                  <a:lnTo>
                    <a:pt x="121" y="233"/>
                  </a:lnTo>
                  <a:lnTo>
                    <a:pt x="121" y="233"/>
                  </a:lnTo>
                  <a:lnTo>
                    <a:pt x="121" y="236"/>
                  </a:lnTo>
                  <a:lnTo>
                    <a:pt x="121" y="236"/>
                  </a:lnTo>
                  <a:lnTo>
                    <a:pt x="126" y="236"/>
                  </a:lnTo>
                  <a:lnTo>
                    <a:pt x="126" y="236"/>
                  </a:lnTo>
                  <a:lnTo>
                    <a:pt x="127" y="239"/>
                  </a:lnTo>
                  <a:lnTo>
                    <a:pt x="127" y="239"/>
                  </a:lnTo>
                  <a:lnTo>
                    <a:pt x="127" y="239"/>
                  </a:lnTo>
                  <a:lnTo>
                    <a:pt x="129" y="241"/>
                  </a:lnTo>
                  <a:lnTo>
                    <a:pt x="129" y="241"/>
                  </a:lnTo>
                  <a:lnTo>
                    <a:pt x="130" y="241"/>
                  </a:lnTo>
                  <a:lnTo>
                    <a:pt x="130" y="241"/>
                  </a:lnTo>
                  <a:lnTo>
                    <a:pt x="132" y="242"/>
                  </a:lnTo>
                  <a:lnTo>
                    <a:pt x="132" y="242"/>
                  </a:lnTo>
                  <a:lnTo>
                    <a:pt x="133" y="242"/>
                  </a:lnTo>
                  <a:lnTo>
                    <a:pt x="133" y="242"/>
                  </a:lnTo>
                  <a:lnTo>
                    <a:pt x="135" y="244"/>
                  </a:lnTo>
                  <a:lnTo>
                    <a:pt x="135" y="244"/>
                  </a:lnTo>
                  <a:lnTo>
                    <a:pt x="138" y="246"/>
                  </a:lnTo>
                  <a:lnTo>
                    <a:pt x="138" y="246"/>
                  </a:lnTo>
                  <a:lnTo>
                    <a:pt x="146" y="247"/>
                  </a:lnTo>
                  <a:lnTo>
                    <a:pt x="146" y="247"/>
                  </a:lnTo>
                  <a:lnTo>
                    <a:pt x="146" y="250"/>
                  </a:lnTo>
                  <a:lnTo>
                    <a:pt x="146" y="250"/>
                  </a:lnTo>
                  <a:lnTo>
                    <a:pt x="146" y="255"/>
                  </a:lnTo>
                  <a:lnTo>
                    <a:pt x="146" y="255"/>
                  </a:lnTo>
                  <a:lnTo>
                    <a:pt x="146" y="258"/>
                  </a:lnTo>
                  <a:lnTo>
                    <a:pt x="146" y="258"/>
                  </a:lnTo>
                  <a:lnTo>
                    <a:pt x="146" y="258"/>
                  </a:lnTo>
                  <a:lnTo>
                    <a:pt x="146" y="258"/>
                  </a:lnTo>
                  <a:lnTo>
                    <a:pt x="146" y="258"/>
                  </a:lnTo>
                  <a:lnTo>
                    <a:pt x="146" y="258"/>
                  </a:lnTo>
                  <a:lnTo>
                    <a:pt x="151" y="258"/>
                  </a:lnTo>
                  <a:lnTo>
                    <a:pt x="151" y="258"/>
                  </a:lnTo>
                  <a:lnTo>
                    <a:pt x="153" y="258"/>
                  </a:lnTo>
                  <a:lnTo>
                    <a:pt x="153" y="258"/>
                  </a:lnTo>
                  <a:lnTo>
                    <a:pt x="156" y="258"/>
                  </a:lnTo>
                  <a:lnTo>
                    <a:pt x="156" y="258"/>
                  </a:lnTo>
                  <a:lnTo>
                    <a:pt x="159" y="258"/>
                  </a:lnTo>
                  <a:lnTo>
                    <a:pt x="159" y="258"/>
                  </a:lnTo>
                  <a:lnTo>
                    <a:pt x="159" y="262"/>
                  </a:lnTo>
                  <a:lnTo>
                    <a:pt x="159" y="262"/>
                  </a:lnTo>
                  <a:lnTo>
                    <a:pt x="159" y="258"/>
                  </a:lnTo>
                  <a:lnTo>
                    <a:pt x="159" y="258"/>
                  </a:lnTo>
                  <a:lnTo>
                    <a:pt x="160" y="258"/>
                  </a:lnTo>
                  <a:lnTo>
                    <a:pt x="160" y="258"/>
                  </a:lnTo>
                  <a:lnTo>
                    <a:pt x="172" y="255"/>
                  </a:lnTo>
                  <a:lnTo>
                    <a:pt x="172" y="255"/>
                  </a:lnTo>
                  <a:lnTo>
                    <a:pt x="173" y="255"/>
                  </a:lnTo>
                  <a:lnTo>
                    <a:pt x="173" y="255"/>
                  </a:lnTo>
                  <a:lnTo>
                    <a:pt x="178" y="254"/>
                  </a:lnTo>
                  <a:lnTo>
                    <a:pt x="178" y="254"/>
                  </a:lnTo>
                  <a:lnTo>
                    <a:pt x="183" y="250"/>
                  </a:lnTo>
                  <a:lnTo>
                    <a:pt x="183" y="250"/>
                  </a:lnTo>
                  <a:lnTo>
                    <a:pt x="186" y="246"/>
                  </a:lnTo>
                  <a:lnTo>
                    <a:pt x="186" y="246"/>
                  </a:lnTo>
                  <a:lnTo>
                    <a:pt x="202" y="233"/>
                  </a:lnTo>
                  <a:lnTo>
                    <a:pt x="202" y="233"/>
                  </a:lnTo>
                  <a:lnTo>
                    <a:pt x="219" y="220"/>
                  </a:lnTo>
                  <a:lnTo>
                    <a:pt x="219" y="220"/>
                  </a:lnTo>
                  <a:lnTo>
                    <a:pt x="254" y="195"/>
                  </a:lnTo>
                  <a:lnTo>
                    <a:pt x="254" y="195"/>
                  </a:lnTo>
                  <a:lnTo>
                    <a:pt x="256" y="195"/>
                  </a:lnTo>
                  <a:lnTo>
                    <a:pt x="254" y="193"/>
                  </a:lnTo>
                  <a:lnTo>
                    <a:pt x="254" y="193"/>
                  </a:lnTo>
                  <a:lnTo>
                    <a:pt x="254" y="19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0" name="Freeform 174">
              <a:extLst>
                <a:ext uri="{FF2B5EF4-FFF2-40B4-BE49-F238E27FC236}">
                  <a16:creationId xmlns:a16="http://schemas.microsoft.com/office/drawing/2014/main" id="{D05233E3-5DF0-CAE9-DE29-DD8A06B4F79F}"/>
                </a:ext>
              </a:extLst>
            </p:cNvPr>
            <p:cNvSpPr>
              <a:spLocks/>
            </p:cNvSpPr>
            <p:nvPr/>
          </p:nvSpPr>
          <p:spPr bwMode="auto">
            <a:xfrm>
              <a:off x="5428226" y="3222089"/>
              <a:ext cx="466559" cy="477774"/>
            </a:xfrm>
            <a:custGeom>
              <a:avLst/>
              <a:gdLst>
                <a:gd name="T0" fmla="*/ 197 w 208"/>
                <a:gd name="T1" fmla="*/ 84 h 213"/>
                <a:gd name="T2" fmla="*/ 197 w 208"/>
                <a:gd name="T3" fmla="*/ 76 h 213"/>
                <a:gd name="T4" fmla="*/ 182 w 208"/>
                <a:gd name="T5" fmla="*/ 68 h 213"/>
                <a:gd name="T6" fmla="*/ 178 w 208"/>
                <a:gd name="T7" fmla="*/ 65 h 213"/>
                <a:gd name="T8" fmla="*/ 171 w 208"/>
                <a:gd name="T9" fmla="*/ 59 h 213"/>
                <a:gd name="T10" fmla="*/ 163 w 208"/>
                <a:gd name="T11" fmla="*/ 51 h 213"/>
                <a:gd name="T12" fmla="*/ 105 w 208"/>
                <a:gd name="T13" fmla="*/ 7 h 213"/>
                <a:gd name="T14" fmla="*/ 76 w 208"/>
                <a:gd name="T15" fmla="*/ 22 h 213"/>
                <a:gd name="T16" fmla="*/ 86 w 208"/>
                <a:gd name="T17" fmla="*/ 122 h 213"/>
                <a:gd name="T18" fmla="*/ 86 w 208"/>
                <a:gd name="T19" fmla="*/ 134 h 213"/>
                <a:gd name="T20" fmla="*/ 59 w 208"/>
                <a:gd name="T21" fmla="*/ 137 h 213"/>
                <a:gd name="T22" fmla="*/ 36 w 208"/>
                <a:gd name="T23" fmla="*/ 134 h 213"/>
                <a:gd name="T24" fmla="*/ 25 w 208"/>
                <a:gd name="T25" fmla="*/ 138 h 213"/>
                <a:gd name="T26" fmla="*/ 17 w 208"/>
                <a:gd name="T27" fmla="*/ 142 h 213"/>
                <a:gd name="T28" fmla="*/ 8 w 208"/>
                <a:gd name="T29" fmla="*/ 135 h 213"/>
                <a:gd name="T30" fmla="*/ 6 w 208"/>
                <a:gd name="T31" fmla="*/ 143 h 213"/>
                <a:gd name="T32" fmla="*/ 0 w 208"/>
                <a:gd name="T33" fmla="*/ 148 h 213"/>
                <a:gd name="T34" fmla="*/ 1 w 208"/>
                <a:gd name="T35" fmla="*/ 153 h 213"/>
                <a:gd name="T36" fmla="*/ 3 w 208"/>
                <a:gd name="T37" fmla="*/ 161 h 213"/>
                <a:gd name="T38" fmla="*/ 6 w 208"/>
                <a:gd name="T39" fmla="*/ 167 h 213"/>
                <a:gd name="T40" fmla="*/ 8 w 208"/>
                <a:gd name="T41" fmla="*/ 176 h 213"/>
                <a:gd name="T42" fmla="*/ 8 w 208"/>
                <a:gd name="T43" fmla="*/ 184 h 213"/>
                <a:gd name="T44" fmla="*/ 14 w 208"/>
                <a:gd name="T45" fmla="*/ 184 h 213"/>
                <a:gd name="T46" fmla="*/ 19 w 208"/>
                <a:gd name="T47" fmla="*/ 188 h 213"/>
                <a:gd name="T48" fmla="*/ 28 w 208"/>
                <a:gd name="T49" fmla="*/ 184 h 213"/>
                <a:gd name="T50" fmla="*/ 36 w 208"/>
                <a:gd name="T51" fmla="*/ 181 h 213"/>
                <a:gd name="T52" fmla="*/ 40 w 208"/>
                <a:gd name="T53" fmla="*/ 181 h 213"/>
                <a:gd name="T54" fmla="*/ 43 w 208"/>
                <a:gd name="T55" fmla="*/ 189 h 213"/>
                <a:gd name="T56" fmla="*/ 46 w 208"/>
                <a:gd name="T57" fmla="*/ 194 h 213"/>
                <a:gd name="T58" fmla="*/ 46 w 208"/>
                <a:gd name="T59" fmla="*/ 197 h 213"/>
                <a:gd name="T60" fmla="*/ 49 w 208"/>
                <a:gd name="T61" fmla="*/ 200 h 213"/>
                <a:gd name="T62" fmla="*/ 52 w 208"/>
                <a:gd name="T63" fmla="*/ 210 h 213"/>
                <a:gd name="T64" fmla="*/ 52 w 208"/>
                <a:gd name="T65" fmla="*/ 213 h 213"/>
                <a:gd name="T66" fmla="*/ 57 w 208"/>
                <a:gd name="T67" fmla="*/ 210 h 213"/>
                <a:gd name="T68" fmla="*/ 65 w 208"/>
                <a:gd name="T69" fmla="*/ 213 h 213"/>
                <a:gd name="T70" fmla="*/ 70 w 208"/>
                <a:gd name="T71" fmla="*/ 210 h 213"/>
                <a:gd name="T72" fmla="*/ 73 w 208"/>
                <a:gd name="T73" fmla="*/ 207 h 213"/>
                <a:gd name="T74" fmla="*/ 74 w 208"/>
                <a:gd name="T75" fmla="*/ 213 h 213"/>
                <a:gd name="T76" fmla="*/ 78 w 208"/>
                <a:gd name="T77" fmla="*/ 210 h 213"/>
                <a:gd name="T78" fmla="*/ 84 w 208"/>
                <a:gd name="T79" fmla="*/ 207 h 213"/>
                <a:gd name="T80" fmla="*/ 87 w 208"/>
                <a:gd name="T81" fmla="*/ 199 h 213"/>
                <a:gd name="T82" fmla="*/ 87 w 208"/>
                <a:gd name="T83" fmla="*/ 191 h 213"/>
                <a:gd name="T84" fmla="*/ 90 w 208"/>
                <a:gd name="T85" fmla="*/ 188 h 213"/>
                <a:gd name="T86" fmla="*/ 98 w 208"/>
                <a:gd name="T87" fmla="*/ 181 h 213"/>
                <a:gd name="T88" fmla="*/ 98 w 208"/>
                <a:gd name="T89" fmla="*/ 176 h 213"/>
                <a:gd name="T90" fmla="*/ 101 w 208"/>
                <a:gd name="T91" fmla="*/ 170 h 213"/>
                <a:gd name="T92" fmla="*/ 108 w 208"/>
                <a:gd name="T93" fmla="*/ 169 h 213"/>
                <a:gd name="T94" fmla="*/ 113 w 208"/>
                <a:gd name="T95" fmla="*/ 165 h 213"/>
                <a:gd name="T96" fmla="*/ 117 w 208"/>
                <a:gd name="T97" fmla="*/ 159 h 213"/>
                <a:gd name="T98" fmla="*/ 127 w 208"/>
                <a:gd name="T99" fmla="*/ 154 h 213"/>
                <a:gd name="T100" fmla="*/ 133 w 208"/>
                <a:gd name="T101" fmla="*/ 149 h 213"/>
                <a:gd name="T102" fmla="*/ 149 w 208"/>
                <a:gd name="T103" fmla="*/ 143 h 213"/>
                <a:gd name="T104" fmla="*/ 157 w 208"/>
                <a:gd name="T105" fmla="*/ 145 h 213"/>
                <a:gd name="T106" fmla="*/ 168 w 208"/>
                <a:gd name="T107" fmla="*/ 143 h 213"/>
                <a:gd name="T108" fmla="*/ 190 w 208"/>
                <a:gd name="T109" fmla="*/ 138 h 213"/>
                <a:gd name="T110" fmla="*/ 198 w 208"/>
                <a:gd name="T111" fmla="*/ 138 h 213"/>
                <a:gd name="T112" fmla="*/ 205 w 208"/>
                <a:gd name="T113" fmla="*/ 129 h 213"/>
                <a:gd name="T114" fmla="*/ 208 w 208"/>
                <a:gd name="T115" fmla="*/ 88 h 213"/>
                <a:gd name="T116" fmla="*/ 205 w 208"/>
                <a:gd name="T117" fmla="*/ 84 h 213"/>
                <a:gd name="T118" fmla="*/ 205 w 208"/>
                <a:gd name="T119" fmla="*/ 8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213">
                  <a:moveTo>
                    <a:pt x="205" y="84"/>
                  </a:moveTo>
                  <a:lnTo>
                    <a:pt x="202" y="84"/>
                  </a:lnTo>
                  <a:lnTo>
                    <a:pt x="200" y="84"/>
                  </a:lnTo>
                  <a:lnTo>
                    <a:pt x="197" y="84"/>
                  </a:lnTo>
                  <a:lnTo>
                    <a:pt x="195" y="84"/>
                  </a:lnTo>
                  <a:lnTo>
                    <a:pt x="195" y="84"/>
                  </a:lnTo>
                  <a:lnTo>
                    <a:pt x="195" y="81"/>
                  </a:lnTo>
                  <a:lnTo>
                    <a:pt x="197" y="76"/>
                  </a:lnTo>
                  <a:lnTo>
                    <a:pt x="195" y="73"/>
                  </a:lnTo>
                  <a:lnTo>
                    <a:pt x="187" y="72"/>
                  </a:lnTo>
                  <a:lnTo>
                    <a:pt x="184" y="70"/>
                  </a:lnTo>
                  <a:lnTo>
                    <a:pt x="182" y="68"/>
                  </a:lnTo>
                  <a:lnTo>
                    <a:pt x="181" y="68"/>
                  </a:lnTo>
                  <a:lnTo>
                    <a:pt x="179" y="67"/>
                  </a:lnTo>
                  <a:lnTo>
                    <a:pt x="178" y="67"/>
                  </a:lnTo>
                  <a:lnTo>
                    <a:pt x="178" y="65"/>
                  </a:lnTo>
                  <a:lnTo>
                    <a:pt x="178" y="65"/>
                  </a:lnTo>
                  <a:lnTo>
                    <a:pt x="175" y="62"/>
                  </a:lnTo>
                  <a:lnTo>
                    <a:pt x="171" y="62"/>
                  </a:lnTo>
                  <a:lnTo>
                    <a:pt x="171" y="59"/>
                  </a:lnTo>
                  <a:lnTo>
                    <a:pt x="171" y="59"/>
                  </a:lnTo>
                  <a:lnTo>
                    <a:pt x="168" y="56"/>
                  </a:lnTo>
                  <a:lnTo>
                    <a:pt x="167" y="53"/>
                  </a:lnTo>
                  <a:lnTo>
                    <a:pt x="163" y="51"/>
                  </a:lnTo>
                  <a:lnTo>
                    <a:pt x="159" y="46"/>
                  </a:lnTo>
                  <a:lnTo>
                    <a:pt x="157" y="46"/>
                  </a:lnTo>
                  <a:lnTo>
                    <a:pt x="140" y="32"/>
                  </a:lnTo>
                  <a:lnTo>
                    <a:pt x="105" y="7"/>
                  </a:lnTo>
                  <a:lnTo>
                    <a:pt x="95" y="0"/>
                  </a:lnTo>
                  <a:lnTo>
                    <a:pt x="76" y="0"/>
                  </a:lnTo>
                  <a:lnTo>
                    <a:pt x="74" y="0"/>
                  </a:lnTo>
                  <a:lnTo>
                    <a:pt x="76" y="22"/>
                  </a:lnTo>
                  <a:lnTo>
                    <a:pt x="84" y="116"/>
                  </a:lnTo>
                  <a:lnTo>
                    <a:pt x="84" y="119"/>
                  </a:lnTo>
                  <a:lnTo>
                    <a:pt x="84" y="122"/>
                  </a:lnTo>
                  <a:lnTo>
                    <a:pt x="86" y="122"/>
                  </a:lnTo>
                  <a:lnTo>
                    <a:pt x="87" y="126"/>
                  </a:lnTo>
                  <a:lnTo>
                    <a:pt x="87" y="129"/>
                  </a:lnTo>
                  <a:lnTo>
                    <a:pt x="86" y="132"/>
                  </a:lnTo>
                  <a:lnTo>
                    <a:pt x="86" y="134"/>
                  </a:lnTo>
                  <a:lnTo>
                    <a:pt x="86" y="135"/>
                  </a:lnTo>
                  <a:lnTo>
                    <a:pt x="84" y="137"/>
                  </a:lnTo>
                  <a:lnTo>
                    <a:pt x="74" y="137"/>
                  </a:lnTo>
                  <a:lnTo>
                    <a:pt x="59" y="137"/>
                  </a:lnTo>
                  <a:lnTo>
                    <a:pt x="49" y="137"/>
                  </a:lnTo>
                  <a:lnTo>
                    <a:pt x="43" y="137"/>
                  </a:lnTo>
                  <a:lnTo>
                    <a:pt x="40" y="137"/>
                  </a:lnTo>
                  <a:lnTo>
                    <a:pt x="36" y="134"/>
                  </a:lnTo>
                  <a:lnTo>
                    <a:pt x="35" y="137"/>
                  </a:lnTo>
                  <a:lnTo>
                    <a:pt x="32" y="138"/>
                  </a:lnTo>
                  <a:lnTo>
                    <a:pt x="27" y="138"/>
                  </a:lnTo>
                  <a:lnTo>
                    <a:pt x="25" y="138"/>
                  </a:lnTo>
                  <a:lnTo>
                    <a:pt x="22" y="137"/>
                  </a:lnTo>
                  <a:lnTo>
                    <a:pt x="19" y="138"/>
                  </a:lnTo>
                  <a:lnTo>
                    <a:pt x="17" y="140"/>
                  </a:lnTo>
                  <a:lnTo>
                    <a:pt x="17" y="142"/>
                  </a:lnTo>
                  <a:lnTo>
                    <a:pt x="17" y="142"/>
                  </a:lnTo>
                  <a:lnTo>
                    <a:pt x="14" y="140"/>
                  </a:lnTo>
                  <a:lnTo>
                    <a:pt x="11" y="137"/>
                  </a:lnTo>
                  <a:lnTo>
                    <a:pt x="8" y="135"/>
                  </a:lnTo>
                  <a:lnTo>
                    <a:pt x="8" y="135"/>
                  </a:lnTo>
                  <a:lnTo>
                    <a:pt x="8" y="137"/>
                  </a:lnTo>
                  <a:lnTo>
                    <a:pt x="6" y="142"/>
                  </a:lnTo>
                  <a:lnTo>
                    <a:pt x="6" y="143"/>
                  </a:lnTo>
                  <a:lnTo>
                    <a:pt x="6" y="146"/>
                  </a:lnTo>
                  <a:lnTo>
                    <a:pt x="3" y="148"/>
                  </a:lnTo>
                  <a:lnTo>
                    <a:pt x="0" y="148"/>
                  </a:lnTo>
                  <a:lnTo>
                    <a:pt x="0" y="148"/>
                  </a:lnTo>
                  <a:lnTo>
                    <a:pt x="1" y="149"/>
                  </a:lnTo>
                  <a:lnTo>
                    <a:pt x="0" y="149"/>
                  </a:lnTo>
                  <a:lnTo>
                    <a:pt x="0" y="153"/>
                  </a:lnTo>
                  <a:lnTo>
                    <a:pt x="1" y="153"/>
                  </a:lnTo>
                  <a:lnTo>
                    <a:pt x="3" y="156"/>
                  </a:lnTo>
                  <a:lnTo>
                    <a:pt x="3" y="157"/>
                  </a:lnTo>
                  <a:lnTo>
                    <a:pt x="3" y="159"/>
                  </a:lnTo>
                  <a:lnTo>
                    <a:pt x="3" y="161"/>
                  </a:lnTo>
                  <a:lnTo>
                    <a:pt x="3" y="164"/>
                  </a:lnTo>
                  <a:lnTo>
                    <a:pt x="3" y="165"/>
                  </a:lnTo>
                  <a:lnTo>
                    <a:pt x="5" y="165"/>
                  </a:lnTo>
                  <a:lnTo>
                    <a:pt x="6" y="167"/>
                  </a:lnTo>
                  <a:lnTo>
                    <a:pt x="8" y="169"/>
                  </a:lnTo>
                  <a:lnTo>
                    <a:pt x="9" y="172"/>
                  </a:lnTo>
                  <a:lnTo>
                    <a:pt x="11" y="175"/>
                  </a:lnTo>
                  <a:lnTo>
                    <a:pt x="8" y="176"/>
                  </a:lnTo>
                  <a:lnTo>
                    <a:pt x="11" y="178"/>
                  </a:lnTo>
                  <a:lnTo>
                    <a:pt x="11" y="181"/>
                  </a:lnTo>
                  <a:lnTo>
                    <a:pt x="11" y="181"/>
                  </a:lnTo>
                  <a:lnTo>
                    <a:pt x="8" y="184"/>
                  </a:lnTo>
                  <a:lnTo>
                    <a:pt x="11" y="188"/>
                  </a:lnTo>
                  <a:lnTo>
                    <a:pt x="11" y="188"/>
                  </a:lnTo>
                  <a:lnTo>
                    <a:pt x="14" y="184"/>
                  </a:lnTo>
                  <a:lnTo>
                    <a:pt x="14" y="184"/>
                  </a:lnTo>
                  <a:lnTo>
                    <a:pt x="17" y="184"/>
                  </a:lnTo>
                  <a:lnTo>
                    <a:pt x="17" y="184"/>
                  </a:lnTo>
                  <a:lnTo>
                    <a:pt x="17" y="188"/>
                  </a:lnTo>
                  <a:lnTo>
                    <a:pt x="19" y="188"/>
                  </a:lnTo>
                  <a:lnTo>
                    <a:pt x="21" y="184"/>
                  </a:lnTo>
                  <a:lnTo>
                    <a:pt x="24" y="184"/>
                  </a:lnTo>
                  <a:lnTo>
                    <a:pt x="27" y="184"/>
                  </a:lnTo>
                  <a:lnTo>
                    <a:pt x="28" y="184"/>
                  </a:lnTo>
                  <a:lnTo>
                    <a:pt x="30" y="188"/>
                  </a:lnTo>
                  <a:lnTo>
                    <a:pt x="36" y="184"/>
                  </a:lnTo>
                  <a:lnTo>
                    <a:pt x="36" y="181"/>
                  </a:lnTo>
                  <a:lnTo>
                    <a:pt x="36" y="181"/>
                  </a:lnTo>
                  <a:lnTo>
                    <a:pt x="36" y="178"/>
                  </a:lnTo>
                  <a:lnTo>
                    <a:pt x="38" y="181"/>
                  </a:lnTo>
                  <a:lnTo>
                    <a:pt x="40" y="181"/>
                  </a:lnTo>
                  <a:lnTo>
                    <a:pt x="40" y="181"/>
                  </a:lnTo>
                  <a:lnTo>
                    <a:pt x="40" y="184"/>
                  </a:lnTo>
                  <a:lnTo>
                    <a:pt x="43" y="188"/>
                  </a:lnTo>
                  <a:lnTo>
                    <a:pt x="43" y="188"/>
                  </a:lnTo>
                  <a:lnTo>
                    <a:pt x="43" y="189"/>
                  </a:lnTo>
                  <a:lnTo>
                    <a:pt x="43" y="191"/>
                  </a:lnTo>
                  <a:lnTo>
                    <a:pt x="43" y="191"/>
                  </a:lnTo>
                  <a:lnTo>
                    <a:pt x="46" y="192"/>
                  </a:lnTo>
                  <a:lnTo>
                    <a:pt x="46" y="194"/>
                  </a:lnTo>
                  <a:lnTo>
                    <a:pt x="49" y="196"/>
                  </a:lnTo>
                  <a:lnTo>
                    <a:pt x="49" y="197"/>
                  </a:lnTo>
                  <a:lnTo>
                    <a:pt x="46" y="197"/>
                  </a:lnTo>
                  <a:lnTo>
                    <a:pt x="46" y="197"/>
                  </a:lnTo>
                  <a:lnTo>
                    <a:pt x="46" y="199"/>
                  </a:lnTo>
                  <a:lnTo>
                    <a:pt x="43" y="202"/>
                  </a:lnTo>
                  <a:lnTo>
                    <a:pt x="46" y="200"/>
                  </a:lnTo>
                  <a:lnTo>
                    <a:pt x="49" y="200"/>
                  </a:lnTo>
                  <a:lnTo>
                    <a:pt x="49" y="202"/>
                  </a:lnTo>
                  <a:lnTo>
                    <a:pt x="49" y="207"/>
                  </a:lnTo>
                  <a:lnTo>
                    <a:pt x="49" y="210"/>
                  </a:lnTo>
                  <a:lnTo>
                    <a:pt x="52" y="210"/>
                  </a:lnTo>
                  <a:lnTo>
                    <a:pt x="52" y="210"/>
                  </a:lnTo>
                  <a:lnTo>
                    <a:pt x="52" y="213"/>
                  </a:lnTo>
                  <a:lnTo>
                    <a:pt x="52" y="213"/>
                  </a:lnTo>
                  <a:lnTo>
                    <a:pt x="52" y="213"/>
                  </a:lnTo>
                  <a:lnTo>
                    <a:pt x="52" y="213"/>
                  </a:lnTo>
                  <a:lnTo>
                    <a:pt x="54" y="213"/>
                  </a:lnTo>
                  <a:lnTo>
                    <a:pt x="55" y="210"/>
                  </a:lnTo>
                  <a:lnTo>
                    <a:pt x="57" y="210"/>
                  </a:lnTo>
                  <a:lnTo>
                    <a:pt x="59" y="210"/>
                  </a:lnTo>
                  <a:lnTo>
                    <a:pt x="60" y="210"/>
                  </a:lnTo>
                  <a:lnTo>
                    <a:pt x="62" y="213"/>
                  </a:lnTo>
                  <a:lnTo>
                    <a:pt x="65" y="213"/>
                  </a:lnTo>
                  <a:lnTo>
                    <a:pt x="67" y="210"/>
                  </a:lnTo>
                  <a:lnTo>
                    <a:pt x="67" y="210"/>
                  </a:lnTo>
                  <a:lnTo>
                    <a:pt x="70" y="210"/>
                  </a:lnTo>
                  <a:lnTo>
                    <a:pt x="70" y="210"/>
                  </a:lnTo>
                  <a:lnTo>
                    <a:pt x="70" y="207"/>
                  </a:lnTo>
                  <a:lnTo>
                    <a:pt x="70" y="208"/>
                  </a:lnTo>
                  <a:lnTo>
                    <a:pt x="73" y="208"/>
                  </a:lnTo>
                  <a:lnTo>
                    <a:pt x="73" y="207"/>
                  </a:lnTo>
                  <a:lnTo>
                    <a:pt x="74" y="205"/>
                  </a:lnTo>
                  <a:lnTo>
                    <a:pt x="74" y="210"/>
                  </a:lnTo>
                  <a:lnTo>
                    <a:pt x="74" y="210"/>
                  </a:lnTo>
                  <a:lnTo>
                    <a:pt x="74" y="213"/>
                  </a:lnTo>
                  <a:lnTo>
                    <a:pt x="76" y="213"/>
                  </a:lnTo>
                  <a:lnTo>
                    <a:pt x="76" y="213"/>
                  </a:lnTo>
                  <a:lnTo>
                    <a:pt x="78" y="213"/>
                  </a:lnTo>
                  <a:lnTo>
                    <a:pt x="78" y="210"/>
                  </a:lnTo>
                  <a:lnTo>
                    <a:pt x="79" y="210"/>
                  </a:lnTo>
                  <a:lnTo>
                    <a:pt x="82" y="210"/>
                  </a:lnTo>
                  <a:lnTo>
                    <a:pt x="84" y="208"/>
                  </a:lnTo>
                  <a:lnTo>
                    <a:pt x="84" y="207"/>
                  </a:lnTo>
                  <a:lnTo>
                    <a:pt x="84" y="202"/>
                  </a:lnTo>
                  <a:lnTo>
                    <a:pt x="84" y="202"/>
                  </a:lnTo>
                  <a:lnTo>
                    <a:pt x="84" y="200"/>
                  </a:lnTo>
                  <a:lnTo>
                    <a:pt x="87" y="199"/>
                  </a:lnTo>
                  <a:lnTo>
                    <a:pt x="87" y="196"/>
                  </a:lnTo>
                  <a:lnTo>
                    <a:pt x="87" y="194"/>
                  </a:lnTo>
                  <a:lnTo>
                    <a:pt x="87" y="192"/>
                  </a:lnTo>
                  <a:lnTo>
                    <a:pt x="87" y="191"/>
                  </a:lnTo>
                  <a:lnTo>
                    <a:pt x="87" y="189"/>
                  </a:lnTo>
                  <a:lnTo>
                    <a:pt x="86" y="189"/>
                  </a:lnTo>
                  <a:lnTo>
                    <a:pt x="87" y="188"/>
                  </a:lnTo>
                  <a:lnTo>
                    <a:pt x="90" y="188"/>
                  </a:lnTo>
                  <a:lnTo>
                    <a:pt x="92" y="188"/>
                  </a:lnTo>
                  <a:lnTo>
                    <a:pt x="94" y="188"/>
                  </a:lnTo>
                  <a:lnTo>
                    <a:pt x="95" y="188"/>
                  </a:lnTo>
                  <a:lnTo>
                    <a:pt x="98" y="181"/>
                  </a:lnTo>
                  <a:lnTo>
                    <a:pt x="98" y="178"/>
                  </a:lnTo>
                  <a:lnTo>
                    <a:pt x="98" y="178"/>
                  </a:lnTo>
                  <a:lnTo>
                    <a:pt x="98" y="176"/>
                  </a:lnTo>
                  <a:lnTo>
                    <a:pt x="98" y="176"/>
                  </a:lnTo>
                  <a:lnTo>
                    <a:pt x="101" y="175"/>
                  </a:lnTo>
                  <a:lnTo>
                    <a:pt x="98" y="172"/>
                  </a:lnTo>
                  <a:lnTo>
                    <a:pt x="98" y="170"/>
                  </a:lnTo>
                  <a:lnTo>
                    <a:pt x="101" y="170"/>
                  </a:lnTo>
                  <a:lnTo>
                    <a:pt x="101" y="169"/>
                  </a:lnTo>
                  <a:lnTo>
                    <a:pt x="105" y="165"/>
                  </a:lnTo>
                  <a:lnTo>
                    <a:pt x="105" y="167"/>
                  </a:lnTo>
                  <a:lnTo>
                    <a:pt x="108" y="169"/>
                  </a:lnTo>
                  <a:lnTo>
                    <a:pt x="109" y="170"/>
                  </a:lnTo>
                  <a:lnTo>
                    <a:pt x="111" y="169"/>
                  </a:lnTo>
                  <a:lnTo>
                    <a:pt x="113" y="169"/>
                  </a:lnTo>
                  <a:lnTo>
                    <a:pt x="113" y="165"/>
                  </a:lnTo>
                  <a:lnTo>
                    <a:pt x="113" y="162"/>
                  </a:lnTo>
                  <a:lnTo>
                    <a:pt x="116" y="164"/>
                  </a:lnTo>
                  <a:lnTo>
                    <a:pt x="117" y="161"/>
                  </a:lnTo>
                  <a:lnTo>
                    <a:pt x="117" y="159"/>
                  </a:lnTo>
                  <a:lnTo>
                    <a:pt x="119" y="156"/>
                  </a:lnTo>
                  <a:lnTo>
                    <a:pt x="121" y="154"/>
                  </a:lnTo>
                  <a:lnTo>
                    <a:pt x="124" y="154"/>
                  </a:lnTo>
                  <a:lnTo>
                    <a:pt x="127" y="154"/>
                  </a:lnTo>
                  <a:lnTo>
                    <a:pt x="128" y="154"/>
                  </a:lnTo>
                  <a:lnTo>
                    <a:pt x="128" y="153"/>
                  </a:lnTo>
                  <a:lnTo>
                    <a:pt x="130" y="153"/>
                  </a:lnTo>
                  <a:lnTo>
                    <a:pt x="133" y="149"/>
                  </a:lnTo>
                  <a:lnTo>
                    <a:pt x="136" y="149"/>
                  </a:lnTo>
                  <a:lnTo>
                    <a:pt x="143" y="145"/>
                  </a:lnTo>
                  <a:lnTo>
                    <a:pt x="146" y="143"/>
                  </a:lnTo>
                  <a:lnTo>
                    <a:pt x="149" y="143"/>
                  </a:lnTo>
                  <a:lnTo>
                    <a:pt x="151" y="143"/>
                  </a:lnTo>
                  <a:lnTo>
                    <a:pt x="152" y="143"/>
                  </a:lnTo>
                  <a:lnTo>
                    <a:pt x="154" y="143"/>
                  </a:lnTo>
                  <a:lnTo>
                    <a:pt x="157" y="145"/>
                  </a:lnTo>
                  <a:lnTo>
                    <a:pt x="159" y="145"/>
                  </a:lnTo>
                  <a:lnTo>
                    <a:pt x="163" y="145"/>
                  </a:lnTo>
                  <a:lnTo>
                    <a:pt x="165" y="145"/>
                  </a:lnTo>
                  <a:lnTo>
                    <a:pt x="168" y="143"/>
                  </a:lnTo>
                  <a:lnTo>
                    <a:pt x="171" y="140"/>
                  </a:lnTo>
                  <a:lnTo>
                    <a:pt x="178" y="140"/>
                  </a:lnTo>
                  <a:lnTo>
                    <a:pt x="184" y="140"/>
                  </a:lnTo>
                  <a:lnTo>
                    <a:pt x="190" y="138"/>
                  </a:lnTo>
                  <a:lnTo>
                    <a:pt x="192" y="138"/>
                  </a:lnTo>
                  <a:lnTo>
                    <a:pt x="195" y="138"/>
                  </a:lnTo>
                  <a:lnTo>
                    <a:pt x="198" y="138"/>
                  </a:lnTo>
                  <a:lnTo>
                    <a:pt x="198" y="138"/>
                  </a:lnTo>
                  <a:lnTo>
                    <a:pt x="200" y="135"/>
                  </a:lnTo>
                  <a:lnTo>
                    <a:pt x="202" y="134"/>
                  </a:lnTo>
                  <a:lnTo>
                    <a:pt x="203" y="132"/>
                  </a:lnTo>
                  <a:lnTo>
                    <a:pt x="205" y="129"/>
                  </a:lnTo>
                  <a:lnTo>
                    <a:pt x="206" y="122"/>
                  </a:lnTo>
                  <a:lnTo>
                    <a:pt x="208" y="116"/>
                  </a:lnTo>
                  <a:lnTo>
                    <a:pt x="208" y="99"/>
                  </a:lnTo>
                  <a:lnTo>
                    <a:pt x="208" y="88"/>
                  </a:lnTo>
                  <a:lnTo>
                    <a:pt x="208" y="84"/>
                  </a:lnTo>
                  <a:lnTo>
                    <a:pt x="205" y="84"/>
                  </a:lnTo>
                  <a:lnTo>
                    <a:pt x="205" y="84"/>
                  </a:lnTo>
                  <a:lnTo>
                    <a:pt x="205" y="84"/>
                  </a:lnTo>
                  <a:lnTo>
                    <a:pt x="205" y="84"/>
                  </a:lnTo>
                  <a:lnTo>
                    <a:pt x="205" y="84"/>
                  </a:lnTo>
                  <a:lnTo>
                    <a:pt x="205" y="84"/>
                  </a:lnTo>
                  <a:lnTo>
                    <a:pt x="205" y="84"/>
                  </a:lnTo>
                  <a:lnTo>
                    <a:pt x="205" y="84"/>
                  </a:lnTo>
                  <a:lnTo>
                    <a:pt x="205" y="8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1" name="Freeform 176">
              <a:extLst>
                <a:ext uri="{FF2B5EF4-FFF2-40B4-BE49-F238E27FC236}">
                  <a16:creationId xmlns:a16="http://schemas.microsoft.com/office/drawing/2014/main" id="{E6090878-07CB-D677-B013-E9FA4B3CE7E5}"/>
                </a:ext>
              </a:extLst>
            </p:cNvPr>
            <p:cNvSpPr>
              <a:spLocks/>
            </p:cNvSpPr>
            <p:nvPr/>
          </p:nvSpPr>
          <p:spPr bwMode="auto">
            <a:xfrm>
              <a:off x="5991236" y="2822823"/>
              <a:ext cx="105424" cy="228793"/>
            </a:xfrm>
            <a:custGeom>
              <a:avLst/>
              <a:gdLst>
                <a:gd name="T0" fmla="*/ 11 w 47"/>
                <a:gd name="T1" fmla="*/ 10 h 102"/>
                <a:gd name="T2" fmla="*/ 11 w 47"/>
                <a:gd name="T3" fmla="*/ 15 h 102"/>
                <a:gd name="T4" fmla="*/ 8 w 47"/>
                <a:gd name="T5" fmla="*/ 21 h 102"/>
                <a:gd name="T6" fmla="*/ 11 w 47"/>
                <a:gd name="T7" fmla="*/ 29 h 102"/>
                <a:gd name="T8" fmla="*/ 8 w 47"/>
                <a:gd name="T9" fmla="*/ 39 h 102"/>
                <a:gd name="T10" fmla="*/ 0 w 47"/>
                <a:gd name="T11" fmla="*/ 46 h 102"/>
                <a:gd name="T12" fmla="*/ 0 w 47"/>
                <a:gd name="T13" fmla="*/ 50 h 102"/>
                <a:gd name="T14" fmla="*/ 1 w 47"/>
                <a:gd name="T15" fmla="*/ 59 h 102"/>
                <a:gd name="T16" fmla="*/ 4 w 47"/>
                <a:gd name="T17" fmla="*/ 61 h 102"/>
                <a:gd name="T18" fmla="*/ 8 w 47"/>
                <a:gd name="T19" fmla="*/ 66 h 102"/>
                <a:gd name="T20" fmla="*/ 11 w 47"/>
                <a:gd name="T21" fmla="*/ 72 h 102"/>
                <a:gd name="T22" fmla="*/ 17 w 47"/>
                <a:gd name="T23" fmla="*/ 80 h 102"/>
                <a:gd name="T24" fmla="*/ 20 w 47"/>
                <a:gd name="T25" fmla="*/ 92 h 102"/>
                <a:gd name="T26" fmla="*/ 27 w 47"/>
                <a:gd name="T27" fmla="*/ 100 h 102"/>
                <a:gd name="T28" fmla="*/ 30 w 47"/>
                <a:gd name="T29" fmla="*/ 94 h 102"/>
                <a:gd name="T30" fmla="*/ 30 w 47"/>
                <a:gd name="T31" fmla="*/ 88 h 102"/>
                <a:gd name="T32" fmla="*/ 30 w 47"/>
                <a:gd name="T33" fmla="*/ 81 h 102"/>
                <a:gd name="T34" fmla="*/ 33 w 47"/>
                <a:gd name="T35" fmla="*/ 81 h 102"/>
                <a:gd name="T36" fmla="*/ 36 w 47"/>
                <a:gd name="T37" fmla="*/ 77 h 102"/>
                <a:gd name="T38" fmla="*/ 44 w 47"/>
                <a:gd name="T39" fmla="*/ 73 h 102"/>
                <a:gd name="T40" fmla="*/ 47 w 47"/>
                <a:gd name="T41" fmla="*/ 70 h 102"/>
                <a:gd name="T42" fmla="*/ 47 w 47"/>
                <a:gd name="T43" fmla="*/ 59 h 102"/>
                <a:gd name="T44" fmla="*/ 43 w 47"/>
                <a:gd name="T45" fmla="*/ 59 h 102"/>
                <a:gd name="T46" fmla="*/ 41 w 47"/>
                <a:gd name="T47" fmla="*/ 56 h 102"/>
                <a:gd name="T48" fmla="*/ 39 w 47"/>
                <a:gd name="T49" fmla="*/ 56 h 102"/>
                <a:gd name="T50" fmla="*/ 36 w 47"/>
                <a:gd name="T51" fmla="*/ 56 h 102"/>
                <a:gd name="T52" fmla="*/ 35 w 47"/>
                <a:gd name="T53" fmla="*/ 53 h 102"/>
                <a:gd name="T54" fmla="*/ 30 w 47"/>
                <a:gd name="T55" fmla="*/ 50 h 102"/>
                <a:gd name="T56" fmla="*/ 30 w 47"/>
                <a:gd name="T57" fmla="*/ 45 h 102"/>
                <a:gd name="T58" fmla="*/ 39 w 47"/>
                <a:gd name="T59" fmla="*/ 35 h 102"/>
                <a:gd name="T60" fmla="*/ 41 w 47"/>
                <a:gd name="T61" fmla="*/ 27 h 102"/>
                <a:gd name="T62" fmla="*/ 36 w 47"/>
                <a:gd name="T63" fmla="*/ 24 h 102"/>
                <a:gd name="T64" fmla="*/ 33 w 47"/>
                <a:gd name="T65" fmla="*/ 18 h 102"/>
                <a:gd name="T66" fmla="*/ 36 w 47"/>
                <a:gd name="T67" fmla="*/ 13 h 102"/>
                <a:gd name="T68" fmla="*/ 41 w 47"/>
                <a:gd name="T69" fmla="*/ 7 h 102"/>
                <a:gd name="T70" fmla="*/ 38 w 47"/>
                <a:gd name="T71" fmla="*/ 4 h 102"/>
                <a:gd name="T72" fmla="*/ 33 w 47"/>
                <a:gd name="T73" fmla="*/ 8 h 102"/>
                <a:gd name="T74" fmla="*/ 31 w 47"/>
                <a:gd name="T75" fmla="*/ 7 h 102"/>
                <a:gd name="T76" fmla="*/ 30 w 47"/>
                <a:gd name="T77" fmla="*/ 4 h 102"/>
                <a:gd name="T78" fmla="*/ 27 w 47"/>
                <a:gd name="T79" fmla="*/ 0 h 102"/>
                <a:gd name="T80" fmla="*/ 27 w 47"/>
                <a:gd name="T81" fmla="*/ 4 h 102"/>
                <a:gd name="T82" fmla="*/ 27 w 47"/>
                <a:gd name="T83" fmla="*/ 0 h 102"/>
                <a:gd name="T84" fmla="*/ 20 w 47"/>
                <a:gd name="T85" fmla="*/ 0 h 102"/>
                <a:gd name="T86" fmla="*/ 16 w 47"/>
                <a:gd name="T87" fmla="*/ 4 h 102"/>
                <a:gd name="T88" fmla="*/ 12 w 47"/>
                <a:gd name="T89" fmla="*/ 7 h 102"/>
                <a:gd name="T90" fmla="*/ 11 w 47"/>
                <a:gd name="T91" fmla="*/ 8 h 102"/>
                <a:gd name="T92" fmla="*/ 11 w 47"/>
                <a:gd name="T93" fmla="*/ 8 h 102"/>
                <a:gd name="T94" fmla="*/ 11 w 47"/>
                <a:gd name="T95" fmla="*/ 8 h 102"/>
                <a:gd name="T96" fmla="*/ 11 w 47"/>
                <a:gd name="T97" fmla="*/ 8 h 102"/>
                <a:gd name="T98" fmla="*/ 11 w 47"/>
                <a:gd name="T99"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 h="102">
                  <a:moveTo>
                    <a:pt x="11" y="8"/>
                  </a:moveTo>
                  <a:lnTo>
                    <a:pt x="11" y="10"/>
                  </a:lnTo>
                  <a:lnTo>
                    <a:pt x="8" y="13"/>
                  </a:lnTo>
                  <a:lnTo>
                    <a:pt x="11" y="15"/>
                  </a:lnTo>
                  <a:lnTo>
                    <a:pt x="11" y="18"/>
                  </a:lnTo>
                  <a:lnTo>
                    <a:pt x="8" y="21"/>
                  </a:lnTo>
                  <a:lnTo>
                    <a:pt x="8" y="21"/>
                  </a:lnTo>
                  <a:lnTo>
                    <a:pt x="11" y="29"/>
                  </a:lnTo>
                  <a:lnTo>
                    <a:pt x="8" y="37"/>
                  </a:lnTo>
                  <a:lnTo>
                    <a:pt x="8" y="39"/>
                  </a:lnTo>
                  <a:lnTo>
                    <a:pt x="4" y="42"/>
                  </a:lnTo>
                  <a:lnTo>
                    <a:pt x="0" y="46"/>
                  </a:lnTo>
                  <a:lnTo>
                    <a:pt x="0" y="48"/>
                  </a:lnTo>
                  <a:lnTo>
                    <a:pt x="0" y="50"/>
                  </a:lnTo>
                  <a:lnTo>
                    <a:pt x="0" y="53"/>
                  </a:lnTo>
                  <a:lnTo>
                    <a:pt x="1" y="59"/>
                  </a:lnTo>
                  <a:lnTo>
                    <a:pt x="3" y="59"/>
                  </a:lnTo>
                  <a:lnTo>
                    <a:pt x="4" y="61"/>
                  </a:lnTo>
                  <a:lnTo>
                    <a:pt x="8" y="62"/>
                  </a:lnTo>
                  <a:lnTo>
                    <a:pt x="8" y="66"/>
                  </a:lnTo>
                  <a:lnTo>
                    <a:pt x="11" y="69"/>
                  </a:lnTo>
                  <a:lnTo>
                    <a:pt x="11" y="72"/>
                  </a:lnTo>
                  <a:lnTo>
                    <a:pt x="16" y="75"/>
                  </a:lnTo>
                  <a:lnTo>
                    <a:pt x="17" y="80"/>
                  </a:lnTo>
                  <a:lnTo>
                    <a:pt x="17" y="85"/>
                  </a:lnTo>
                  <a:lnTo>
                    <a:pt x="20" y="92"/>
                  </a:lnTo>
                  <a:lnTo>
                    <a:pt x="24" y="102"/>
                  </a:lnTo>
                  <a:lnTo>
                    <a:pt x="27" y="100"/>
                  </a:lnTo>
                  <a:lnTo>
                    <a:pt x="28" y="97"/>
                  </a:lnTo>
                  <a:lnTo>
                    <a:pt x="30" y="94"/>
                  </a:lnTo>
                  <a:lnTo>
                    <a:pt x="31" y="91"/>
                  </a:lnTo>
                  <a:lnTo>
                    <a:pt x="30" y="88"/>
                  </a:lnTo>
                  <a:lnTo>
                    <a:pt x="30" y="85"/>
                  </a:lnTo>
                  <a:lnTo>
                    <a:pt x="30" y="81"/>
                  </a:lnTo>
                  <a:lnTo>
                    <a:pt x="31" y="81"/>
                  </a:lnTo>
                  <a:lnTo>
                    <a:pt x="33" y="81"/>
                  </a:lnTo>
                  <a:lnTo>
                    <a:pt x="35" y="80"/>
                  </a:lnTo>
                  <a:lnTo>
                    <a:pt x="36" y="77"/>
                  </a:lnTo>
                  <a:lnTo>
                    <a:pt x="39" y="75"/>
                  </a:lnTo>
                  <a:lnTo>
                    <a:pt x="44" y="73"/>
                  </a:lnTo>
                  <a:lnTo>
                    <a:pt x="46" y="72"/>
                  </a:lnTo>
                  <a:lnTo>
                    <a:pt x="47" y="70"/>
                  </a:lnTo>
                  <a:lnTo>
                    <a:pt x="46" y="67"/>
                  </a:lnTo>
                  <a:lnTo>
                    <a:pt x="47" y="59"/>
                  </a:lnTo>
                  <a:lnTo>
                    <a:pt x="44" y="59"/>
                  </a:lnTo>
                  <a:lnTo>
                    <a:pt x="43" y="59"/>
                  </a:lnTo>
                  <a:lnTo>
                    <a:pt x="41" y="56"/>
                  </a:lnTo>
                  <a:lnTo>
                    <a:pt x="41" y="56"/>
                  </a:lnTo>
                  <a:lnTo>
                    <a:pt x="41" y="53"/>
                  </a:lnTo>
                  <a:lnTo>
                    <a:pt x="39" y="56"/>
                  </a:lnTo>
                  <a:lnTo>
                    <a:pt x="38" y="56"/>
                  </a:lnTo>
                  <a:lnTo>
                    <a:pt x="36" y="56"/>
                  </a:lnTo>
                  <a:lnTo>
                    <a:pt x="36" y="53"/>
                  </a:lnTo>
                  <a:lnTo>
                    <a:pt x="35" y="53"/>
                  </a:lnTo>
                  <a:lnTo>
                    <a:pt x="33" y="53"/>
                  </a:lnTo>
                  <a:lnTo>
                    <a:pt x="30" y="50"/>
                  </a:lnTo>
                  <a:lnTo>
                    <a:pt x="28" y="46"/>
                  </a:lnTo>
                  <a:lnTo>
                    <a:pt x="30" y="45"/>
                  </a:lnTo>
                  <a:lnTo>
                    <a:pt x="35" y="40"/>
                  </a:lnTo>
                  <a:lnTo>
                    <a:pt x="39" y="35"/>
                  </a:lnTo>
                  <a:lnTo>
                    <a:pt x="41" y="32"/>
                  </a:lnTo>
                  <a:lnTo>
                    <a:pt x="41" y="27"/>
                  </a:lnTo>
                  <a:lnTo>
                    <a:pt x="39" y="24"/>
                  </a:lnTo>
                  <a:lnTo>
                    <a:pt x="36" y="24"/>
                  </a:lnTo>
                  <a:lnTo>
                    <a:pt x="35" y="21"/>
                  </a:lnTo>
                  <a:lnTo>
                    <a:pt x="33" y="18"/>
                  </a:lnTo>
                  <a:lnTo>
                    <a:pt x="35" y="15"/>
                  </a:lnTo>
                  <a:lnTo>
                    <a:pt x="36" y="13"/>
                  </a:lnTo>
                  <a:lnTo>
                    <a:pt x="41" y="8"/>
                  </a:lnTo>
                  <a:lnTo>
                    <a:pt x="41" y="7"/>
                  </a:lnTo>
                  <a:lnTo>
                    <a:pt x="39" y="4"/>
                  </a:lnTo>
                  <a:lnTo>
                    <a:pt x="38" y="4"/>
                  </a:lnTo>
                  <a:lnTo>
                    <a:pt x="36" y="7"/>
                  </a:lnTo>
                  <a:lnTo>
                    <a:pt x="33" y="8"/>
                  </a:lnTo>
                  <a:lnTo>
                    <a:pt x="31" y="8"/>
                  </a:lnTo>
                  <a:lnTo>
                    <a:pt x="31" y="7"/>
                  </a:lnTo>
                  <a:lnTo>
                    <a:pt x="30" y="4"/>
                  </a:lnTo>
                  <a:lnTo>
                    <a:pt x="30" y="4"/>
                  </a:lnTo>
                  <a:lnTo>
                    <a:pt x="28" y="0"/>
                  </a:lnTo>
                  <a:lnTo>
                    <a:pt x="27" y="0"/>
                  </a:lnTo>
                  <a:lnTo>
                    <a:pt x="27" y="0"/>
                  </a:lnTo>
                  <a:lnTo>
                    <a:pt x="27" y="4"/>
                  </a:lnTo>
                  <a:lnTo>
                    <a:pt x="27" y="0"/>
                  </a:lnTo>
                  <a:lnTo>
                    <a:pt x="27" y="0"/>
                  </a:lnTo>
                  <a:lnTo>
                    <a:pt x="24" y="0"/>
                  </a:lnTo>
                  <a:lnTo>
                    <a:pt x="20" y="0"/>
                  </a:lnTo>
                  <a:lnTo>
                    <a:pt x="17" y="0"/>
                  </a:lnTo>
                  <a:lnTo>
                    <a:pt x="16" y="4"/>
                  </a:lnTo>
                  <a:lnTo>
                    <a:pt x="12" y="4"/>
                  </a:lnTo>
                  <a:lnTo>
                    <a:pt x="12" y="7"/>
                  </a:lnTo>
                  <a:lnTo>
                    <a:pt x="11" y="8"/>
                  </a:lnTo>
                  <a:lnTo>
                    <a:pt x="11" y="8"/>
                  </a:lnTo>
                  <a:lnTo>
                    <a:pt x="11" y="8"/>
                  </a:lnTo>
                  <a:lnTo>
                    <a:pt x="11" y="8"/>
                  </a:lnTo>
                  <a:lnTo>
                    <a:pt x="11" y="8"/>
                  </a:lnTo>
                  <a:lnTo>
                    <a:pt x="11" y="8"/>
                  </a:lnTo>
                  <a:lnTo>
                    <a:pt x="11" y="8"/>
                  </a:lnTo>
                  <a:lnTo>
                    <a:pt x="11" y="8"/>
                  </a:lnTo>
                  <a:lnTo>
                    <a:pt x="11" y="8"/>
                  </a:lnTo>
                  <a:lnTo>
                    <a:pt x="11"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2" name="Freeform 178">
              <a:extLst>
                <a:ext uri="{FF2B5EF4-FFF2-40B4-BE49-F238E27FC236}">
                  <a16:creationId xmlns:a16="http://schemas.microsoft.com/office/drawing/2014/main" id="{FC33B3D6-9E1D-F51C-C163-65BDF901EF98}"/>
                </a:ext>
              </a:extLst>
            </p:cNvPr>
            <p:cNvSpPr>
              <a:spLocks/>
            </p:cNvSpPr>
            <p:nvPr/>
          </p:nvSpPr>
          <p:spPr bwMode="auto">
            <a:xfrm>
              <a:off x="6036097" y="2955164"/>
              <a:ext cx="439642" cy="446371"/>
            </a:xfrm>
            <a:custGeom>
              <a:avLst/>
              <a:gdLst>
                <a:gd name="T0" fmla="*/ 189 w 196"/>
                <a:gd name="T1" fmla="*/ 53 h 199"/>
                <a:gd name="T2" fmla="*/ 189 w 196"/>
                <a:gd name="T3" fmla="*/ 43 h 199"/>
                <a:gd name="T4" fmla="*/ 189 w 196"/>
                <a:gd name="T5" fmla="*/ 32 h 199"/>
                <a:gd name="T6" fmla="*/ 192 w 196"/>
                <a:gd name="T7" fmla="*/ 22 h 199"/>
                <a:gd name="T8" fmla="*/ 185 w 196"/>
                <a:gd name="T9" fmla="*/ 19 h 199"/>
                <a:gd name="T10" fmla="*/ 172 w 196"/>
                <a:gd name="T11" fmla="*/ 16 h 199"/>
                <a:gd name="T12" fmla="*/ 167 w 196"/>
                <a:gd name="T13" fmla="*/ 13 h 199"/>
                <a:gd name="T14" fmla="*/ 158 w 196"/>
                <a:gd name="T15" fmla="*/ 5 h 199"/>
                <a:gd name="T16" fmla="*/ 143 w 196"/>
                <a:gd name="T17" fmla="*/ 7 h 199"/>
                <a:gd name="T18" fmla="*/ 132 w 196"/>
                <a:gd name="T19" fmla="*/ 14 h 199"/>
                <a:gd name="T20" fmla="*/ 129 w 196"/>
                <a:gd name="T21" fmla="*/ 26 h 199"/>
                <a:gd name="T22" fmla="*/ 129 w 196"/>
                <a:gd name="T23" fmla="*/ 37 h 199"/>
                <a:gd name="T24" fmla="*/ 119 w 196"/>
                <a:gd name="T25" fmla="*/ 43 h 199"/>
                <a:gd name="T26" fmla="*/ 108 w 196"/>
                <a:gd name="T27" fmla="*/ 37 h 199"/>
                <a:gd name="T28" fmla="*/ 85 w 196"/>
                <a:gd name="T29" fmla="*/ 29 h 199"/>
                <a:gd name="T30" fmla="*/ 75 w 196"/>
                <a:gd name="T31" fmla="*/ 22 h 199"/>
                <a:gd name="T32" fmla="*/ 70 w 196"/>
                <a:gd name="T33" fmla="*/ 13 h 199"/>
                <a:gd name="T34" fmla="*/ 58 w 196"/>
                <a:gd name="T35" fmla="*/ 8 h 199"/>
                <a:gd name="T36" fmla="*/ 42 w 196"/>
                <a:gd name="T37" fmla="*/ 7 h 199"/>
                <a:gd name="T38" fmla="*/ 27 w 196"/>
                <a:gd name="T39" fmla="*/ 0 h 199"/>
                <a:gd name="T40" fmla="*/ 26 w 196"/>
                <a:gd name="T41" fmla="*/ 13 h 199"/>
                <a:gd name="T42" fmla="*/ 18 w 196"/>
                <a:gd name="T43" fmla="*/ 18 h 199"/>
                <a:gd name="T44" fmla="*/ 13 w 196"/>
                <a:gd name="T45" fmla="*/ 22 h 199"/>
                <a:gd name="T46" fmla="*/ 11 w 196"/>
                <a:gd name="T47" fmla="*/ 29 h 199"/>
                <a:gd name="T48" fmla="*/ 10 w 196"/>
                <a:gd name="T49" fmla="*/ 38 h 199"/>
                <a:gd name="T50" fmla="*/ 2 w 196"/>
                <a:gd name="T51" fmla="*/ 45 h 199"/>
                <a:gd name="T52" fmla="*/ 5 w 196"/>
                <a:gd name="T53" fmla="*/ 53 h 199"/>
                <a:gd name="T54" fmla="*/ 7 w 196"/>
                <a:gd name="T55" fmla="*/ 59 h 199"/>
                <a:gd name="T56" fmla="*/ 7 w 196"/>
                <a:gd name="T57" fmla="*/ 70 h 199"/>
                <a:gd name="T58" fmla="*/ 7 w 196"/>
                <a:gd name="T59" fmla="*/ 81 h 199"/>
                <a:gd name="T60" fmla="*/ 8 w 196"/>
                <a:gd name="T61" fmla="*/ 94 h 199"/>
                <a:gd name="T62" fmla="*/ 4 w 196"/>
                <a:gd name="T63" fmla="*/ 99 h 199"/>
                <a:gd name="T64" fmla="*/ 4 w 196"/>
                <a:gd name="T65" fmla="*/ 105 h 199"/>
                <a:gd name="T66" fmla="*/ 10 w 196"/>
                <a:gd name="T67" fmla="*/ 119 h 199"/>
                <a:gd name="T68" fmla="*/ 15 w 196"/>
                <a:gd name="T69" fmla="*/ 126 h 199"/>
                <a:gd name="T70" fmla="*/ 18 w 196"/>
                <a:gd name="T71" fmla="*/ 126 h 199"/>
                <a:gd name="T72" fmla="*/ 27 w 196"/>
                <a:gd name="T73" fmla="*/ 129 h 199"/>
                <a:gd name="T74" fmla="*/ 32 w 196"/>
                <a:gd name="T75" fmla="*/ 138 h 199"/>
                <a:gd name="T76" fmla="*/ 35 w 196"/>
                <a:gd name="T77" fmla="*/ 141 h 199"/>
                <a:gd name="T78" fmla="*/ 48 w 196"/>
                <a:gd name="T79" fmla="*/ 145 h 199"/>
                <a:gd name="T80" fmla="*/ 56 w 196"/>
                <a:gd name="T81" fmla="*/ 148 h 199"/>
                <a:gd name="T82" fmla="*/ 61 w 196"/>
                <a:gd name="T83" fmla="*/ 153 h 199"/>
                <a:gd name="T84" fmla="*/ 85 w 196"/>
                <a:gd name="T85" fmla="*/ 141 h 199"/>
                <a:gd name="T86" fmla="*/ 183 w 196"/>
                <a:gd name="T87" fmla="*/ 199 h 199"/>
                <a:gd name="T88" fmla="*/ 196 w 196"/>
                <a:gd name="T89" fmla="*/ 191 h 199"/>
                <a:gd name="T90" fmla="*/ 196 w 196"/>
                <a:gd name="T91" fmla="*/ 162 h 199"/>
                <a:gd name="T92" fmla="*/ 196 w 196"/>
                <a:gd name="T93" fmla="*/ 162 h 199"/>
                <a:gd name="T94" fmla="*/ 196 w 196"/>
                <a:gd name="T95" fmla="*/ 16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199">
                  <a:moveTo>
                    <a:pt x="196" y="162"/>
                  </a:moveTo>
                  <a:lnTo>
                    <a:pt x="192" y="65"/>
                  </a:lnTo>
                  <a:lnTo>
                    <a:pt x="189" y="53"/>
                  </a:lnTo>
                  <a:lnTo>
                    <a:pt x="189" y="46"/>
                  </a:lnTo>
                  <a:lnTo>
                    <a:pt x="189" y="45"/>
                  </a:lnTo>
                  <a:lnTo>
                    <a:pt x="189" y="43"/>
                  </a:lnTo>
                  <a:lnTo>
                    <a:pt x="189" y="38"/>
                  </a:lnTo>
                  <a:lnTo>
                    <a:pt x="189" y="35"/>
                  </a:lnTo>
                  <a:lnTo>
                    <a:pt x="189" y="32"/>
                  </a:lnTo>
                  <a:lnTo>
                    <a:pt x="189" y="29"/>
                  </a:lnTo>
                  <a:lnTo>
                    <a:pt x="189" y="26"/>
                  </a:lnTo>
                  <a:lnTo>
                    <a:pt x="192" y="22"/>
                  </a:lnTo>
                  <a:lnTo>
                    <a:pt x="192" y="21"/>
                  </a:lnTo>
                  <a:lnTo>
                    <a:pt x="189" y="19"/>
                  </a:lnTo>
                  <a:lnTo>
                    <a:pt x="185" y="19"/>
                  </a:lnTo>
                  <a:lnTo>
                    <a:pt x="180" y="18"/>
                  </a:lnTo>
                  <a:lnTo>
                    <a:pt x="177" y="16"/>
                  </a:lnTo>
                  <a:lnTo>
                    <a:pt x="172" y="16"/>
                  </a:lnTo>
                  <a:lnTo>
                    <a:pt x="169" y="14"/>
                  </a:lnTo>
                  <a:lnTo>
                    <a:pt x="167" y="14"/>
                  </a:lnTo>
                  <a:lnTo>
                    <a:pt x="167" y="13"/>
                  </a:lnTo>
                  <a:lnTo>
                    <a:pt x="167" y="10"/>
                  </a:lnTo>
                  <a:lnTo>
                    <a:pt x="164" y="8"/>
                  </a:lnTo>
                  <a:lnTo>
                    <a:pt x="158" y="5"/>
                  </a:lnTo>
                  <a:lnTo>
                    <a:pt x="150" y="5"/>
                  </a:lnTo>
                  <a:lnTo>
                    <a:pt x="146" y="7"/>
                  </a:lnTo>
                  <a:lnTo>
                    <a:pt x="143" y="7"/>
                  </a:lnTo>
                  <a:lnTo>
                    <a:pt x="138" y="8"/>
                  </a:lnTo>
                  <a:lnTo>
                    <a:pt x="134" y="11"/>
                  </a:lnTo>
                  <a:lnTo>
                    <a:pt x="132" y="14"/>
                  </a:lnTo>
                  <a:lnTo>
                    <a:pt x="129" y="18"/>
                  </a:lnTo>
                  <a:lnTo>
                    <a:pt x="129" y="22"/>
                  </a:lnTo>
                  <a:lnTo>
                    <a:pt x="129" y="26"/>
                  </a:lnTo>
                  <a:lnTo>
                    <a:pt x="132" y="29"/>
                  </a:lnTo>
                  <a:lnTo>
                    <a:pt x="132" y="32"/>
                  </a:lnTo>
                  <a:lnTo>
                    <a:pt x="129" y="37"/>
                  </a:lnTo>
                  <a:lnTo>
                    <a:pt x="127" y="40"/>
                  </a:lnTo>
                  <a:lnTo>
                    <a:pt x="124" y="41"/>
                  </a:lnTo>
                  <a:lnTo>
                    <a:pt x="119" y="43"/>
                  </a:lnTo>
                  <a:lnTo>
                    <a:pt x="116" y="43"/>
                  </a:lnTo>
                  <a:lnTo>
                    <a:pt x="113" y="41"/>
                  </a:lnTo>
                  <a:lnTo>
                    <a:pt x="108" y="37"/>
                  </a:lnTo>
                  <a:lnTo>
                    <a:pt x="102" y="32"/>
                  </a:lnTo>
                  <a:lnTo>
                    <a:pt x="92" y="29"/>
                  </a:lnTo>
                  <a:lnTo>
                    <a:pt x="85" y="29"/>
                  </a:lnTo>
                  <a:lnTo>
                    <a:pt x="81" y="29"/>
                  </a:lnTo>
                  <a:lnTo>
                    <a:pt x="77" y="26"/>
                  </a:lnTo>
                  <a:lnTo>
                    <a:pt x="75" y="22"/>
                  </a:lnTo>
                  <a:lnTo>
                    <a:pt x="73" y="19"/>
                  </a:lnTo>
                  <a:lnTo>
                    <a:pt x="73" y="16"/>
                  </a:lnTo>
                  <a:lnTo>
                    <a:pt x="70" y="13"/>
                  </a:lnTo>
                  <a:lnTo>
                    <a:pt x="67" y="11"/>
                  </a:lnTo>
                  <a:lnTo>
                    <a:pt x="64" y="11"/>
                  </a:lnTo>
                  <a:lnTo>
                    <a:pt x="58" y="8"/>
                  </a:lnTo>
                  <a:lnTo>
                    <a:pt x="50" y="5"/>
                  </a:lnTo>
                  <a:lnTo>
                    <a:pt x="46" y="5"/>
                  </a:lnTo>
                  <a:lnTo>
                    <a:pt x="42" y="7"/>
                  </a:lnTo>
                  <a:lnTo>
                    <a:pt x="38" y="7"/>
                  </a:lnTo>
                  <a:lnTo>
                    <a:pt x="35" y="5"/>
                  </a:lnTo>
                  <a:lnTo>
                    <a:pt x="27" y="0"/>
                  </a:lnTo>
                  <a:lnTo>
                    <a:pt x="26" y="8"/>
                  </a:lnTo>
                  <a:lnTo>
                    <a:pt x="27" y="11"/>
                  </a:lnTo>
                  <a:lnTo>
                    <a:pt x="26" y="13"/>
                  </a:lnTo>
                  <a:lnTo>
                    <a:pt x="26" y="14"/>
                  </a:lnTo>
                  <a:lnTo>
                    <a:pt x="19" y="16"/>
                  </a:lnTo>
                  <a:lnTo>
                    <a:pt x="18" y="18"/>
                  </a:lnTo>
                  <a:lnTo>
                    <a:pt x="16" y="21"/>
                  </a:lnTo>
                  <a:lnTo>
                    <a:pt x="15" y="22"/>
                  </a:lnTo>
                  <a:lnTo>
                    <a:pt x="13" y="22"/>
                  </a:lnTo>
                  <a:lnTo>
                    <a:pt x="11" y="22"/>
                  </a:lnTo>
                  <a:lnTo>
                    <a:pt x="11" y="26"/>
                  </a:lnTo>
                  <a:lnTo>
                    <a:pt x="11" y="29"/>
                  </a:lnTo>
                  <a:lnTo>
                    <a:pt x="13" y="32"/>
                  </a:lnTo>
                  <a:lnTo>
                    <a:pt x="11" y="35"/>
                  </a:lnTo>
                  <a:lnTo>
                    <a:pt x="10" y="38"/>
                  </a:lnTo>
                  <a:lnTo>
                    <a:pt x="8" y="41"/>
                  </a:lnTo>
                  <a:lnTo>
                    <a:pt x="4" y="43"/>
                  </a:lnTo>
                  <a:lnTo>
                    <a:pt x="2" y="45"/>
                  </a:lnTo>
                  <a:lnTo>
                    <a:pt x="0" y="46"/>
                  </a:lnTo>
                  <a:lnTo>
                    <a:pt x="2" y="46"/>
                  </a:lnTo>
                  <a:lnTo>
                    <a:pt x="5" y="53"/>
                  </a:lnTo>
                  <a:lnTo>
                    <a:pt x="7" y="56"/>
                  </a:lnTo>
                  <a:lnTo>
                    <a:pt x="7" y="56"/>
                  </a:lnTo>
                  <a:lnTo>
                    <a:pt x="7" y="59"/>
                  </a:lnTo>
                  <a:lnTo>
                    <a:pt x="7" y="65"/>
                  </a:lnTo>
                  <a:lnTo>
                    <a:pt x="7" y="67"/>
                  </a:lnTo>
                  <a:lnTo>
                    <a:pt x="7" y="70"/>
                  </a:lnTo>
                  <a:lnTo>
                    <a:pt x="7" y="75"/>
                  </a:lnTo>
                  <a:lnTo>
                    <a:pt x="8" y="78"/>
                  </a:lnTo>
                  <a:lnTo>
                    <a:pt x="7" y="81"/>
                  </a:lnTo>
                  <a:lnTo>
                    <a:pt x="7" y="87"/>
                  </a:lnTo>
                  <a:lnTo>
                    <a:pt x="7" y="91"/>
                  </a:lnTo>
                  <a:lnTo>
                    <a:pt x="8" y="94"/>
                  </a:lnTo>
                  <a:lnTo>
                    <a:pt x="7" y="95"/>
                  </a:lnTo>
                  <a:lnTo>
                    <a:pt x="5" y="97"/>
                  </a:lnTo>
                  <a:lnTo>
                    <a:pt x="4" y="99"/>
                  </a:lnTo>
                  <a:lnTo>
                    <a:pt x="2" y="100"/>
                  </a:lnTo>
                  <a:lnTo>
                    <a:pt x="2" y="102"/>
                  </a:lnTo>
                  <a:lnTo>
                    <a:pt x="4" y="105"/>
                  </a:lnTo>
                  <a:lnTo>
                    <a:pt x="7" y="111"/>
                  </a:lnTo>
                  <a:lnTo>
                    <a:pt x="10" y="113"/>
                  </a:lnTo>
                  <a:lnTo>
                    <a:pt x="10" y="119"/>
                  </a:lnTo>
                  <a:lnTo>
                    <a:pt x="11" y="122"/>
                  </a:lnTo>
                  <a:lnTo>
                    <a:pt x="13" y="126"/>
                  </a:lnTo>
                  <a:lnTo>
                    <a:pt x="15" y="126"/>
                  </a:lnTo>
                  <a:lnTo>
                    <a:pt x="16" y="126"/>
                  </a:lnTo>
                  <a:lnTo>
                    <a:pt x="18" y="126"/>
                  </a:lnTo>
                  <a:lnTo>
                    <a:pt x="18" y="126"/>
                  </a:lnTo>
                  <a:lnTo>
                    <a:pt x="19" y="126"/>
                  </a:lnTo>
                  <a:lnTo>
                    <a:pt x="23" y="127"/>
                  </a:lnTo>
                  <a:lnTo>
                    <a:pt x="27" y="129"/>
                  </a:lnTo>
                  <a:lnTo>
                    <a:pt x="27" y="130"/>
                  </a:lnTo>
                  <a:lnTo>
                    <a:pt x="29" y="135"/>
                  </a:lnTo>
                  <a:lnTo>
                    <a:pt x="32" y="138"/>
                  </a:lnTo>
                  <a:lnTo>
                    <a:pt x="32" y="138"/>
                  </a:lnTo>
                  <a:lnTo>
                    <a:pt x="32" y="140"/>
                  </a:lnTo>
                  <a:lnTo>
                    <a:pt x="35" y="141"/>
                  </a:lnTo>
                  <a:lnTo>
                    <a:pt x="42" y="143"/>
                  </a:lnTo>
                  <a:lnTo>
                    <a:pt x="45" y="145"/>
                  </a:lnTo>
                  <a:lnTo>
                    <a:pt x="48" y="145"/>
                  </a:lnTo>
                  <a:lnTo>
                    <a:pt x="53" y="146"/>
                  </a:lnTo>
                  <a:lnTo>
                    <a:pt x="54" y="148"/>
                  </a:lnTo>
                  <a:lnTo>
                    <a:pt x="56" y="148"/>
                  </a:lnTo>
                  <a:lnTo>
                    <a:pt x="59" y="151"/>
                  </a:lnTo>
                  <a:lnTo>
                    <a:pt x="61" y="151"/>
                  </a:lnTo>
                  <a:lnTo>
                    <a:pt x="61" y="153"/>
                  </a:lnTo>
                  <a:lnTo>
                    <a:pt x="62" y="153"/>
                  </a:lnTo>
                  <a:lnTo>
                    <a:pt x="70" y="148"/>
                  </a:lnTo>
                  <a:lnTo>
                    <a:pt x="85" y="141"/>
                  </a:lnTo>
                  <a:lnTo>
                    <a:pt x="154" y="181"/>
                  </a:lnTo>
                  <a:lnTo>
                    <a:pt x="170" y="191"/>
                  </a:lnTo>
                  <a:lnTo>
                    <a:pt x="183" y="199"/>
                  </a:lnTo>
                  <a:lnTo>
                    <a:pt x="183" y="194"/>
                  </a:lnTo>
                  <a:lnTo>
                    <a:pt x="183" y="191"/>
                  </a:lnTo>
                  <a:lnTo>
                    <a:pt x="196" y="191"/>
                  </a:lnTo>
                  <a:lnTo>
                    <a:pt x="196" y="162"/>
                  </a:lnTo>
                  <a:lnTo>
                    <a:pt x="196" y="162"/>
                  </a:lnTo>
                  <a:lnTo>
                    <a:pt x="196" y="162"/>
                  </a:lnTo>
                  <a:lnTo>
                    <a:pt x="196" y="162"/>
                  </a:lnTo>
                  <a:lnTo>
                    <a:pt x="196" y="162"/>
                  </a:lnTo>
                  <a:lnTo>
                    <a:pt x="196" y="162"/>
                  </a:lnTo>
                  <a:lnTo>
                    <a:pt x="196" y="162"/>
                  </a:lnTo>
                  <a:lnTo>
                    <a:pt x="196" y="162"/>
                  </a:lnTo>
                  <a:lnTo>
                    <a:pt x="196" y="16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3" name="Freeform 180">
              <a:extLst>
                <a:ext uri="{FF2B5EF4-FFF2-40B4-BE49-F238E27FC236}">
                  <a16:creationId xmlns:a16="http://schemas.microsoft.com/office/drawing/2014/main" id="{3B91F713-7E7A-01B1-0B9B-ECE0E1479E81}"/>
                </a:ext>
              </a:extLst>
            </p:cNvPr>
            <p:cNvSpPr>
              <a:spLocks/>
            </p:cNvSpPr>
            <p:nvPr/>
          </p:nvSpPr>
          <p:spPr bwMode="auto">
            <a:xfrm>
              <a:off x="5302613" y="3143581"/>
              <a:ext cx="343190" cy="410482"/>
            </a:xfrm>
            <a:custGeom>
              <a:avLst/>
              <a:gdLst>
                <a:gd name="T0" fmla="*/ 153 w 153"/>
                <a:gd name="T1" fmla="*/ 35 h 183"/>
                <a:gd name="T2" fmla="*/ 107 w 153"/>
                <a:gd name="T3" fmla="*/ 13 h 183"/>
                <a:gd name="T4" fmla="*/ 105 w 153"/>
                <a:gd name="T5" fmla="*/ 21 h 183"/>
                <a:gd name="T6" fmla="*/ 64 w 153"/>
                <a:gd name="T7" fmla="*/ 57 h 183"/>
                <a:gd name="T8" fmla="*/ 51 w 153"/>
                <a:gd name="T9" fmla="*/ 64 h 183"/>
                <a:gd name="T10" fmla="*/ 50 w 153"/>
                <a:gd name="T11" fmla="*/ 67 h 183"/>
                <a:gd name="T12" fmla="*/ 50 w 153"/>
                <a:gd name="T13" fmla="*/ 72 h 183"/>
                <a:gd name="T14" fmla="*/ 50 w 153"/>
                <a:gd name="T15" fmla="*/ 81 h 183"/>
                <a:gd name="T16" fmla="*/ 48 w 153"/>
                <a:gd name="T17" fmla="*/ 88 h 183"/>
                <a:gd name="T18" fmla="*/ 0 w 153"/>
                <a:gd name="T19" fmla="*/ 88 h 183"/>
                <a:gd name="T20" fmla="*/ 0 w 153"/>
                <a:gd name="T21" fmla="*/ 91 h 183"/>
                <a:gd name="T22" fmla="*/ 3 w 153"/>
                <a:gd name="T23" fmla="*/ 97 h 183"/>
                <a:gd name="T24" fmla="*/ 5 w 153"/>
                <a:gd name="T25" fmla="*/ 97 h 183"/>
                <a:gd name="T26" fmla="*/ 8 w 153"/>
                <a:gd name="T27" fmla="*/ 105 h 183"/>
                <a:gd name="T28" fmla="*/ 7 w 153"/>
                <a:gd name="T29" fmla="*/ 111 h 183"/>
                <a:gd name="T30" fmla="*/ 5 w 153"/>
                <a:gd name="T31" fmla="*/ 115 h 183"/>
                <a:gd name="T32" fmla="*/ 5 w 153"/>
                <a:gd name="T33" fmla="*/ 118 h 183"/>
                <a:gd name="T34" fmla="*/ 8 w 153"/>
                <a:gd name="T35" fmla="*/ 123 h 183"/>
                <a:gd name="T36" fmla="*/ 8 w 153"/>
                <a:gd name="T37" fmla="*/ 132 h 183"/>
                <a:gd name="T38" fmla="*/ 8 w 153"/>
                <a:gd name="T39" fmla="*/ 146 h 183"/>
                <a:gd name="T40" fmla="*/ 3 w 153"/>
                <a:gd name="T41" fmla="*/ 157 h 183"/>
                <a:gd name="T42" fmla="*/ 3 w 153"/>
                <a:gd name="T43" fmla="*/ 162 h 183"/>
                <a:gd name="T44" fmla="*/ 7 w 153"/>
                <a:gd name="T45" fmla="*/ 157 h 183"/>
                <a:gd name="T46" fmla="*/ 10 w 153"/>
                <a:gd name="T47" fmla="*/ 157 h 183"/>
                <a:gd name="T48" fmla="*/ 19 w 153"/>
                <a:gd name="T49" fmla="*/ 157 h 183"/>
                <a:gd name="T50" fmla="*/ 24 w 153"/>
                <a:gd name="T51" fmla="*/ 154 h 183"/>
                <a:gd name="T52" fmla="*/ 32 w 153"/>
                <a:gd name="T53" fmla="*/ 157 h 183"/>
                <a:gd name="T54" fmla="*/ 35 w 153"/>
                <a:gd name="T55" fmla="*/ 161 h 183"/>
                <a:gd name="T56" fmla="*/ 42 w 153"/>
                <a:gd name="T57" fmla="*/ 164 h 183"/>
                <a:gd name="T58" fmla="*/ 43 w 153"/>
                <a:gd name="T59" fmla="*/ 167 h 183"/>
                <a:gd name="T60" fmla="*/ 46 w 153"/>
                <a:gd name="T61" fmla="*/ 172 h 183"/>
                <a:gd name="T62" fmla="*/ 50 w 153"/>
                <a:gd name="T63" fmla="*/ 177 h 183"/>
                <a:gd name="T64" fmla="*/ 53 w 153"/>
                <a:gd name="T65" fmla="*/ 180 h 183"/>
                <a:gd name="T66" fmla="*/ 56 w 153"/>
                <a:gd name="T67" fmla="*/ 183 h 183"/>
                <a:gd name="T68" fmla="*/ 62 w 153"/>
                <a:gd name="T69" fmla="*/ 181 h 183"/>
                <a:gd name="T70" fmla="*/ 62 w 153"/>
                <a:gd name="T71" fmla="*/ 177 h 183"/>
                <a:gd name="T72" fmla="*/ 64 w 153"/>
                <a:gd name="T73" fmla="*/ 170 h 183"/>
                <a:gd name="T74" fmla="*/ 67 w 153"/>
                <a:gd name="T75" fmla="*/ 172 h 183"/>
                <a:gd name="T76" fmla="*/ 73 w 153"/>
                <a:gd name="T77" fmla="*/ 177 h 183"/>
                <a:gd name="T78" fmla="*/ 73 w 153"/>
                <a:gd name="T79" fmla="*/ 175 h 183"/>
                <a:gd name="T80" fmla="*/ 78 w 153"/>
                <a:gd name="T81" fmla="*/ 172 h 183"/>
                <a:gd name="T82" fmla="*/ 83 w 153"/>
                <a:gd name="T83" fmla="*/ 173 h 183"/>
                <a:gd name="T84" fmla="*/ 91 w 153"/>
                <a:gd name="T85" fmla="*/ 172 h 183"/>
                <a:gd name="T86" fmla="*/ 96 w 153"/>
                <a:gd name="T87" fmla="*/ 172 h 183"/>
                <a:gd name="T88" fmla="*/ 105 w 153"/>
                <a:gd name="T89" fmla="*/ 172 h 183"/>
                <a:gd name="T90" fmla="*/ 130 w 153"/>
                <a:gd name="T91" fmla="*/ 172 h 183"/>
                <a:gd name="T92" fmla="*/ 142 w 153"/>
                <a:gd name="T93" fmla="*/ 170 h 183"/>
                <a:gd name="T94" fmla="*/ 142 w 153"/>
                <a:gd name="T95" fmla="*/ 167 h 183"/>
                <a:gd name="T96" fmla="*/ 143 w 153"/>
                <a:gd name="T97" fmla="*/ 161 h 183"/>
                <a:gd name="T98" fmla="*/ 140 w 153"/>
                <a:gd name="T99" fmla="*/ 157 h 183"/>
                <a:gd name="T100" fmla="*/ 140 w 153"/>
                <a:gd name="T101" fmla="*/ 151 h 183"/>
                <a:gd name="T102" fmla="*/ 130 w 153"/>
                <a:gd name="T103" fmla="*/ 35 h 183"/>
                <a:gd name="T104" fmla="*/ 151 w 153"/>
                <a:gd name="T105" fmla="*/ 35 h 183"/>
                <a:gd name="T106" fmla="*/ 151 w 153"/>
                <a:gd name="T107" fmla="*/ 35 h 183"/>
                <a:gd name="T108" fmla="*/ 151 w 153"/>
                <a:gd name="T109" fmla="*/ 35 h 183"/>
                <a:gd name="T110" fmla="*/ 151 w 153"/>
                <a:gd name="T111" fmla="*/ 35 h 183"/>
                <a:gd name="T112" fmla="*/ 151 w 153"/>
                <a:gd name="T113" fmla="*/ 3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183">
                  <a:moveTo>
                    <a:pt x="151" y="35"/>
                  </a:moveTo>
                  <a:lnTo>
                    <a:pt x="153" y="35"/>
                  </a:lnTo>
                  <a:lnTo>
                    <a:pt x="108" y="0"/>
                  </a:lnTo>
                  <a:lnTo>
                    <a:pt x="107" y="13"/>
                  </a:lnTo>
                  <a:lnTo>
                    <a:pt x="105" y="19"/>
                  </a:lnTo>
                  <a:lnTo>
                    <a:pt x="105" y="21"/>
                  </a:lnTo>
                  <a:lnTo>
                    <a:pt x="64" y="21"/>
                  </a:lnTo>
                  <a:lnTo>
                    <a:pt x="64" y="57"/>
                  </a:lnTo>
                  <a:lnTo>
                    <a:pt x="56" y="61"/>
                  </a:lnTo>
                  <a:lnTo>
                    <a:pt x="51" y="64"/>
                  </a:lnTo>
                  <a:lnTo>
                    <a:pt x="50" y="64"/>
                  </a:lnTo>
                  <a:lnTo>
                    <a:pt x="50" y="67"/>
                  </a:lnTo>
                  <a:lnTo>
                    <a:pt x="50" y="70"/>
                  </a:lnTo>
                  <a:lnTo>
                    <a:pt x="50" y="72"/>
                  </a:lnTo>
                  <a:lnTo>
                    <a:pt x="50" y="80"/>
                  </a:lnTo>
                  <a:lnTo>
                    <a:pt x="50" y="81"/>
                  </a:lnTo>
                  <a:lnTo>
                    <a:pt x="50" y="84"/>
                  </a:lnTo>
                  <a:lnTo>
                    <a:pt x="48" y="88"/>
                  </a:lnTo>
                  <a:lnTo>
                    <a:pt x="3" y="88"/>
                  </a:lnTo>
                  <a:lnTo>
                    <a:pt x="0" y="88"/>
                  </a:lnTo>
                  <a:lnTo>
                    <a:pt x="0" y="88"/>
                  </a:lnTo>
                  <a:lnTo>
                    <a:pt x="0" y="91"/>
                  </a:lnTo>
                  <a:lnTo>
                    <a:pt x="3" y="94"/>
                  </a:lnTo>
                  <a:lnTo>
                    <a:pt x="3" y="97"/>
                  </a:lnTo>
                  <a:lnTo>
                    <a:pt x="3" y="97"/>
                  </a:lnTo>
                  <a:lnTo>
                    <a:pt x="5" y="97"/>
                  </a:lnTo>
                  <a:lnTo>
                    <a:pt x="8" y="102"/>
                  </a:lnTo>
                  <a:lnTo>
                    <a:pt x="8" y="105"/>
                  </a:lnTo>
                  <a:lnTo>
                    <a:pt x="7" y="107"/>
                  </a:lnTo>
                  <a:lnTo>
                    <a:pt x="7" y="111"/>
                  </a:lnTo>
                  <a:lnTo>
                    <a:pt x="7" y="113"/>
                  </a:lnTo>
                  <a:lnTo>
                    <a:pt x="5" y="115"/>
                  </a:lnTo>
                  <a:lnTo>
                    <a:pt x="3" y="116"/>
                  </a:lnTo>
                  <a:lnTo>
                    <a:pt x="5" y="118"/>
                  </a:lnTo>
                  <a:lnTo>
                    <a:pt x="7" y="119"/>
                  </a:lnTo>
                  <a:lnTo>
                    <a:pt x="8" y="123"/>
                  </a:lnTo>
                  <a:lnTo>
                    <a:pt x="8" y="126"/>
                  </a:lnTo>
                  <a:lnTo>
                    <a:pt x="8" y="132"/>
                  </a:lnTo>
                  <a:lnTo>
                    <a:pt x="8" y="138"/>
                  </a:lnTo>
                  <a:lnTo>
                    <a:pt x="8" y="146"/>
                  </a:lnTo>
                  <a:lnTo>
                    <a:pt x="5" y="151"/>
                  </a:lnTo>
                  <a:lnTo>
                    <a:pt x="3" y="157"/>
                  </a:lnTo>
                  <a:lnTo>
                    <a:pt x="3" y="164"/>
                  </a:lnTo>
                  <a:lnTo>
                    <a:pt x="3" y="162"/>
                  </a:lnTo>
                  <a:lnTo>
                    <a:pt x="3" y="161"/>
                  </a:lnTo>
                  <a:lnTo>
                    <a:pt x="7" y="157"/>
                  </a:lnTo>
                  <a:lnTo>
                    <a:pt x="8" y="157"/>
                  </a:lnTo>
                  <a:lnTo>
                    <a:pt x="10" y="157"/>
                  </a:lnTo>
                  <a:lnTo>
                    <a:pt x="15" y="157"/>
                  </a:lnTo>
                  <a:lnTo>
                    <a:pt x="19" y="157"/>
                  </a:lnTo>
                  <a:lnTo>
                    <a:pt x="23" y="154"/>
                  </a:lnTo>
                  <a:lnTo>
                    <a:pt x="24" y="154"/>
                  </a:lnTo>
                  <a:lnTo>
                    <a:pt x="29" y="157"/>
                  </a:lnTo>
                  <a:lnTo>
                    <a:pt x="32" y="157"/>
                  </a:lnTo>
                  <a:lnTo>
                    <a:pt x="35" y="161"/>
                  </a:lnTo>
                  <a:lnTo>
                    <a:pt x="35" y="161"/>
                  </a:lnTo>
                  <a:lnTo>
                    <a:pt x="40" y="164"/>
                  </a:lnTo>
                  <a:lnTo>
                    <a:pt x="42" y="164"/>
                  </a:lnTo>
                  <a:lnTo>
                    <a:pt x="42" y="164"/>
                  </a:lnTo>
                  <a:lnTo>
                    <a:pt x="43" y="167"/>
                  </a:lnTo>
                  <a:lnTo>
                    <a:pt x="43" y="169"/>
                  </a:lnTo>
                  <a:lnTo>
                    <a:pt x="46" y="172"/>
                  </a:lnTo>
                  <a:lnTo>
                    <a:pt x="48" y="173"/>
                  </a:lnTo>
                  <a:lnTo>
                    <a:pt x="50" y="177"/>
                  </a:lnTo>
                  <a:lnTo>
                    <a:pt x="51" y="178"/>
                  </a:lnTo>
                  <a:lnTo>
                    <a:pt x="53" y="180"/>
                  </a:lnTo>
                  <a:lnTo>
                    <a:pt x="56" y="183"/>
                  </a:lnTo>
                  <a:lnTo>
                    <a:pt x="56" y="183"/>
                  </a:lnTo>
                  <a:lnTo>
                    <a:pt x="59" y="183"/>
                  </a:lnTo>
                  <a:lnTo>
                    <a:pt x="62" y="181"/>
                  </a:lnTo>
                  <a:lnTo>
                    <a:pt x="62" y="178"/>
                  </a:lnTo>
                  <a:lnTo>
                    <a:pt x="62" y="177"/>
                  </a:lnTo>
                  <a:lnTo>
                    <a:pt x="64" y="172"/>
                  </a:lnTo>
                  <a:lnTo>
                    <a:pt x="64" y="170"/>
                  </a:lnTo>
                  <a:lnTo>
                    <a:pt x="64" y="170"/>
                  </a:lnTo>
                  <a:lnTo>
                    <a:pt x="67" y="172"/>
                  </a:lnTo>
                  <a:lnTo>
                    <a:pt x="70" y="175"/>
                  </a:lnTo>
                  <a:lnTo>
                    <a:pt x="73" y="177"/>
                  </a:lnTo>
                  <a:lnTo>
                    <a:pt x="73" y="177"/>
                  </a:lnTo>
                  <a:lnTo>
                    <a:pt x="73" y="175"/>
                  </a:lnTo>
                  <a:lnTo>
                    <a:pt x="75" y="173"/>
                  </a:lnTo>
                  <a:lnTo>
                    <a:pt x="78" y="172"/>
                  </a:lnTo>
                  <a:lnTo>
                    <a:pt x="81" y="173"/>
                  </a:lnTo>
                  <a:lnTo>
                    <a:pt x="83" y="173"/>
                  </a:lnTo>
                  <a:lnTo>
                    <a:pt x="88" y="173"/>
                  </a:lnTo>
                  <a:lnTo>
                    <a:pt x="91" y="172"/>
                  </a:lnTo>
                  <a:lnTo>
                    <a:pt x="92" y="169"/>
                  </a:lnTo>
                  <a:lnTo>
                    <a:pt x="96" y="172"/>
                  </a:lnTo>
                  <a:lnTo>
                    <a:pt x="99" y="172"/>
                  </a:lnTo>
                  <a:lnTo>
                    <a:pt x="105" y="172"/>
                  </a:lnTo>
                  <a:lnTo>
                    <a:pt x="115" y="172"/>
                  </a:lnTo>
                  <a:lnTo>
                    <a:pt x="130" y="172"/>
                  </a:lnTo>
                  <a:lnTo>
                    <a:pt x="140" y="172"/>
                  </a:lnTo>
                  <a:lnTo>
                    <a:pt x="142" y="170"/>
                  </a:lnTo>
                  <a:lnTo>
                    <a:pt x="142" y="169"/>
                  </a:lnTo>
                  <a:lnTo>
                    <a:pt x="142" y="167"/>
                  </a:lnTo>
                  <a:lnTo>
                    <a:pt x="143" y="164"/>
                  </a:lnTo>
                  <a:lnTo>
                    <a:pt x="143" y="161"/>
                  </a:lnTo>
                  <a:lnTo>
                    <a:pt x="142" y="157"/>
                  </a:lnTo>
                  <a:lnTo>
                    <a:pt x="140" y="157"/>
                  </a:lnTo>
                  <a:lnTo>
                    <a:pt x="140" y="154"/>
                  </a:lnTo>
                  <a:lnTo>
                    <a:pt x="140" y="151"/>
                  </a:lnTo>
                  <a:lnTo>
                    <a:pt x="132" y="57"/>
                  </a:lnTo>
                  <a:lnTo>
                    <a:pt x="130" y="35"/>
                  </a:lnTo>
                  <a:lnTo>
                    <a:pt x="132" y="35"/>
                  </a:lnTo>
                  <a:lnTo>
                    <a:pt x="151" y="35"/>
                  </a:lnTo>
                  <a:lnTo>
                    <a:pt x="151" y="35"/>
                  </a:lnTo>
                  <a:lnTo>
                    <a:pt x="151" y="35"/>
                  </a:lnTo>
                  <a:lnTo>
                    <a:pt x="151" y="35"/>
                  </a:lnTo>
                  <a:lnTo>
                    <a:pt x="151" y="35"/>
                  </a:lnTo>
                  <a:lnTo>
                    <a:pt x="151" y="35"/>
                  </a:lnTo>
                  <a:lnTo>
                    <a:pt x="151" y="35"/>
                  </a:lnTo>
                  <a:lnTo>
                    <a:pt x="151" y="35"/>
                  </a:lnTo>
                  <a:lnTo>
                    <a:pt x="151" y="3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4" name="Freeform 182">
              <a:extLst>
                <a:ext uri="{FF2B5EF4-FFF2-40B4-BE49-F238E27FC236}">
                  <a16:creationId xmlns:a16="http://schemas.microsoft.com/office/drawing/2014/main" id="{AE1C6B12-9594-1749-1715-B993DC68DCAA}"/>
                </a:ext>
              </a:extLst>
            </p:cNvPr>
            <p:cNvSpPr>
              <a:spLocks/>
            </p:cNvSpPr>
            <p:nvPr/>
          </p:nvSpPr>
          <p:spPr bwMode="auto">
            <a:xfrm>
              <a:off x="5300371" y="3136853"/>
              <a:ext cx="242252" cy="204119"/>
            </a:xfrm>
            <a:custGeom>
              <a:avLst/>
              <a:gdLst>
                <a:gd name="T0" fmla="*/ 1 w 108"/>
                <a:gd name="T1" fmla="*/ 91 h 91"/>
                <a:gd name="T2" fmla="*/ 4 w 108"/>
                <a:gd name="T3" fmla="*/ 91 h 91"/>
                <a:gd name="T4" fmla="*/ 49 w 108"/>
                <a:gd name="T5" fmla="*/ 91 h 91"/>
                <a:gd name="T6" fmla="*/ 51 w 108"/>
                <a:gd name="T7" fmla="*/ 87 h 91"/>
                <a:gd name="T8" fmla="*/ 51 w 108"/>
                <a:gd name="T9" fmla="*/ 84 h 91"/>
                <a:gd name="T10" fmla="*/ 51 w 108"/>
                <a:gd name="T11" fmla="*/ 83 h 91"/>
                <a:gd name="T12" fmla="*/ 51 w 108"/>
                <a:gd name="T13" fmla="*/ 75 h 91"/>
                <a:gd name="T14" fmla="*/ 51 w 108"/>
                <a:gd name="T15" fmla="*/ 73 h 91"/>
                <a:gd name="T16" fmla="*/ 51 w 108"/>
                <a:gd name="T17" fmla="*/ 70 h 91"/>
                <a:gd name="T18" fmla="*/ 51 w 108"/>
                <a:gd name="T19" fmla="*/ 67 h 91"/>
                <a:gd name="T20" fmla="*/ 52 w 108"/>
                <a:gd name="T21" fmla="*/ 67 h 91"/>
                <a:gd name="T22" fmla="*/ 57 w 108"/>
                <a:gd name="T23" fmla="*/ 64 h 91"/>
                <a:gd name="T24" fmla="*/ 65 w 108"/>
                <a:gd name="T25" fmla="*/ 60 h 91"/>
                <a:gd name="T26" fmla="*/ 65 w 108"/>
                <a:gd name="T27" fmla="*/ 24 h 91"/>
                <a:gd name="T28" fmla="*/ 106 w 108"/>
                <a:gd name="T29" fmla="*/ 24 h 91"/>
                <a:gd name="T30" fmla="*/ 106 w 108"/>
                <a:gd name="T31" fmla="*/ 22 h 91"/>
                <a:gd name="T32" fmla="*/ 108 w 108"/>
                <a:gd name="T33" fmla="*/ 16 h 91"/>
                <a:gd name="T34" fmla="*/ 108 w 108"/>
                <a:gd name="T35" fmla="*/ 3 h 91"/>
                <a:gd name="T36" fmla="*/ 108 w 108"/>
                <a:gd name="T37" fmla="*/ 2 h 91"/>
                <a:gd name="T38" fmla="*/ 108 w 108"/>
                <a:gd name="T39" fmla="*/ 0 h 91"/>
                <a:gd name="T40" fmla="*/ 52 w 108"/>
                <a:gd name="T41" fmla="*/ 0 h 91"/>
                <a:gd name="T42" fmla="*/ 49 w 108"/>
                <a:gd name="T43" fmla="*/ 6 h 91"/>
                <a:gd name="T44" fmla="*/ 44 w 108"/>
                <a:gd name="T45" fmla="*/ 13 h 91"/>
                <a:gd name="T46" fmla="*/ 39 w 108"/>
                <a:gd name="T47" fmla="*/ 18 h 91"/>
                <a:gd name="T48" fmla="*/ 36 w 108"/>
                <a:gd name="T49" fmla="*/ 19 h 91"/>
                <a:gd name="T50" fmla="*/ 33 w 108"/>
                <a:gd name="T51" fmla="*/ 22 h 91"/>
                <a:gd name="T52" fmla="*/ 30 w 108"/>
                <a:gd name="T53" fmla="*/ 30 h 91"/>
                <a:gd name="T54" fmla="*/ 30 w 108"/>
                <a:gd name="T55" fmla="*/ 38 h 91"/>
                <a:gd name="T56" fmla="*/ 28 w 108"/>
                <a:gd name="T57" fmla="*/ 41 h 91"/>
                <a:gd name="T58" fmla="*/ 25 w 108"/>
                <a:gd name="T59" fmla="*/ 45 h 91"/>
                <a:gd name="T60" fmla="*/ 19 w 108"/>
                <a:gd name="T61" fmla="*/ 51 h 91"/>
                <a:gd name="T62" fmla="*/ 17 w 108"/>
                <a:gd name="T63" fmla="*/ 54 h 91"/>
                <a:gd name="T64" fmla="*/ 17 w 108"/>
                <a:gd name="T65" fmla="*/ 57 h 91"/>
                <a:gd name="T66" fmla="*/ 16 w 108"/>
                <a:gd name="T67" fmla="*/ 60 h 91"/>
                <a:gd name="T68" fmla="*/ 12 w 108"/>
                <a:gd name="T69" fmla="*/ 65 h 91"/>
                <a:gd name="T70" fmla="*/ 11 w 108"/>
                <a:gd name="T71" fmla="*/ 67 h 91"/>
                <a:gd name="T72" fmla="*/ 11 w 108"/>
                <a:gd name="T73" fmla="*/ 67 h 91"/>
                <a:gd name="T74" fmla="*/ 9 w 108"/>
                <a:gd name="T75" fmla="*/ 70 h 91"/>
                <a:gd name="T76" fmla="*/ 8 w 108"/>
                <a:gd name="T77" fmla="*/ 73 h 91"/>
                <a:gd name="T78" fmla="*/ 8 w 108"/>
                <a:gd name="T79" fmla="*/ 75 h 91"/>
                <a:gd name="T80" fmla="*/ 6 w 108"/>
                <a:gd name="T81" fmla="*/ 76 h 91"/>
                <a:gd name="T82" fmla="*/ 4 w 108"/>
                <a:gd name="T83" fmla="*/ 78 h 91"/>
                <a:gd name="T84" fmla="*/ 1 w 108"/>
                <a:gd name="T85" fmla="*/ 86 h 91"/>
                <a:gd name="T86" fmla="*/ 0 w 108"/>
                <a:gd name="T87" fmla="*/ 87 h 91"/>
                <a:gd name="T88" fmla="*/ 1 w 108"/>
                <a:gd name="T8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 h="91">
                  <a:moveTo>
                    <a:pt x="1" y="91"/>
                  </a:moveTo>
                  <a:lnTo>
                    <a:pt x="1" y="91"/>
                  </a:lnTo>
                  <a:lnTo>
                    <a:pt x="4" y="91"/>
                  </a:lnTo>
                  <a:lnTo>
                    <a:pt x="4" y="91"/>
                  </a:lnTo>
                  <a:lnTo>
                    <a:pt x="49" y="91"/>
                  </a:lnTo>
                  <a:lnTo>
                    <a:pt x="49" y="91"/>
                  </a:lnTo>
                  <a:lnTo>
                    <a:pt x="51" y="87"/>
                  </a:lnTo>
                  <a:lnTo>
                    <a:pt x="51" y="87"/>
                  </a:lnTo>
                  <a:lnTo>
                    <a:pt x="51" y="84"/>
                  </a:lnTo>
                  <a:lnTo>
                    <a:pt x="51" y="84"/>
                  </a:lnTo>
                  <a:lnTo>
                    <a:pt x="51" y="83"/>
                  </a:lnTo>
                  <a:lnTo>
                    <a:pt x="51" y="83"/>
                  </a:lnTo>
                  <a:lnTo>
                    <a:pt x="51" y="75"/>
                  </a:lnTo>
                  <a:lnTo>
                    <a:pt x="51" y="75"/>
                  </a:lnTo>
                  <a:lnTo>
                    <a:pt x="51" y="73"/>
                  </a:lnTo>
                  <a:lnTo>
                    <a:pt x="51" y="73"/>
                  </a:lnTo>
                  <a:lnTo>
                    <a:pt x="51" y="70"/>
                  </a:lnTo>
                  <a:lnTo>
                    <a:pt x="51" y="70"/>
                  </a:lnTo>
                  <a:lnTo>
                    <a:pt x="51" y="67"/>
                  </a:lnTo>
                  <a:lnTo>
                    <a:pt x="51" y="67"/>
                  </a:lnTo>
                  <a:lnTo>
                    <a:pt x="52" y="67"/>
                  </a:lnTo>
                  <a:lnTo>
                    <a:pt x="52" y="67"/>
                  </a:lnTo>
                  <a:lnTo>
                    <a:pt x="57" y="64"/>
                  </a:lnTo>
                  <a:lnTo>
                    <a:pt x="57" y="64"/>
                  </a:lnTo>
                  <a:lnTo>
                    <a:pt x="65" y="60"/>
                  </a:lnTo>
                  <a:lnTo>
                    <a:pt x="65" y="60"/>
                  </a:lnTo>
                  <a:lnTo>
                    <a:pt x="65" y="24"/>
                  </a:lnTo>
                  <a:lnTo>
                    <a:pt x="65" y="24"/>
                  </a:lnTo>
                  <a:lnTo>
                    <a:pt x="106" y="24"/>
                  </a:lnTo>
                  <a:lnTo>
                    <a:pt x="106" y="24"/>
                  </a:lnTo>
                  <a:lnTo>
                    <a:pt x="106" y="22"/>
                  </a:lnTo>
                  <a:lnTo>
                    <a:pt x="106" y="22"/>
                  </a:lnTo>
                  <a:lnTo>
                    <a:pt x="108" y="16"/>
                  </a:lnTo>
                  <a:lnTo>
                    <a:pt x="108" y="16"/>
                  </a:lnTo>
                  <a:lnTo>
                    <a:pt x="108" y="16"/>
                  </a:lnTo>
                  <a:lnTo>
                    <a:pt x="108" y="3"/>
                  </a:lnTo>
                  <a:lnTo>
                    <a:pt x="108" y="3"/>
                  </a:lnTo>
                  <a:lnTo>
                    <a:pt x="108" y="2"/>
                  </a:lnTo>
                  <a:lnTo>
                    <a:pt x="108" y="2"/>
                  </a:lnTo>
                  <a:lnTo>
                    <a:pt x="108" y="0"/>
                  </a:lnTo>
                  <a:lnTo>
                    <a:pt x="108" y="0"/>
                  </a:lnTo>
                  <a:lnTo>
                    <a:pt x="52" y="0"/>
                  </a:lnTo>
                  <a:lnTo>
                    <a:pt x="52" y="0"/>
                  </a:lnTo>
                  <a:lnTo>
                    <a:pt x="49" y="6"/>
                  </a:lnTo>
                  <a:lnTo>
                    <a:pt x="49" y="6"/>
                  </a:lnTo>
                  <a:lnTo>
                    <a:pt x="44" y="13"/>
                  </a:lnTo>
                  <a:lnTo>
                    <a:pt x="44" y="13"/>
                  </a:lnTo>
                  <a:lnTo>
                    <a:pt x="39" y="18"/>
                  </a:lnTo>
                  <a:lnTo>
                    <a:pt x="39" y="18"/>
                  </a:lnTo>
                  <a:lnTo>
                    <a:pt x="36" y="19"/>
                  </a:lnTo>
                  <a:lnTo>
                    <a:pt x="36" y="19"/>
                  </a:lnTo>
                  <a:lnTo>
                    <a:pt x="33" y="22"/>
                  </a:lnTo>
                  <a:lnTo>
                    <a:pt x="33" y="22"/>
                  </a:lnTo>
                  <a:lnTo>
                    <a:pt x="30" y="30"/>
                  </a:lnTo>
                  <a:lnTo>
                    <a:pt x="30" y="30"/>
                  </a:lnTo>
                  <a:lnTo>
                    <a:pt x="30" y="38"/>
                  </a:lnTo>
                  <a:lnTo>
                    <a:pt x="30" y="38"/>
                  </a:lnTo>
                  <a:lnTo>
                    <a:pt x="28" y="41"/>
                  </a:lnTo>
                  <a:lnTo>
                    <a:pt x="28" y="41"/>
                  </a:lnTo>
                  <a:lnTo>
                    <a:pt x="25" y="45"/>
                  </a:lnTo>
                  <a:lnTo>
                    <a:pt x="25" y="45"/>
                  </a:lnTo>
                  <a:lnTo>
                    <a:pt x="19" y="51"/>
                  </a:lnTo>
                  <a:lnTo>
                    <a:pt x="19" y="51"/>
                  </a:lnTo>
                  <a:lnTo>
                    <a:pt x="17" y="54"/>
                  </a:lnTo>
                  <a:lnTo>
                    <a:pt x="17" y="54"/>
                  </a:lnTo>
                  <a:lnTo>
                    <a:pt x="17" y="57"/>
                  </a:lnTo>
                  <a:lnTo>
                    <a:pt x="17" y="57"/>
                  </a:lnTo>
                  <a:lnTo>
                    <a:pt x="16" y="60"/>
                  </a:lnTo>
                  <a:lnTo>
                    <a:pt x="16" y="60"/>
                  </a:lnTo>
                  <a:lnTo>
                    <a:pt x="12" y="65"/>
                  </a:lnTo>
                  <a:lnTo>
                    <a:pt x="12" y="65"/>
                  </a:lnTo>
                  <a:lnTo>
                    <a:pt x="11" y="67"/>
                  </a:lnTo>
                  <a:lnTo>
                    <a:pt x="11" y="67"/>
                  </a:lnTo>
                  <a:lnTo>
                    <a:pt x="11" y="67"/>
                  </a:lnTo>
                  <a:lnTo>
                    <a:pt x="11" y="67"/>
                  </a:lnTo>
                  <a:lnTo>
                    <a:pt x="9" y="70"/>
                  </a:lnTo>
                  <a:lnTo>
                    <a:pt x="9" y="70"/>
                  </a:lnTo>
                  <a:lnTo>
                    <a:pt x="8" y="73"/>
                  </a:lnTo>
                  <a:lnTo>
                    <a:pt x="8" y="73"/>
                  </a:lnTo>
                  <a:lnTo>
                    <a:pt x="8" y="75"/>
                  </a:lnTo>
                  <a:lnTo>
                    <a:pt x="8" y="75"/>
                  </a:lnTo>
                  <a:lnTo>
                    <a:pt x="6" y="76"/>
                  </a:lnTo>
                  <a:lnTo>
                    <a:pt x="6" y="76"/>
                  </a:lnTo>
                  <a:lnTo>
                    <a:pt x="4" y="78"/>
                  </a:lnTo>
                  <a:lnTo>
                    <a:pt x="4" y="78"/>
                  </a:lnTo>
                  <a:lnTo>
                    <a:pt x="1" y="86"/>
                  </a:lnTo>
                  <a:lnTo>
                    <a:pt x="1" y="86"/>
                  </a:lnTo>
                  <a:lnTo>
                    <a:pt x="0" y="87"/>
                  </a:lnTo>
                  <a:lnTo>
                    <a:pt x="0" y="87"/>
                  </a:lnTo>
                  <a:lnTo>
                    <a:pt x="1" y="91"/>
                  </a:lnTo>
                  <a:lnTo>
                    <a:pt x="1" y="9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5" name="Freeform 263">
              <a:extLst>
                <a:ext uri="{FF2B5EF4-FFF2-40B4-BE49-F238E27FC236}">
                  <a16:creationId xmlns:a16="http://schemas.microsoft.com/office/drawing/2014/main" id="{D04319D8-C09F-DB28-1E4C-D13BC280EF03}"/>
                </a:ext>
              </a:extLst>
            </p:cNvPr>
            <p:cNvSpPr>
              <a:spLocks/>
            </p:cNvSpPr>
            <p:nvPr/>
          </p:nvSpPr>
          <p:spPr bwMode="auto">
            <a:xfrm>
              <a:off x="6652942" y="2876657"/>
              <a:ext cx="65050" cy="35889"/>
            </a:xfrm>
            <a:custGeom>
              <a:avLst/>
              <a:gdLst>
                <a:gd name="T0" fmla="*/ 2 w 29"/>
                <a:gd name="T1" fmla="*/ 10 h 16"/>
                <a:gd name="T2" fmla="*/ 0 w 29"/>
                <a:gd name="T3" fmla="*/ 8 h 16"/>
                <a:gd name="T4" fmla="*/ 0 w 29"/>
                <a:gd name="T5" fmla="*/ 8 h 16"/>
                <a:gd name="T6" fmla="*/ 2 w 29"/>
                <a:gd name="T7" fmla="*/ 8 h 16"/>
                <a:gd name="T8" fmla="*/ 3 w 29"/>
                <a:gd name="T9" fmla="*/ 8 h 16"/>
                <a:gd name="T10" fmla="*/ 5 w 29"/>
                <a:gd name="T11" fmla="*/ 7 h 16"/>
                <a:gd name="T12" fmla="*/ 5 w 29"/>
                <a:gd name="T13" fmla="*/ 7 h 16"/>
                <a:gd name="T14" fmla="*/ 8 w 29"/>
                <a:gd name="T15" fmla="*/ 7 h 16"/>
                <a:gd name="T16" fmla="*/ 8 w 29"/>
                <a:gd name="T17" fmla="*/ 5 h 16"/>
                <a:gd name="T18" fmla="*/ 8 w 29"/>
                <a:gd name="T19" fmla="*/ 5 h 16"/>
                <a:gd name="T20" fmla="*/ 8 w 29"/>
                <a:gd name="T21" fmla="*/ 3 h 16"/>
                <a:gd name="T22" fmla="*/ 8 w 29"/>
                <a:gd name="T23" fmla="*/ 3 h 16"/>
                <a:gd name="T24" fmla="*/ 14 w 29"/>
                <a:gd name="T25" fmla="*/ 5 h 16"/>
                <a:gd name="T26" fmla="*/ 17 w 29"/>
                <a:gd name="T27" fmla="*/ 3 h 16"/>
                <a:gd name="T28" fmla="*/ 17 w 29"/>
                <a:gd name="T29" fmla="*/ 3 h 16"/>
                <a:gd name="T30" fmla="*/ 24 w 29"/>
                <a:gd name="T31" fmla="*/ 2 h 16"/>
                <a:gd name="T32" fmla="*/ 29 w 29"/>
                <a:gd name="T33" fmla="*/ 0 h 16"/>
                <a:gd name="T34" fmla="*/ 29 w 29"/>
                <a:gd name="T35" fmla="*/ 0 h 16"/>
                <a:gd name="T36" fmla="*/ 25 w 29"/>
                <a:gd name="T37" fmla="*/ 2 h 16"/>
                <a:gd name="T38" fmla="*/ 22 w 29"/>
                <a:gd name="T39" fmla="*/ 5 h 16"/>
                <a:gd name="T40" fmla="*/ 22 w 29"/>
                <a:gd name="T41" fmla="*/ 5 h 16"/>
                <a:gd name="T42" fmla="*/ 19 w 29"/>
                <a:gd name="T43" fmla="*/ 7 h 16"/>
                <a:gd name="T44" fmla="*/ 19 w 29"/>
                <a:gd name="T45" fmla="*/ 7 h 16"/>
                <a:gd name="T46" fmla="*/ 24 w 29"/>
                <a:gd name="T47" fmla="*/ 10 h 16"/>
                <a:gd name="T48" fmla="*/ 24 w 29"/>
                <a:gd name="T49" fmla="*/ 10 h 16"/>
                <a:gd name="T50" fmla="*/ 19 w 29"/>
                <a:gd name="T51" fmla="*/ 10 h 16"/>
                <a:gd name="T52" fmla="*/ 17 w 29"/>
                <a:gd name="T53" fmla="*/ 10 h 16"/>
                <a:gd name="T54" fmla="*/ 17 w 29"/>
                <a:gd name="T55" fmla="*/ 10 h 16"/>
                <a:gd name="T56" fmla="*/ 14 w 29"/>
                <a:gd name="T57" fmla="*/ 13 h 16"/>
                <a:gd name="T58" fmla="*/ 14 w 29"/>
                <a:gd name="T59" fmla="*/ 13 h 16"/>
                <a:gd name="T60" fmla="*/ 11 w 29"/>
                <a:gd name="T61" fmla="*/ 15 h 16"/>
                <a:gd name="T62" fmla="*/ 11 w 29"/>
                <a:gd name="T63" fmla="*/ 15 h 16"/>
                <a:gd name="T64" fmla="*/ 11 w 29"/>
                <a:gd name="T65" fmla="*/ 16 h 16"/>
                <a:gd name="T66" fmla="*/ 11 w 29"/>
                <a:gd name="T67" fmla="*/ 16 h 16"/>
                <a:gd name="T68" fmla="*/ 5 w 29"/>
                <a:gd name="T69" fmla="*/ 15 h 16"/>
                <a:gd name="T70" fmla="*/ 3 w 29"/>
                <a:gd name="T71" fmla="*/ 13 h 16"/>
                <a:gd name="T72" fmla="*/ 2 w 29"/>
                <a:gd name="T73" fmla="*/ 10 h 16"/>
                <a:gd name="T74" fmla="*/ 2 w 29"/>
                <a:gd name="T75" fmla="*/ 10 h 16"/>
                <a:gd name="T76" fmla="*/ 2 w 29"/>
                <a:gd name="T77" fmla="*/ 10 h 16"/>
                <a:gd name="T78" fmla="*/ 2 w 29"/>
                <a:gd name="T79" fmla="*/ 10 h 16"/>
                <a:gd name="T80" fmla="*/ 2 w 29"/>
                <a:gd name="T81" fmla="*/ 10 h 16"/>
                <a:gd name="T82" fmla="*/ 2 w 29"/>
                <a:gd name="T83" fmla="*/ 10 h 16"/>
                <a:gd name="T84" fmla="*/ 2 w 29"/>
                <a:gd name="T85" fmla="*/ 10 h 16"/>
                <a:gd name="T86" fmla="*/ 2 w 29"/>
                <a:gd name="T87" fmla="*/ 10 h 16"/>
                <a:gd name="T88" fmla="*/ 2 w 29"/>
                <a:gd name="T89" fmla="*/ 10 h 16"/>
                <a:gd name="T90" fmla="*/ 2 w 29"/>
                <a:gd name="T9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16">
                  <a:moveTo>
                    <a:pt x="2" y="10"/>
                  </a:moveTo>
                  <a:lnTo>
                    <a:pt x="0" y="8"/>
                  </a:lnTo>
                  <a:lnTo>
                    <a:pt x="0" y="8"/>
                  </a:lnTo>
                  <a:lnTo>
                    <a:pt x="2" y="8"/>
                  </a:lnTo>
                  <a:lnTo>
                    <a:pt x="3" y="8"/>
                  </a:lnTo>
                  <a:lnTo>
                    <a:pt x="5" y="7"/>
                  </a:lnTo>
                  <a:lnTo>
                    <a:pt x="5" y="7"/>
                  </a:lnTo>
                  <a:lnTo>
                    <a:pt x="8" y="7"/>
                  </a:lnTo>
                  <a:lnTo>
                    <a:pt x="8" y="5"/>
                  </a:lnTo>
                  <a:lnTo>
                    <a:pt x="8" y="5"/>
                  </a:lnTo>
                  <a:lnTo>
                    <a:pt x="8" y="3"/>
                  </a:lnTo>
                  <a:lnTo>
                    <a:pt x="8" y="3"/>
                  </a:lnTo>
                  <a:lnTo>
                    <a:pt x="14" y="5"/>
                  </a:lnTo>
                  <a:lnTo>
                    <a:pt x="17" y="3"/>
                  </a:lnTo>
                  <a:lnTo>
                    <a:pt x="17" y="3"/>
                  </a:lnTo>
                  <a:lnTo>
                    <a:pt x="24" y="2"/>
                  </a:lnTo>
                  <a:lnTo>
                    <a:pt x="29" y="0"/>
                  </a:lnTo>
                  <a:lnTo>
                    <a:pt x="29" y="0"/>
                  </a:lnTo>
                  <a:lnTo>
                    <a:pt x="25" y="2"/>
                  </a:lnTo>
                  <a:lnTo>
                    <a:pt x="22" y="5"/>
                  </a:lnTo>
                  <a:lnTo>
                    <a:pt x="22" y="5"/>
                  </a:lnTo>
                  <a:lnTo>
                    <a:pt x="19" y="7"/>
                  </a:lnTo>
                  <a:lnTo>
                    <a:pt x="19" y="7"/>
                  </a:lnTo>
                  <a:lnTo>
                    <a:pt x="24" y="10"/>
                  </a:lnTo>
                  <a:lnTo>
                    <a:pt x="24" y="10"/>
                  </a:lnTo>
                  <a:lnTo>
                    <a:pt x="19" y="10"/>
                  </a:lnTo>
                  <a:lnTo>
                    <a:pt x="17" y="10"/>
                  </a:lnTo>
                  <a:lnTo>
                    <a:pt x="17" y="10"/>
                  </a:lnTo>
                  <a:lnTo>
                    <a:pt x="14" y="13"/>
                  </a:lnTo>
                  <a:lnTo>
                    <a:pt x="14" y="13"/>
                  </a:lnTo>
                  <a:lnTo>
                    <a:pt x="11" y="15"/>
                  </a:lnTo>
                  <a:lnTo>
                    <a:pt x="11" y="15"/>
                  </a:lnTo>
                  <a:lnTo>
                    <a:pt x="11" y="16"/>
                  </a:lnTo>
                  <a:lnTo>
                    <a:pt x="11" y="16"/>
                  </a:lnTo>
                  <a:lnTo>
                    <a:pt x="5" y="15"/>
                  </a:lnTo>
                  <a:lnTo>
                    <a:pt x="3" y="13"/>
                  </a:lnTo>
                  <a:lnTo>
                    <a:pt x="2" y="10"/>
                  </a:lnTo>
                  <a:lnTo>
                    <a:pt x="2" y="10"/>
                  </a:lnTo>
                  <a:lnTo>
                    <a:pt x="2" y="10"/>
                  </a:lnTo>
                  <a:lnTo>
                    <a:pt x="2" y="10"/>
                  </a:lnTo>
                  <a:lnTo>
                    <a:pt x="2" y="10"/>
                  </a:lnTo>
                  <a:lnTo>
                    <a:pt x="2" y="10"/>
                  </a:lnTo>
                  <a:lnTo>
                    <a:pt x="2" y="10"/>
                  </a:lnTo>
                  <a:lnTo>
                    <a:pt x="2" y="10"/>
                  </a:lnTo>
                  <a:lnTo>
                    <a:pt x="2" y="10"/>
                  </a:lnTo>
                  <a:lnTo>
                    <a:pt x="2" y="1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6" name="Freeform 66">
              <a:extLst>
                <a:ext uri="{FF2B5EF4-FFF2-40B4-BE49-F238E27FC236}">
                  <a16:creationId xmlns:a16="http://schemas.microsoft.com/office/drawing/2014/main" id="{A83F5688-6D87-9A15-8A19-C00884D3660D}"/>
                </a:ext>
              </a:extLst>
            </p:cNvPr>
            <p:cNvSpPr>
              <a:spLocks/>
            </p:cNvSpPr>
            <p:nvPr/>
          </p:nvSpPr>
          <p:spPr bwMode="auto">
            <a:xfrm>
              <a:off x="6742666" y="2984324"/>
              <a:ext cx="105424" cy="98695"/>
            </a:xfrm>
            <a:custGeom>
              <a:avLst/>
              <a:gdLst>
                <a:gd name="T0" fmla="*/ 47 w 47"/>
                <a:gd name="T1" fmla="*/ 1 h 44"/>
                <a:gd name="T2" fmla="*/ 47 w 47"/>
                <a:gd name="T3" fmla="*/ 1 h 44"/>
                <a:gd name="T4" fmla="*/ 46 w 47"/>
                <a:gd name="T5" fmla="*/ 3 h 44"/>
                <a:gd name="T6" fmla="*/ 44 w 47"/>
                <a:gd name="T7" fmla="*/ 3 h 44"/>
                <a:gd name="T8" fmla="*/ 16 w 47"/>
                <a:gd name="T9" fmla="*/ 6 h 44"/>
                <a:gd name="T10" fmla="*/ 11 w 47"/>
                <a:gd name="T11" fmla="*/ 3 h 44"/>
                <a:gd name="T12" fmla="*/ 8 w 47"/>
                <a:gd name="T13" fmla="*/ 3 h 44"/>
                <a:gd name="T14" fmla="*/ 3 w 47"/>
                <a:gd name="T15" fmla="*/ 0 h 44"/>
                <a:gd name="T16" fmla="*/ 3 w 47"/>
                <a:gd name="T17" fmla="*/ 0 h 44"/>
                <a:gd name="T18" fmla="*/ 3 w 47"/>
                <a:gd name="T19" fmla="*/ 6 h 44"/>
                <a:gd name="T20" fmla="*/ 3 w 47"/>
                <a:gd name="T21" fmla="*/ 9 h 44"/>
                <a:gd name="T22" fmla="*/ 3 w 47"/>
                <a:gd name="T23" fmla="*/ 13 h 44"/>
                <a:gd name="T24" fmla="*/ 3 w 47"/>
                <a:gd name="T25" fmla="*/ 16 h 44"/>
                <a:gd name="T26" fmla="*/ 3 w 47"/>
                <a:gd name="T27" fmla="*/ 17 h 44"/>
                <a:gd name="T28" fmla="*/ 3 w 47"/>
                <a:gd name="T29" fmla="*/ 19 h 44"/>
                <a:gd name="T30" fmla="*/ 3 w 47"/>
                <a:gd name="T31" fmla="*/ 19 h 44"/>
                <a:gd name="T32" fmla="*/ 0 w 47"/>
                <a:gd name="T33" fmla="*/ 25 h 44"/>
                <a:gd name="T34" fmla="*/ 0 w 47"/>
                <a:gd name="T35" fmla="*/ 32 h 44"/>
                <a:gd name="T36" fmla="*/ 0 w 47"/>
                <a:gd name="T37" fmla="*/ 33 h 44"/>
                <a:gd name="T38" fmla="*/ 0 w 47"/>
                <a:gd name="T39" fmla="*/ 38 h 44"/>
                <a:gd name="T40" fmla="*/ 0 w 47"/>
                <a:gd name="T41" fmla="*/ 41 h 44"/>
                <a:gd name="T42" fmla="*/ 0 w 47"/>
                <a:gd name="T43" fmla="*/ 44 h 44"/>
                <a:gd name="T44" fmla="*/ 1 w 47"/>
                <a:gd name="T45" fmla="*/ 44 h 44"/>
                <a:gd name="T46" fmla="*/ 1 w 47"/>
                <a:gd name="T47" fmla="*/ 44 h 44"/>
                <a:gd name="T48" fmla="*/ 6 w 47"/>
                <a:gd name="T49" fmla="*/ 44 h 44"/>
                <a:gd name="T50" fmla="*/ 12 w 47"/>
                <a:gd name="T51" fmla="*/ 44 h 44"/>
                <a:gd name="T52" fmla="*/ 16 w 47"/>
                <a:gd name="T53" fmla="*/ 44 h 44"/>
                <a:gd name="T54" fmla="*/ 17 w 47"/>
                <a:gd name="T55" fmla="*/ 41 h 44"/>
                <a:gd name="T56" fmla="*/ 20 w 47"/>
                <a:gd name="T57" fmla="*/ 38 h 44"/>
                <a:gd name="T58" fmla="*/ 24 w 47"/>
                <a:gd name="T59" fmla="*/ 35 h 44"/>
                <a:gd name="T60" fmla="*/ 28 w 47"/>
                <a:gd name="T61" fmla="*/ 35 h 44"/>
                <a:gd name="T62" fmla="*/ 30 w 47"/>
                <a:gd name="T63" fmla="*/ 35 h 44"/>
                <a:gd name="T64" fmla="*/ 30 w 47"/>
                <a:gd name="T65" fmla="*/ 33 h 44"/>
                <a:gd name="T66" fmla="*/ 31 w 47"/>
                <a:gd name="T67" fmla="*/ 30 h 44"/>
                <a:gd name="T68" fmla="*/ 31 w 47"/>
                <a:gd name="T69" fmla="*/ 28 h 44"/>
                <a:gd name="T70" fmla="*/ 35 w 47"/>
                <a:gd name="T71" fmla="*/ 27 h 44"/>
                <a:gd name="T72" fmla="*/ 22 w 47"/>
                <a:gd name="T73" fmla="*/ 13 h 44"/>
                <a:gd name="T74" fmla="*/ 35 w 47"/>
                <a:gd name="T75" fmla="*/ 9 h 44"/>
                <a:gd name="T76" fmla="*/ 46 w 47"/>
                <a:gd name="T77" fmla="*/ 3 h 44"/>
                <a:gd name="T78" fmla="*/ 47 w 47"/>
                <a:gd name="T79" fmla="*/ 3 h 44"/>
                <a:gd name="T80" fmla="*/ 47 w 47"/>
                <a:gd name="T81" fmla="*/ 3 h 44"/>
                <a:gd name="T82" fmla="*/ 47 w 47"/>
                <a:gd name="T83"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44">
                  <a:moveTo>
                    <a:pt x="47" y="1"/>
                  </a:moveTo>
                  <a:lnTo>
                    <a:pt x="47" y="1"/>
                  </a:lnTo>
                  <a:lnTo>
                    <a:pt x="47" y="1"/>
                  </a:lnTo>
                  <a:lnTo>
                    <a:pt x="47" y="1"/>
                  </a:lnTo>
                  <a:lnTo>
                    <a:pt x="46" y="3"/>
                  </a:lnTo>
                  <a:lnTo>
                    <a:pt x="46" y="3"/>
                  </a:lnTo>
                  <a:lnTo>
                    <a:pt x="44" y="3"/>
                  </a:lnTo>
                  <a:lnTo>
                    <a:pt x="44" y="3"/>
                  </a:lnTo>
                  <a:lnTo>
                    <a:pt x="16" y="6"/>
                  </a:lnTo>
                  <a:lnTo>
                    <a:pt x="16" y="6"/>
                  </a:lnTo>
                  <a:lnTo>
                    <a:pt x="11" y="3"/>
                  </a:lnTo>
                  <a:lnTo>
                    <a:pt x="11" y="3"/>
                  </a:lnTo>
                  <a:lnTo>
                    <a:pt x="8" y="3"/>
                  </a:lnTo>
                  <a:lnTo>
                    <a:pt x="8" y="3"/>
                  </a:lnTo>
                  <a:lnTo>
                    <a:pt x="8" y="3"/>
                  </a:lnTo>
                  <a:lnTo>
                    <a:pt x="3" y="0"/>
                  </a:lnTo>
                  <a:lnTo>
                    <a:pt x="3" y="0"/>
                  </a:lnTo>
                  <a:lnTo>
                    <a:pt x="3" y="0"/>
                  </a:lnTo>
                  <a:lnTo>
                    <a:pt x="3" y="6"/>
                  </a:lnTo>
                  <a:lnTo>
                    <a:pt x="3" y="6"/>
                  </a:lnTo>
                  <a:lnTo>
                    <a:pt x="3" y="9"/>
                  </a:lnTo>
                  <a:lnTo>
                    <a:pt x="3" y="9"/>
                  </a:lnTo>
                  <a:lnTo>
                    <a:pt x="3" y="13"/>
                  </a:lnTo>
                  <a:lnTo>
                    <a:pt x="3" y="13"/>
                  </a:lnTo>
                  <a:lnTo>
                    <a:pt x="3" y="16"/>
                  </a:lnTo>
                  <a:lnTo>
                    <a:pt x="3" y="16"/>
                  </a:lnTo>
                  <a:lnTo>
                    <a:pt x="3" y="17"/>
                  </a:lnTo>
                  <a:lnTo>
                    <a:pt x="3" y="17"/>
                  </a:lnTo>
                  <a:lnTo>
                    <a:pt x="3" y="19"/>
                  </a:lnTo>
                  <a:lnTo>
                    <a:pt x="3" y="19"/>
                  </a:lnTo>
                  <a:lnTo>
                    <a:pt x="3" y="19"/>
                  </a:lnTo>
                  <a:lnTo>
                    <a:pt x="3" y="19"/>
                  </a:lnTo>
                  <a:lnTo>
                    <a:pt x="3" y="19"/>
                  </a:lnTo>
                  <a:lnTo>
                    <a:pt x="0" y="25"/>
                  </a:lnTo>
                  <a:lnTo>
                    <a:pt x="0" y="25"/>
                  </a:lnTo>
                  <a:lnTo>
                    <a:pt x="0" y="32"/>
                  </a:lnTo>
                  <a:lnTo>
                    <a:pt x="0" y="32"/>
                  </a:lnTo>
                  <a:lnTo>
                    <a:pt x="0" y="33"/>
                  </a:lnTo>
                  <a:lnTo>
                    <a:pt x="0" y="33"/>
                  </a:lnTo>
                  <a:lnTo>
                    <a:pt x="0" y="38"/>
                  </a:lnTo>
                  <a:lnTo>
                    <a:pt x="0" y="38"/>
                  </a:lnTo>
                  <a:lnTo>
                    <a:pt x="0" y="41"/>
                  </a:lnTo>
                  <a:lnTo>
                    <a:pt x="0" y="41"/>
                  </a:lnTo>
                  <a:lnTo>
                    <a:pt x="0" y="44"/>
                  </a:lnTo>
                  <a:lnTo>
                    <a:pt x="0" y="44"/>
                  </a:lnTo>
                  <a:lnTo>
                    <a:pt x="1" y="44"/>
                  </a:lnTo>
                  <a:lnTo>
                    <a:pt x="1" y="44"/>
                  </a:lnTo>
                  <a:lnTo>
                    <a:pt x="1" y="44"/>
                  </a:lnTo>
                  <a:lnTo>
                    <a:pt x="6" y="44"/>
                  </a:lnTo>
                  <a:lnTo>
                    <a:pt x="6" y="44"/>
                  </a:lnTo>
                  <a:lnTo>
                    <a:pt x="12" y="44"/>
                  </a:lnTo>
                  <a:lnTo>
                    <a:pt x="12" y="44"/>
                  </a:lnTo>
                  <a:lnTo>
                    <a:pt x="16" y="44"/>
                  </a:lnTo>
                  <a:lnTo>
                    <a:pt x="16" y="44"/>
                  </a:lnTo>
                  <a:lnTo>
                    <a:pt x="17" y="41"/>
                  </a:lnTo>
                  <a:lnTo>
                    <a:pt x="17" y="41"/>
                  </a:lnTo>
                  <a:lnTo>
                    <a:pt x="20" y="38"/>
                  </a:lnTo>
                  <a:lnTo>
                    <a:pt x="20" y="38"/>
                  </a:lnTo>
                  <a:lnTo>
                    <a:pt x="24" y="35"/>
                  </a:lnTo>
                  <a:lnTo>
                    <a:pt x="24" y="35"/>
                  </a:lnTo>
                  <a:lnTo>
                    <a:pt x="28" y="35"/>
                  </a:lnTo>
                  <a:lnTo>
                    <a:pt x="28" y="35"/>
                  </a:lnTo>
                  <a:lnTo>
                    <a:pt x="30" y="35"/>
                  </a:lnTo>
                  <a:lnTo>
                    <a:pt x="30" y="35"/>
                  </a:lnTo>
                  <a:lnTo>
                    <a:pt x="30" y="33"/>
                  </a:lnTo>
                  <a:lnTo>
                    <a:pt x="30" y="33"/>
                  </a:lnTo>
                  <a:lnTo>
                    <a:pt x="31" y="30"/>
                  </a:lnTo>
                  <a:lnTo>
                    <a:pt x="31" y="30"/>
                  </a:lnTo>
                  <a:lnTo>
                    <a:pt x="31" y="28"/>
                  </a:lnTo>
                  <a:lnTo>
                    <a:pt x="31" y="28"/>
                  </a:lnTo>
                  <a:lnTo>
                    <a:pt x="35" y="27"/>
                  </a:lnTo>
                  <a:lnTo>
                    <a:pt x="35" y="27"/>
                  </a:lnTo>
                  <a:lnTo>
                    <a:pt x="22" y="13"/>
                  </a:lnTo>
                  <a:lnTo>
                    <a:pt x="22" y="13"/>
                  </a:lnTo>
                  <a:lnTo>
                    <a:pt x="35" y="9"/>
                  </a:lnTo>
                  <a:lnTo>
                    <a:pt x="35" y="9"/>
                  </a:lnTo>
                  <a:lnTo>
                    <a:pt x="46" y="3"/>
                  </a:lnTo>
                  <a:lnTo>
                    <a:pt x="46" y="3"/>
                  </a:lnTo>
                  <a:lnTo>
                    <a:pt x="47" y="3"/>
                  </a:lnTo>
                  <a:lnTo>
                    <a:pt x="47" y="3"/>
                  </a:lnTo>
                  <a:lnTo>
                    <a:pt x="47" y="3"/>
                  </a:lnTo>
                  <a:lnTo>
                    <a:pt x="47" y="3"/>
                  </a:lnTo>
                  <a:lnTo>
                    <a:pt x="47" y="1"/>
                  </a:lnTo>
                  <a:lnTo>
                    <a:pt x="47" y="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7" name="Freeform 70">
              <a:extLst>
                <a:ext uri="{FF2B5EF4-FFF2-40B4-BE49-F238E27FC236}">
                  <a16:creationId xmlns:a16="http://schemas.microsoft.com/office/drawing/2014/main" id="{EB665992-1C7C-B4D9-E952-E9E4BD7A544C}"/>
                </a:ext>
              </a:extLst>
            </p:cNvPr>
            <p:cNvSpPr>
              <a:spLocks/>
            </p:cNvSpPr>
            <p:nvPr/>
          </p:nvSpPr>
          <p:spPr bwMode="auto">
            <a:xfrm>
              <a:off x="6735936" y="2977595"/>
              <a:ext cx="15702" cy="42619"/>
            </a:xfrm>
            <a:custGeom>
              <a:avLst/>
              <a:gdLst>
                <a:gd name="T0" fmla="*/ 3 w 7"/>
                <a:gd name="T1" fmla="*/ 0 h 19"/>
                <a:gd name="T2" fmla="*/ 1 w 7"/>
                <a:gd name="T3" fmla="*/ 1 h 19"/>
                <a:gd name="T4" fmla="*/ 0 w 7"/>
                <a:gd name="T5" fmla="*/ 4 h 19"/>
                <a:gd name="T6" fmla="*/ 0 w 7"/>
                <a:gd name="T7" fmla="*/ 8 h 19"/>
                <a:gd name="T8" fmla="*/ 0 w 7"/>
                <a:gd name="T9" fmla="*/ 11 h 19"/>
                <a:gd name="T10" fmla="*/ 1 w 7"/>
                <a:gd name="T11" fmla="*/ 11 h 19"/>
                <a:gd name="T12" fmla="*/ 3 w 7"/>
                <a:gd name="T13" fmla="*/ 11 h 19"/>
                <a:gd name="T14" fmla="*/ 1 w 7"/>
                <a:gd name="T15" fmla="*/ 12 h 19"/>
                <a:gd name="T16" fmla="*/ 0 w 7"/>
                <a:gd name="T17" fmla="*/ 16 h 19"/>
                <a:gd name="T18" fmla="*/ 0 w 7"/>
                <a:gd name="T19" fmla="*/ 16 h 19"/>
                <a:gd name="T20" fmla="*/ 1 w 7"/>
                <a:gd name="T21" fmla="*/ 19 h 19"/>
                <a:gd name="T22" fmla="*/ 3 w 7"/>
                <a:gd name="T23" fmla="*/ 16 h 19"/>
                <a:gd name="T24" fmla="*/ 6 w 7"/>
                <a:gd name="T25" fmla="*/ 16 h 19"/>
                <a:gd name="T26" fmla="*/ 6 w 7"/>
                <a:gd name="T27" fmla="*/ 16 h 19"/>
                <a:gd name="T28" fmla="*/ 6 w 7"/>
                <a:gd name="T29" fmla="*/ 16 h 19"/>
                <a:gd name="T30" fmla="*/ 7 w 7"/>
                <a:gd name="T31" fmla="*/ 12 h 19"/>
                <a:gd name="T32" fmla="*/ 7 w 7"/>
                <a:gd name="T33" fmla="*/ 9 h 19"/>
                <a:gd name="T34" fmla="*/ 7 w 7"/>
                <a:gd name="T35" fmla="*/ 9 h 19"/>
                <a:gd name="T36" fmla="*/ 7 w 7"/>
                <a:gd name="T37" fmla="*/ 3 h 19"/>
                <a:gd name="T38" fmla="*/ 7 w 7"/>
                <a:gd name="T39" fmla="*/ 3 h 19"/>
                <a:gd name="T40" fmla="*/ 6 w 7"/>
                <a:gd name="T41" fmla="*/ 1 h 19"/>
                <a:gd name="T42" fmla="*/ 3 w 7"/>
                <a:gd name="T43" fmla="*/ 0 h 19"/>
                <a:gd name="T44" fmla="*/ 3 w 7"/>
                <a:gd name="T45" fmla="*/ 0 h 19"/>
                <a:gd name="T46" fmla="*/ 3 w 7"/>
                <a:gd name="T47" fmla="*/ 0 h 19"/>
                <a:gd name="T48" fmla="*/ 3 w 7"/>
                <a:gd name="T49" fmla="*/ 0 h 19"/>
                <a:gd name="T50" fmla="*/ 3 w 7"/>
                <a:gd name="T51" fmla="*/ 0 h 19"/>
                <a:gd name="T52" fmla="*/ 3 w 7"/>
                <a:gd name="T53" fmla="*/ 0 h 19"/>
                <a:gd name="T54" fmla="*/ 3 w 7"/>
                <a:gd name="T55" fmla="*/ 0 h 19"/>
                <a:gd name="T56" fmla="*/ 3 w 7"/>
                <a:gd name="T57" fmla="*/ 0 h 19"/>
                <a:gd name="T58" fmla="*/ 3 w 7"/>
                <a:gd name="T5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9">
                  <a:moveTo>
                    <a:pt x="3" y="0"/>
                  </a:moveTo>
                  <a:lnTo>
                    <a:pt x="1" y="1"/>
                  </a:lnTo>
                  <a:lnTo>
                    <a:pt x="0" y="4"/>
                  </a:lnTo>
                  <a:lnTo>
                    <a:pt x="0" y="8"/>
                  </a:lnTo>
                  <a:lnTo>
                    <a:pt x="0" y="11"/>
                  </a:lnTo>
                  <a:lnTo>
                    <a:pt x="1" y="11"/>
                  </a:lnTo>
                  <a:lnTo>
                    <a:pt x="3" y="11"/>
                  </a:lnTo>
                  <a:lnTo>
                    <a:pt x="1" y="12"/>
                  </a:lnTo>
                  <a:lnTo>
                    <a:pt x="0" y="16"/>
                  </a:lnTo>
                  <a:lnTo>
                    <a:pt x="0" y="16"/>
                  </a:lnTo>
                  <a:lnTo>
                    <a:pt x="1" y="19"/>
                  </a:lnTo>
                  <a:lnTo>
                    <a:pt x="3" y="16"/>
                  </a:lnTo>
                  <a:lnTo>
                    <a:pt x="6" y="16"/>
                  </a:lnTo>
                  <a:lnTo>
                    <a:pt x="6" y="16"/>
                  </a:lnTo>
                  <a:lnTo>
                    <a:pt x="6" y="16"/>
                  </a:lnTo>
                  <a:lnTo>
                    <a:pt x="7" y="12"/>
                  </a:lnTo>
                  <a:lnTo>
                    <a:pt x="7" y="9"/>
                  </a:lnTo>
                  <a:lnTo>
                    <a:pt x="7" y="9"/>
                  </a:lnTo>
                  <a:lnTo>
                    <a:pt x="7" y="3"/>
                  </a:lnTo>
                  <a:lnTo>
                    <a:pt x="7" y="3"/>
                  </a:lnTo>
                  <a:lnTo>
                    <a:pt x="6" y="1"/>
                  </a:lnTo>
                  <a:lnTo>
                    <a:pt x="3" y="0"/>
                  </a:lnTo>
                  <a:lnTo>
                    <a:pt x="3" y="0"/>
                  </a:lnTo>
                  <a:lnTo>
                    <a:pt x="3" y="0"/>
                  </a:lnTo>
                  <a:lnTo>
                    <a:pt x="3" y="0"/>
                  </a:lnTo>
                  <a:lnTo>
                    <a:pt x="3" y="0"/>
                  </a:lnTo>
                  <a:lnTo>
                    <a:pt x="3" y="0"/>
                  </a:lnTo>
                  <a:lnTo>
                    <a:pt x="3" y="0"/>
                  </a:lnTo>
                  <a:lnTo>
                    <a:pt x="3" y="0"/>
                  </a:lnTo>
                  <a:lnTo>
                    <a:pt x="3"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8" name="Freeform 69">
              <a:extLst>
                <a:ext uri="{FF2B5EF4-FFF2-40B4-BE49-F238E27FC236}">
                  <a16:creationId xmlns:a16="http://schemas.microsoft.com/office/drawing/2014/main" id="{4868A56B-2913-0EF1-7994-23FDF0393FDD}"/>
                </a:ext>
              </a:extLst>
            </p:cNvPr>
            <p:cNvSpPr>
              <a:spLocks/>
            </p:cNvSpPr>
            <p:nvPr/>
          </p:nvSpPr>
          <p:spPr bwMode="auto">
            <a:xfrm>
              <a:off x="6735936" y="2905817"/>
              <a:ext cx="33646" cy="56077"/>
            </a:xfrm>
            <a:custGeom>
              <a:avLst/>
              <a:gdLst>
                <a:gd name="T0" fmla="*/ 12 w 15"/>
                <a:gd name="T1" fmla="*/ 16 h 25"/>
                <a:gd name="T2" fmla="*/ 9 w 15"/>
                <a:gd name="T3" fmla="*/ 16 h 25"/>
                <a:gd name="T4" fmla="*/ 9 w 15"/>
                <a:gd name="T5" fmla="*/ 13 h 25"/>
                <a:gd name="T6" fmla="*/ 14 w 15"/>
                <a:gd name="T7" fmla="*/ 13 h 25"/>
                <a:gd name="T8" fmla="*/ 14 w 15"/>
                <a:gd name="T9" fmla="*/ 13 h 25"/>
                <a:gd name="T10" fmla="*/ 14 w 15"/>
                <a:gd name="T11" fmla="*/ 11 h 25"/>
                <a:gd name="T12" fmla="*/ 15 w 15"/>
                <a:gd name="T13" fmla="*/ 9 h 25"/>
                <a:gd name="T14" fmla="*/ 15 w 15"/>
                <a:gd name="T15" fmla="*/ 8 h 25"/>
                <a:gd name="T16" fmla="*/ 14 w 15"/>
                <a:gd name="T17" fmla="*/ 5 h 25"/>
                <a:gd name="T18" fmla="*/ 12 w 15"/>
                <a:gd name="T19" fmla="*/ 5 h 25"/>
                <a:gd name="T20" fmla="*/ 12 w 15"/>
                <a:gd name="T21" fmla="*/ 0 h 25"/>
                <a:gd name="T22" fmla="*/ 12 w 15"/>
                <a:gd name="T23" fmla="*/ 0 h 25"/>
                <a:gd name="T24" fmla="*/ 9 w 15"/>
                <a:gd name="T25" fmla="*/ 0 h 25"/>
                <a:gd name="T26" fmla="*/ 9 w 15"/>
                <a:gd name="T27" fmla="*/ 0 h 25"/>
                <a:gd name="T28" fmla="*/ 9 w 15"/>
                <a:gd name="T29" fmla="*/ 3 h 25"/>
                <a:gd name="T30" fmla="*/ 9 w 15"/>
                <a:gd name="T31" fmla="*/ 5 h 25"/>
                <a:gd name="T32" fmla="*/ 6 w 15"/>
                <a:gd name="T33" fmla="*/ 6 h 25"/>
                <a:gd name="T34" fmla="*/ 6 w 15"/>
                <a:gd name="T35" fmla="*/ 9 h 25"/>
                <a:gd name="T36" fmla="*/ 3 w 15"/>
                <a:gd name="T37" fmla="*/ 13 h 25"/>
                <a:gd name="T38" fmla="*/ 3 w 15"/>
                <a:gd name="T39" fmla="*/ 19 h 25"/>
                <a:gd name="T40" fmla="*/ 1 w 15"/>
                <a:gd name="T41" fmla="*/ 22 h 25"/>
                <a:gd name="T42" fmla="*/ 0 w 15"/>
                <a:gd name="T43" fmla="*/ 24 h 25"/>
                <a:gd name="T44" fmla="*/ 1 w 15"/>
                <a:gd name="T45" fmla="*/ 24 h 25"/>
                <a:gd name="T46" fmla="*/ 1 w 15"/>
                <a:gd name="T47" fmla="*/ 24 h 25"/>
                <a:gd name="T48" fmla="*/ 6 w 15"/>
                <a:gd name="T49" fmla="*/ 25 h 25"/>
                <a:gd name="T50" fmla="*/ 9 w 15"/>
                <a:gd name="T51" fmla="*/ 19 h 25"/>
                <a:gd name="T52" fmla="*/ 12 w 15"/>
                <a:gd name="T53" fmla="*/ 16 h 25"/>
                <a:gd name="T54" fmla="*/ 12 w 15"/>
                <a:gd name="T55" fmla="*/ 16 h 25"/>
                <a:gd name="T56" fmla="*/ 12 w 15"/>
                <a:gd name="T57" fmla="*/ 16 h 25"/>
                <a:gd name="T58" fmla="*/ 12 w 15"/>
                <a:gd name="T59" fmla="*/ 16 h 25"/>
                <a:gd name="T60" fmla="*/ 12 w 15"/>
                <a:gd name="T61" fmla="*/ 16 h 25"/>
                <a:gd name="T62" fmla="*/ 12 w 15"/>
                <a:gd name="T63" fmla="*/ 16 h 25"/>
                <a:gd name="T64" fmla="*/ 12 w 15"/>
                <a:gd name="T65" fmla="*/ 16 h 25"/>
                <a:gd name="T66" fmla="*/ 12 w 15"/>
                <a:gd name="T67" fmla="*/ 16 h 25"/>
                <a:gd name="T68" fmla="*/ 12 w 15"/>
                <a:gd name="T6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25">
                  <a:moveTo>
                    <a:pt x="12" y="16"/>
                  </a:moveTo>
                  <a:lnTo>
                    <a:pt x="9" y="16"/>
                  </a:lnTo>
                  <a:lnTo>
                    <a:pt x="9" y="13"/>
                  </a:lnTo>
                  <a:lnTo>
                    <a:pt x="14" y="13"/>
                  </a:lnTo>
                  <a:lnTo>
                    <a:pt x="14" y="13"/>
                  </a:lnTo>
                  <a:lnTo>
                    <a:pt x="14" y="11"/>
                  </a:lnTo>
                  <a:lnTo>
                    <a:pt x="15" y="9"/>
                  </a:lnTo>
                  <a:lnTo>
                    <a:pt x="15" y="8"/>
                  </a:lnTo>
                  <a:lnTo>
                    <a:pt x="14" y="5"/>
                  </a:lnTo>
                  <a:lnTo>
                    <a:pt x="12" y="5"/>
                  </a:lnTo>
                  <a:lnTo>
                    <a:pt x="12" y="0"/>
                  </a:lnTo>
                  <a:lnTo>
                    <a:pt x="12" y="0"/>
                  </a:lnTo>
                  <a:lnTo>
                    <a:pt x="9" y="0"/>
                  </a:lnTo>
                  <a:lnTo>
                    <a:pt x="9" y="0"/>
                  </a:lnTo>
                  <a:lnTo>
                    <a:pt x="9" y="3"/>
                  </a:lnTo>
                  <a:lnTo>
                    <a:pt x="9" y="5"/>
                  </a:lnTo>
                  <a:lnTo>
                    <a:pt x="6" y="6"/>
                  </a:lnTo>
                  <a:lnTo>
                    <a:pt x="6" y="9"/>
                  </a:lnTo>
                  <a:lnTo>
                    <a:pt x="3" y="13"/>
                  </a:lnTo>
                  <a:lnTo>
                    <a:pt x="3" y="19"/>
                  </a:lnTo>
                  <a:lnTo>
                    <a:pt x="1" y="22"/>
                  </a:lnTo>
                  <a:lnTo>
                    <a:pt x="0" y="24"/>
                  </a:lnTo>
                  <a:lnTo>
                    <a:pt x="1" y="24"/>
                  </a:lnTo>
                  <a:lnTo>
                    <a:pt x="1" y="24"/>
                  </a:lnTo>
                  <a:lnTo>
                    <a:pt x="6" y="25"/>
                  </a:lnTo>
                  <a:lnTo>
                    <a:pt x="9" y="19"/>
                  </a:lnTo>
                  <a:lnTo>
                    <a:pt x="12" y="16"/>
                  </a:lnTo>
                  <a:lnTo>
                    <a:pt x="12" y="16"/>
                  </a:lnTo>
                  <a:lnTo>
                    <a:pt x="12" y="16"/>
                  </a:lnTo>
                  <a:lnTo>
                    <a:pt x="12" y="16"/>
                  </a:lnTo>
                  <a:lnTo>
                    <a:pt x="12" y="16"/>
                  </a:lnTo>
                  <a:lnTo>
                    <a:pt x="12" y="16"/>
                  </a:lnTo>
                  <a:lnTo>
                    <a:pt x="12" y="16"/>
                  </a:lnTo>
                  <a:lnTo>
                    <a:pt x="12" y="16"/>
                  </a:lnTo>
                  <a:lnTo>
                    <a:pt x="12" y="16"/>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79" name="Freeform 317">
              <a:extLst>
                <a:ext uri="{FF2B5EF4-FFF2-40B4-BE49-F238E27FC236}">
                  <a16:creationId xmlns:a16="http://schemas.microsoft.com/office/drawing/2014/main" id="{363FA15B-9F18-420C-C35D-0EFC30F1B48D}"/>
                </a:ext>
              </a:extLst>
            </p:cNvPr>
            <p:cNvSpPr>
              <a:spLocks/>
            </p:cNvSpPr>
            <p:nvPr/>
          </p:nvSpPr>
          <p:spPr bwMode="auto">
            <a:xfrm>
              <a:off x="7063423" y="3058345"/>
              <a:ext cx="44861" cy="49347"/>
            </a:xfrm>
            <a:custGeom>
              <a:avLst/>
              <a:gdLst>
                <a:gd name="T0" fmla="*/ 12 w 20"/>
                <a:gd name="T1" fmla="*/ 0 h 22"/>
                <a:gd name="T2" fmla="*/ 12 w 20"/>
                <a:gd name="T3" fmla="*/ 0 h 22"/>
                <a:gd name="T4" fmla="*/ 9 w 20"/>
                <a:gd name="T5" fmla="*/ 0 h 22"/>
                <a:gd name="T6" fmla="*/ 9 w 20"/>
                <a:gd name="T7" fmla="*/ 0 h 22"/>
                <a:gd name="T8" fmla="*/ 6 w 20"/>
                <a:gd name="T9" fmla="*/ 0 h 22"/>
                <a:gd name="T10" fmla="*/ 6 w 20"/>
                <a:gd name="T11" fmla="*/ 0 h 22"/>
                <a:gd name="T12" fmla="*/ 3 w 20"/>
                <a:gd name="T13" fmla="*/ 0 h 22"/>
                <a:gd name="T14" fmla="*/ 3 w 20"/>
                <a:gd name="T15" fmla="*/ 0 h 22"/>
                <a:gd name="T16" fmla="*/ 3 w 20"/>
                <a:gd name="T17" fmla="*/ 10 h 22"/>
                <a:gd name="T18" fmla="*/ 3 w 20"/>
                <a:gd name="T19" fmla="*/ 10 h 22"/>
                <a:gd name="T20" fmla="*/ 0 w 20"/>
                <a:gd name="T21" fmla="*/ 13 h 22"/>
                <a:gd name="T22" fmla="*/ 0 w 20"/>
                <a:gd name="T23" fmla="*/ 13 h 22"/>
                <a:gd name="T24" fmla="*/ 0 w 20"/>
                <a:gd name="T25" fmla="*/ 13 h 22"/>
                <a:gd name="T26" fmla="*/ 0 w 20"/>
                <a:gd name="T27" fmla="*/ 13 h 22"/>
                <a:gd name="T28" fmla="*/ 8 w 20"/>
                <a:gd name="T29" fmla="*/ 14 h 22"/>
                <a:gd name="T30" fmla="*/ 8 w 20"/>
                <a:gd name="T31" fmla="*/ 14 h 22"/>
                <a:gd name="T32" fmla="*/ 9 w 20"/>
                <a:gd name="T33" fmla="*/ 14 h 22"/>
                <a:gd name="T34" fmla="*/ 9 w 20"/>
                <a:gd name="T35" fmla="*/ 14 h 22"/>
                <a:gd name="T36" fmla="*/ 11 w 20"/>
                <a:gd name="T37" fmla="*/ 16 h 22"/>
                <a:gd name="T38" fmla="*/ 11 w 20"/>
                <a:gd name="T39" fmla="*/ 16 h 22"/>
                <a:gd name="T40" fmla="*/ 12 w 20"/>
                <a:gd name="T41" fmla="*/ 21 h 22"/>
                <a:gd name="T42" fmla="*/ 12 w 20"/>
                <a:gd name="T43" fmla="*/ 21 h 22"/>
                <a:gd name="T44" fmla="*/ 14 w 20"/>
                <a:gd name="T45" fmla="*/ 22 h 22"/>
                <a:gd name="T46" fmla="*/ 14 w 20"/>
                <a:gd name="T47" fmla="*/ 22 h 22"/>
                <a:gd name="T48" fmla="*/ 14 w 20"/>
                <a:gd name="T49" fmla="*/ 22 h 22"/>
                <a:gd name="T50" fmla="*/ 14 w 20"/>
                <a:gd name="T51" fmla="*/ 22 h 22"/>
                <a:gd name="T52" fmla="*/ 14 w 20"/>
                <a:gd name="T53" fmla="*/ 22 h 22"/>
                <a:gd name="T54" fmla="*/ 14 w 20"/>
                <a:gd name="T55" fmla="*/ 22 h 22"/>
                <a:gd name="T56" fmla="*/ 20 w 20"/>
                <a:gd name="T57" fmla="*/ 21 h 22"/>
                <a:gd name="T58" fmla="*/ 20 w 20"/>
                <a:gd name="T59" fmla="*/ 21 h 22"/>
                <a:gd name="T60" fmla="*/ 20 w 20"/>
                <a:gd name="T61" fmla="*/ 22 h 22"/>
                <a:gd name="T62" fmla="*/ 20 w 20"/>
                <a:gd name="T63" fmla="*/ 22 h 22"/>
                <a:gd name="T64" fmla="*/ 20 w 20"/>
                <a:gd name="T65" fmla="*/ 18 h 22"/>
                <a:gd name="T66" fmla="*/ 20 w 20"/>
                <a:gd name="T67" fmla="*/ 18 h 22"/>
                <a:gd name="T68" fmla="*/ 17 w 20"/>
                <a:gd name="T69" fmla="*/ 13 h 22"/>
                <a:gd name="T70" fmla="*/ 17 w 20"/>
                <a:gd name="T71" fmla="*/ 13 h 22"/>
                <a:gd name="T72" fmla="*/ 14 w 20"/>
                <a:gd name="T73" fmla="*/ 10 h 22"/>
                <a:gd name="T74" fmla="*/ 14 w 20"/>
                <a:gd name="T75" fmla="*/ 10 h 22"/>
                <a:gd name="T76" fmla="*/ 12 w 20"/>
                <a:gd name="T77" fmla="*/ 10 h 22"/>
                <a:gd name="T78" fmla="*/ 12 w 20"/>
                <a:gd name="T79" fmla="*/ 10 h 22"/>
                <a:gd name="T80" fmla="*/ 14 w 20"/>
                <a:gd name="T81" fmla="*/ 7 h 22"/>
                <a:gd name="T82" fmla="*/ 14 w 20"/>
                <a:gd name="T83" fmla="*/ 7 h 22"/>
                <a:gd name="T84" fmla="*/ 14 w 20"/>
                <a:gd name="T85" fmla="*/ 7 h 22"/>
                <a:gd name="T86" fmla="*/ 14 w 20"/>
                <a:gd name="T87" fmla="*/ 7 h 22"/>
                <a:gd name="T88" fmla="*/ 17 w 20"/>
                <a:gd name="T89" fmla="*/ 7 h 22"/>
                <a:gd name="T90" fmla="*/ 17 w 20"/>
                <a:gd name="T91" fmla="*/ 7 h 22"/>
                <a:gd name="T92" fmla="*/ 17 w 20"/>
                <a:gd name="T93" fmla="*/ 3 h 22"/>
                <a:gd name="T94" fmla="*/ 17 w 20"/>
                <a:gd name="T95" fmla="*/ 3 h 22"/>
                <a:gd name="T96" fmla="*/ 15 w 20"/>
                <a:gd name="T97" fmla="*/ 0 h 22"/>
                <a:gd name="T98" fmla="*/ 15 w 20"/>
                <a:gd name="T99" fmla="*/ 0 h 22"/>
                <a:gd name="T100" fmla="*/ 14 w 20"/>
                <a:gd name="T101" fmla="*/ 0 h 22"/>
                <a:gd name="T102" fmla="*/ 12 w 20"/>
                <a:gd name="T103" fmla="*/ 0 h 22"/>
                <a:gd name="T104" fmla="*/ 12 w 20"/>
                <a:gd name="T105" fmla="*/ 0 h 22"/>
                <a:gd name="T106" fmla="*/ 12 w 20"/>
                <a:gd name="T10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 h="22">
                  <a:moveTo>
                    <a:pt x="12" y="0"/>
                  </a:moveTo>
                  <a:lnTo>
                    <a:pt x="12" y="0"/>
                  </a:lnTo>
                  <a:lnTo>
                    <a:pt x="9" y="0"/>
                  </a:lnTo>
                  <a:lnTo>
                    <a:pt x="9" y="0"/>
                  </a:lnTo>
                  <a:lnTo>
                    <a:pt x="6" y="0"/>
                  </a:lnTo>
                  <a:lnTo>
                    <a:pt x="6" y="0"/>
                  </a:lnTo>
                  <a:lnTo>
                    <a:pt x="3" y="0"/>
                  </a:lnTo>
                  <a:lnTo>
                    <a:pt x="3" y="0"/>
                  </a:lnTo>
                  <a:lnTo>
                    <a:pt x="3" y="10"/>
                  </a:lnTo>
                  <a:lnTo>
                    <a:pt x="3" y="10"/>
                  </a:lnTo>
                  <a:lnTo>
                    <a:pt x="0" y="13"/>
                  </a:lnTo>
                  <a:lnTo>
                    <a:pt x="0" y="13"/>
                  </a:lnTo>
                  <a:lnTo>
                    <a:pt x="0" y="13"/>
                  </a:lnTo>
                  <a:lnTo>
                    <a:pt x="0" y="13"/>
                  </a:lnTo>
                  <a:lnTo>
                    <a:pt x="8" y="14"/>
                  </a:lnTo>
                  <a:lnTo>
                    <a:pt x="8" y="14"/>
                  </a:lnTo>
                  <a:lnTo>
                    <a:pt x="9" y="14"/>
                  </a:lnTo>
                  <a:lnTo>
                    <a:pt x="9" y="14"/>
                  </a:lnTo>
                  <a:lnTo>
                    <a:pt x="11" y="16"/>
                  </a:lnTo>
                  <a:lnTo>
                    <a:pt x="11" y="16"/>
                  </a:lnTo>
                  <a:lnTo>
                    <a:pt x="12" y="21"/>
                  </a:lnTo>
                  <a:lnTo>
                    <a:pt x="12" y="21"/>
                  </a:lnTo>
                  <a:lnTo>
                    <a:pt x="14" y="22"/>
                  </a:lnTo>
                  <a:lnTo>
                    <a:pt x="14" y="22"/>
                  </a:lnTo>
                  <a:lnTo>
                    <a:pt x="14" y="22"/>
                  </a:lnTo>
                  <a:lnTo>
                    <a:pt x="14" y="22"/>
                  </a:lnTo>
                  <a:lnTo>
                    <a:pt x="14" y="22"/>
                  </a:lnTo>
                  <a:lnTo>
                    <a:pt x="14" y="22"/>
                  </a:lnTo>
                  <a:lnTo>
                    <a:pt x="20" y="21"/>
                  </a:lnTo>
                  <a:lnTo>
                    <a:pt x="20" y="21"/>
                  </a:lnTo>
                  <a:lnTo>
                    <a:pt x="20" y="22"/>
                  </a:lnTo>
                  <a:lnTo>
                    <a:pt x="20" y="22"/>
                  </a:lnTo>
                  <a:lnTo>
                    <a:pt x="20" y="18"/>
                  </a:lnTo>
                  <a:lnTo>
                    <a:pt x="20" y="18"/>
                  </a:lnTo>
                  <a:lnTo>
                    <a:pt x="17" y="13"/>
                  </a:lnTo>
                  <a:lnTo>
                    <a:pt x="17" y="13"/>
                  </a:lnTo>
                  <a:lnTo>
                    <a:pt x="14" y="10"/>
                  </a:lnTo>
                  <a:lnTo>
                    <a:pt x="14" y="10"/>
                  </a:lnTo>
                  <a:lnTo>
                    <a:pt x="12" y="10"/>
                  </a:lnTo>
                  <a:lnTo>
                    <a:pt x="12" y="10"/>
                  </a:lnTo>
                  <a:lnTo>
                    <a:pt x="14" y="7"/>
                  </a:lnTo>
                  <a:lnTo>
                    <a:pt x="14" y="7"/>
                  </a:lnTo>
                  <a:lnTo>
                    <a:pt x="14" y="7"/>
                  </a:lnTo>
                  <a:lnTo>
                    <a:pt x="14" y="7"/>
                  </a:lnTo>
                  <a:lnTo>
                    <a:pt x="17" y="7"/>
                  </a:lnTo>
                  <a:lnTo>
                    <a:pt x="17" y="7"/>
                  </a:lnTo>
                  <a:lnTo>
                    <a:pt x="17" y="3"/>
                  </a:lnTo>
                  <a:lnTo>
                    <a:pt x="17" y="3"/>
                  </a:lnTo>
                  <a:lnTo>
                    <a:pt x="15" y="0"/>
                  </a:lnTo>
                  <a:lnTo>
                    <a:pt x="15" y="0"/>
                  </a:lnTo>
                  <a:lnTo>
                    <a:pt x="14" y="0"/>
                  </a:lnTo>
                  <a:lnTo>
                    <a:pt x="12" y="0"/>
                  </a:lnTo>
                  <a:lnTo>
                    <a:pt x="12" y="0"/>
                  </a:lnTo>
                  <a:lnTo>
                    <a:pt x="12"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0" name="Freeform 261">
              <a:extLst>
                <a:ext uri="{FF2B5EF4-FFF2-40B4-BE49-F238E27FC236}">
                  <a16:creationId xmlns:a16="http://schemas.microsoft.com/office/drawing/2014/main" id="{3C6654FA-5DC8-6C20-BB04-24092E5DCE8B}"/>
                </a:ext>
              </a:extLst>
            </p:cNvPr>
            <p:cNvSpPr>
              <a:spLocks/>
            </p:cNvSpPr>
            <p:nvPr/>
          </p:nvSpPr>
          <p:spPr bwMode="auto">
            <a:xfrm>
              <a:off x="7186793" y="3186201"/>
              <a:ext cx="22431" cy="51592"/>
            </a:xfrm>
            <a:custGeom>
              <a:avLst/>
              <a:gdLst>
                <a:gd name="T0" fmla="*/ 0 w 10"/>
                <a:gd name="T1" fmla="*/ 13 h 23"/>
                <a:gd name="T2" fmla="*/ 0 w 10"/>
                <a:gd name="T3" fmla="*/ 13 h 23"/>
                <a:gd name="T4" fmla="*/ 0 w 10"/>
                <a:gd name="T5" fmla="*/ 10 h 23"/>
                <a:gd name="T6" fmla="*/ 0 w 10"/>
                <a:gd name="T7" fmla="*/ 8 h 23"/>
                <a:gd name="T8" fmla="*/ 2 w 10"/>
                <a:gd name="T9" fmla="*/ 10 h 23"/>
                <a:gd name="T10" fmla="*/ 2 w 10"/>
                <a:gd name="T11" fmla="*/ 10 h 23"/>
                <a:gd name="T12" fmla="*/ 2 w 10"/>
                <a:gd name="T13" fmla="*/ 7 h 23"/>
                <a:gd name="T14" fmla="*/ 2 w 10"/>
                <a:gd name="T15" fmla="*/ 7 h 23"/>
                <a:gd name="T16" fmla="*/ 2 w 10"/>
                <a:gd name="T17" fmla="*/ 8 h 23"/>
                <a:gd name="T18" fmla="*/ 2 w 10"/>
                <a:gd name="T19" fmla="*/ 8 h 23"/>
                <a:gd name="T20" fmla="*/ 3 w 10"/>
                <a:gd name="T21" fmla="*/ 2 h 23"/>
                <a:gd name="T22" fmla="*/ 3 w 10"/>
                <a:gd name="T23" fmla="*/ 0 h 23"/>
                <a:gd name="T24" fmla="*/ 7 w 10"/>
                <a:gd name="T25" fmla="*/ 2 h 23"/>
                <a:gd name="T26" fmla="*/ 7 w 10"/>
                <a:gd name="T27" fmla="*/ 2 h 23"/>
                <a:gd name="T28" fmla="*/ 8 w 10"/>
                <a:gd name="T29" fmla="*/ 4 h 23"/>
                <a:gd name="T30" fmla="*/ 10 w 10"/>
                <a:gd name="T31" fmla="*/ 5 h 23"/>
                <a:gd name="T32" fmla="*/ 10 w 10"/>
                <a:gd name="T33" fmla="*/ 5 h 23"/>
                <a:gd name="T34" fmla="*/ 8 w 10"/>
                <a:gd name="T35" fmla="*/ 8 h 23"/>
                <a:gd name="T36" fmla="*/ 8 w 10"/>
                <a:gd name="T37" fmla="*/ 8 h 23"/>
                <a:gd name="T38" fmla="*/ 8 w 10"/>
                <a:gd name="T39" fmla="*/ 10 h 23"/>
                <a:gd name="T40" fmla="*/ 8 w 10"/>
                <a:gd name="T41" fmla="*/ 10 h 23"/>
                <a:gd name="T42" fmla="*/ 10 w 10"/>
                <a:gd name="T43" fmla="*/ 13 h 23"/>
                <a:gd name="T44" fmla="*/ 10 w 10"/>
                <a:gd name="T45" fmla="*/ 13 h 23"/>
                <a:gd name="T46" fmla="*/ 10 w 10"/>
                <a:gd name="T47" fmla="*/ 16 h 23"/>
                <a:gd name="T48" fmla="*/ 10 w 10"/>
                <a:gd name="T49" fmla="*/ 16 h 23"/>
                <a:gd name="T50" fmla="*/ 8 w 10"/>
                <a:gd name="T51" fmla="*/ 19 h 23"/>
                <a:gd name="T52" fmla="*/ 7 w 10"/>
                <a:gd name="T53" fmla="*/ 23 h 23"/>
                <a:gd name="T54" fmla="*/ 7 w 10"/>
                <a:gd name="T55" fmla="*/ 23 h 23"/>
                <a:gd name="T56" fmla="*/ 3 w 10"/>
                <a:gd name="T57" fmla="*/ 23 h 23"/>
                <a:gd name="T58" fmla="*/ 3 w 10"/>
                <a:gd name="T59" fmla="*/ 23 h 23"/>
                <a:gd name="T60" fmla="*/ 3 w 10"/>
                <a:gd name="T61" fmla="*/ 19 h 23"/>
                <a:gd name="T62" fmla="*/ 3 w 10"/>
                <a:gd name="T63" fmla="*/ 19 h 23"/>
                <a:gd name="T64" fmla="*/ 0 w 10"/>
                <a:gd name="T65" fmla="*/ 13 h 23"/>
                <a:gd name="T66" fmla="*/ 0 w 10"/>
                <a:gd name="T67" fmla="*/ 13 h 23"/>
                <a:gd name="T68" fmla="*/ 0 w 10"/>
                <a:gd name="T69" fmla="*/ 13 h 23"/>
                <a:gd name="T70" fmla="*/ 0 w 10"/>
                <a:gd name="T71" fmla="*/ 13 h 23"/>
                <a:gd name="T72" fmla="*/ 0 w 10"/>
                <a:gd name="T73" fmla="*/ 13 h 23"/>
                <a:gd name="T74" fmla="*/ 0 w 10"/>
                <a:gd name="T75" fmla="*/ 13 h 23"/>
                <a:gd name="T76" fmla="*/ 0 w 10"/>
                <a:gd name="T77" fmla="*/ 13 h 23"/>
                <a:gd name="T78" fmla="*/ 0 w 10"/>
                <a:gd name="T79" fmla="*/ 13 h 23"/>
                <a:gd name="T80" fmla="*/ 0 w 10"/>
                <a:gd name="T81" fmla="*/ 13 h 23"/>
                <a:gd name="T82" fmla="*/ 0 w 10"/>
                <a:gd name="T8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3">
                  <a:moveTo>
                    <a:pt x="0" y="13"/>
                  </a:moveTo>
                  <a:lnTo>
                    <a:pt x="0" y="13"/>
                  </a:lnTo>
                  <a:lnTo>
                    <a:pt x="0" y="10"/>
                  </a:lnTo>
                  <a:lnTo>
                    <a:pt x="0" y="8"/>
                  </a:lnTo>
                  <a:lnTo>
                    <a:pt x="2" y="10"/>
                  </a:lnTo>
                  <a:lnTo>
                    <a:pt x="2" y="10"/>
                  </a:lnTo>
                  <a:lnTo>
                    <a:pt x="2" y="7"/>
                  </a:lnTo>
                  <a:lnTo>
                    <a:pt x="2" y="7"/>
                  </a:lnTo>
                  <a:lnTo>
                    <a:pt x="2" y="8"/>
                  </a:lnTo>
                  <a:lnTo>
                    <a:pt x="2" y="8"/>
                  </a:lnTo>
                  <a:lnTo>
                    <a:pt x="3" y="2"/>
                  </a:lnTo>
                  <a:lnTo>
                    <a:pt x="3" y="0"/>
                  </a:lnTo>
                  <a:lnTo>
                    <a:pt x="7" y="2"/>
                  </a:lnTo>
                  <a:lnTo>
                    <a:pt x="7" y="2"/>
                  </a:lnTo>
                  <a:lnTo>
                    <a:pt x="8" y="4"/>
                  </a:lnTo>
                  <a:lnTo>
                    <a:pt x="10" y="5"/>
                  </a:lnTo>
                  <a:lnTo>
                    <a:pt x="10" y="5"/>
                  </a:lnTo>
                  <a:lnTo>
                    <a:pt x="8" y="8"/>
                  </a:lnTo>
                  <a:lnTo>
                    <a:pt x="8" y="8"/>
                  </a:lnTo>
                  <a:lnTo>
                    <a:pt x="8" y="10"/>
                  </a:lnTo>
                  <a:lnTo>
                    <a:pt x="8" y="10"/>
                  </a:lnTo>
                  <a:lnTo>
                    <a:pt x="10" y="13"/>
                  </a:lnTo>
                  <a:lnTo>
                    <a:pt x="10" y="13"/>
                  </a:lnTo>
                  <a:lnTo>
                    <a:pt x="10" y="16"/>
                  </a:lnTo>
                  <a:lnTo>
                    <a:pt x="10" y="16"/>
                  </a:lnTo>
                  <a:lnTo>
                    <a:pt x="8" y="19"/>
                  </a:lnTo>
                  <a:lnTo>
                    <a:pt x="7" y="23"/>
                  </a:lnTo>
                  <a:lnTo>
                    <a:pt x="7" y="23"/>
                  </a:lnTo>
                  <a:lnTo>
                    <a:pt x="3" y="23"/>
                  </a:lnTo>
                  <a:lnTo>
                    <a:pt x="3" y="23"/>
                  </a:lnTo>
                  <a:lnTo>
                    <a:pt x="3" y="19"/>
                  </a:lnTo>
                  <a:lnTo>
                    <a:pt x="3" y="19"/>
                  </a:lnTo>
                  <a:lnTo>
                    <a:pt x="0" y="13"/>
                  </a:lnTo>
                  <a:lnTo>
                    <a:pt x="0" y="13"/>
                  </a:lnTo>
                  <a:lnTo>
                    <a:pt x="0" y="13"/>
                  </a:lnTo>
                  <a:lnTo>
                    <a:pt x="0" y="13"/>
                  </a:lnTo>
                  <a:lnTo>
                    <a:pt x="0" y="13"/>
                  </a:lnTo>
                  <a:lnTo>
                    <a:pt x="0" y="13"/>
                  </a:lnTo>
                  <a:lnTo>
                    <a:pt x="0" y="13"/>
                  </a:lnTo>
                  <a:lnTo>
                    <a:pt x="0" y="13"/>
                  </a:lnTo>
                  <a:lnTo>
                    <a:pt x="0" y="13"/>
                  </a:lnTo>
                  <a:lnTo>
                    <a:pt x="0" y="1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1" name="Freeform 72">
              <a:extLst>
                <a:ext uri="{FF2B5EF4-FFF2-40B4-BE49-F238E27FC236}">
                  <a16:creationId xmlns:a16="http://schemas.microsoft.com/office/drawing/2014/main" id="{056E1FC2-3410-5C9B-0B53-ACFF428344A5}"/>
                </a:ext>
              </a:extLst>
            </p:cNvPr>
            <p:cNvSpPr>
              <a:spLocks/>
            </p:cNvSpPr>
            <p:nvPr/>
          </p:nvSpPr>
          <p:spPr bwMode="auto">
            <a:xfrm>
              <a:off x="6717992" y="2959650"/>
              <a:ext cx="33646" cy="116639"/>
            </a:xfrm>
            <a:custGeom>
              <a:avLst/>
              <a:gdLst>
                <a:gd name="T0" fmla="*/ 9 w 15"/>
                <a:gd name="T1" fmla="*/ 0 h 52"/>
                <a:gd name="T2" fmla="*/ 8 w 15"/>
                <a:gd name="T3" fmla="*/ 0 h 52"/>
                <a:gd name="T4" fmla="*/ 8 w 15"/>
                <a:gd name="T5" fmla="*/ 1 h 52"/>
                <a:gd name="T6" fmla="*/ 8 w 15"/>
                <a:gd name="T7" fmla="*/ 3 h 52"/>
                <a:gd name="T8" fmla="*/ 6 w 15"/>
                <a:gd name="T9" fmla="*/ 6 h 52"/>
                <a:gd name="T10" fmla="*/ 6 w 15"/>
                <a:gd name="T11" fmla="*/ 8 h 52"/>
                <a:gd name="T12" fmla="*/ 4 w 15"/>
                <a:gd name="T13" fmla="*/ 16 h 52"/>
                <a:gd name="T14" fmla="*/ 1 w 15"/>
                <a:gd name="T15" fmla="*/ 20 h 52"/>
                <a:gd name="T16" fmla="*/ 3 w 15"/>
                <a:gd name="T17" fmla="*/ 22 h 52"/>
                <a:gd name="T18" fmla="*/ 1 w 15"/>
                <a:gd name="T19" fmla="*/ 24 h 52"/>
                <a:gd name="T20" fmla="*/ 0 w 15"/>
                <a:gd name="T21" fmla="*/ 25 h 52"/>
                <a:gd name="T22" fmla="*/ 0 w 15"/>
                <a:gd name="T23" fmla="*/ 28 h 52"/>
                <a:gd name="T24" fmla="*/ 9 w 15"/>
                <a:gd name="T25" fmla="*/ 52 h 52"/>
                <a:gd name="T26" fmla="*/ 9 w 15"/>
                <a:gd name="T27" fmla="*/ 51 h 52"/>
                <a:gd name="T28" fmla="*/ 11 w 15"/>
                <a:gd name="T29" fmla="*/ 52 h 52"/>
                <a:gd name="T30" fmla="*/ 11 w 15"/>
                <a:gd name="T31" fmla="*/ 47 h 52"/>
                <a:gd name="T32" fmla="*/ 12 w 15"/>
                <a:gd name="T33" fmla="*/ 44 h 52"/>
                <a:gd name="T34" fmla="*/ 12 w 15"/>
                <a:gd name="T35" fmla="*/ 43 h 52"/>
                <a:gd name="T36" fmla="*/ 12 w 15"/>
                <a:gd name="T37" fmla="*/ 36 h 52"/>
                <a:gd name="T38" fmla="*/ 14 w 15"/>
                <a:gd name="T39" fmla="*/ 30 h 52"/>
                <a:gd name="T40" fmla="*/ 14 w 15"/>
                <a:gd name="T41" fmla="*/ 30 h 52"/>
                <a:gd name="T42" fmla="*/ 14 w 15"/>
                <a:gd name="T43" fmla="*/ 28 h 52"/>
                <a:gd name="T44" fmla="*/ 14 w 15"/>
                <a:gd name="T45" fmla="*/ 28 h 52"/>
                <a:gd name="T46" fmla="*/ 14 w 15"/>
                <a:gd name="T47" fmla="*/ 25 h 52"/>
                <a:gd name="T48" fmla="*/ 14 w 15"/>
                <a:gd name="T49" fmla="*/ 22 h 52"/>
                <a:gd name="T50" fmla="*/ 14 w 15"/>
                <a:gd name="T51" fmla="*/ 22 h 52"/>
                <a:gd name="T52" fmla="*/ 11 w 15"/>
                <a:gd name="T53" fmla="*/ 24 h 52"/>
                <a:gd name="T54" fmla="*/ 9 w 15"/>
                <a:gd name="T55" fmla="*/ 25 h 52"/>
                <a:gd name="T56" fmla="*/ 8 w 15"/>
                <a:gd name="T57" fmla="*/ 24 h 52"/>
                <a:gd name="T58" fmla="*/ 8 w 15"/>
                <a:gd name="T59" fmla="*/ 22 h 52"/>
                <a:gd name="T60" fmla="*/ 9 w 15"/>
                <a:gd name="T61" fmla="*/ 19 h 52"/>
                <a:gd name="T62" fmla="*/ 11 w 15"/>
                <a:gd name="T63" fmla="*/ 19 h 52"/>
                <a:gd name="T64" fmla="*/ 9 w 15"/>
                <a:gd name="T65" fmla="*/ 19 h 52"/>
                <a:gd name="T66" fmla="*/ 8 w 15"/>
                <a:gd name="T67" fmla="*/ 19 h 52"/>
                <a:gd name="T68" fmla="*/ 8 w 15"/>
                <a:gd name="T69" fmla="*/ 16 h 52"/>
                <a:gd name="T70" fmla="*/ 8 w 15"/>
                <a:gd name="T71" fmla="*/ 12 h 52"/>
                <a:gd name="T72" fmla="*/ 9 w 15"/>
                <a:gd name="T73" fmla="*/ 9 h 52"/>
                <a:gd name="T74" fmla="*/ 11 w 15"/>
                <a:gd name="T75" fmla="*/ 8 h 52"/>
                <a:gd name="T76" fmla="*/ 12 w 15"/>
                <a:gd name="T77" fmla="*/ 9 h 52"/>
                <a:gd name="T78" fmla="*/ 15 w 15"/>
                <a:gd name="T79" fmla="*/ 9 h 52"/>
                <a:gd name="T80" fmla="*/ 15 w 15"/>
                <a:gd name="T81" fmla="*/ 8 h 52"/>
                <a:gd name="T82" fmla="*/ 15 w 15"/>
                <a:gd name="T83" fmla="*/ 3 h 52"/>
                <a:gd name="T84" fmla="*/ 15 w 15"/>
                <a:gd name="T85" fmla="*/ 1 h 52"/>
                <a:gd name="T86" fmla="*/ 9 w 15"/>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52">
                  <a:moveTo>
                    <a:pt x="9" y="0"/>
                  </a:moveTo>
                  <a:lnTo>
                    <a:pt x="9" y="0"/>
                  </a:lnTo>
                  <a:lnTo>
                    <a:pt x="9" y="0"/>
                  </a:lnTo>
                  <a:lnTo>
                    <a:pt x="8" y="0"/>
                  </a:lnTo>
                  <a:lnTo>
                    <a:pt x="8" y="0"/>
                  </a:lnTo>
                  <a:lnTo>
                    <a:pt x="8" y="1"/>
                  </a:lnTo>
                  <a:lnTo>
                    <a:pt x="8" y="1"/>
                  </a:lnTo>
                  <a:lnTo>
                    <a:pt x="8" y="3"/>
                  </a:lnTo>
                  <a:lnTo>
                    <a:pt x="8" y="3"/>
                  </a:lnTo>
                  <a:lnTo>
                    <a:pt x="6" y="6"/>
                  </a:lnTo>
                  <a:lnTo>
                    <a:pt x="6" y="6"/>
                  </a:lnTo>
                  <a:lnTo>
                    <a:pt x="6" y="8"/>
                  </a:lnTo>
                  <a:lnTo>
                    <a:pt x="6" y="8"/>
                  </a:lnTo>
                  <a:lnTo>
                    <a:pt x="4" y="16"/>
                  </a:lnTo>
                  <a:lnTo>
                    <a:pt x="4" y="16"/>
                  </a:lnTo>
                  <a:lnTo>
                    <a:pt x="1" y="20"/>
                  </a:lnTo>
                  <a:lnTo>
                    <a:pt x="1" y="20"/>
                  </a:lnTo>
                  <a:lnTo>
                    <a:pt x="3" y="22"/>
                  </a:lnTo>
                  <a:lnTo>
                    <a:pt x="3" y="22"/>
                  </a:lnTo>
                  <a:lnTo>
                    <a:pt x="1" y="24"/>
                  </a:lnTo>
                  <a:lnTo>
                    <a:pt x="1" y="24"/>
                  </a:lnTo>
                  <a:lnTo>
                    <a:pt x="0" y="25"/>
                  </a:lnTo>
                  <a:lnTo>
                    <a:pt x="0" y="25"/>
                  </a:lnTo>
                  <a:lnTo>
                    <a:pt x="0" y="28"/>
                  </a:lnTo>
                  <a:lnTo>
                    <a:pt x="0" y="28"/>
                  </a:lnTo>
                  <a:lnTo>
                    <a:pt x="9" y="52"/>
                  </a:lnTo>
                  <a:lnTo>
                    <a:pt x="9" y="52"/>
                  </a:lnTo>
                  <a:lnTo>
                    <a:pt x="9" y="51"/>
                  </a:lnTo>
                  <a:lnTo>
                    <a:pt x="9" y="51"/>
                  </a:lnTo>
                  <a:lnTo>
                    <a:pt x="11" y="52"/>
                  </a:lnTo>
                  <a:lnTo>
                    <a:pt x="11" y="52"/>
                  </a:lnTo>
                  <a:lnTo>
                    <a:pt x="11" y="47"/>
                  </a:lnTo>
                  <a:lnTo>
                    <a:pt x="11" y="47"/>
                  </a:lnTo>
                  <a:lnTo>
                    <a:pt x="12" y="44"/>
                  </a:lnTo>
                  <a:lnTo>
                    <a:pt x="12" y="44"/>
                  </a:lnTo>
                  <a:lnTo>
                    <a:pt x="12" y="43"/>
                  </a:lnTo>
                  <a:lnTo>
                    <a:pt x="12" y="43"/>
                  </a:lnTo>
                  <a:lnTo>
                    <a:pt x="12" y="36"/>
                  </a:lnTo>
                  <a:lnTo>
                    <a:pt x="12" y="36"/>
                  </a:lnTo>
                  <a:lnTo>
                    <a:pt x="14" y="30"/>
                  </a:lnTo>
                  <a:lnTo>
                    <a:pt x="14" y="30"/>
                  </a:lnTo>
                  <a:lnTo>
                    <a:pt x="14" y="30"/>
                  </a:lnTo>
                  <a:lnTo>
                    <a:pt x="14" y="28"/>
                  </a:lnTo>
                  <a:lnTo>
                    <a:pt x="14" y="28"/>
                  </a:lnTo>
                  <a:lnTo>
                    <a:pt x="14" y="28"/>
                  </a:lnTo>
                  <a:lnTo>
                    <a:pt x="14" y="28"/>
                  </a:lnTo>
                  <a:lnTo>
                    <a:pt x="14" y="28"/>
                  </a:lnTo>
                  <a:lnTo>
                    <a:pt x="14" y="25"/>
                  </a:lnTo>
                  <a:lnTo>
                    <a:pt x="14" y="25"/>
                  </a:lnTo>
                  <a:lnTo>
                    <a:pt x="14" y="22"/>
                  </a:lnTo>
                  <a:lnTo>
                    <a:pt x="14" y="22"/>
                  </a:lnTo>
                  <a:lnTo>
                    <a:pt x="14" y="22"/>
                  </a:lnTo>
                  <a:lnTo>
                    <a:pt x="14" y="22"/>
                  </a:lnTo>
                  <a:lnTo>
                    <a:pt x="11" y="24"/>
                  </a:lnTo>
                  <a:lnTo>
                    <a:pt x="11" y="24"/>
                  </a:lnTo>
                  <a:lnTo>
                    <a:pt x="9" y="25"/>
                  </a:lnTo>
                  <a:lnTo>
                    <a:pt x="9" y="25"/>
                  </a:lnTo>
                  <a:lnTo>
                    <a:pt x="8" y="24"/>
                  </a:lnTo>
                  <a:lnTo>
                    <a:pt x="8" y="24"/>
                  </a:lnTo>
                  <a:lnTo>
                    <a:pt x="8" y="22"/>
                  </a:lnTo>
                  <a:lnTo>
                    <a:pt x="8" y="22"/>
                  </a:lnTo>
                  <a:lnTo>
                    <a:pt x="9" y="19"/>
                  </a:lnTo>
                  <a:lnTo>
                    <a:pt x="9" y="19"/>
                  </a:lnTo>
                  <a:lnTo>
                    <a:pt x="11" y="19"/>
                  </a:lnTo>
                  <a:lnTo>
                    <a:pt x="11" y="19"/>
                  </a:lnTo>
                  <a:lnTo>
                    <a:pt x="9" y="19"/>
                  </a:lnTo>
                  <a:lnTo>
                    <a:pt x="9" y="19"/>
                  </a:lnTo>
                  <a:lnTo>
                    <a:pt x="8" y="19"/>
                  </a:lnTo>
                  <a:lnTo>
                    <a:pt x="8" y="19"/>
                  </a:lnTo>
                  <a:lnTo>
                    <a:pt x="8" y="16"/>
                  </a:lnTo>
                  <a:lnTo>
                    <a:pt x="8" y="16"/>
                  </a:lnTo>
                  <a:lnTo>
                    <a:pt x="8" y="12"/>
                  </a:lnTo>
                  <a:lnTo>
                    <a:pt x="8" y="12"/>
                  </a:lnTo>
                  <a:lnTo>
                    <a:pt x="9" y="9"/>
                  </a:lnTo>
                  <a:lnTo>
                    <a:pt x="9" y="9"/>
                  </a:lnTo>
                  <a:lnTo>
                    <a:pt x="11" y="8"/>
                  </a:lnTo>
                  <a:lnTo>
                    <a:pt x="11" y="8"/>
                  </a:lnTo>
                  <a:lnTo>
                    <a:pt x="12" y="9"/>
                  </a:lnTo>
                  <a:lnTo>
                    <a:pt x="12" y="9"/>
                  </a:lnTo>
                  <a:lnTo>
                    <a:pt x="15" y="9"/>
                  </a:lnTo>
                  <a:lnTo>
                    <a:pt x="15" y="9"/>
                  </a:lnTo>
                  <a:lnTo>
                    <a:pt x="15" y="8"/>
                  </a:lnTo>
                  <a:lnTo>
                    <a:pt x="15" y="8"/>
                  </a:lnTo>
                  <a:lnTo>
                    <a:pt x="15" y="3"/>
                  </a:lnTo>
                  <a:lnTo>
                    <a:pt x="15" y="3"/>
                  </a:lnTo>
                  <a:lnTo>
                    <a:pt x="15" y="1"/>
                  </a:lnTo>
                  <a:lnTo>
                    <a:pt x="9" y="0"/>
                  </a:lnTo>
                  <a:lnTo>
                    <a:pt x="9" y="0"/>
                  </a:lnTo>
                  <a:lnTo>
                    <a:pt x="9"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2" name="Freeform 92">
              <a:extLst>
                <a:ext uri="{FF2B5EF4-FFF2-40B4-BE49-F238E27FC236}">
                  <a16:creationId xmlns:a16="http://schemas.microsoft.com/office/drawing/2014/main" id="{93AD430B-4127-223E-65BE-0E69FFAEF932}"/>
                </a:ext>
              </a:extLst>
            </p:cNvPr>
            <p:cNvSpPr>
              <a:spLocks/>
            </p:cNvSpPr>
            <p:nvPr/>
          </p:nvSpPr>
          <p:spPr bwMode="auto">
            <a:xfrm>
              <a:off x="6460039" y="3004512"/>
              <a:ext cx="309544" cy="320759"/>
            </a:xfrm>
            <a:custGeom>
              <a:avLst/>
              <a:gdLst>
                <a:gd name="T0" fmla="*/ 2 w 138"/>
                <a:gd name="T1" fmla="*/ 13 h 143"/>
                <a:gd name="T2" fmla="*/ 0 w 138"/>
                <a:gd name="T3" fmla="*/ 23 h 143"/>
                <a:gd name="T4" fmla="*/ 5 w 138"/>
                <a:gd name="T5" fmla="*/ 43 h 143"/>
                <a:gd name="T6" fmla="*/ 72 w 138"/>
                <a:gd name="T7" fmla="*/ 140 h 143"/>
                <a:gd name="T8" fmla="*/ 84 w 138"/>
                <a:gd name="T9" fmla="*/ 139 h 143"/>
                <a:gd name="T10" fmla="*/ 86 w 138"/>
                <a:gd name="T11" fmla="*/ 140 h 143"/>
                <a:gd name="T12" fmla="*/ 110 w 138"/>
                <a:gd name="T13" fmla="*/ 142 h 143"/>
                <a:gd name="T14" fmla="*/ 118 w 138"/>
                <a:gd name="T15" fmla="*/ 143 h 143"/>
                <a:gd name="T16" fmla="*/ 123 w 138"/>
                <a:gd name="T17" fmla="*/ 137 h 143"/>
                <a:gd name="T18" fmla="*/ 129 w 138"/>
                <a:gd name="T19" fmla="*/ 132 h 143"/>
                <a:gd name="T20" fmla="*/ 132 w 138"/>
                <a:gd name="T21" fmla="*/ 129 h 143"/>
                <a:gd name="T22" fmla="*/ 137 w 138"/>
                <a:gd name="T23" fmla="*/ 124 h 143"/>
                <a:gd name="T24" fmla="*/ 135 w 138"/>
                <a:gd name="T25" fmla="*/ 112 h 143"/>
                <a:gd name="T26" fmla="*/ 135 w 138"/>
                <a:gd name="T27" fmla="*/ 107 h 143"/>
                <a:gd name="T28" fmla="*/ 116 w 138"/>
                <a:gd name="T29" fmla="*/ 75 h 143"/>
                <a:gd name="T30" fmla="*/ 115 w 138"/>
                <a:gd name="T31" fmla="*/ 69 h 143"/>
                <a:gd name="T32" fmla="*/ 108 w 138"/>
                <a:gd name="T33" fmla="*/ 59 h 143"/>
                <a:gd name="T34" fmla="*/ 107 w 138"/>
                <a:gd name="T35" fmla="*/ 54 h 143"/>
                <a:gd name="T36" fmla="*/ 97 w 138"/>
                <a:gd name="T37" fmla="*/ 37 h 143"/>
                <a:gd name="T38" fmla="*/ 94 w 138"/>
                <a:gd name="T39" fmla="*/ 27 h 143"/>
                <a:gd name="T40" fmla="*/ 100 w 138"/>
                <a:gd name="T41" fmla="*/ 35 h 143"/>
                <a:gd name="T42" fmla="*/ 103 w 138"/>
                <a:gd name="T43" fmla="*/ 43 h 143"/>
                <a:gd name="T44" fmla="*/ 108 w 138"/>
                <a:gd name="T45" fmla="*/ 50 h 143"/>
                <a:gd name="T46" fmla="*/ 118 w 138"/>
                <a:gd name="T47" fmla="*/ 54 h 143"/>
                <a:gd name="T48" fmla="*/ 121 w 138"/>
                <a:gd name="T49" fmla="*/ 45 h 143"/>
                <a:gd name="T50" fmla="*/ 124 w 138"/>
                <a:gd name="T51" fmla="*/ 34 h 143"/>
                <a:gd name="T52" fmla="*/ 103 w 138"/>
                <a:gd name="T53" fmla="*/ 10 h 143"/>
                <a:gd name="T54" fmla="*/ 100 w 138"/>
                <a:gd name="T55" fmla="*/ 10 h 143"/>
                <a:gd name="T56" fmla="*/ 94 w 138"/>
                <a:gd name="T57" fmla="*/ 10 h 143"/>
                <a:gd name="T58" fmla="*/ 91 w 138"/>
                <a:gd name="T59" fmla="*/ 10 h 143"/>
                <a:gd name="T60" fmla="*/ 86 w 138"/>
                <a:gd name="T61" fmla="*/ 7 h 143"/>
                <a:gd name="T62" fmla="*/ 84 w 138"/>
                <a:gd name="T63" fmla="*/ 4 h 143"/>
                <a:gd name="T64" fmla="*/ 78 w 138"/>
                <a:gd name="T65" fmla="*/ 4 h 143"/>
                <a:gd name="T66" fmla="*/ 75 w 138"/>
                <a:gd name="T67" fmla="*/ 4 h 143"/>
                <a:gd name="T68" fmla="*/ 69 w 138"/>
                <a:gd name="T69" fmla="*/ 4 h 143"/>
                <a:gd name="T70" fmla="*/ 64 w 138"/>
                <a:gd name="T71" fmla="*/ 7 h 143"/>
                <a:gd name="T72" fmla="*/ 53 w 138"/>
                <a:gd name="T73" fmla="*/ 13 h 143"/>
                <a:gd name="T74" fmla="*/ 38 w 138"/>
                <a:gd name="T75" fmla="*/ 10 h 143"/>
                <a:gd name="T76" fmla="*/ 29 w 138"/>
                <a:gd name="T77" fmla="*/ 4 h 143"/>
                <a:gd name="T78" fmla="*/ 10 w 138"/>
                <a:gd name="T79" fmla="*/ 4 h 143"/>
                <a:gd name="T80" fmla="*/ 3 w 138"/>
                <a:gd name="T81" fmla="*/ 0 h 143"/>
                <a:gd name="T82" fmla="*/ 0 w 138"/>
                <a:gd name="T83" fmla="*/ 7 h 143"/>
                <a:gd name="T84" fmla="*/ 0 w 138"/>
                <a:gd name="T85" fmla="*/ 7 h 143"/>
                <a:gd name="T86" fmla="*/ 0 w 138"/>
                <a:gd name="T87"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43">
                  <a:moveTo>
                    <a:pt x="0" y="7"/>
                  </a:moveTo>
                  <a:lnTo>
                    <a:pt x="2" y="10"/>
                  </a:lnTo>
                  <a:lnTo>
                    <a:pt x="2" y="13"/>
                  </a:lnTo>
                  <a:lnTo>
                    <a:pt x="2" y="16"/>
                  </a:lnTo>
                  <a:lnTo>
                    <a:pt x="0" y="21"/>
                  </a:lnTo>
                  <a:lnTo>
                    <a:pt x="0" y="23"/>
                  </a:lnTo>
                  <a:lnTo>
                    <a:pt x="0" y="24"/>
                  </a:lnTo>
                  <a:lnTo>
                    <a:pt x="2" y="31"/>
                  </a:lnTo>
                  <a:lnTo>
                    <a:pt x="5" y="43"/>
                  </a:lnTo>
                  <a:lnTo>
                    <a:pt x="8" y="140"/>
                  </a:lnTo>
                  <a:lnTo>
                    <a:pt x="38" y="140"/>
                  </a:lnTo>
                  <a:lnTo>
                    <a:pt x="72" y="140"/>
                  </a:lnTo>
                  <a:lnTo>
                    <a:pt x="78" y="140"/>
                  </a:lnTo>
                  <a:lnTo>
                    <a:pt x="83" y="140"/>
                  </a:lnTo>
                  <a:lnTo>
                    <a:pt x="84" y="139"/>
                  </a:lnTo>
                  <a:lnTo>
                    <a:pt x="86" y="137"/>
                  </a:lnTo>
                  <a:lnTo>
                    <a:pt x="88" y="137"/>
                  </a:lnTo>
                  <a:lnTo>
                    <a:pt x="86" y="140"/>
                  </a:lnTo>
                  <a:lnTo>
                    <a:pt x="94" y="140"/>
                  </a:lnTo>
                  <a:lnTo>
                    <a:pt x="105" y="140"/>
                  </a:lnTo>
                  <a:lnTo>
                    <a:pt x="110" y="142"/>
                  </a:lnTo>
                  <a:lnTo>
                    <a:pt x="113" y="143"/>
                  </a:lnTo>
                  <a:lnTo>
                    <a:pt x="116" y="143"/>
                  </a:lnTo>
                  <a:lnTo>
                    <a:pt x="118" y="143"/>
                  </a:lnTo>
                  <a:lnTo>
                    <a:pt x="119" y="142"/>
                  </a:lnTo>
                  <a:lnTo>
                    <a:pt x="121" y="139"/>
                  </a:lnTo>
                  <a:lnTo>
                    <a:pt x="123" y="137"/>
                  </a:lnTo>
                  <a:lnTo>
                    <a:pt x="126" y="135"/>
                  </a:lnTo>
                  <a:lnTo>
                    <a:pt x="126" y="135"/>
                  </a:lnTo>
                  <a:lnTo>
                    <a:pt x="129" y="132"/>
                  </a:lnTo>
                  <a:lnTo>
                    <a:pt x="129" y="129"/>
                  </a:lnTo>
                  <a:lnTo>
                    <a:pt x="132" y="129"/>
                  </a:lnTo>
                  <a:lnTo>
                    <a:pt x="132" y="129"/>
                  </a:lnTo>
                  <a:lnTo>
                    <a:pt x="132" y="129"/>
                  </a:lnTo>
                  <a:lnTo>
                    <a:pt x="135" y="126"/>
                  </a:lnTo>
                  <a:lnTo>
                    <a:pt x="137" y="124"/>
                  </a:lnTo>
                  <a:lnTo>
                    <a:pt x="137" y="123"/>
                  </a:lnTo>
                  <a:lnTo>
                    <a:pt x="135" y="118"/>
                  </a:lnTo>
                  <a:lnTo>
                    <a:pt x="135" y="112"/>
                  </a:lnTo>
                  <a:lnTo>
                    <a:pt x="138" y="113"/>
                  </a:lnTo>
                  <a:lnTo>
                    <a:pt x="137" y="110"/>
                  </a:lnTo>
                  <a:lnTo>
                    <a:pt x="135" y="107"/>
                  </a:lnTo>
                  <a:lnTo>
                    <a:pt x="129" y="100"/>
                  </a:lnTo>
                  <a:lnTo>
                    <a:pt x="119" y="81"/>
                  </a:lnTo>
                  <a:lnTo>
                    <a:pt x="116" y="75"/>
                  </a:lnTo>
                  <a:lnTo>
                    <a:pt x="115" y="72"/>
                  </a:lnTo>
                  <a:lnTo>
                    <a:pt x="115" y="70"/>
                  </a:lnTo>
                  <a:lnTo>
                    <a:pt x="115" y="69"/>
                  </a:lnTo>
                  <a:lnTo>
                    <a:pt x="113" y="65"/>
                  </a:lnTo>
                  <a:lnTo>
                    <a:pt x="110" y="62"/>
                  </a:lnTo>
                  <a:lnTo>
                    <a:pt x="108" y="59"/>
                  </a:lnTo>
                  <a:lnTo>
                    <a:pt x="108" y="58"/>
                  </a:lnTo>
                  <a:lnTo>
                    <a:pt x="108" y="56"/>
                  </a:lnTo>
                  <a:lnTo>
                    <a:pt x="107" y="54"/>
                  </a:lnTo>
                  <a:lnTo>
                    <a:pt x="103" y="51"/>
                  </a:lnTo>
                  <a:lnTo>
                    <a:pt x="97" y="42"/>
                  </a:lnTo>
                  <a:lnTo>
                    <a:pt x="97" y="37"/>
                  </a:lnTo>
                  <a:lnTo>
                    <a:pt x="94" y="31"/>
                  </a:lnTo>
                  <a:lnTo>
                    <a:pt x="94" y="31"/>
                  </a:lnTo>
                  <a:lnTo>
                    <a:pt x="94" y="27"/>
                  </a:lnTo>
                  <a:lnTo>
                    <a:pt x="94" y="24"/>
                  </a:lnTo>
                  <a:lnTo>
                    <a:pt x="97" y="31"/>
                  </a:lnTo>
                  <a:lnTo>
                    <a:pt x="100" y="35"/>
                  </a:lnTo>
                  <a:lnTo>
                    <a:pt x="102" y="38"/>
                  </a:lnTo>
                  <a:lnTo>
                    <a:pt x="103" y="40"/>
                  </a:lnTo>
                  <a:lnTo>
                    <a:pt x="103" y="43"/>
                  </a:lnTo>
                  <a:lnTo>
                    <a:pt x="103" y="45"/>
                  </a:lnTo>
                  <a:lnTo>
                    <a:pt x="105" y="46"/>
                  </a:lnTo>
                  <a:lnTo>
                    <a:pt x="108" y="50"/>
                  </a:lnTo>
                  <a:lnTo>
                    <a:pt x="113" y="54"/>
                  </a:lnTo>
                  <a:lnTo>
                    <a:pt x="118" y="58"/>
                  </a:lnTo>
                  <a:lnTo>
                    <a:pt x="118" y="54"/>
                  </a:lnTo>
                  <a:lnTo>
                    <a:pt x="119" y="51"/>
                  </a:lnTo>
                  <a:lnTo>
                    <a:pt x="119" y="48"/>
                  </a:lnTo>
                  <a:lnTo>
                    <a:pt x="121" y="45"/>
                  </a:lnTo>
                  <a:lnTo>
                    <a:pt x="123" y="38"/>
                  </a:lnTo>
                  <a:lnTo>
                    <a:pt x="123" y="34"/>
                  </a:lnTo>
                  <a:lnTo>
                    <a:pt x="124" y="34"/>
                  </a:lnTo>
                  <a:lnTo>
                    <a:pt x="113" y="7"/>
                  </a:lnTo>
                  <a:lnTo>
                    <a:pt x="108" y="10"/>
                  </a:lnTo>
                  <a:lnTo>
                    <a:pt x="103" y="10"/>
                  </a:lnTo>
                  <a:lnTo>
                    <a:pt x="100" y="10"/>
                  </a:lnTo>
                  <a:lnTo>
                    <a:pt x="100" y="10"/>
                  </a:lnTo>
                  <a:lnTo>
                    <a:pt x="100" y="10"/>
                  </a:lnTo>
                  <a:lnTo>
                    <a:pt x="97" y="10"/>
                  </a:lnTo>
                  <a:lnTo>
                    <a:pt x="94" y="10"/>
                  </a:lnTo>
                  <a:lnTo>
                    <a:pt x="94" y="10"/>
                  </a:lnTo>
                  <a:lnTo>
                    <a:pt x="89" y="7"/>
                  </a:lnTo>
                  <a:lnTo>
                    <a:pt x="91" y="7"/>
                  </a:lnTo>
                  <a:lnTo>
                    <a:pt x="91" y="10"/>
                  </a:lnTo>
                  <a:lnTo>
                    <a:pt x="89" y="10"/>
                  </a:lnTo>
                  <a:lnTo>
                    <a:pt x="88" y="10"/>
                  </a:lnTo>
                  <a:lnTo>
                    <a:pt x="86" y="7"/>
                  </a:lnTo>
                  <a:lnTo>
                    <a:pt x="84" y="7"/>
                  </a:lnTo>
                  <a:lnTo>
                    <a:pt x="84" y="7"/>
                  </a:lnTo>
                  <a:lnTo>
                    <a:pt x="84" y="4"/>
                  </a:lnTo>
                  <a:lnTo>
                    <a:pt x="81" y="4"/>
                  </a:lnTo>
                  <a:lnTo>
                    <a:pt x="80" y="4"/>
                  </a:lnTo>
                  <a:lnTo>
                    <a:pt x="78" y="4"/>
                  </a:lnTo>
                  <a:lnTo>
                    <a:pt x="76" y="0"/>
                  </a:lnTo>
                  <a:lnTo>
                    <a:pt x="73" y="0"/>
                  </a:lnTo>
                  <a:lnTo>
                    <a:pt x="75" y="4"/>
                  </a:lnTo>
                  <a:lnTo>
                    <a:pt x="73" y="4"/>
                  </a:lnTo>
                  <a:lnTo>
                    <a:pt x="70" y="4"/>
                  </a:lnTo>
                  <a:lnTo>
                    <a:pt x="69" y="4"/>
                  </a:lnTo>
                  <a:lnTo>
                    <a:pt x="67" y="7"/>
                  </a:lnTo>
                  <a:lnTo>
                    <a:pt x="65" y="7"/>
                  </a:lnTo>
                  <a:lnTo>
                    <a:pt x="64" y="7"/>
                  </a:lnTo>
                  <a:lnTo>
                    <a:pt x="61" y="10"/>
                  </a:lnTo>
                  <a:lnTo>
                    <a:pt x="56" y="11"/>
                  </a:lnTo>
                  <a:lnTo>
                    <a:pt x="53" y="13"/>
                  </a:lnTo>
                  <a:lnTo>
                    <a:pt x="46" y="10"/>
                  </a:lnTo>
                  <a:lnTo>
                    <a:pt x="43" y="10"/>
                  </a:lnTo>
                  <a:lnTo>
                    <a:pt x="38" y="10"/>
                  </a:lnTo>
                  <a:lnTo>
                    <a:pt x="37" y="7"/>
                  </a:lnTo>
                  <a:lnTo>
                    <a:pt x="32" y="7"/>
                  </a:lnTo>
                  <a:lnTo>
                    <a:pt x="29" y="4"/>
                  </a:lnTo>
                  <a:lnTo>
                    <a:pt x="18" y="4"/>
                  </a:lnTo>
                  <a:lnTo>
                    <a:pt x="15" y="4"/>
                  </a:lnTo>
                  <a:lnTo>
                    <a:pt x="10" y="4"/>
                  </a:lnTo>
                  <a:lnTo>
                    <a:pt x="7" y="4"/>
                  </a:lnTo>
                  <a:lnTo>
                    <a:pt x="5" y="4"/>
                  </a:lnTo>
                  <a:lnTo>
                    <a:pt x="3" y="0"/>
                  </a:lnTo>
                  <a:lnTo>
                    <a:pt x="2" y="4"/>
                  </a:lnTo>
                  <a:lnTo>
                    <a:pt x="0" y="7"/>
                  </a:lnTo>
                  <a:lnTo>
                    <a:pt x="0" y="7"/>
                  </a:lnTo>
                  <a:lnTo>
                    <a:pt x="0" y="7"/>
                  </a:lnTo>
                  <a:lnTo>
                    <a:pt x="0" y="7"/>
                  </a:lnTo>
                  <a:lnTo>
                    <a:pt x="0" y="7"/>
                  </a:lnTo>
                  <a:lnTo>
                    <a:pt x="0" y="7"/>
                  </a:lnTo>
                  <a:lnTo>
                    <a:pt x="0" y="7"/>
                  </a:lnTo>
                  <a:lnTo>
                    <a:pt x="0" y="7"/>
                  </a:lnTo>
                  <a:lnTo>
                    <a:pt x="0" y="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3" name="Freeform 311">
              <a:extLst>
                <a:ext uri="{FF2B5EF4-FFF2-40B4-BE49-F238E27FC236}">
                  <a16:creationId xmlns:a16="http://schemas.microsoft.com/office/drawing/2014/main" id="{8E54CCD6-0B84-C845-878E-A7FB25CC7EC6}"/>
                </a:ext>
              </a:extLst>
            </p:cNvPr>
            <p:cNvSpPr>
              <a:spLocks/>
            </p:cNvSpPr>
            <p:nvPr/>
          </p:nvSpPr>
          <p:spPr bwMode="auto">
            <a:xfrm>
              <a:off x="6827902" y="2625433"/>
              <a:ext cx="192904" cy="80750"/>
            </a:xfrm>
            <a:custGeom>
              <a:avLst/>
              <a:gdLst>
                <a:gd name="T0" fmla="*/ 55 w 86"/>
                <a:gd name="T1" fmla="*/ 33 h 36"/>
                <a:gd name="T2" fmla="*/ 57 w 86"/>
                <a:gd name="T3" fmla="*/ 33 h 36"/>
                <a:gd name="T4" fmla="*/ 63 w 86"/>
                <a:gd name="T5" fmla="*/ 31 h 36"/>
                <a:gd name="T6" fmla="*/ 66 w 86"/>
                <a:gd name="T7" fmla="*/ 30 h 36"/>
                <a:gd name="T8" fmla="*/ 68 w 86"/>
                <a:gd name="T9" fmla="*/ 30 h 36"/>
                <a:gd name="T10" fmla="*/ 68 w 86"/>
                <a:gd name="T11" fmla="*/ 30 h 36"/>
                <a:gd name="T12" fmla="*/ 74 w 86"/>
                <a:gd name="T13" fmla="*/ 33 h 36"/>
                <a:gd name="T14" fmla="*/ 78 w 86"/>
                <a:gd name="T15" fmla="*/ 33 h 36"/>
                <a:gd name="T16" fmla="*/ 82 w 86"/>
                <a:gd name="T17" fmla="*/ 34 h 36"/>
                <a:gd name="T18" fmla="*/ 82 w 86"/>
                <a:gd name="T19" fmla="*/ 33 h 36"/>
                <a:gd name="T20" fmla="*/ 78 w 86"/>
                <a:gd name="T21" fmla="*/ 28 h 36"/>
                <a:gd name="T22" fmla="*/ 76 w 86"/>
                <a:gd name="T23" fmla="*/ 26 h 36"/>
                <a:gd name="T24" fmla="*/ 78 w 86"/>
                <a:gd name="T25" fmla="*/ 23 h 36"/>
                <a:gd name="T26" fmla="*/ 78 w 86"/>
                <a:gd name="T27" fmla="*/ 22 h 36"/>
                <a:gd name="T28" fmla="*/ 86 w 86"/>
                <a:gd name="T29" fmla="*/ 26 h 36"/>
                <a:gd name="T30" fmla="*/ 84 w 86"/>
                <a:gd name="T31" fmla="*/ 25 h 36"/>
                <a:gd name="T32" fmla="*/ 73 w 86"/>
                <a:gd name="T33" fmla="*/ 22 h 36"/>
                <a:gd name="T34" fmla="*/ 70 w 86"/>
                <a:gd name="T35" fmla="*/ 19 h 36"/>
                <a:gd name="T36" fmla="*/ 70 w 86"/>
                <a:gd name="T37" fmla="*/ 15 h 36"/>
                <a:gd name="T38" fmla="*/ 70 w 86"/>
                <a:gd name="T39" fmla="*/ 15 h 36"/>
                <a:gd name="T40" fmla="*/ 63 w 86"/>
                <a:gd name="T41" fmla="*/ 12 h 36"/>
                <a:gd name="T42" fmla="*/ 60 w 86"/>
                <a:gd name="T43" fmla="*/ 12 h 36"/>
                <a:gd name="T44" fmla="*/ 59 w 86"/>
                <a:gd name="T45" fmla="*/ 12 h 36"/>
                <a:gd name="T46" fmla="*/ 57 w 86"/>
                <a:gd name="T47" fmla="*/ 12 h 36"/>
                <a:gd name="T48" fmla="*/ 52 w 86"/>
                <a:gd name="T49" fmla="*/ 12 h 36"/>
                <a:gd name="T50" fmla="*/ 49 w 86"/>
                <a:gd name="T51" fmla="*/ 12 h 36"/>
                <a:gd name="T52" fmla="*/ 44 w 86"/>
                <a:gd name="T53" fmla="*/ 11 h 36"/>
                <a:gd name="T54" fmla="*/ 41 w 86"/>
                <a:gd name="T55" fmla="*/ 9 h 36"/>
                <a:gd name="T56" fmla="*/ 32 w 86"/>
                <a:gd name="T57" fmla="*/ 6 h 36"/>
                <a:gd name="T58" fmla="*/ 28 w 86"/>
                <a:gd name="T59" fmla="*/ 4 h 36"/>
                <a:gd name="T60" fmla="*/ 16 w 86"/>
                <a:gd name="T61" fmla="*/ 3 h 36"/>
                <a:gd name="T62" fmla="*/ 6 w 86"/>
                <a:gd name="T63" fmla="*/ 0 h 36"/>
                <a:gd name="T64" fmla="*/ 0 w 86"/>
                <a:gd name="T65" fmla="*/ 0 h 36"/>
                <a:gd name="T66" fmla="*/ 0 w 86"/>
                <a:gd name="T67" fmla="*/ 3 h 36"/>
                <a:gd name="T68" fmla="*/ 3 w 86"/>
                <a:gd name="T69" fmla="*/ 4 h 36"/>
                <a:gd name="T70" fmla="*/ 6 w 86"/>
                <a:gd name="T71" fmla="*/ 6 h 36"/>
                <a:gd name="T72" fmla="*/ 14 w 86"/>
                <a:gd name="T73" fmla="*/ 9 h 36"/>
                <a:gd name="T74" fmla="*/ 16 w 86"/>
                <a:gd name="T75" fmla="*/ 11 h 36"/>
                <a:gd name="T76" fmla="*/ 24 w 86"/>
                <a:gd name="T77" fmla="*/ 22 h 36"/>
                <a:gd name="T78" fmla="*/ 24 w 86"/>
                <a:gd name="T79" fmla="*/ 23 h 36"/>
                <a:gd name="T80" fmla="*/ 22 w 86"/>
                <a:gd name="T81" fmla="*/ 28 h 36"/>
                <a:gd name="T82" fmla="*/ 25 w 86"/>
                <a:gd name="T83" fmla="*/ 30 h 36"/>
                <a:gd name="T84" fmla="*/ 27 w 86"/>
                <a:gd name="T85" fmla="*/ 31 h 36"/>
                <a:gd name="T86" fmla="*/ 36 w 86"/>
                <a:gd name="T87" fmla="*/ 36 h 36"/>
                <a:gd name="T88" fmla="*/ 41 w 86"/>
                <a:gd name="T89" fmla="*/ 33 h 36"/>
                <a:gd name="T90" fmla="*/ 43 w 86"/>
                <a:gd name="T91" fmla="*/ 33 h 36"/>
                <a:gd name="T92" fmla="*/ 47 w 86"/>
                <a:gd name="T93" fmla="*/ 34 h 36"/>
                <a:gd name="T94" fmla="*/ 49 w 86"/>
                <a:gd name="T95"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36">
                  <a:moveTo>
                    <a:pt x="49" y="34"/>
                  </a:moveTo>
                  <a:lnTo>
                    <a:pt x="49" y="34"/>
                  </a:lnTo>
                  <a:lnTo>
                    <a:pt x="55" y="33"/>
                  </a:lnTo>
                  <a:lnTo>
                    <a:pt x="55" y="33"/>
                  </a:lnTo>
                  <a:lnTo>
                    <a:pt x="57" y="33"/>
                  </a:lnTo>
                  <a:lnTo>
                    <a:pt x="57" y="33"/>
                  </a:lnTo>
                  <a:lnTo>
                    <a:pt x="62" y="33"/>
                  </a:lnTo>
                  <a:lnTo>
                    <a:pt x="62" y="33"/>
                  </a:lnTo>
                  <a:lnTo>
                    <a:pt x="63" y="31"/>
                  </a:lnTo>
                  <a:lnTo>
                    <a:pt x="63" y="31"/>
                  </a:lnTo>
                  <a:lnTo>
                    <a:pt x="66" y="30"/>
                  </a:lnTo>
                  <a:lnTo>
                    <a:pt x="66" y="30"/>
                  </a:lnTo>
                  <a:lnTo>
                    <a:pt x="66" y="30"/>
                  </a:lnTo>
                  <a:lnTo>
                    <a:pt x="66" y="30"/>
                  </a:lnTo>
                  <a:lnTo>
                    <a:pt x="68" y="30"/>
                  </a:lnTo>
                  <a:lnTo>
                    <a:pt x="68" y="30"/>
                  </a:lnTo>
                  <a:lnTo>
                    <a:pt x="68" y="30"/>
                  </a:lnTo>
                  <a:lnTo>
                    <a:pt x="68" y="30"/>
                  </a:lnTo>
                  <a:lnTo>
                    <a:pt x="73" y="31"/>
                  </a:lnTo>
                  <a:lnTo>
                    <a:pt x="73" y="31"/>
                  </a:lnTo>
                  <a:lnTo>
                    <a:pt x="74" y="33"/>
                  </a:lnTo>
                  <a:lnTo>
                    <a:pt x="74" y="33"/>
                  </a:lnTo>
                  <a:lnTo>
                    <a:pt x="78" y="33"/>
                  </a:lnTo>
                  <a:lnTo>
                    <a:pt x="78" y="33"/>
                  </a:lnTo>
                  <a:lnTo>
                    <a:pt x="79" y="34"/>
                  </a:lnTo>
                  <a:lnTo>
                    <a:pt x="79" y="34"/>
                  </a:lnTo>
                  <a:lnTo>
                    <a:pt x="82" y="34"/>
                  </a:lnTo>
                  <a:lnTo>
                    <a:pt x="82" y="34"/>
                  </a:lnTo>
                  <a:lnTo>
                    <a:pt x="82" y="33"/>
                  </a:lnTo>
                  <a:lnTo>
                    <a:pt x="82" y="33"/>
                  </a:lnTo>
                  <a:lnTo>
                    <a:pt x="82" y="31"/>
                  </a:lnTo>
                  <a:lnTo>
                    <a:pt x="82" y="31"/>
                  </a:lnTo>
                  <a:lnTo>
                    <a:pt x="78" y="28"/>
                  </a:lnTo>
                  <a:lnTo>
                    <a:pt x="78" y="28"/>
                  </a:lnTo>
                  <a:lnTo>
                    <a:pt x="76" y="26"/>
                  </a:lnTo>
                  <a:lnTo>
                    <a:pt x="76" y="26"/>
                  </a:lnTo>
                  <a:lnTo>
                    <a:pt x="76" y="25"/>
                  </a:lnTo>
                  <a:lnTo>
                    <a:pt x="76" y="25"/>
                  </a:lnTo>
                  <a:lnTo>
                    <a:pt x="78" y="23"/>
                  </a:lnTo>
                  <a:lnTo>
                    <a:pt x="78" y="23"/>
                  </a:lnTo>
                  <a:lnTo>
                    <a:pt x="78" y="22"/>
                  </a:lnTo>
                  <a:lnTo>
                    <a:pt x="78" y="22"/>
                  </a:lnTo>
                  <a:lnTo>
                    <a:pt x="81" y="23"/>
                  </a:lnTo>
                  <a:lnTo>
                    <a:pt x="81" y="23"/>
                  </a:lnTo>
                  <a:lnTo>
                    <a:pt x="86" y="26"/>
                  </a:lnTo>
                  <a:lnTo>
                    <a:pt x="86" y="26"/>
                  </a:lnTo>
                  <a:lnTo>
                    <a:pt x="84" y="25"/>
                  </a:lnTo>
                  <a:lnTo>
                    <a:pt x="84" y="25"/>
                  </a:lnTo>
                  <a:lnTo>
                    <a:pt x="79" y="22"/>
                  </a:lnTo>
                  <a:lnTo>
                    <a:pt x="79" y="22"/>
                  </a:lnTo>
                  <a:lnTo>
                    <a:pt x="73" y="22"/>
                  </a:lnTo>
                  <a:lnTo>
                    <a:pt x="73" y="22"/>
                  </a:lnTo>
                  <a:lnTo>
                    <a:pt x="70" y="19"/>
                  </a:lnTo>
                  <a:lnTo>
                    <a:pt x="70" y="19"/>
                  </a:lnTo>
                  <a:lnTo>
                    <a:pt x="70" y="19"/>
                  </a:lnTo>
                  <a:lnTo>
                    <a:pt x="70" y="19"/>
                  </a:lnTo>
                  <a:lnTo>
                    <a:pt x="70" y="15"/>
                  </a:lnTo>
                  <a:lnTo>
                    <a:pt x="70" y="15"/>
                  </a:lnTo>
                  <a:lnTo>
                    <a:pt x="70" y="15"/>
                  </a:lnTo>
                  <a:lnTo>
                    <a:pt x="70" y="15"/>
                  </a:lnTo>
                  <a:lnTo>
                    <a:pt x="66" y="12"/>
                  </a:lnTo>
                  <a:lnTo>
                    <a:pt x="66" y="12"/>
                  </a:lnTo>
                  <a:lnTo>
                    <a:pt x="63" y="12"/>
                  </a:lnTo>
                  <a:lnTo>
                    <a:pt x="63" y="12"/>
                  </a:lnTo>
                  <a:lnTo>
                    <a:pt x="60" y="12"/>
                  </a:lnTo>
                  <a:lnTo>
                    <a:pt x="60" y="12"/>
                  </a:lnTo>
                  <a:lnTo>
                    <a:pt x="59" y="12"/>
                  </a:lnTo>
                  <a:lnTo>
                    <a:pt x="59" y="12"/>
                  </a:lnTo>
                  <a:lnTo>
                    <a:pt x="59" y="12"/>
                  </a:lnTo>
                  <a:lnTo>
                    <a:pt x="59" y="12"/>
                  </a:lnTo>
                  <a:lnTo>
                    <a:pt x="57" y="12"/>
                  </a:lnTo>
                  <a:lnTo>
                    <a:pt x="57" y="12"/>
                  </a:lnTo>
                  <a:lnTo>
                    <a:pt x="55" y="12"/>
                  </a:lnTo>
                  <a:lnTo>
                    <a:pt x="55" y="12"/>
                  </a:lnTo>
                  <a:lnTo>
                    <a:pt x="52" y="12"/>
                  </a:lnTo>
                  <a:lnTo>
                    <a:pt x="52" y="12"/>
                  </a:lnTo>
                  <a:lnTo>
                    <a:pt x="49" y="12"/>
                  </a:lnTo>
                  <a:lnTo>
                    <a:pt x="49" y="12"/>
                  </a:lnTo>
                  <a:lnTo>
                    <a:pt x="46" y="12"/>
                  </a:lnTo>
                  <a:lnTo>
                    <a:pt x="46" y="12"/>
                  </a:lnTo>
                  <a:lnTo>
                    <a:pt x="44" y="11"/>
                  </a:lnTo>
                  <a:lnTo>
                    <a:pt x="44" y="11"/>
                  </a:lnTo>
                  <a:lnTo>
                    <a:pt x="41" y="9"/>
                  </a:lnTo>
                  <a:lnTo>
                    <a:pt x="41" y="9"/>
                  </a:lnTo>
                  <a:lnTo>
                    <a:pt x="35" y="6"/>
                  </a:lnTo>
                  <a:lnTo>
                    <a:pt x="35" y="6"/>
                  </a:lnTo>
                  <a:lnTo>
                    <a:pt x="32" y="6"/>
                  </a:lnTo>
                  <a:lnTo>
                    <a:pt x="32" y="6"/>
                  </a:lnTo>
                  <a:lnTo>
                    <a:pt x="28" y="4"/>
                  </a:lnTo>
                  <a:lnTo>
                    <a:pt x="28" y="4"/>
                  </a:lnTo>
                  <a:lnTo>
                    <a:pt x="22" y="4"/>
                  </a:lnTo>
                  <a:lnTo>
                    <a:pt x="22" y="4"/>
                  </a:lnTo>
                  <a:lnTo>
                    <a:pt x="16" y="3"/>
                  </a:lnTo>
                  <a:lnTo>
                    <a:pt x="16" y="3"/>
                  </a:lnTo>
                  <a:lnTo>
                    <a:pt x="6" y="0"/>
                  </a:lnTo>
                  <a:lnTo>
                    <a:pt x="6" y="0"/>
                  </a:lnTo>
                  <a:lnTo>
                    <a:pt x="3" y="0"/>
                  </a:lnTo>
                  <a:lnTo>
                    <a:pt x="3" y="0"/>
                  </a:lnTo>
                  <a:lnTo>
                    <a:pt x="0" y="0"/>
                  </a:lnTo>
                  <a:lnTo>
                    <a:pt x="0" y="0"/>
                  </a:lnTo>
                  <a:lnTo>
                    <a:pt x="0" y="3"/>
                  </a:lnTo>
                  <a:lnTo>
                    <a:pt x="0" y="3"/>
                  </a:lnTo>
                  <a:lnTo>
                    <a:pt x="0" y="3"/>
                  </a:lnTo>
                  <a:lnTo>
                    <a:pt x="0" y="3"/>
                  </a:lnTo>
                  <a:lnTo>
                    <a:pt x="3" y="4"/>
                  </a:lnTo>
                  <a:lnTo>
                    <a:pt x="3" y="4"/>
                  </a:lnTo>
                  <a:lnTo>
                    <a:pt x="6" y="6"/>
                  </a:lnTo>
                  <a:lnTo>
                    <a:pt x="6" y="6"/>
                  </a:lnTo>
                  <a:lnTo>
                    <a:pt x="11" y="7"/>
                  </a:lnTo>
                  <a:lnTo>
                    <a:pt x="11" y="7"/>
                  </a:lnTo>
                  <a:lnTo>
                    <a:pt x="14" y="9"/>
                  </a:lnTo>
                  <a:lnTo>
                    <a:pt x="14" y="9"/>
                  </a:lnTo>
                  <a:lnTo>
                    <a:pt x="16" y="11"/>
                  </a:lnTo>
                  <a:lnTo>
                    <a:pt x="16" y="11"/>
                  </a:lnTo>
                  <a:lnTo>
                    <a:pt x="19" y="12"/>
                  </a:lnTo>
                  <a:lnTo>
                    <a:pt x="19" y="12"/>
                  </a:lnTo>
                  <a:lnTo>
                    <a:pt x="24" y="22"/>
                  </a:lnTo>
                  <a:lnTo>
                    <a:pt x="24" y="22"/>
                  </a:lnTo>
                  <a:lnTo>
                    <a:pt x="24" y="23"/>
                  </a:lnTo>
                  <a:lnTo>
                    <a:pt x="24" y="23"/>
                  </a:lnTo>
                  <a:lnTo>
                    <a:pt x="24" y="26"/>
                  </a:lnTo>
                  <a:lnTo>
                    <a:pt x="24" y="26"/>
                  </a:lnTo>
                  <a:lnTo>
                    <a:pt x="22" y="28"/>
                  </a:lnTo>
                  <a:lnTo>
                    <a:pt x="22" y="28"/>
                  </a:lnTo>
                  <a:lnTo>
                    <a:pt x="25" y="30"/>
                  </a:lnTo>
                  <a:lnTo>
                    <a:pt x="25" y="30"/>
                  </a:lnTo>
                  <a:lnTo>
                    <a:pt x="27" y="30"/>
                  </a:lnTo>
                  <a:lnTo>
                    <a:pt x="27" y="30"/>
                  </a:lnTo>
                  <a:lnTo>
                    <a:pt x="27" y="31"/>
                  </a:lnTo>
                  <a:lnTo>
                    <a:pt x="27" y="31"/>
                  </a:lnTo>
                  <a:lnTo>
                    <a:pt x="36" y="36"/>
                  </a:lnTo>
                  <a:lnTo>
                    <a:pt x="36" y="36"/>
                  </a:lnTo>
                  <a:lnTo>
                    <a:pt x="41" y="31"/>
                  </a:lnTo>
                  <a:lnTo>
                    <a:pt x="41" y="31"/>
                  </a:lnTo>
                  <a:lnTo>
                    <a:pt x="41" y="33"/>
                  </a:lnTo>
                  <a:lnTo>
                    <a:pt x="41" y="33"/>
                  </a:lnTo>
                  <a:lnTo>
                    <a:pt x="43" y="33"/>
                  </a:lnTo>
                  <a:lnTo>
                    <a:pt x="43" y="33"/>
                  </a:lnTo>
                  <a:lnTo>
                    <a:pt x="44" y="33"/>
                  </a:lnTo>
                  <a:lnTo>
                    <a:pt x="44" y="33"/>
                  </a:lnTo>
                  <a:lnTo>
                    <a:pt x="47" y="34"/>
                  </a:lnTo>
                  <a:lnTo>
                    <a:pt x="49" y="34"/>
                  </a:lnTo>
                  <a:lnTo>
                    <a:pt x="49" y="34"/>
                  </a:lnTo>
                  <a:lnTo>
                    <a:pt x="49" y="3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4" name="Freeform 319">
              <a:extLst>
                <a:ext uri="{FF2B5EF4-FFF2-40B4-BE49-F238E27FC236}">
                  <a16:creationId xmlns:a16="http://schemas.microsoft.com/office/drawing/2014/main" id="{234FB682-210C-F5E3-2696-C2E2F9941A4D}"/>
                </a:ext>
              </a:extLst>
            </p:cNvPr>
            <p:cNvSpPr>
              <a:spLocks/>
            </p:cNvSpPr>
            <p:nvPr/>
          </p:nvSpPr>
          <p:spPr bwMode="auto">
            <a:xfrm>
              <a:off x="6969215" y="2674781"/>
              <a:ext cx="145800" cy="109911"/>
            </a:xfrm>
            <a:custGeom>
              <a:avLst/>
              <a:gdLst>
                <a:gd name="T0" fmla="*/ 2 w 65"/>
                <a:gd name="T1" fmla="*/ 12 h 49"/>
                <a:gd name="T2" fmla="*/ 8 w 65"/>
                <a:gd name="T3" fmla="*/ 16 h 49"/>
                <a:gd name="T4" fmla="*/ 7 w 65"/>
                <a:gd name="T5" fmla="*/ 19 h 49"/>
                <a:gd name="T6" fmla="*/ 11 w 65"/>
                <a:gd name="T7" fmla="*/ 22 h 49"/>
                <a:gd name="T8" fmla="*/ 15 w 65"/>
                <a:gd name="T9" fmla="*/ 25 h 49"/>
                <a:gd name="T10" fmla="*/ 11 w 65"/>
                <a:gd name="T11" fmla="*/ 28 h 49"/>
                <a:gd name="T12" fmla="*/ 18 w 65"/>
                <a:gd name="T13" fmla="*/ 35 h 49"/>
                <a:gd name="T14" fmla="*/ 21 w 65"/>
                <a:gd name="T15" fmla="*/ 35 h 49"/>
                <a:gd name="T16" fmla="*/ 21 w 65"/>
                <a:gd name="T17" fmla="*/ 36 h 49"/>
                <a:gd name="T18" fmla="*/ 24 w 65"/>
                <a:gd name="T19" fmla="*/ 39 h 49"/>
                <a:gd name="T20" fmla="*/ 24 w 65"/>
                <a:gd name="T21" fmla="*/ 41 h 49"/>
                <a:gd name="T22" fmla="*/ 29 w 65"/>
                <a:gd name="T23" fmla="*/ 39 h 49"/>
                <a:gd name="T24" fmla="*/ 32 w 65"/>
                <a:gd name="T25" fmla="*/ 36 h 49"/>
                <a:gd name="T26" fmla="*/ 37 w 65"/>
                <a:gd name="T27" fmla="*/ 31 h 49"/>
                <a:gd name="T28" fmla="*/ 43 w 65"/>
                <a:gd name="T29" fmla="*/ 36 h 49"/>
                <a:gd name="T30" fmla="*/ 42 w 65"/>
                <a:gd name="T31" fmla="*/ 41 h 49"/>
                <a:gd name="T32" fmla="*/ 42 w 65"/>
                <a:gd name="T33" fmla="*/ 43 h 49"/>
                <a:gd name="T34" fmla="*/ 42 w 65"/>
                <a:gd name="T35" fmla="*/ 46 h 49"/>
                <a:gd name="T36" fmla="*/ 50 w 65"/>
                <a:gd name="T37" fmla="*/ 49 h 49"/>
                <a:gd name="T38" fmla="*/ 51 w 65"/>
                <a:gd name="T39" fmla="*/ 46 h 49"/>
                <a:gd name="T40" fmla="*/ 53 w 65"/>
                <a:gd name="T41" fmla="*/ 41 h 49"/>
                <a:gd name="T42" fmla="*/ 54 w 65"/>
                <a:gd name="T43" fmla="*/ 43 h 49"/>
                <a:gd name="T44" fmla="*/ 56 w 65"/>
                <a:gd name="T45" fmla="*/ 36 h 49"/>
                <a:gd name="T46" fmla="*/ 54 w 65"/>
                <a:gd name="T47" fmla="*/ 31 h 49"/>
                <a:gd name="T48" fmla="*/ 59 w 65"/>
                <a:gd name="T49" fmla="*/ 22 h 49"/>
                <a:gd name="T50" fmla="*/ 65 w 65"/>
                <a:gd name="T51" fmla="*/ 25 h 49"/>
                <a:gd name="T52" fmla="*/ 59 w 65"/>
                <a:gd name="T53" fmla="*/ 20 h 49"/>
                <a:gd name="T54" fmla="*/ 54 w 65"/>
                <a:gd name="T55" fmla="*/ 19 h 49"/>
                <a:gd name="T56" fmla="*/ 53 w 65"/>
                <a:gd name="T57" fmla="*/ 17 h 49"/>
                <a:gd name="T58" fmla="*/ 43 w 65"/>
                <a:gd name="T59" fmla="*/ 4 h 49"/>
                <a:gd name="T60" fmla="*/ 38 w 65"/>
                <a:gd name="T61" fmla="*/ 3 h 49"/>
                <a:gd name="T62" fmla="*/ 35 w 65"/>
                <a:gd name="T63" fmla="*/ 8 h 49"/>
                <a:gd name="T64" fmla="*/ 34 w 65"/>
                <a:gd name="T65" fmla="*/ 9 h 49"/>
                <a:gd name="T66" fmla="*/ 29 w 65"/>
                <a:gd name="T67" fmla="*/ 9 h 49"/>
                <a:gd name="T68" fmla="*/ 27 w 65"/>
                <a:gd name="T69" fmla="*/ 9 h 49"/>
                <a:gd name="T70" fmla="*/ 24 w 65"/>
                <a:gd name="T71" fmla="*/ 4 h 49"/>
                <a:gd name="T72" fmla="*/ 15 w 65"/>
                <a:gd name="T73" fmla="*/ 0 h 49"/>
                <a:gd name="T74" fmla="*/ 15 w 65"/>
                <a:gd name="T75" fmla="*/ 3 h 49"/>
                <a:gd name="T76" fmla="*/ 15 w 65"/>
                <a:gd name="T77" fmla="*/ 6 h 49"/>
                <a:gd name="T78" fmla="*/ 21 w 65"/>
                <a:gd name="T79" fmla="*/ 11 h 49"/>
                <a:gd name="T80" fmla="*/ 18 w 65"/>
                <a:gd name="T81" fmla="*/ 12 h 49"/>
                <a:gd name="T82" fmla="*/ 11 w 65"/>
                <a:gd name="T83" fmla="*/ 11 h 49"/>
                <a:gd name="T84" fmla="*/ 5 w 65"/>
                <a:gd name="T85" fmla="*/ 8 h 49"/>
                <a:gd name="T86" fmla="*/ 5 w 65"/>
                <a:gd name="T87" fmla="*/ 8 h 49"/>
                <a:gd name="T88" fmla="*/ 0 w 65"/>
                <a:gd name="T89" fmla="*/ 9 h 49"/>
                <a:gd name="T90" fmla="*/ 3 w 65"/>
                <a:gd name="T91" fmla="*/ 12 h 49"/>
                <a:gd name="T92" fmla="*/ 3 w 65"/>
                <a:gd name="T93" fmla="*/ 12 h 49"/>
                <a:gd name="T94" fmla="*/ 3 w 65"/>
                <a:gd name="T95" fmla="*/ 12 h 49"/>
                <a:gd name="T96" fmla="*/ 3 w 65"/>
                <a:gd name="T97" fmla="*/ 12 h 49"/>
                <a:gd name="T98" fmla="*/ 3 w 65"/>
                <a:gd name="T99"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49">
                  <a:moveTo>
                    <a:pt x="3" y="12"/>
                  </a:moveTo>
                  <a:lnTo>
                    <a:pt x="2" y="12"/>
                  </a:lnTo>
                  <a:lnTo>
                    <a:pt x="7" y="14"/>
                  </a:lnTo>
                  <a:lnTo>
                    <a:pt x="8" y="16"/>
                  </a:lnTo>
                  <a:lnTo>
                    <a:pt x="10" y="17"/>
                  </a:lnTo>
                  <a:lnTo>
                    <a:pt x="7" y="19"/>
                  </a:lnTo>
                  <a:lnTo>
                    <a:pt x="8" y="20"/>
                  </a:lnTo>
                  <a:lnTo>
                    <a:pt x="11" y="22"/>
                  </a:lnTo>
                  <a:lnTo>
                    <a:pt x="15" y="25"/>
                  </a:lnTo>
                  <a:lnTo>
                    <a:pt x="15" y="25"/>
                  </a:lnTo>
                  <a:lnTo>
                    <a:pt x="11" y="28"/>
                  </a:lnTo>
                  <a:lnTo>
                    <a:pt x="11" y="28"/>
                  </a:lnTo>
                  <a:lnTo>
                    <a:pt x="15" y="31"/>
                  </a:lnTo>
                  <a:lnTo>
                    <a:pt x="18" y="35"/>
                  </a:lnTo>
                  <a:lnTo>
                    <a:pt x="18" y="35"/>
                  </a:lnTo>
                  <a:lnTo>
                    <a:pt x="21" y="35"/>
                  </a:lnTo>
                  <a:lnTo>
                    <a:pt x="21" y="35"/>
                  </a:lnTo>
                  <a:lnTo>
                    <a:pt x="21" y="36"/>
                  </a:lnTo>
                  <a:lnTo>
                    <a:pt x="24" y="38"/>
                  </a:lnTo>
                  <a:lnTo>
                    <a:pt x="24" y="39"/>
                  </a:lnTo>
                  <a:lnTo>
                    <a:pt x="24" y="39"/>
                  </a:lnTo>
                  <a:lnTo>
                    <a:pt x="24" y="41"/>
                  </a:lnTo>
                  <a:lnTo>
                    <a:pt x="24" y="43"/>
                  </a:lnTo>
                  <a:lnTo>
                    <a:pt x="29" y="39"/>
                  </a:lnTo>
                  <a:lnTo>
                    <a:pt x="30" y="38"/>
                  </a:lnTo>
                  <a:lnTo>
                    <a:pt x="32" y="36"/>
                  </a:lnTo>
                  <a:lnTo>
                    <a:pt x="35" y="35"/>
                  </a:lnTo>
                  <a:lnTo>
                    <a:pt x="37" y="31"/>
                  </a:lnTo>
                  <a:lnTo>
                    <a:pt x="40" y="35"/>
                  </a:lnTo>
                  <a:lnTo>
                    <a:pt x="43" y="36"/>
                  </a:lnTo>
                  <a:lnTo>
                    <a:pt x="42" y="38"/>
                  </a:lnTo>
                  <a:lnTo>
                    <a:pt x="42" y="41"/>
                  </a:lnTo>
                  <a:lnTo>
                    <a:pt x="43" y="43"/>
                  </a:lnTo>
                  <a:lnTo>
                    <a:pt x="42" y="43"/>
                  </a:lnTo>
                  <a:lnTo>
                    <a:pt x="40" y="44"/>
                  </a:lnTo>
                  <a:lnTo>
                    <a:pt x="42" y="46"/>
                  </a:lnTo>
                  <a:lnTo>
                    <a:pt x="45" y="46"/>
                  </a:lnTo>
                  <a:lnTo>
                    <a:pt x="50" y="49"/>
                  </a:lnTo>
                  <a:lnTo>
                    <a:pt x="51" y="49"/>
                  </a:lnTo>
                  <a:lnTo>
                    <a:pt x="51" y="46"/>
                  </a:lnTo>
                  <a:lnTo>
                    <a:pt x="51" y="41"/>
                  </a:lnTo>
                  <a:lnTo>
                    <a:pt x="53" y="41"/>
                  </a:lnTo>
                  <a:lnTo>
                    <a:pt x="53" y="43"/>
                  </a:lnTo>
                  <a:lnTo>
                    <a:pt x="54" y="43"/>
                  </a:lnTo>
                  <a:lnTo>
                    <a:pt x="54" y="39"/>
                  </a:lnTo>
                  <a:lnTo>
                    <a:pt x="56" y="36"/>
                  </a:lnTo>
                  <a:lnTo>
                    <a:pt x="54" y="35"/>
                  </a:lnTo>
                  <a:lnTo>
                    <a:pt x="54" y="31"/>
                  </a:lnTo>
                  <a:lnTo>
                    <a:pt x="56" y="25"/>
                  </a:lnTo>
                  <a:lnTo>
                    <a:pt x="59" y="22"/>
                  </a:lnTo>
                  <a:lnTo>
                    <a:pt x="62" y="22"/>
                  </a:lnTo>
                  <a:lnTo>
                    <a:pt x="65" y="25"/>
                  </a:lnTo>
                  <a:lnTo>
                    <a:pt x="62" y="22"/>
                  </a:lnTo>
                  <a:lnTo>
                    <a:pt x="59" y="20"/>
                  </a:lnTo>
                  <a:lnTo>
                    <a:pt x="56" y="20"/>
                  </a:lnTo>
                  <a:lnTo>
                    <a:pt x="54" y="19"/>
                  </a:lnTo>
                  <a:lnTo>
                    <a:pt x="54" y="17"/>
                  </a:lnTo>
                  <a:lnTo>
                    <a:pt x="53" y="17"/>
                  </a:lnTo>
                  <a:lnTo>
                    <a:pt x="46" y="8"/>
                  </a:lnTo>
                  <a:lnTo>
                    <a:pt x="43" y="4"/>
                  </a:lnTo>
                  <a:lnTo>
                    <a:pt x="40" y="1"/>
                  </a:lnTo>
                  <a:lnTo>
                    <a:pt x="38" y="3"/>
                  </a:lnTo>
                  <a:lnTo>
                    <a:pt x="37" y="4"/>
                  </a:lnTo>
                  <a:lnTo>
                    <a:pt x="35" y="8"/>
                  </a:lnTo>
                  <a:lnTo>
                    <a:pt x="35" y="8"/>
                  </a:lnTo>
                  <a:lnTo>
                    <a:pt x="34" y="9"/>
                  </a:lnTo>
                  <a:lnTo>
                    <a:pt x="34" y="11"/>
                  </a:lnTo>
                  <a:lnTo>
                    <a:pt x="29" y="9"/>
                  </a:lnTo>
                  <a:lnTo>
                    <a:pt x="27" y="9"/>
                  </a:lnTo>
                  <a:lnTo>
                    <a:pt x="27" y="9"/>
                  </a:lnTo>
                  <a:lnTo>
                    <a:pt x="26" y="6"/>
                  </a:lnTo>
                  <a:lnTo>
                    <a:pt x="24" y="4"/>
                  </a:lnTo>
                  <a:lnTo>
                    <a:pt x="18" y="1"/>
                  </a:lnTo>
                  <a:lnTo>
                    <a:pt x="15" y="0"/>
                  </a:lnTo>
                  <a:lnTo>
                    <a:pt x="15" y="1"/>
                  </a:lnTo>
                  <a:lnTo>
                    <a:pt x="15" y="3"/>
                  </a:lnTo>
                  <a:lnTo>
                    <a:pt x="15" y="4"/>
                  </a:lnTo>
                  <a:lnTo>
                    <a:pt x="15" y="6"/>
                  </a:lnTo>
                  <a:lnTo>
                    <a:pt x="21" y="9"/>
                  </a:lnTo>
                  <a:lnTo>
                    <a:pt x="21" y="11"/>
                  </a:lnTo>
                  <a:lnTo>
                    <a:pt x="21" y="12"/>
                  </a:lnTo>
                  <a:lnTo>
                    <a:pt x="18" y="12"/>
                  </a:lnTo>
                  <a:lnTo>
                    <a:pt x="15" y="11"/>
                  </a:lnTo>
                  <a:lnTo>
                    <a:pt x="11" y="11"/>
                  </a:lnTo>
                  <a:lnTo>
                    <a:pt x="10" y="9"/>
                  </a:lnTo>
                  <a:lnTo>
                    <a:pt x="5" y="8"/>
                  </a:lnTo>
                  <a:lnTo>
                    <a:pt x="5" y="8"/>
                  </a:lnTo>
                  <a:lnTo>
                    <a:pt x="5" y="8"/>
                  </a:lnTo>
                  <a:lnTo>
                    <a:pt x="3" y="8"/>
                  </a:lnTo>
                  <a:lnTo>
                    <a:pt x="0" y="9"/>
                  </a:lnTo>
                  <a:lnTo>
                    <a:pt x="3" y="11"/>
                  </a:lnTo>
                  <a:lnTo>
                    <a:pt x="3" y="12"/>
                  </a:lnTo>
                  <a:lnTo>
                    <a:pt x="3" y="12"/>
                  </a:lnTo>
                  <a:lnTo>
                    <a:pt x="3" y="12"/>
                  </a:lnTo>
                  <a:lnTo>
                    <a:pt x="3" y="12"/>
                  </a:lnTo>
                  <a:lnTo>
                    <a:pt x="3" y="12"/>
                  </a:lnTo>
                  <a:lnTo>
                    <a:pt x="3" y="12"/>
                  </a:lnTo>
                  <a:lnTo>
                    <a:pt x="3" y="12"/>
                  </a:lnTo>
                  <a:lnTo>
                    <a:pt x="3" y="12"/>
                  </a:lnTo>
                  <a:lnTo>
                    <a:pt x="3" y="1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5" name="Freeform 321">
              <a:extLst>
                <a:ext uri="{FF2B5EF4-FFF2-40B4-BE49-F238E27FC236}">
                  <a16:creationId xmlns:a16="http://schemas.microsoft.com/office/drawing/2014/main" id="{B26008C9-B023-90B4-A659-6822A917FBFD}"/>
                </a:ext>
              </a:extLst>
            </p:cNvPr>
            <p:cNvSpPr>
              <a:spLocks/>
            </p:cNvSpPr>
            <p:nvPr/>
          </p:nvSpPr>
          <p:spPr bwMode="auto">
            <a:xfrm>
              <a:off x="6482469" y="2674781"/>
              <a:ext cx="502448" cy="195148"/>
            </a:xfrm>
            <a:custGeom>
              <a:avLst/>
              <a:gdLst>
                <a:gd name="T0" fmla="*/ 220 w 224"/>
                <a:gd name="T1" fmla="*/ 63 h 87"/>
                <a:gd name="T2" fmla="*/ 216 w 224"/>
                <a:gd name="T3" fmla="*/ 55 h 87"/>
                <a:gd name="T4" fmla="*/ 214 w 224"/>
                <a:gd name="T5" fmla="*/ 46 h 87"/>
                <a:gd name="T6" fmla="*/ 214 w 224"/>
                <a:gd name="T7" fmla="*/ 35 h 87"/>
                <a:gd name="T8" fmla="*/ 216 w 224"/>
                <a:gd name="T9" fmla="*/ 28 h 87"/>
                <a:gd name="T10" fmla="*/ 203 w 224"/>
                <a:gd name="T11" fmla="*/ 25 h 87"/>
                <a:gd name="T12" fmla="*/ 203 w 224"/>
                <a:gd name="T13" fmla="*/ 20 h 87"/>
                <a:gd name="T14" fmla="*/ 198 w 224"/>
                <a:gd name="T15" fmla="*/ 11 h 87"/>
                <a:gd name="T16" fmla="*/ 190 w 224"/>
                <a:gd name="T17" fmla="*/ 14 h 87"/>
                <a:gd name="T18" fmla="*/ 176 w 224"/>
                <a:gd name="T19" fmla="*/ 6 h 87"/>
                <a:gd name="T20" fmla="*/ 152 w 224"/>
                <a:gd name="T21" fmla="*/ 12 h 87"/>
                <a:gd name="T22" fmla="*/ 136 w 224"/>
                <a:gd name="T23" fmla="*/ 16 h 87"/>
                <a:gd name="T24" fmla="*/ 130 w 224"/>
                <a:gd name="T25" fmla="*/ 14 h 87"/>
                <a:gd name="T26" fmla="*/ 119 w 224"/>
                <a:gd name="T27" fmla="*/ 9 h 87"/>
                <a:gd name="T28" fmla="*/ 113 w 224"/>
                <a:gd name="T29" fmla="*/ 3 h 87"/>
                <a:gd name="T30" fmla="*/ 105 w 224"/>
                <a:gd name="T31" fmla="*/ 3 h 87"/>
                <a:gd name="T32" fmla="*/ 98 w 224"/>
                <a:gd name="T33" fmla="*/ 0 h 87"/>
                <a:gd name="T34" fmla="*/ 84 w 224"/>
                <a:gd name="T35" fmla="*/ 0 h 87"/>
                <a:gd name="T36" fmla="*/ 60 w 224"/>
                <a:gd name="T37" fmla="*/ 8 h 87"/>
                <a:gd name="T38" fmla="*/ 51 w 224"/>
                <a:gd name="T39" fmla="*/ 12 h 87"/>
                <a:gd name="T40" fmla="*/ 32 w 224"/>
                <a:gd name="T41" fmla="*/ 12 h 87"/>
                <a:gd name="T42" fmla="*/ 36 w 224"/>
                <a:gd name="T43" fmla="*/ 17 h 87"/>
                <a:gd name="T44" fmla="*/ 28 w 224"/>
                <a:gd name="T45" fmla="*/ 22 h 87"/>
                <a:gd name="T46" fmla="*/ 28 w 224"/>
                <a:gd name="T47" fmla="*/ 22 h 87"/>
                <a:gd name="T48" fmla="*/ 20 w 224"/>
                <a:gd name="T49" fmla="*/ 22 h 87"/>
                <a:gd name="T50" fmla="*/ 11 w 224"/>
                <a:gd name="T51" fmla="*/ 22 h 87"/>
                <a:gd name="T52" fmla="*/ 1 w 224"/>
                <a:gd name="T53" fmla="*/ 25 h 87"/>
                <a:gd name="T54" fmla="*/ 0 w 224"/>
                <a:gd name="T55" fmla="*/ 36 h 87"/>
                <a:gd name="T56" fmla="*/ 5 w 224"/>
                <a:gd name="T57" fmla="*/ 38 h 87"/>
                <a:gd name="T58" fmla="*/ 9 w 224"/>
                <a:gd name="T59" fmla="*/ 44 h 87"/>
                <a:gd name="T60" fmla="*/ 11 w 224"/>
                <a:gd name="T61" fmla="*/ 51 h 87"/>
                <a:gd name="T62" fmla="*/ 6 w 224"/>
                <a:gd name="T63" fmla="*/ 54 h 87"/>
                <a:gd name="T64" fmla="*/ 14 w 224"/>
                <a:gd name="T65" fmla="*/ 57 h 87"/>
                <a:gd name="T66" fmla="*/ 13 w 224"/>
                <a:gd name="T67" fmla="*/ 63 h 87"/>
                <a:gd name="T68" fmla="*/ 17 w 224"/>
                <a:gd name="T69" fmla="*/ 66 h 87"/>
                <a:gd name="T70" fmla="*/ 16 w 224"/>
                <a:gd name="T71" fmla="*/ 71 h 87"/>
                <a:gd name="T72" fmla="*/ 25 w 224"/>
                <a:gd name="T73" fmla="*/ 73 h 87"/>
                <a:gd name="T74" fmla="*/ 17 w 224"/>
                <a:gd name="T75" fmla="*/ 76 h 87"/>
                <a:gd name="T76" fmla="*/ 25 w 224"/>
                <a:gd name="T77" fmla="*/ 76 h 87"/>
                <a:gd name="T78" fmla="*/ 32 w 224"/>
                <a:gd name="T79" fmla="*/ 74 h 87"/>
                <a:gd name="T80" fmla="*/ 36 w 224"/>
                <a:gd name="T81" fmla="*/ 78 h 87"/>
                <a:gd name="T82" fmla="*/ 46 w 224"/>
                <a:gd name="T83" fmla="*/ 84 h 87"/>
                <a:gd name="T84" fmla="*/ 54 w 224"/>
                <a:gd name="T85" fmla="*/ 81 h 87"/>
                <a:gd name="T86" fmla="*/ 57 w 224"/>
                <a:gd name="T87" fmla="*/ 73 h 87"/>
                <a:gd name="T88" fmla="*/ 74 w 224"/>
                <a:gd name="T89" fmla="*/ 81 h 87"/>
                <a:gd name="T90" fmla="*/ 89 w 224"/>
                <a:gd name="T91" fmla="*/ 84 h 87"/>
                <a:gd name="T92" fmla="*/ 95 w 224"/>
                <a:gd name="T93" fmla="*/ 81 h 87"/>
                <a:gd name="T94" fmla="*/ 113 w 224"/>
                <a:gd name="T95" fmla="*/ 78 h 87"/>
                <a:gd name="T96" fmla="*/ 120 w 224"/>
                <a:gd name="T97" fmla="*/ 73 h 87"/>
                <a:gd name="T98" fmla="*/ 119 w 224"/>
                <a:gd name="T99" fmla="*/ 81 h 87"/>
                <a:gd name="T100" fmla="*/ 120 w 224"/>
                <a:gd name="T101" fmla="*/ 87 h 87"/>
                <a:gd name="T102" fmla="*/ 125 w 224"/>
                <a:gd name="T103" fmla="*/ 81 h 87"/>
                <a:gd name="T104" fmla="*/ 127 w 224"/>
                <a:gd name="T105" fmla="*/ 74 h 87"/>
                <a:gd name="T106" fmla="*/ 140 w 224"/>
                <a:gd name="T107" fmla="*/ 74 h 87"/>
                <a:gd name="T108" fmla="*/ 152 w 224"/>
                <a:gd name="T109" fmla="*/ 76 h 87"/>
                <a:gd name="T110" fmla="*/ 173 w 224"/>
                <a:gd name="T111" fmla="*/ 70 h 87"/>
                <a:gd name="T112" fmla="*/ 189 w 224"/>
                <a:gd name="T113" fmla="*/ 70 h 87"/>
                <a:gd name="T114" fmla="*/ 195 w 224"/>
                <a:gd name="T115" fmla="*/ 70 h 87"/>
                <a:gd name="T116" fmla="*/ 198 w 224"/>
                <a:gd name="T117" fmla="*/ 66 h 87"/>
                <a:gd name="T118" fmla="*/ 213 w 224"/>
                <a:gd name="T119" fmla="*/ 68 h 87"/>
                <a:gd name="T120" fmla="*/ 217 w 224"/>
                <a:gd name="T121" fmla="*/ 70 h 87"/>
                <a:gd name="T122" fmla="*/ 224 w 224"/>
                <a:gd name="T123" fmla="*/ 7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 h="87">
                  <a:moveTo>
                    <a:pt x="224" y="68"/>
                  </a:moveTo>
                  <a:lnTo>
                    <a:pt x="224" y="68"/>
                  </a:lnTo>
                  <a:lnTo>
                    <a:pt x="224" y="66"/>
                  </a:lnTo>
                  <a:lnTo>
                    <a:pt x="224" y="66"/>
                  </a:lnTo>
                  <a:lnTo>
                    <a:pt x="220" y="65"/>
                  </a:lnTo>
                  <a:lnTo>
                    <a:pt x="220" y="65"/>
                  </a:lnTo>
                  <a:lnTo>
                    <a:pt x="220" y="63"/>
                  </a:lnTo>
                  <a:lnTo>
                    <a:pt x="220" y="63"/>
                  </a:lnTo>
                  <a:lnTo>
                    <a:pt x="217" y="60"/>
                  </a:lnTo>
                  <a:lnTo>
                    <a:pt x="217" y="60"/>
                  </a:lnTo>
                  <a:lnTo>
                    <a:pt x="217" y="60"/>
                  </a:lnTo>
                  <a:lnTo>
                    <a:pt x="217" y="60"/>
                  </a:lnTo>
                  <a:lnTo>
                    <a:pt x="216" y="57"/>
                  </a:lnTo>
                  <a:lnTo>
                    <a:pt x="216" y="57"/>
                  </a:lnTo>
                  <a:lnTo>
                    <a:pt x="216" y="55"/>
                  </a:lnTo>
                  <a:lnTo>
                    <a:pt x="216" y="55"/>
                  </a:lnTo>
                  <a:lnTo>
                    <a:pt x="217" y="52"/>
                  </a:lnTo>
                  <a:lnTo>
                    <a:pt x="217" y="52"/>
                  </a:lnTo>
                  <a:lnTo>
                    <a:pt x="216" y="52"/>
                  </a:lnTo>
                  <a:lnTo>
                    <a:pt x="216" y="52"/>
                  </a:lnTo>
                  <a:lnTo>
                    <a:pt x="216" y="49"/>
                  </a:lnTo>
                  <a:lnTo>
                    <a:pt x="216" y="49"/>
                  </a:lnTo>
                  <a:lnTo>
                    <a:pt x="214" y="46"/>
                  </a:lnTo>
                  <a:lnTo>
                    <a:pt x="214" y="46"/>
                  </a:lnTo>
                  <a:lnTo>
                    <a:pt x="213" y="41"/>
                  </a:lnTo>
                  <a:lnTo>
                    <a:pt x="213" y="41"/>
                  </a:lnTo>
                  <a:lnTo>
                    <a:pt x="209" y="36"/>
                  </a:lnTo>
                  <a:lnTo>
                    <a:pt x="209" y="36"/>
                  </a:lnTo>
                  <a:lnTo>
                    <a:pt x="214" y="36"/>
                  </a:lnTo>
                  <a:lnTo>
                    <a:pt x="214" y="36"/>
                  </a:lnTo>
                  <a:lnTo>
                    <a:pt x="214" y="35"/>
                  </a:lnTo>
                  <a:lnTo>
                    <a:pt x="214" y="35"/>
                  </a:lnTo>
                  <a:lnTo>
                    <a:pt x="216" y="31"/>
                  </a:lnTo>
                  <a:lnTo>
                    <a:pt x="216" y="31"/>
                  </a:lnTo>
                  <a:lnTo>
                    <a:pt x="217" y="33"/>
                  </a:lnTo>
                  <a:lnTo>
                    <a:pt x="217" y="33"/>
                  </a:lnTo>
                  <a:lnTo>
                    <a:pt x="217" y="31"/>
                  </a:lnTo>
                  <a:lnTo>
                    <a:pt x="217" y="31"/>
                  </a:lnTo>
                  <a:lnTo>
                    <a:pt x="216" y="28"/>
                  </a:lnTo>
                  <a:lnTo>
                    <a:pt x="216" y="28"/>
                  </a:lnTo>
                  <a:lnTo>
                    <a:pt x="214" y="28"/>
                  </a:lnTo>
                  <a:lnTo>
                    <a:pt x="214" y="28"/>
                  </a:lnTo>
                  <a:lnTo>
                    <a:pt x="211" y="28"/>
                  </a:lnTo>
                  <a:lnTo>
                    <a:pt x="211" y="28"/>
                  </a:lnTo>
                  <a:lnTo>
                    <a:pt x="208" y="28"/>
                  </a:lnTo>
                  <a:lnTo>
                    <a:pt x="208" y="28"/>
                  </a:lnTo>
                  <a:lnTo>
                    <a:pt x="203" y="25"/>
                  </a:lnTo>
                  <a:lnTo>
                    <a:pt x="203" y="25"/>
                  </a:lnTo>
                  <a:lnTo>
                    <a:pt x="205" y="25"/>
                  </a:lnTo>
                  <a:lnTo>
                    <a:pt x="205" y="25"/>
                  </a:lnTo>
                  <a:lnTo>
                    <a:pt x="203" y="22"/>
                  </a:lnTo>
                  <a:lnTo>
                    <a:pt x="203" y="22"/>
                  </a:lnTo>
                  <a:lnTo>
                    <a:pt x="203" y="22"/>
                  </a:lnTo>
                  <a:lnTo>
                    <a:pt x="203" y="22"/>
                  </a:lnTo>
                  <a:lnTo>
                    <a:pt x="203" y="20"/>
                  </a:lnTo>
                  <a:lnTo>
                    <a:pt x="203" y="20"/>
                  </a:lnTo>
                  <a:lnTo>
                    <a:pt x="203" y="19"/>
                  </a:lnTo>
                  <a:lnTo>
                    <a:pt x="203" y="19"/>
                  </a:lnTo>
                  <a:lnTo>
                    <a:pt x="201" y="17"/>
                  </a:lnTo>
                  <a:lnTo>
                    <a:pt x="201" y="17"/>
                  </a:lnTo>
                  <a:lnTo>
                    <a:pt x="200" y="14"/>
                  </a:lnTo>
                  <a:lnTo>
                    <a:pt x="200" y="14"/>
                  </a:lnTo>
                  <a:lnTo>
                    <a:pt x="198" y="11"/>
                  </a:lnTo>
                  <a:lnTo>
                    <a:pt x="198" y="11"/>
                  </a:lnTo>
                  <a:lnTo>
                    <a:pt x="197" y="11"/>
                  </a:lnTo>
                  <a:lnTo>
                    <a:pt x="197" y="11"/>
                  </a:lnTo>
                  <a:lnTo>
                    <a:pt x="195" y="11"/>
                  </a:lnTo>
                  <a:lnTo>
                    <a:pt x="195" y="11"/>
                  </a:lnTo>
                  <a:lnTo>
                    <a:pt x="195" y="9"/>
                  </a:lnTo>
                  <a:lnTo>
                    <a:pt x="195" y="9"/>
                  </a:lnTo>
                  <a:lnTo>
                    <a:pt x="190" y="14"/>
                  </a:lnTo>
                  <a:lnTo>
                    <a:pt x="190" y="14"/>
                  </a:lnTo>
                  <a:lnTo>
                    <a:pt x="181" y="9"/>
                  </a:lnTo>
                  <a:lnTo>
                    <a:pt x="181" y="9"/>
                  </a:lnTo>
                  <a:lnTo>
                    <a:pt x="181" y="8"/>
                  </a:lnTo>
                  <a:lnTo>
                    <a:pt x="181" y="8"/>
                  </a:lnTo>
                  <a:lnTo>
                    <a:pt x="179" y="8"/>
                  </a:lnTo>
                  <a:lnTo>
                    <a:pt x="179" y="8"/>
                  </a:lnTo>
                  <a:lnTo>
                    <a:pt x="176" y="6"/>
                  </a:lnTo>
                  <a:lnTo>
                    <a:pt x="176" y="6"/>
                  </a:lnTo>
                  <a:lnTo>
                    <a:pt x="165" y="14"/>
                  </a:lnTo>
                  <a:lnTo>
                    <a:pt x="165" y="14"/>
                  </a:lnTo>
                  <a:lnTo>
                    <a:pt x="160" y="16"/>
                  </a:lnTo>
                  <a:lnTo>
                    <a:pt x="160" y="16"/>
                  </a:lnTo>
                  <a:lnTo>
                    <a:pt x="155" y="14"/>
                  </a:lnTo>
                  <a:lnTo>
                    <a:pt x="155" y="14"/>
                  </a:lnTo>
                  <a:lnTo>
                    <a:pt x="152" y="12"/>
                  </a:lnTo>
                  <a:lnTo>
                    <a:pt x="152" y="12"/>
                  </a:lnTo>
                  <a:lnTo>
                    <a:pt x="149" y="12"/>
                  </a:lnTo>
                  <a:lnTo>
                    <a:pt x="149" y="12"/>
                  </a:lnTo>
                  <a:lnTo>
                    <a:pt x="144" y="14"/>
                  </a:lnTo>
                  <a:lnTo>
                    <a:pt x="144" y="14"/>
                  </a:lnTo>
                  <a:lnTo>
                    <a:pt x="141" y="16"/>
                  </a:lnTo>
                  <a:lnTo>
                    <a:pt x="141" y="16"/>
                  </a:lnTo>
                  <a:lnTo>
                    <a:pt x="136" y="16"/>
                  </a:lnTo>
                  <a:lnTo>
                    <a:pt x="136" y="16"/>
                  </a:lnTo>
                  <a:lnTo>
                    <a:pt x="133" y="14"/>
                  </a:lnTo>
                  <a:lnTo>
                    <a:pt x="133" y="14"/>
                  </a:lnTo>
                  <a:lnTo>
                    <a:pt x="133" y="12"/>
                  </a:lnTo>
                  <a:lnTo>
                    <a:pt x="133" y="12"/>
                  </a:lnTo>
                  <a:lnTo>
                    <a:pt x="133" y="12"/>
                  </a:lnTo>
                  <a:lnTo>
                    <a:pt x="133" y="12"/>
                  </a:lnTo>
                  <a:lnTo>
                    <a:pt x="130" y="14"/>
                  </a:lnTo>
                  <a:lnTo>
                    <a:pt x="130" y="14"/>
                  </a:lnTo>
                  <a:lnTo>
                    <a:pt x="127" y="12"/>
                  </a:lnTo>
                  <a:lnTo>
                    <a:pt x="127" y="12"/>
                  </a:lnTo>
                  <a:lnTo>
                    <a:pt x="124" y="9"/>
                  </a:lnTo>
                  <a:lnTo>
                    <a:pt x="124" y="9"/>
                  </a:lnTo>
                  <a:lnTo>
                    <a:pt x="120" y="9"/>
                  </a:lnTo>
                  <a:lnTo>
                    <a:pt x="120" y="9"/>
                  </a:lnTo>
                  <a:lnTo>
                    <a:pt x="119" y="9"/>
                  </a:lnTo>
                  <a:lnTo>
                    <a:pt x="119" y="9"/>
                  </a:lnTo>
                  <a:lnTo>
                    <a:pt x="117" y="11"/>
                  </a:lnTo>
                  <a:lnTo>
                    <a:pt x="117" y="11"/>
                  </a:lnTo>
                  <a:lnTo>
                    <a:pt x="116" y="9"/>
                  </a:lnTo>
                  <a:lnTo>
                    <a:pt x="116" y="9"/>
                  </a:lnTo>
                  <a:lnTo>
                    <a:pt x="114" y="6"/>
                  </a:lnTo>
                  <a:lnTo>
                    <a:pt x="114" y="6"/>
                  </a:lnTo>
                  <a:lnTo>
                    <a:pt x="113" y="3"/>
                  </a:lnTo>
                  <a:lnTo>
                    <a:pt x="113" y="3"/>
                  </a:lnTo>
                  <a:lnTo>
                    <a:pt x="111" y="3"/>
                  </a:lnTo>
                  <a:lnTo>
                    <a:pt x="111" y="3"/>
                  </a:lnTo>
                  <a:lnTo>
                    <a:pt x="109" y="3"/>
                  </a:lnTo>
                  <a:lnTo>
                    <a:pt x="109" y="3"/>
                  </a:lnTo>
                  <a:lnTo>
                    <a:pt x="108" y="4"/>
                  </a:lnTo>
                  <a:lnTo>
                    <a:pt x="108" y="4"/>
                  </a:lnTo>
                  <a:lnTo>
                    <a:pt x="105" y="3"/>
                  </a:lnTo>
                  <a:lnTo>
                    <a:pt x="105" y="3"/>
                  </a:lnTo>
                  <a:lnTo>
                    <a:pt x="101" y="1"/>
                  </a:lnTo>
                  <a:lnTo>
                    <a:pt x="101" y="1"/>
                  </a:lnTo>
                  <a:lnTo>
                    <a:pt x="101" y="0"/>
                  </a:lnTo>
                  <a:lnTo>
                    <a:pt x="101" y="0"/>
                  </a:lnTo>
                  <a:lnTo>
                    <a:pt x="101" y="0"/>
                  </a:lnTo>
                  <a:lnTo>
                    <a:pt x="101" y="0"/>
                  </a:lnTo>
                  <a:lnTo>
                    <a:pt x="98" y="0"/>
                  </a:lnTo>
                  <a:lnTo>
                    <a:pt x="98" y="0"/>
                  </a:lnTo>
                  <a:lnTo>
                    <a:pt x="98" y="0"/>
                  </a:lnTo>
                  <a:lnTo>
                    <a:pt x="98" y="0"/>
                  </a:lnTo>
                  <a:lnTo>
                    <a:pt x="92" y="0"/>
                  </a:lnTo>
                  <a:lnTo>
                    <a:pt x="92" y="0"/>
                  </a:lnTo>
                  <a:lnTo>
                    <a:pt x="90" y="0"/>
                  </a:lnTo>
                  <a:lnTo>
                    <a:pt x="90" y="0"/>
                  </a:lnTo>
                  <a:lnTo>
                    <a:pt x="84" y="0"/>
                  </a:lnTo>
                  <a:lnTo>
                    <a:pt x="84" y="0"/>
                  </a:lnTo>
                  <a:lnTo>
                    <a:pt x="76" y="0"/>
                  </a:lnTo>
                  <a:lnTo>
                    <a:pt x="76" y="0"/>
                  </a:lnTo>
                  <a:lnTo>
                    <a:pt x="70" y="3"/>
                  </a:lnTo>
                  <a:lnTo>
                    <a:pt x="70" y="3"/>
                  </a:lnTo>
                  <a:lnTo>
                    <a:pt x="63" y="6"/>
                  </a:lnTo>
                  <a:lnTo>
                    <a:pt x="63" y="6"/>
                  </a:lnTo>
                  <a:lnTo>
                    <a:pt x="60" y="8"/>
                  </a:lnTo>
                  <a:lnTo>
                    <a:pt x="60" y="8"/>
                  </a:lnTo>
                  <a:lnTo>
                    <a:pt x="59" y="9"/>
                  </a:lnTo>
                  <a:lnTo>
                    <a:pt x="59" y="9"/>
                  </a:lnTo>
                  <a:lnTo>
                    <a:pt x="59" y="12"/>
                  </a:lnTo>
                  <a:lnTo>
                    <a:pt x="59" y="12"/>
                  </a:lnTo>
                  <a:lnTo>
                    <a:pt x="55" y="12"/>
                  </a:lnTo>
                  <a:lnTo>
                    <a:pt x="55" y="12"/>
                  </a:lnTo>
                  <a:lnTo>
                    <a:pt x="51" y="12"/>
                  </a:lnTo>
                  <a:lnTo>
                    <a:pt x="51" y="12"/>
                  </a:lnTo>
                  <a:lnTo>
                    <a:pt x="44" y="12"/>
                  </a:lnTo>
                  <a:lnTo>
                    <a:pt x="44" y="12"/>
                  </a:lnTo>
                  <a:lnTo>
                    <a:pt x="40" y="12"/>
                  </a:lnTo>
                  <a:lnTo>
                    <a:pt x="40" y="12"/>
                  </a:lnTo>
                  <a:lnTo>
                    <a:pt x="35" y="11"/>
                  </a:lnTo>
                  <a:lnTo>
                    <a:pt x="35" y="11"/>
                  </a:lnTo>
                  <a:lnTo>
                    <a:pt x="32" y="12"/>
                  </a:lnTo>
                  <a:lnTo>
                    <a:pt x="32" y="12"/>
                  </a:lnTo>
                  <a:lnTo>
                    <a:pt x="32" y="14"/>
                  </a:lnTo>
                  <a:lnTo>
                    <a:pt x="32" y="14"/>
                  </a:lnTo>
                  <a:lnTo>
                    <a:pt x="32" y="16"/>
                  </a:lnTo>
                  <a:lnTo>
                    <a:pt x="32" y="16"/>
                  </a:lnTo>
                  <a:lnTo>
                    <a:pt x="35" y="17"/>
                  </a:lnTo>
                  <a:lnTo>
                    <a:pt x="35" y="17"/>
                  </a:lnTo>
                  <a:lnTo>
                    <a:pt x="36" y="17"/>
                  </a:lnTo>
                  <a:lnTo>
                    <a:pt x="36" y="17"/>
                  </a:lnTo>
                  <a:lnTo>
                    <a:pt x="41" y="19"/>
                  </a:lnTo>
                  <a:lnTo>
                    <a:pt x="41" y="19"/>
                  </a:lnTo>
                  <a:lnTo>
                    <a:pt x="35" y="19"/>
                  </a:lnTo>
                  <a:lnTo>
                    <a:pt x="35" y="19"/>
                  </a:lnTo>
                  <a:lnTo>
                    <a:pt x="32" y="19"/>
                  </a:lnTo>
                  <a:lnTo>
                    <a:pt x="32" y="19"/>
                  </a:lnTo>
                  <a:lnTo>
                    <a:pt x="28" y="22"/>
                  </a:lnTo>
                  <a:lnTo>
                    <a:pt x="28" y="22"/>
                  </a:lnTo>
                  <a:lnTo>
                    <a:pt x="32" y="22"/>
                  </a:lnTo>
                  <a:lnTo>
                    <a:pt x="32" y="22"/>
                  </a:lnTo>
                  <a:lnTo>
                    <a:pt x="35" y="22"/>
                  </a:lnTo>
                  <a:lnTo>
                    <a:pt x="35" y="22"/>
                  </a:lnTo>
                  <a:lnTo>
                    <a:pt x="32" y="22"/>
                  </a:lnTo>
                  <a:lnTo>
                    <a:pt x="32" y="22"/>
                  </a:lnTo>
                  <a:lnTo>
                    <a:pt x="28" y="22"/>
                  </a:lnTo>
                  <a:lnTo>
                    <a:pt x="28" y="22"/>
                  </a:lnTo>
                  <a:lnTo>
                    <a:pt x="25" y="22"/>
                  </a:lnTo>
                  <a:lnTo>
                    <a:pt x="25" y="22"/>
                  </a:lnTo>
                  <a:lnTo>
                    <a:pt x="22" y="22"/>
                  </a:lnTo>
                  <a:lnTo>
                    <a:pt x="22" y="22"/>
                  </a:lnTo>
                  <a:lnTo>
                    <a:pt x="19" y="22"/>
                  </a:lnTo>
                  <a:lnTo>
                    <a:pt x="19" y="22"/>
                  </a:lnTo>
                  <a:lnTo>
                    <a:pt x="20" y="22"/>
                  </a:lnTo>
                  <a:lnTo>
                    <a:pt x="20" y="22"/>
                  </a:lnTo>
                  <a:lnTo>
                    <a:pt x="16" y="22"/>
                  </a:lnTo>
                  <a:lnTo>
                    <a:pt x="16" y="22"/>
                  </a:lnTo>
                  <a:lnTo>
                    <a:pt x="17" y="22"/>
                  </a:lnTo>
                  <a:lnTo>
                    <a:pt x="17" y="22"/>
                  </a:lnTo>
                  <a:lnTo>
                    <a:pt x="13" y="22"/>
                  </a:lnTo>
                  <a:lnTo>
                    <a:pt x="13" y="22"/>
                  </a:lnTo>
                  <a:lnTo>
                    <a:pt x="11" y="22"/>
                  </a:lnTo>
                  <a:lnTo>
                    <a:pt x="11" y="22"/>
                  </a:lnTo>
                  <a:lnTo>
                    <a:pt x="9" y="22"/>
                  </a:lnTo>
                  <a:lnTo>
                    <a:pt x="9" y="22"/>
                  </a:lnTo>
                  <a:lnTo>
                    <a:pt x="6" y="22"/>
                  </a:lnTo>
                  <a:lnTo>
                    <a:pt x="6" y="22"/>
                  </a:lnTo>
                  <a:lnTo>
                    <a:pt x="5" y="22"/>
                  </a:lnTo>
                  <a:lnTo>
                    <a:pt x="5" y="22"/>
                  </a:lnTo>
                  <a:lnTo>
                    <a:pt x="1" y="25"/>
                  </a:lnTo>
                  <a:lnTo>
                    <a:pt x="1" y="25"/>
                  </a:lnTo>
                  <a:lnTo>
                    <a:pt x="0" y="28"/>
                  </a:lnTo>
                  <a:lnTo>
                    <a:pt x="0" y="28"/>
                  </a:lnTo>
                  <a:lnTo>
                    <a:pt x="0" y="31"/>
                  </a:lnTo>
                  <a:lnTo>
                    <a:pt x="0" y="31"/>
                  </a:lnTo>
                  <a:lnTo>
                    <a:pt x="0" y="35"/>
                  </a:lnTo>
                  <a:lnTo>
                    <a:pt x="0" y="35"/>
                  </a:lnTo>
                  <a:lnTo>
                    <a:pt x="0" y="36"/>
                  </a:lnTo>
                  <a:lnTo>
                    <a:pt x="0" y="36"/>
                  </a:lnTo>
                  <a:lnTo>
                    <a:pt x="3" y="35"/>
                  </a:lnTo>
                  <a:lnTo>
                    <a:pt x="3" y="35"/>
                  </a:lnTo>
                  <a:lnTo>
                    <a:pt x="6" y="35"/>
                  </a:lnTo>
                  <a:lnTo>
                    <a:pt x="6" y="35"/>
                  </a:lnTo>
                  <a:lnTo>
                    <a:pt x="8" y="35"/>
                  </a:lnTo>
                  <a:lnTo>
                    <a:pt x="8" y="35"/>
                  </a:lnTo>
                  <a:lnTo>
                    <a:pt x="5" y="38"/>
                  </a:lnTo>
                  <a:lnTo>
                    <a:pt x="5" y="38"/>
                  </a:lnTo>
                  <a:lnTo>
                    <a:pt x="6" y="39"/>
                  </a:lnTo>
                  <a:lnTo>
                    <a:pt x="6" y="39"/>
                  </a:lnTo>
                  <a:lnTo>
                    <a:pt x="8" y="43"/>
                  </a:lnTo>
                  <a:lnTo>
                    <a:pt x="8" y="43"/>
                  </a:lnTo>
                  <a:lnTo>
                    <a:pt x="8" y="44"/>
                  </a:lnTo>
                  <a:lnTo>
                    <a:pt x="8" y="44"/>
                  </a:lnTo>
                  <a:lnTo>
                    <a:pt x="9" y="44"/>
                  </a:lnTo>
                  <a:lnTo>
                    <a:pt x="9" y="44"/>
                  </a:lnTo>
                  <a:lnTo>
                    <a:pt x="8" y="46"/>
                  </a:lnTo>
                  <a:lnTo>
                    <a:pt x="8" y="46"/>
                  </a:lnTo>
                  <a:lnTo>
                    <a:pt x="6" y="47"/>
                  </a:lnTo>
                  <a:lnTo>
                    <a:pt x="6" y="47"/>
                  </a:lnTo>
                  <a:lnTo>
                    <a:pt x="9" y="49"/>
                  </a:lnTo>
                  <a:lnTo>
                    <a:pt x="9" y="49"/>
                  </a:lnTo>
                  <a:lnTo>
                    <a:pt x="11" y="51"/>
                  </a:lnTo>
                  <a:lnTo>
                    <a:pt x="11" y="51"/>
                  </a:lnTo>
                  <a:lnTo>
                    <a:pt x="11" y="52"/>
                  </a:lnTo>
                  <a:lnTo>
                    <a:pt x="11" y="52"/>
                  </a:lnTo>
                  <a:lnTo>
                    <a:pt x="8" y="52"/>
                  </a:lnTo>
                  <a:lnTo>
                    <a:pt x="8" y="52"/>
                  </a:lnTo>
                  <a:lnTo>
                    <a:pt x="6" y="52"/>
                  </a:lnTo>
                  <a:lnTo>
                    <a:pt x="6" y="52"/>
                  </a:lnTo>
                  <a:lnTo>
                    <a:pt x="6" y="54"/>
                  </a:lnTo>
                  <a:lnTo>
                    <a:pt x="6" y="54"/>
                  </a:lnTo>
                  <a:lnTo>
                    <a:pt x="8" y="55"/>
                  </a:lnTo>
                  <a:lnTo>
                    <a:pt x="8" y="55"/>
                  </a:lnTo>
                  <a:lnTo>
                    <a:pt x="8" y="57"/>
                  </a:lnTo>
                  <a:lnTo>
                    <a:pt x="8" y="57"/>
                  </a:lnTo>
                  <a:lnTo>
                    <a:pt x="11" y="57"/>
                  </a:lnTo>
                  <a:lnTo>
                    <a:pt x="11" y="57"/>
                  </a:lnTo>
                  <a:lnTo>
                    <a:pt x="14" y="57"/>
                  </a:lnTo>
                  <a:lnTo>
                    <a:pt x="14" y="57"/>
                  </a:lnTo>
                  <a:lnTo>
                    <a:pt x="14" y="60"/>
                  </a:lnTo>
                  <a:lnTo>
                    <a:pt x="14" y="60"/>
                  </a:lnTo>
                  <a:lnTo>
                    <a:pt x="14" y="60"/>
                  </a:lnTo>
                  <a:lnTo>
                    <a:pt x="14" y="60"/>
                  </a:lnTo>
                  <a:lnTo>
                    <a:pt x="11" y="63"/>
                  </a:lnTo>
                  <a:lnTo>
                    <a:pt x="11" y="63"/>
                  </a:lnTo>
                  <a:lnTo>
                    <a:pt x="13" y="63"/>
                  </a:lnTo>
                  <a:lnTo>
                    <a:pt x="13" y="63"/>
                  </a:lnTo>
                  <a:lnTo>
                    <a:pt x="14" y="65"/>
                  </a:lnTo>
                  <a:lnTo>
                    <a:pt x="14" y="65"/>
                  </a:lnTo>
                  <a:lnTo>
                    <a:pt x="14" y="66"/>
                  </a:lnTo>
                  <a:lnTo>
                    <a:pt x="14" y="66"/>
                  </a:lnTo>
                  <a:lnTo>
                    <a:pt x="16" y="65"/>
                  </a:lnTo>
                  <a:lnTo>
                    <a:pt x="16" y="65"/>
                  </a:lnTo>
                  <a:lnTo>
                    <a:pt x="17" y="66"/>
                  </a:lnTo>
                  <a:lnTo>
                    <a:pt x="17" y="66"/>
                  </a:lnTo>
                  <a:lnTo>
                    <a:pt x="17" y="70"/>
                  </a:lnTo>
                  <a:lnTo>
                    <a:pt x="17" y="70"/>
                  </a:lnTo>
                  <a:lnTo>
                    <a:pt x="16" y="70"/>
                  </a:lnTo>
                  <a:lnTo>
                    <a:pt x="16" y="70"/>
                  </a:lnTo>
                  <a:lnTo>
                    <a:pt x="14" y="70"/>
                  </a:lnTo>
                  <a:lnTo>
                    <a:pt x="14" y="70"/>
                  </a:lnTo>
                  <a:lnTo>
                    <a:pt x="16" y="71"/>
                  </a:lnTo>
                  <a:lnTo>
                    <a:pt x="16" y="71"/>
                  </a:lnTo>
                  <a:lnTo>
                    <a:pt x="17" y="71"/>
                  </a:lnTo>
                  <a:lnTo>
                    <a:pt x="17" y="71"/>
                  </a:lnTo>
                  <a:lnTo>
                    <a:pt x="20" y="70"/>
                  </a:lnTo>
                  <a:lnTo>
                    <a:pt x="20" y="70"/>
                  </a:lnTo>
                  <a:lnTo>
                    <a:pt x="25" y="71"/>
                  </a:lnTo>
                  <a:lnTo>
                    <a:pt x="25" y="71"/>
                  </a:lnTo>
                  <a:lnTo>
                    <a:pt x="25" y="73"/>
                  </a:lnTo>
                  <a:lnTo>
                    <a:pt x="25" y="73"/>
                  </a:lnTo>
                  <a:lnTo>
                    <a:pt x="24" y="74"/>
                  </a:lnTo>
                  <a:lnTo>
                    <a:pt x="24" y="74"/>
                  </a:lnTo>
                  <a:lnTo>
                    <a:pt x="22" y="74"/>
                  </a:lnTo>
                  <a:lnTo>
                    <a:pt x="22" y="74"/>
                  </a:lnTo>
                  <a:lnTo>
                    <a:pt x="19" y="74"/>
                  </a:lnTo>
                  <a:lnTo>
                    <a:pt x="19" y="74"/>
                  </a:lnTo>
                  <a:lnTo>
                    <a:pt x="17" y="76"/>
                  </a:lnTo>
                  <a:lnTo>
                    <a:pt x="17" y="76"/>
                  </a:lnTo>
                  <a:lnTo>
                    <a:pt x="20" y="76"/>
                  </a:lnTo>
                  <a:lnTo>
                    <a:pt x="20" y="76"/>
                  </a:lnTo>
                  <a:lnTo>
                    <a:pt x="25" y="74"/>
                  </a:lnTo>
                  <a:lnTo>
                    <a:pt x="25" y="74"/>
                  </a:lnTo>
                  <a:lnTo>
                    <a:pt x="24" y="76"/>
                  </a:lnTo>
                  <a:lnTo>
                    <a:pt x="24" y="76"/>
                  </a:lnTo>
                  <a:lnTo>
                    <a:pt x="25" y="76"/>
                  </a:lnTo>
                  <a:lnTo>
                    <a:pt x="25" y="76"/>
                  </a:lnTo>
                  <a:lnTo>
                    <a:pt x="25" y="78"/>
                  </a:lnTo>
                  <a:lnTo>
                    <a:pt x="25" y="78"/>
                  </a:lnTo>
                  <a:lnTo>
                    <a:pt x="25" y="76"/>
                  </a:lnTo>
                  <a:lnTo>
                    <a:pt x="25" y="76"/>
                  </a:lnTo>
                  <a:lnTo>
                    <a:pt x="28" y="73"/>
                  </a:lnTo>
                  <a:lnTo>
                    <a:pt x="28" y="73"/>
                  </a:lnTo>
                  <a:lnTo>
                    <a:pt x="32" y="74"/>
                  </a:lnTo>
                  <a:lnTo>
                    <a:pt x="32" y="74"/>
                  </a:lnTo>
                  <a:lnTo>
                    <a:pt x="35" y="76"/>
                  </a:lnTo>
                  <a:lnTo>
                    <a:pt x="35" y="76"/>
                  </a:lnTo>
                  <a:lnTo>
                    <a:pt x="35" y="76"/>
                  </a:lnTo>
                  <a:lnTo>
                    <a:pt x="35" y="76"/>
                  </a:lnTo>
                  <a:lnTo>
                    <a:pt x="36" y="76"/>
                  </a:lnTo>
                  <a:lnTo>
                    <a:pt x="36" y="76"/>
                  </a:lnTo>
                  <a:lnTo>
                    <a:pt x="36" y="78"/>
                  </a:lnTo>
                  <a:lnTo>
                    <a:pt x="36" y="78"/>
                  </a:lnTo>
                  <a:lnTo>
                    <a:pt x="38" y="79"/>
                  </a:lnTo>
                  <a:lnTo>
                    <a:pt x="38" y="79"/>
                  </a:lnTo>
                  <a:lnTo>
                    <a:pt x="40" y="81"/>
                  </a:lnTo>
                  <a:lnTo>
                    <a:pt x="40" y="81"/>
                  </a:lnTo>
                  <a:lnTo>
                    <a:pt x="43" y="84"/>
                  </a:lnTo>
                  <a:lnTo>
                    <a:pt x="43" y="84"/>
                  </a:lnTo>
                  <a:lnTo>
                    <a:pt x="46" y="84"/>
                  </a:lnTo>
                  <a:lnTo>
                    <a:pt x="46" y="84"/>
                  </a:lnTo>
                  <a:lnTo>
                    <a:pt x="49" y="81"/>
                  </a:lnTo>
                  <a:lnTo>
                    <a:pt x="49" y="81"/>
                  </a:lnTo>
                  <a:lnTo>
                    <a:pt x="51" y="81"/>
                  </a:lnTo>
                  <a:lnTo>
                    <a:pt x="51" y="81"/>
                  </a:lnTo>
                  <a:lnTo>
                    <a:pt x="52" y="81"/>
                  </a:lnTo>
                  <a:lnTo>
                    <a:pt x="52" y="81"/>
                  </a:lnTo>
                  <a:lnTo>
                    <a:pt x="54" y="81"/>
                  </a:lnTo>
                  <a:lnTo>
                    <a:pt x="54" y="81"/>
                  </a:lnTo>
                  <a:lnTo>
                    <a:pt x="55" y="79"/>
                  </a:lnTo>
                  <a:lnTo>
                    <a:pt x="55" y="79"/>
                  </a:lnTo>
                  <a:lnTo>
                    <a:pt x="55" y="76"/>
                  </a:lnTo>
                  <a:lnTo>
                    <a:pt x="55" y="76"/>
                  </a:lnTo>
                  <a:lnTo>
                    <a:pt x="55" y="74"/>
                  </a:lnTo>
                  <a:lnTo>
                    <a:pt x="55" y="74"/>
                  </a:lnTo>
                  <a:lnTo>
                    <a:pt x="57" y="73"/>
                  </a:lnTo>
                  <a:lnTo>
                    <a:pt x="57" y="73"/>
                  </a:lnTo>
                  <a:lnTo>
                    <a:pt x="60" y="73"/>
                  </a:lnTo>
                  <a:lnTo>
                    <a:pt x="60" y="73"/>
                  </a:lnTo>
                  <a:lnTo>
                    <a:pt x="66" y="76"/>
                  </a:lnTo>
                  <a:lnTo>
                    <a:pt x="66" y="76"/>
                  </a:lnTo>
                  <a:lnTo>
                    <a:pt x="71" y="78"/>
                  </a:lnTo>
                  <a:lnTo>
                    <a:pt x="71" y="78"/>
                  </a:lnTo>
                  <a:lnTo>
                    <a:pt x="74" y="81"/>
                  </a:lnTo>
                  <a:lnTo>
                    <a:pt x="74" y="81"/>
                  </a:lnTo>
                  <a:lnTo>
                    <a:pt x="79" y="84"/>
                  </a:lnTo>
                  <a:lnTo>
                    <a:pt x="79" y="84"/>
                  </a:lnTo>
                  <a:lnTo>
                    <a:pt x="82" y="84"/>
                  </a:lnTo>
                  <a:lnTo>
                    <a:pt x="82" y="84"/>
                  </a:lnTo>
                  <a:lnTo>
                    <a:pt x="86" y="84"/>
                  </a:lnTo>
                  <a:lnTo>
                    <a:pt x="86" y="84"/>
                  </a:lnTo>
                  <a:lnTo>
                    <a:pt x="89" y="84"/>
                  </a:lnTo>
                  <a:lnTo>
                    <a:pt x="89" y="84"/>
                  </a:lnTo>
                  <a:lnTo>
                    <a:pt x="92" y="84"/>
                  </a:lnTo>
                  <a:lnTo>
                    <a:pt x="92" y="84"/>
                  </a:lnTo>
                  <a:lnTo>
                    <a:pt x="92" y="84"/>
                  </a:lnTo>
                  <a:lnTo>
                    <a:pt x="92" y="84"/>
                  </a:lnTo>
                  <a:lnTo>
                    <a:pt x="95" y="81"/>
                  </a:lnTo>
                  <a:lnTo>
                    <a:pt x="95" y="81"/>
                  </a:lnTo>
                  <a:lnTo>
                    <a:pt x="95" y="81"/>
                  </a:lnTo>
                  <a:lnTo>
                    <a:pt x="95" y="81"/>
                  </a:lnTo>
                  <a:lnTo>
                    <a:pt x="98" y="76"/>
                  </a:lnTo>
                  <a:lnTo>
                    <a:pt x="98" y="76"/>
                  </a:lnTo>
                  <a:lnTo>
                    <a:pt x="101" y="74"/>
                  </a:lnTo>
                  <a:lnTo>
                    <a:pt x="101" y="74"/>
                  </a:lnTo>
                  <a:lnTo>
                    <a:pt x="105" y="74"/>
                  </a:lnTo>
                  <a:lnTo>
                    <a:pt x="105" y="74"/>
                  </a:lnTo>
                  <a:lnTo>
                    <a:pt x="113" y="78"/>
                  </a:lnTo>
                  <a:lnTo>
                    <a:pt x="113" y="78"/>
                  </a:lnTo>
                  <a:lnTo>
                    <a:pt x="114" y="76"/>
                  </a:lnTo>
                  <a:lnTo>
                    <a:pt x="114" y="76"/>
                  </a:lnTo>
                  <a:lnTo>
                    <a:pt x="116" y="74"/>
                  </a:lnTo>
                  <a:lnTo>
                    <a:pt x="116" y="74"/>
                  </a:lnTo>
                  <a:lnTo>
                    <a:pt x="119" y="73"/>
                  </a:lnTo>
                  <a:lnTo>
                    <a:pt x="119" y="73"/>
                  </a:lnTo>
                  <a:lnTo>
                    <a:pt x="120" y="73"/>
                  </a:lnTo>
                  <a:lnTo>
                    <a:pt x="120" y="73"/>
                  </a:lnTo>
                  <a:lnTo>
                    <a:pt x="122" y="74"/>
                  </a:lnTo>
                  <a:lnTo>
                    <a:pt x="122" y="74"/>
                  </a:lnTo>
                  <a:lnTo>
                    <a:pt x="122" y="76"/>
                  </a:lnTo>
                  <a:lnTo>
                    <a:pt x="122" y="76"/>
                  </a:lnTo>
                  <a:lnTo>
                    <a:pt x="120" y="79"/>
                  </a:lnTo>
                  <a:lnTo>
                    <a:pt x="120" y="79"/>
                  </a:lnTo>
                  <a:lnTo>
                    <a:pt x="119" y="81"/>
                  </a:lnTo>
                  <a:lnTo>
                    <a:pt x="119" y="81"/>
                  </a:lnTo>
                  <a:lnTo>
                    <a:pt x="117" y="81"/>
                  </a:lnTo>
                  <a:lnTo>
                    <a:pt x="117" y="81"/>
                  </a:lnTo>
                  <a:lnTo>
                    <a:pt x="119" y="81"/>
                  </a:lnTo>
                  <a:lnTo>
                    <a:pt x="119" y="81"/>
                  </a:lnTo>
                  <a:lnTo>
                    <a:pt x="120" y="84"/>
                  </a:lnTo>
                  <a:lnTo>
                    <a:pt x="120" y="84"/>
                  </a:lnTo>
                  <a:lnTo>
                    <a:pt x="120" y="87"/>
                  </a:lnTo>
                  <a:lnTo>
                    <a:pt x="120" y="87"/>
                  </a:lnTo>
                  <a:lnTo>
                    <a:pt x="122" y="87"/>
                  </a:lnTo>
                  <a:lnTo>
                    <a:pt x="122" y="87"/>
                  </a:lnTo>
                  <a:lnTo>
                    <a:pt x="124" y="85"/>
                  </a:lnTo>
                  <a:lnTo>
                    <a:pt x="124" y="85"/>
                  </a:lnTo>
                  <a:lnTo>
                    <a:pt x="124" y="85"/>
                  </a:lnTo>
                  <a:lnTo>
                    <a:pt x="125" y="84"/>
                  </a:lnTo>
                  <a:lnTo>
                    <a:pt x="125" y="84"/>
                  </a:lnTo>
                  <a:lnTo>
                    <a:pt x="125" y="81"/>
                  </a:lnTo>
                  <a:lnTo>
                    <a:pt x="125" y="81"/>
                  </a:lnTo>
                  <a:lnTo>
                    <a:pt x="127" y="81"/>
                  </a:lnTo>
                  <a:lnTo>
                    <a:pt x="127" y="81"/>
                  </a:lnTo>
                  <a:lnTo>
                    <a:pt x="127" y="78"/>
                  </a:lnTo>
                  <a:lnTo>
                    <a:pt x="127" y="78"/>
                  </a:lnTo>
                  <a:lnTo>
                    <a:pt x="127" y="76"/>
                  </a:lnTo>
                  <a:lnTo>
                    <a:pt x="127" y="76"/>
                  </a:lnTo>
                  <a:lnTo>
                    <a:pt x="127" y="74"/>
                  </a:lnTo>
                  <a:lnTo>
                    <a:pt x="127" y="74"/>
                  </a:lnTo>
                  <a:lnTo>
                    <a:pt x="130" y="74"/>
                  </a:lnTo>
                  <a:lnTo>
                    <a:pt x="130" y="74"/>
                  </a:lnTo>
                  <a:lnTo>
                    <a:pt x="133" y="76"/>
                  </a:lnTo>
                  <a:lnTo>
                    <a:pt x="133" y="76"/>
                  </a:lnTo>
                  <a:lnTo>
                    <a:pt x="133" y="76"/>
                  </a:lnTo>
                  <a:lnTo>
                    <a:pt x="133" y="76"/>
                  </a:lnTo>
                  <a:lnTo>
                    <a:pt x="140" y="74"/>
                  </a:lnTo>
                  <a:lnTo>
                    <a:pt x="140" y="74"/>
                  </a:lnTo>
                  <a:lnTo>
                    <a:pt x="144" y="73"/>
                  </a:lnTo>
                  <a:lnTo>
                    <a:pt x="144" y="73"/>
                  </a:lnTo>
                  <a:lnTo>
                    <a:pt x="147" y="73"/>
                  </a:lnTo>
                  <a:lnTo>
                    <a:pt x="147" y="73"/>
                  </a:lnTo>
                  <a:lnTo>
                    <a:pt x="151" y="74"/>
                  </a:lnTo>
                  <a:lnTo>
                    <a:pt x="151" y="74"/>
                  </a:lnTo>
                  <a:lnTo>
                    <a:pt x="152" y="76"/>
                  </a:lnTo>
                  <a:lnTo>
                    <a:pt x="152" y="76"/>
                  </a:lnTo>
                  <a:lnTo>
                    <a:pt x="157" y="76"/>
                  </a:lnTo>
                  <a:lnTo>
                    <a:pt x="157" y="76"/>
                  </a:lnTo>
                  <a:lnTo>
                    <a:pt x="160" y="76"/>
                  </a:lnTo>
                  <a:lnTo>
                    <a:pt x="160" y="76"/>
                  </a:lnTo>
                  <a:lnTo>
                    <a:pt x="168" y="73"/>
                  </a:lnTo>
                  <a:lnTo>
                    <a:pt x="168" y="73"/>
                  </a:lnTo>
                  <a:lnTo>
                    <a:pt x="173" y="70"/>
                  </a:lnTo>
                  <a:lnTo>
                    <a:pt x="173" y="70"/>
                  </a:lnTo>
                  <a:lnTo>
                    <a:pt x="176" y="70"/>
                  </a:lnTo>
                  <a:lnTo>
                    <a:pt x="176" y="70"/>
                  </a:lnTo>
                  <a:lnTo>
                    <a:pt x="181" y="70"/>
                  </a:lnTo>
                  <a:lnTo>
                    <a:pt x="181" y="70"/>
                  </a:lnTo>
                  <a:lnTo>
                    <a:pt x="182" y="70"/>
                  </a:lnTo>
                  <a:lnTo>
                    <a:pt x="182" y="70"/>
                  </a:lnTo>
                  <a:lnTo>
                    <a:pt x="189" y="70"/>
                  </a:lnTo>
                  <a:lnTo>
                    <a:pt x="189" y="70"/>
                  </a:lnTo>
                  <a:lnTo>
                    <a:pt x="192" y="66"/>
                  </a:lnTo>
                  <a:lnTo>
                    <a:pt x="192" y="66"/>
                  </a:lnTo>
                  <a:lnTo>
                    <a:pt x="195" y="66"/>
                  </a:lnTo>
                  <a:lnTo>
                    <a:pt x="195" y="66"/>
                  </a:lnTo>
                  <a:lnTo>
                    <a:pt x="195" y="68"/>
                  </a:lnTo>
                  <a:lnTo>
                    <a:pt x="195" y="68"/>
                  </a:lnTo>
                  <a:lnTo>
                    <a:pt x="195" y="70"/>
                  </a:lnTo>
                  <a:lnTo>
                    <a:pt x="195" y="70"/>
                  </a:lnTo>
                  <a:lnTo>
                    <a:pt x="195" y="70"/>
                  </a:lnTo>
                  <a:lnTo>
                    <a:pt x="195" y="70"/>
                  </a:lnTo>
                  <a:lnTo>
                    <a:pt x="195" y="70"/>
                  </a:lnTo>
                  <a:lnTo>
                    <a:pt x="197" y="68"/>
                  </a:lnTo>
                  <a:lnTo>
                    <a:pt x="197" y="68"/>
                  </a:lnTo>
                  <a:lnTo>
                    <a:pt x="198" y="66"/>
                  </a:lnTo>
                  <a:lnTo>
                    <a:pt x="198" y="66"/>
                  </a:lnTo>
                  <a:lnTo>
                    <a:pt x="201" y="65"/>
                  </a:lnTo>
                  <a:lnTo>
                    <a:pt x="201" y="65"/>
                  </a:lnTo>
                  <a:lnTo>
                    <a:pt x="206" y="66"/>
                  </a:lnTo>
                  <a:lnTo>
                    <a:pt x="206" y="66"/>
                  </a:lnTo>
                  <a:lnTo>
                    <a:pt x="209" y="68"/>
                  </a:lnTo>
                  <a:lnTo>
                    <a:pt x="209" y="68"/>
                  </a:lnTo>
                  <a:lnTo>
                    <a:pt x="213" y="68"/>
                  </a:lnTo>
                  <a:lnTo>
                    <a:pt x="213" y="68"/>
                  </a:lnTo>
                  <a:lnTo>
                    <a:pt x="214" y="66"/>
                  </a:lnTo>
                  <a:lnTo>
                    <a:pt x="214" y="66"/>
                  </a:lnTo>
                  <a:lnTo>
                    <a:pt x="216" y="66"/>
                  </a:lnTo>
                  <a:lnTo>
                    <a:pt x="216" y="66"/>
                  </a:lnTo>
                  <a:lnTo>
                    <a:pt x="217" y="68"/>
                  </a:lnTo>
                  <a:lnTo>
                    <a:pt x="217" y="68"/>
                  </a:lnTo>
                  <a:lnTo>
                    <a:pt x="217" y="70"/>
                  </a:lnTo>
                  <a:lnTo>
                    <a:pt x="217" y="70"/>
                  </a:lnTo>
                  <a:lnTo>
                    <a:pt x="217" y="71"/>
                  </a:lnTo>
                  <a:lnTo>
                    <a:pt x="217" y="71"/>
                  </a:lnTo>
                  <a:lnTo>
                    <a:pt x="220" y="70"/>
                  </a:lnTo>
                  <a:lnTo>
                    <a:pt x="220" y="70"/>
                  </a:lnTo>
                  <a:lnTo>
                    <a:pt x="220" y="68"/>
                  </a:lnTo>
                  <a:lnTo>
                    <a:pt x="220" y="68"/>
                  </a:lnTo>
                  <a:lnTo>
                    <a:pt x="224" y="70"/>
                  </a:lnTo>
                  <a:lnTo>
                    <a:pt x="224" y="70"/>
                  </a:lnTo>
                  <a:lnTo>
                    <a:pt x="224" y="71"/>
                  </a:lnTo>
                  <a:lnTo>
                    <a:pt x="224" y="68"/>
                  </a:lnTo>
                  <a:lnTo>
                    <a:pt x="224" y="68"/>
                  </a:lnTo>
                  <a:lnTo>
                    <a:pt x="224" y="6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6" name="Freeform 323">
              <a:extLst>
                <a:ext uri="{FF2B5EF4-FFF2-40B4-BE49-F238E27FC236}">
                  <a16:creationId xmlns:a16="http://schemas.microsoft.com/office/drawing/2014/main" id="{4622980A-966E-E786-AA63-0A1690A48DFD}"/>
                </a:ext>
              </a:extLst>
            </p:cNvPr>
            <p:cNvSpPr>
              <a:spLocks/>
            </p:cNvSpPr>
            <p:nvPr/>
          </p:nvSpPr>
          <p:spPr bwMode="auto">
            <a:xfrm>
              <a:off x="6931083" y="2694968"/>
              <a:ext cx="91967" cy="78508"/>
            </a:xfrm>
            <a:custGeom>
              <a:avLst/>
              <a:gdLst>
                <a:gd name="T0" fmla="*/ 22 w 41"/>
                <a:gd name="T1" fmla="*/ 27 h 35"/>
                <a:gd name="T2" fmla="*/ 25 w 41"/>
                <a:gd name="T3" fmla="*/ 30 h 35"/>
                <a:gd name="T4" fmla="*/ 27 w 41"/>
                <a:gd name="T5" fmla="*/ 32 h 35"/>
                <a:gd name="T6" fmla="*/ 28 w 41"/>
                <a:gd name="T7" fmla="*/ 34 h 35"/>
                <a:gd name="T8" fmla="*/ 32 w 41"/>
                <a:gd name="T9" fmla="*/ 35 h 35"/>
                <a:gd name="T10" fmla="*/ 36 w 41"/>
                <a:gd name="T11" fmla="*/ 35 h 35"/>
                <a:gd name="T12" fmla="*/ 38 w 41"/>
                <a:gd name="T13" fmla="*/ 35 h 35"/>
                <a:gd name="T14" fmla="*/ 40 w 41"/>
                <a:gd name="T15" fmla="*/ 35 h 35"/>
                <a:gd name="T16" fmla="*/ 41 w 41"/>
                <a:gd name="T17" fmla="*/ 34 h 35"/>
                <a:gd name="T18" fmla="*/ 40 w 41"/>
                <a:gd name="T19" fmla="*/ 32 h 35"/>
                <a:gd name="T20" fmla="*/ 40 w 41"/>
                <a:gd name="T21" fmla="*/ 30 h 35"/>
                <a:gd name="T22" fmla="*/ 41 w 41"/>
                <a:gd name="T23" fmla="*/ 30 h 35"/>
                <a:gd name="T24" fmla="*/ 38 w 41"/>
                <a:gd name="T25" fmla="*/ 27 h 35"/>
                <a:gd name="T26" fmla="*/ 38 w 41"/>
                <a:gd name="T27" fmla="*/ 26 h 35"/>
                <a:gd name="T28" fmla="*/ 36 w 41"/>
                <a:gd name="T29" fmla="*/ 26 h 35"/>
                <a:gd name="T30" fmla="*/ 33 w 41"/>
                <a:gd name="T31" fmla="*/ 26 h 35"/>
                <a:gd name="T32" fmla="*/ 32 w 41"/>
                <a:gd name="T33" fmla="*/ 22 h 35"/>
                <a:gd name="T34" fmla="*/ 28 w 41"/>
                <a:gd name="T35" fmla="*/ 19 h 35"/>
                <a:gd name="T36" fmla="*/ 28 w 41"/>
                <a:gd name="T37" fmla="*/ 19 h 35"/>
                <a:gd name="T38" fmla="*/ 32 w 41"/>
                <a:gd name="T39" fmla="*/ 16 h 35"/>
                <a:gd name="T40" fmla="*/ 32 w 41"/>
                <a:gd name="T41" fmla="*/ 16 h 35"/>
                <a:gd name="T42" fmla="*/ 28 w 41"/>
                <a:gd name="T43" fmla="*/ 13 h 35"/>
                <a:gd name="T44" fmla="*/ 25 w 41"/>
                <a:gd name="T45" fmla="*/ 11 h 35"/>
                <a:gd name="T46" fmla="*/ 24 w 41"/>
                <a:gd name="T47" fmla="*/ 8 h 35"/>
                <a:gd name="T48" fmla="*/ 27 w 41"/>
                <a:gd name="T49" fmla="*/ 7 h 35"/>
                <a:gd name="T50" fmla="*/ 24 w 41"/>
                <a:gd name="T51" fmla="*/ 3 h 35"/>
                <a:gd name="T52" fmla="*/ 19 w 41"/>
                <a:gd name="T53" fmla="*/ 2 h 35"/>
                <a:gd name="T54" fmla="*/ 20 w 41"/>
                <a:gd name="T55" fmla="*/ 2 h 35"/>
                <a:gd name="T56" fmla="*/ 20 w 41"/>
                <a:gd name="T57" fmla="*/ 0 h 35"/>
                <a:gd name="T58" fmla="*/ 17 w 41"/>
                <a:gd name="T59" fmla="*/ 0 h 35"/>
                <a:gd name="T60" fmla="*/ 16 w 41"/>
                <a:gd name="T61" fmla="*/ 0 h 35"/>
                <a:gd name="T62" fmla="*/ 9 w 41"/>
                <a:gd name="T63" fmla="*/ 0 h 35"/>
                <a:gd name="T64" fmla="*/ 3 w 41"/>
                <a:gd name="T65" fmla="*/ 2 h 35"/>
                <a:gd name="T66" fmla="*/ 3 w 41"/>
                <a:gd name="T67" fmla="*/ 2 h 35"/>
                <a:gd name="T68" fmla="*/ 0 w 41"/>
                <a:gd name="T69" fmla="*/ 0 h 35"/>
                <a:gd name="T70" fmla="*/ 0 w 41"/>
                <a:gd name="T71" fmla="*/ 3 h 35"/>
                <a:gd name="T72" fmla="*/ 3 w 41"/>
                <a:gd name="T73" fmla="*/ 7 h 35"/>
                <a:gd name="T74" fmla="*/ 3 w 41"/>
                <a:gd name="T75" fmla="*/ 8 h 35"/>
                <a:gd name="T76" fmla="*/ 3 w 41"/>
                <a:gd name="T77" fmla="*/ 11 h 35"/>
                <a:gd name="T78" fmla="*/ 3 w 41"/>
                <a:gd name="T79" fmla="*/ 13 h 35"/>
                <a:gd name="T80" fmla="*/ 3 w 41"/>
                <a:gd name="T81" fmla="*/ 13 h 35"/>
                <a:gd name="T82" fmla="*/ 6 w 41"/>
                <a:gd name="T83" fmla="*/ 16 h 35"/>
                <a:gd name="T84" fmla="*/ 3 w 41"/>
                <a:gd name="T85" fmla="*/ 16 h 35"/>
                <a:gd name="T86" fmla="*/ 8 w 41"/>
                <a:gd name="T87" fmla="*/ 19 h 35"/>
                <a:gd name="T88" fmla="*/ 11 w 41"/>
                <a:gd name="T89" fmla="*/ 19 h 35"/>
                <a:gd name="T90" fmla="*/ 14 w 41"/>
                <a:gd name="T91" fmla="*/ 19 h 35"/>
                <a:gd name="T92" fmla="*/ 16 w 41"/>
                <a:gd name="T93" fmla="*/ 19 h 35"/>
                <a:gd name="T94" fmla="*/ 17 w 41"/>
                <a:gd name="T95" fmla="*/ 22 h 35"/>
                <a:gd name="T96" fmla="*/ 17 w 41"/>
                <a:gd name="T97" fmla="*/ 24 h 35"/>
                <a:gd name="T98" fmla="*/ 19 w 41"/>
                <a:gd name="T99" fmla="*/ 26 h 35"/>
                <a:gd name="T100" fmla="*/ 22 w 41"/>
                <a:gd name="T101" fmla="*/ 27 h 35"/>
                <a:gd name="T102" fmla="*/ 22 w 41"/>
                <a:gd name="T103" fmla="*/ 27 h 35"/>
                <a:gd name="T104" fmla="*/ 22 w 41"/>
                <a:gd name="T105" fmla="*/ 27 h 35"/>
                <a:gd name="T106" fmla="*/ 22 w 41"/>
                <a:gd name="T107" fmla="*/ 27 h 35"/>
                <a:gd name="T108" fmla="*/ 22 w 41"/>
                <a:gd name="T109" fmla="*/ 27 h 35"/>
                <a:gd name="T110" fmla="*/ 22 w 41"/>
                <a:gd name="T111" fmla="*/ 27 h 35"/>
                <a:gd name="T112" fmla="*/ 22 w 41"/>
                <a:gd name="T113" fmla="*/ 27 h 35"/>
                <a:gd name="T114" fmla="*/ 22 w 41"/>
                <a:gd name="T115" fmla="*/ 27 h 35"/>
                <a:gd name="T116" fmla="*/ 22 w 41"/>
                <a:gd name="T1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35">
                  <a:moveTo>
                    <a:pt x="22" y="27"/>
                  </a:moveTo>
                  <a:lnTo>
                    <a:pt x="25" y="30"/>
                  </a:lnTo>
                  <a:lnTo>
                    <a:pt x="27" y="32"/>
                  </a:lnTo>
                  <a:lnTo>
                    <a:pt x="28" y="34"/>
                  </a:lnTo>
                  <a:lnTo>
                    <a:pt x="32" y="35"/>
                  </a:lnTo>
                  <a:lnTo>
                    <a:pt x="36" y="35"/>
                  </a:lnTo>
                  <a:lnTo>
                    <a:pt x="38" y="35"/>
                  </a:lnTo>
                  <a:lnTo>
                    <a:pt x="40" y="35"/>
                  </a:lnTo>
                  <a:lnTo>
                    <a:pt x="41" y="34"/>
                  </a:lnTo>
                  <a:lnTo>
                    <a:pt x="40" y="32"/>
                  </a:lnTo>
                  <a:lnTo>
                    <a:pt x="40" y="30"/>
                  </a:lnTo>
                  <a:lnTo>
                    <a:pt x="41" y="30"/>
                  </a:lnTo>
                  <a:lnTo>
                    <a:pt x="38" y="27"/>
                  </a:lnTo>
                  <a:lnTo>
                    <a:pt x="38" y="26"/>
                  </a:lnTo>
                  <a:lnTo>
                    <a:pt x="36" y="26"/>
                  </a:lnTo>
                  <a:lnTo>
                    <a:pt x="33" y="26"/>
                  </a:lnTo>
                  <a:lnTo>
                    <a:pt x="32" y="22"/>
                  </a:lnTo>
                  <a:lnTo>
                    <a:pt x="28" y="19"/>
                  </a:lnTo>
                  <a:lnTo>
                    <a:pt x="28" y="19"/>
                  </a:lnTo>
                  <a:lnTo>
                    <a:pt x="32" y="16"/>
                  </a:lnTo>
                  <a:lnTo>
                    <a:pt x="32" y="16"/>
                  </a:lnTo>
                  <a:lnTo>
                    <a:pt x="28" y="13"/>
                  </a:lnTo>
                  <a:lnTo>
                    <a:pt x="25" y="11"/>
                  </a:lnTo>
                  <a:lnTo>
                    <a:pt x="24" y="8"/>
                  </a:lnTo>
                  <a:lnTo>
                    <a:pt x="27" y="7"/>
                  </a:lnTo>
                  <a:lnTo>
                    <a:pt x="24" y="3"/>
                  </a:lnTo>
                  <a:lnTo>
                    <a:pt x="19" y="2"/>
                  </a:lnTo>
                  <a:lnTo>
                    <a:pt x="20" y="2"/>
                  </a:lnTo>
                  <a:lnTo>
                    <a:pt x="20" y="0"/>
                  </a:lnTo>
                  <a:lnTo>
                    <a:pt x="17" y="0"/>
                  </a:lnTo>
                  <a:lnTo>
                    <a:pt x="16" y="0"/>
                  </a:lnTo>
                  <a:lnTo>
                    <a:pt x="9" y="0"/>
                  </a:lnTo>
                  <a:lnTo>
                    <a:pt x="3" y="2"/>
                  </a:lnTo>
                  <a:lnTo>
                    <a:pt x="3" y="2"/>
                  </a:lnTo>
                  <a:lnTo>
                    <a:pt x="0" y="0"/>
                  </a:lnTo>
                  <a:lnTo>
                    <a:pt x="0" y="3"/>
                  </a:lnTo>
                  <a:lnTo>
                    <a:pt x="3" y="7"/>
                  </a:lnTo>
                  <a:lnTo>
                    <a:pt x="3" y="8"/>
                  </a:lnTo>
                  <a:lnTo>
                    <a:pt x="3" y="11"/>
                  </a:lnTo>
                  <a:lnTo>
                    <a:pt x="3" y="13"/>
                  </a:lnTo>
                  <a:lnTo>
                    <a:pt x="3" y="13"/>
                  </a:lnTo>
                  <a:lnTo>
                    <a:pt x="6" y="16"/>
                  </a:lnTo>
                  <a:lnTo>
                    <a:pt x="3" y="16"/>
                  </a:lnTo>
                  <a:lnTo>
                    <a:pt x="8" y="19"/>
                  </a:lnTo>
                  <a:lnTo>
                    <a:pt x="11" y="19"/>
                  </a:lnTo>
                  <a:lnTo>
                    <a:pt x="14" y="19"/>
                  </a:lnTo>
                  <a:lnTo>
                    <a:pt x="16" y="19"/>
                  </a:lnTo>
                  <a:lnTo>
                    <a:pt x="17" y="22"/>
                  </a:lnTo>
                  <a:lnTo>
                    <a:pt x="17" y="24"/>
                  </a:lnTo>
                  <a:lnTo>
                    <a:pt x="19" y="26"/>
                  </a:lnTo>
                  <a:lnTo>
                    <a:pt x="22" y="27"/>
                  </a:lnTo>
                  <a:lnTo>
                    <a:pt x="22" y="27"/>
                  </a:lnTo>
                  <a:lnTo>
                    <a:pt x="22" y="27"/>
                  </a:lnTo>
                  <a:lnTo>
                    <a:pt x="22" y="27"/>
                  </a:lnTo>
                  <a:lnTo>
                    <a:pt x="22" y="27"/>
                  </a:lnTo>
                  <a:lnTo>
                    <a:pt x="22" y="27"/>
                  </a:lnTo>
                  <a:lnTo>
                    <a:pt x="22" y="27"/>
                  </a:lnTo>
                  <a:lnTo>
                    <a:pt x="22" y="27"/>
                  </a:lnTo>
                  <a:lnTo>
                    <a:pt x="22" y="2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7" name="Freeform 325">
              <a:extLst>
                <a:ext uri="{FF2B5EF4-FFF2-40B4-BE49-F238E27FC236}">
                  <a16:creationId xmlns:a16="http://schemas.microsoft.com/office/drawing/2014/main" id="{2357139C-8240-23BA-D814-3FEABF8348A1}"/>
                </a:ext>
              </a:extLst>
            </p:cNvPr>
            <p:cNvSpPr>
              <a:spLocks/>
            </p:cNvSpPr>
            <p:nvPr/>
          </p:nvSpPr>
          <p:spPr bwMode="auto">
            <a:xfrm>
              <a:off x="6839116" y="2820579"/>
              <a:ext cx="269169" cy="269169"/>
            </a:xfrm>
            <a:custGeom>
              <a:avLst/>
              <a:gdLst>
                <a:gd name="T0" fmla="*/ 117 w 120"/>
                <a:gd name="T1" fmla="*/ 101 h 120"/>
                <a:gd name="T2" fmla="*/ 114 w 120"/>
                <a:gd name="T3" fmla="*/ 97 h 120"/>
                <a:gd name="T4" fmla="*/ 114 w 120"/>
                <a:gd name="T5" fmla="*/ 92 h 120"/>
                <a:gd name="T6" fmla="*/ 109 w 120"/>
                <a:gd name="T7" fmla="*/ 92 h 120"/>
                <a:gd name="T8" fmla="*/ 109 w 120"/>
                <a:gd name="T9" fmla="*/ 82 h 120"/>
                <a:gd name="T10" fmla="*/ 106 w 120"/>
                <a:gd name="T11" fmla="*/ 76 h 120"/>
                <a:gd name="T12" fmla="*/ 100 w 120"/>
                <a:gd name="T13" fmla="*/ 71 h 120"/>
                <a:gd name="T14" fmla="*/ 95 w 120"/>
                <a:gd name="T15" fmla="*/ 67 h 120"/>
                <a:gd name="T16" fmla="*/ 87 w 120"/>
                <a:gd name="T17" fmla="*/ 62 h 120"/>
                <a:gd name="T18" fmla="*/ 82 w 120"/>
                <a:gd name="T19" fmla="*/ 54 h 120"/>
                <a:gd name="T20" fmla="*/ 79 w 120"/>
                <a:gd name="T21" fmla="*/ 49 h 120"/>
                <a:gd name="T22" fmla="*/ 79 w 120"/>
                <a:gd name="T23" fmla="*/ 44 h 120"/>
                <a:gd name="T24" fmla="*/ 82 w 120"/>
                <a:gd name="T25" fmla="*/ 41 h 120"/>
                <a:gd name="T26" fmla="*/ 82 w 120"/>
                <a:gd name="T27" fmla="*/ 36 h 120"/>
                <a:gd name="T28" fmla="*/ 84 w 120"/>
                <a:gd name="T29" fmla="*/ 33 h 120"/>
                <a:gd name="T30" fmla="*/ 82 w 120"/>
                <a:gd name="T31" fmla="*/ 27 h 120"/>
                <a:gd name="T32" fmla="*/ 85 w 120"/>
                <a:gd name="T33" fmla="*/ 22 h 120"/>
                <a:gd name="T34" fmla="*/ 79 w 120"/>
                <a:gd name="T35" fmla="*/ 22 h 120"/>
                <a:gd name="T36" fmla="*/ 73 w 120"/>
                <a:gd name="T37" fmla="*/ 19 h 120"/>
                <a:gd name="T38" fmla="*/ 69 w 120"/>
                <a:gd name="T39" fmla="*/ 13 h 120"/>
                <a:gd name="T40" fmla="*/ 66 w 120"/>
                <a:gd name="T41" fmla="*/ 6 h 120"/>
                <a:gd name="T42" fmla="*/ 61 w 120"/>
                <a:gd name="T43" fmla="*/ 5 h 120"/>
                <a:gd name="T44" fmla="*/ 58 w 120"/>
                <a:gd name="T45" fmla="*/ 3 h 120"/>
                <a:gd name="T46" fmla="*/ 54 w 120"/>
                <a:gd name="T47" fmla="*/ 3 h 120"/>
                <a:gd name="T48" fmla="*/ 44 w 120"/>
                <a:gd name="T49" fmla="*/ 0 h 120"/>
                <a:gd name="T50" fmla="*/ 38 w 120"/>
                <a:gd name="T51" fmla="*/ 5 h 120"/>
                <a:gd name="T52" fmla="*/ 36 w 120"/>
                <a:gd name="T53" fmla="*/ 6 h 120"/>
                <a:gd name="T54" fmla="*/ 28 w 120"/>
                <a:gd name="T55" fmla="*/ 13 h 120"/>
                <a:gd name="T56" fmla="*/ 25 w 120"/>
                <a:gd name="T57" fmla="*/ 19 h 120"/>
                <a:gd name="T58" fmla="*/ 25 w 120"/>
                <a:gd name="T59" fmla="*/ 32 h 120"/>
                <a:gd name="T60" fmla="*/ 23 w 120"/>
                <a:gd name="T61" fmla="*/ 43 h 120"/>
                <a:gd name="T62" fmla="*/ 3 w 120"/>
                <a:gd name="T63" fmla="*/ 55 h 120"/>
                <a:gd name="T64" fmla="*/ 3 w 120"/>
                <a:gd name="T65" fmla="*/ 70 h 120"/>
                <a:gd name="T66" fmla="*/ 6 w 120"/>
                <a:gd name="T67" fmla="*/ 74 h 120"/>
                <a:gd name="T68" fmla="*/ 12 w 120"/>
                <a:gd name="T69" fmla="*/ 78 h 120"/>
                <a:gd name="T70" fmla="*/ 33 w 120"/>
                <a:gd name="T71" fmla="*/ 86 h 120"/>
                <a:gd name="T72" fmla="*/ 68 w 120"/>
                <a:gd name="T73" fmla="*/ 109 h 120"/>
                <a:gd name="T74" fmla="*/ 76 w 120"/>
                <a:gd name="T75" fmla="*/ 117 h 120"/>
                <a:gd name="T76" fmla="*/ 98 w 120"/>
                <a:gd name="T77" fmla="*/ 119 h 120"/>
                <a:gd name="T78" fmla="*/ 106 w 120"/>
                <a:gd name="T79" fmla="*/ 106 h 120"/>
                <a:gd name="T80" fmla="*/ 114 w 120"/>
                <a:gd name="T81" fmla="*/ 106 h 120"/>
                <a:gd name="T82" fmla="*/ 120 w 120"/>
                <a:gd name="T83" fmla="*/ 106 h 120"/>
                <a:gd name="T84" fmla="*/ 120 w 120"/>
                <a:gd name="T85" fmla="*/ 106 h 120"/>
                <a:gd name="T86" fmla="*/ 120 w 120"/>
                <a:gd name="T87" fmla="*/ 106 h 120"/>
                <a:gd name="T88" fmla="*/ 120 w 120"/>
                <a:gd name="T89"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20">
                  <a:moveTo>
                    <a:pt x="120" y="106"/>
                  </a:moveTo>
                  <a:lnTo>
                    <a:pt x="117" y="105"/>
                  </a:lnTo>
                  <a:lnTo>
                    <a:pt x="117" y="101"/>
                  </a:lnTo>
                  <a:lnTo>
                    <a:pt x="114" y="100"/>
                  </a:lnTo>
                  <a:lnTo>
                    <a:pt x="114" y="98"/>
                  </a:lnTo>
                  <a:lnTo>
                    <a:pt x="114" y="97"/>
                  </a:lnTo>
                  <a:lnTo>
                    <a:pt x="114" y="95"/>
                  </a:lnTo>
                  <a:lnTo>
                    <a:pt x="114" y="93"/>
                  </a:lnTo>
                  <a:lnTo>
                    <a:pt x="114" y="92"/>
                  </a:lnTo>
                  <a:lnTo>
                    <a:pt x="112" y="92"/>
                  </a:lnTo>
                  <a:lnTo>
                    <a:pt x="111" y="92"/>
                  </a:lnTo>
                  <a:lnTo>
                    <a:pt x="109" y="92"/>
                  </a:lnTo>
                  <a:lnTo>
                    <a:pt x="109" y="89"/>
                  </a:lnTo>
                  <a:lnTo>
                    <a:pt x="109" y="86"/>
                  </a:lnTo>
                  <a:lnTo>
                    <a:pt x="109" y="82"/>
                  </a:lnTo>
                  <a:lnTo>
                    <a:pt x="109" y="82"/>
                  </a:lnTo>
                  <a:lnTo>
                    <a:pt x="109" y="81"/>
                  </a:lnTo>
                  <a:lnTo>
                    <a:pt x="106" y="76"/>
                  </a:lnTo>
                  <a:lnTo>
                    <a:pt x="104" y="73"/>
                  </a:lnTo>
                  <a:lnTo>
                    <a:pt x="103" y="73"/>
                  </a:lnTo>
                  <a:lnTo>
                    <a:pt x="100" y="71"/>
                  </a:lnTo>
                  <a:lnTo>
                    <a:pt x="98" y="71"/>
                  </a:lnTo>
                  <a:lnTo>
                    <a:pt x="96" y="70"/>
                  </a:lnTo>
                  <a:lnTo>
                    <a:pt x="95" y="67"/>
                  </a:lnTo>
                  <a:lnTo>
                    <a:pt x="92" y="65"/>
                  </a:lnTo>
                  <a:lnTo>
                    <a:pt x="88" y="63"/>
                  </a:lnTo>
                  <a:lnTo>
                    <a:pt x="87" y="62"/>
                  </a:lnTo>
                  <a:lnTo>
                    <a:pt x="88" y="60"/>
                  </a:lnTo>
                  <a:lnTo>
                    <a:pt x="85" y="57"/>
                  </a:lnTo>
                  <a:lnTo>
                    <a:pt x="82" y="54"/>
                  </a:lnTo>
                  <a:lnTo>
                    <a:pt x="82" y="54"/>
                  </a:lnTo>
                  <a:lnTo>
                    <a:pt x="79" y="51"/>
                  </a:lnTo>
                  <a:lnTo>
                    <a:pt x="79" y="49"/>
                  </a:lnTo>
                  <a:lnTo>
                    <a:pt x="79" y="47"/>
                  </a:lnTo>
                  <a:lnTo>
                    <a:pt x="79" y="46"/>
                  </a:lnTo>
                  <a:lnTo>
                    <a:pt x="79" y="44"/>
                  </a:lnTo>
                  <a:lnTo>
                    <a:pt x="79" y="43"/>
                  </a:lnTo>
                  <a:lnTo>
                    <a:pt x="79" y="41"/>
                  </a:lnTo>
                  <a:lnTo>
                    <a:pt x="82" y="41"/>
                  </a:lnTo>
                  <a:lnTo>
                    <a:pt x="79" y="40"/>
                  </a:lnTo>
                  <a:lnTo>
                    <a:pt x="79" y="38"/>
                  </a:lnTo>
                  <a:lnTo>
                    <a:pt x="82" y="36"/>
                  </a:lnTo>
                  <a:lnTo>
                    <a:pt x="82" y="35"/>
                  </a:lnTo>
                  <a:lnTo>
                    <a:pt x="82" y="33"/>
                  </a:lnTo>
                  <a:lnTo>
                    <a:pt x="84" y="33"/>
                  </a:lnTo>
                  <a:lnTo>
                    <a:pt x="84" y="32"/>
                  </a:lnTo>
                  <a:lnTo>
                    <a:pt x="82" y="28"/>
                  </a:lnTo>
                  <a:lnTo>
                    <a:pt x="82" y="27"/>
                  </a:lnTo>
                  <a:lnTo>
                    <a:pt x="82" y="25"/>
                  </a:lnTo>
                  <a:lnTo>
                    <a:pt x="84" y="25"/>
                  </a:lnTo>
                  <a:lnTo>
                    <a:pt x="85" y="22"/>
                  </a:lnTo>
                  <a:lnTo>
                    <a:pt x="82" y="22"/>
                  </a:lnTo>
                  <a:lnTo>
                    <a:pt x="82" y="22"/>
                  </a:lnTo>
                  <a:lnTo>
                    <a:pt x="79" y="22"/>
                  </a:lnTo>
                  <a:lnTo>
                    <a:pt x="76" y="22"/>
                  </a:lnTo>
                  <a:lnTo>
                    <a:pt x="73" y="19"/>
                  </a:lnTo>
                  <a:lnTo>
                    <a:pt x="73" y="19"/>
                  </a:lnTo>
                  <a:lnTo>
                    <a:pt x="73" y="16"/>
                  </a:lnTo>
                  <a:lnTo>
                    <a:pt x="69" y="14"/>
                  </a:lnTo>
                  <a:lnTo>
                    <a:pt x="69" y="13"/>
                  </a:lnTo>
                  <a:lnTo>
                    <a:pt x="69" y="11"/>
                  </a:lnTo>
                  <a:lnTo>
                    <a:pt x="68" y="9"/>
                  </a:lnTo>
                  <a:lnTo>
                    <a:pt x="66" y="6"/>
                  </a:lnTo>
                  <a:lnTo>
                    <a:pt x="65" y="5"/>
                  </a:lnTo>
                  <a:lnTo>
                    <a:pt x="63" y="3"/>
                  </a:lnTo>
                  <a:lnTo>
                    <a:pt x="61" y="5"/>
                  </a:lnTo>
                  <a:lnTo>
                    <a:pt x="58" y="6"/>
                  </a:lnTo>
                  <a:lnTo>
                    <a:pt x="58" y="5"/>
                  </a:lnTo>
                  <a:lnTo>
                    <a:pt x="58" y="3"/>
                  </a:lnTo>
                  <a:lnTo>
                    <a:pt x="57" y="1"/>
                  </a:lnTo>
                  <a:lnTo>
                    <a:pt x="55" y="1"/>
                  </a:lnTo>
                  <a:lnTo>
                    <a:pt x="54" y="3"/>
                  </a:lnTo>
                  <a:lnTo>
                    <a:pt x="50" y="3"/>
                  </a:lnTo>
                  <a:lnTo>
                    <a:pt x="47" y="1"/>
                  </a:lnTo>
                  <a:lnTo>
                    <a:pt x="44" y="0"/>
                  </a:lnTo>
                  <a:lnTo>
                    <a:pt x="41" y="1"/>
                  </a:lnTo>
                  <a:lnTo>
                    <a:pt x="38" y="3"/>
                  </a:lnTo>
                  <a:lnTo>
                    <a:pt x="38" y="5"/>
                  </a:lnTo>
                  <a:lnTo>
                    <a:pt x="38" y="5"/>
                  </a:lnTo>
                  <a:lnTo>
                    <a:pt x="36" y="5"/>
                  </a:lnTo>
                  <a:lnTo>
                    <a:pt x="36" y="6"/>
                  </a:lnTo>
                  <a:lnTo>
                    <a:pt x="35" y="8"/>
                  </a:lnTo>
                  <a:lnTo>
                    <a:pt x="31" y="11"/>
                  </a:lnTo>
                  <a:lnTo>
                    <a:pt x="28" y="13"/>
                  </a:lnTo>
                  <a:lnTo>
                    <a:pt x="27" y="14"/>
                  </a:lnTo>
                  <a:lnTo>
                    <a:pt x="23" y="16"/>
                  </a:lnTo>
                  <a:lnTo>
                    <a:pt x="25" y="19"/>
                  </a:lnTo>
                  <a:lnTo>
                    <a:pt x="27" y="25"/>
                  </a:lnTo>
                  <a:lnTo>
                    <a:pt x="27" y="27"/>
                  </a:lnTo>
                  <a:lnTo>
                    <a:pt x="25" y="32"/>
                  </a:lnTo>
                  <a:lnTo>
                    <a:pt x="25" y="36"/>
                  </a:lnTo>
                  <a:lnTo>
                    <a:pt x="25" y="40"/>
                  </a:lnTo>
                  <a:lnTo>
                    <a:pt x="23" y="43"/>
                  </a:lnTo>
                  <a:lnTo>
                    <a:pt x="19" y="47"/>
                  </a:lnTo>
                  <a:lnTo>
                    <a:pt x="9" y="54"/>
                  </a:lnTo>
                  <a:lnTo>
                    <a:pt x="3" y="55"/>
                  </a:lnTo>
                  <a:lnTo>
                    <a:pt x="0" y="59"/>
                  </a:lnTo>
                  <a:lnTo>
                    <a:pt x="3" y="68"/>
                  </a:lnTo>
                  <a:lnTo>
                    <a:pt x="3" y="70"/>
                  </a:lnTo>
                  <a:lnTo>
                    <a:pt x="3" y="71"/>
                  </a:lnTo>
                  <a:lnTo>
                    <a:pt x="3" y="73"/>
                  </a:lnTo>
                  <a:lnTo>
                    <a:pt x="6" y="74"/>
                  </a:lnTo>
                  <a:lnTo>
                    <a:pt x="6" y="74"/>
                  </a:lnTo>
                  <a:lnTo>
                    <a:pt x="3" y="76"/>
                  </a:lnTo>
                  <a:lnTo>
                    <a:pt x="12" y="78"/>
                  </a:lnTo>
                  <a:lnTo>
                    <a:pt x="20" y="79"/>
                  </a:lnTo>
                  <a:lnTo>
                    <a:pt x="20" y="81"/>
                  </a:lnTo>
                  <a:lnTo>
                    <a:pt x="33" y="86"/>
                  </a:lnTo>
                  <a:lnTo>
                    <a:pt x="44" y="93"/>
                  </a:lnTo>
                  <a:lnTo>
                    <a:pt x="50" y="98"/>
                  </a:lnTo>
                  <a:lnTo>
                    <a:pt x="68" y="109"/>
                  </a:lnTo>
                  <a:lnTo>
                    <a:pt x="73" y="116"/>
                  </a:lnTo>
                  <a:lnTo>
                    <a:pt x="76" y="117"/>
                  </a:lnTo>
                  <a:lnTo>
                    <a:pt x="76" y="117"/>
                  </a:lnTo>
                  <a:lnTo>
                    <a:pt x="79" y="117"/>
                  </a:lnTo>
                  <a:lnTo>
                    <a:pt x="96" y="120"/>
                  </a:lnTo>
                  <a:lnTo>
                    <a:pt x="98" y="119"/>
                  </a:lnTo>
                  <a:lnTo>
                    <a:pt x="101" y="116"/>
                  </a:lnTo>
                  <a:lnTo>
                    <a:pt x="103" y="106"/>
                  </a:lnTo>
                  <a:lnTo>
                    <a:pt x="106" y="106"/>
                  </a:lnTo>
                  <a:lnTo>
                    <a:pt x="109" y="106"/>
                  </a:lnTo>
                  <a:lnTo>
                    <a:pt x="112" y="106"/>
                  </a:lnTo>
                  <a:lnTo>
                    <a:pt x="114" y="106"/>
                  </a:lnTo>
                  <a:lnTo>
                    <a:pt x="115" y="106"/>
                  </a:lnTo>
                  <a:lnTo>
                    <a:pt x="117" y="106"/>
                  </a:lnTo>
                  <a:lnTo>
                    <a:pt x="120" y="106"/>
                  </a:lnTo>
                  <a:lnTo>
                    <a:pt x="120" y="106"/>
                  </a:lnTo>
                  <a:lnTo>
                    <a:pt x="120" y="106"/>
                  </a:lnTo>
                  <a:lnTo>
                    <a:pt x="120" y="106"/>
                  </a:lnTo>
                  <a:lnTo>
                    <a:pt x="120" y="106"/>
                  </a:lnTo>
                  <a:lnTo>
                    <a:pt x="120" y="106"/>
                  </a:lnTo>
                  <a:lnTo>
                    <a:pt x="120" y="106"/>
                  </a:lnTo>
                  <a:lnTo>
                    <a:pt x="120" y="106"/>
                  </a:lnTo>
                  <a:lnTo>
                    <a:pt x="120" y="106"/>
                  </a:lnTo>
                  <a:lnTo>
                    <a:pt x="120" y="10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8" name="Freeform 327">
              <a:extLst>
                <a:ext uri="{FF2B5EF4-FFF2-40B4-BE49-F238E27FC236}">
                  <a16:creationId xmlns:a16="http://schemas.microsoft.com/office/drawing/2014/main" id="{F5D21B38-C96A-EA1E-493E-11FE1B73D51D}"/>
                </a:ext>
              </a:extLst>
            </p:cNvPr>
            <p:cNvSpPr>
              <a:spLocks/>
            </p:cNvSpPr>
            <p:nvPr/>
          </p:nvSpPr>
          <p:spPr bwMode="auto">
            <a:xfrm>
              <a:off x="6735935" y="2991053"/>
              <a:ext cx="594415" cy="513664"/>
            </a:xfrm>
            <a:custGeom>
              <a:avLst/>
              <a:gdLst>
                <a:gd name="T0" fmla="*/ 260 w 265"/>
                <a:gd name="T1" fmla="*/ 137 h 229"/>
                <a:gd name="T2" fmla="*/ 225 w 265"/>
                <a:gd name="T3" fmla="*/ 132 h 229"/>
                <a:gd name="T4" fmla="*/ 212 w 265"/>
                <a:gd name="T5" fmla="*/ 113 h 229"/>
                <a:gd name="T6" fmla="*/ 209 w 265"/>
                <a:gd name="T7" fmla="*/ 110 h 229"/>
                <a:gd name="T8" fmla="*/ 204 w 265"/>
                <a:gd name="T9" fmla="*/ 110 h 229"/>
                <a:gd name="T10" fmla="*/ 195 w 265"/>
                <a:gd name="T11" fmla="*/ 95 h 229"/>
                <a:gd name="T12" fmla="*/ 190 w 265"/>
                <a:gd name="T13" fmla="*/ 87 h 229"/>
                <a:gd name="T14" fmla="*/ 193 w 265"/>
                <a:gd name="T15" fmla="*/ 83 h 229"/>
                <a:gd name="T16" fmla="*/ 184 w 265"/>
                <a:gd name="T17" fmla="*/ 75 h 229"/>
                <a:gd name="T18" fmla="*/ 179 w 265"/>
                <a:gd name="T19" fmla="*/ 68 h 229"/>
                <a:gd name="T20" fmla="*/ 173 w 265"/>
                <a:gd name="T21" fmla="*/ 64 h 229"/>
                <a:gd name="T22" fmla="*/ 169 w 265"/>
                <a:gd name="T23" fmla="*/ 52 h 229"/>
                <a:gd name="T24" fmla="*/ 160 w 265"/>
                <a:gd name="T25" fmla="*/ 52 h 229"/>
                <a:gd name="T26" fmla="*/ 155 w 265"/>
                <a:gd name="T27" fmla="*/ 44 h 229"/>
                <a:gd name="T28" fmla="*/ 141 w 265"/>
                <a:gd name="T29" fmla="*/ 44 h 229"/>
                <a:gd name="T30" fmla="*/ 117 w 265"/>
                <a:gd name="T31" fmla="*/ 40 h 229"/>
                <a:gd name="T32" fmla="*/ 79 w 265"/>
                <a:gd name="T33" fmla="*/ 10 h 229"/>
                <a:gd name="T34" fmla="*/ 50 w 265"/>
                <a:gd name="T35" fmla="*/ 0 h 229"/>
                <a:gd name="T36" fmla="*/ 38 w 265"/>
                <a:gd name="T37" fmla="*/ 24 h 229"/>
                <a:gd name="T38" fmla="*/ 33 w 265"/>
                <a:gd name="T39" fmla="*/ 30 h 229"/>
                <a:gd name="T40" fmla="*/ 20 w 265"/>
                <a:gd name="T41" fmla="*/ 37 h 229"/>
                <a:gd name="T42" fmla="*/ 4 w 265"/>
                <a:gd name="T43" fmla="*/ 40 h 229"/>
                <a:gd name="T44" fmla="*/ 1 w 265"/>
                <a:gd name="T45" fmla="*/ 52 h 229"/>
                <a:gd name="T46" fmla="*/ 1 w 265"/>
                <a:gd name="T47" fmla="*/ 59 h 229"/>
                <a:gd name="T48" fmla="*/ 9 w 265"/>
                <a:gd name="T49" fmla="*/ 65 h 229"/>
                <a:gd name="T50" fmla="*/ 27 w 265"/>
                <a:gd name="T51" fmla="*/ 89 h 229"/>
                <a:gd name="T52" fmla="*/ 34 w 265"/>
                <a:gd name="T53" fmla="*/ 100 h 229"/>
                <a:gd name="T54" fmla="*/ 36 w 265"/>
                <a:gd name="T55" fmla="*/ 110 h 229"/>
                <a:gd name="T56" fmla="*/ 44 w 265"/>
                <a:gd name="T57" fmla="*/ 116 h 229"/>
                <a:gd name="T58" fmla="*/ 55 w 265"/>
                <a:gd name="T59" fmla="*/ 132 h 229"/>
                <a:gd name="T60" fmla="*/ 58 w 265"/>
                <a:gd name="T61" fmla="*/ 138 h 229"/>
                <a:gd name="T62" fmla="*/ 60 w 265"/>
                <a:gd name="T63" fmla="*/ 156 h 229"/>
                <a:gd name="T64" fmla="*/ 73 w 265"/>
                <a:gd name="T65" fmla="*/ 170 h 229"/>
                <a:gd name="T66" fmla="*/ 82 w 265"/>
                <a:gd name="T67" fmla="*/ 181 h 229"/>
                <a:gd name="T68" fmla="*/ 88 w 265"/>
                <a:gd name="T69" fmla="*/ 194 h 229"/>
                <a:gd name="T70" fmla="*/ 100 w 265"/>
                <a:gd name="T71" fmla="*/ 210 h 229"/>
                <a:gd name="T72" fmla="*/ 104 w 265"/>
                <a:gd name="T73" fmla="*/ 218 h 229"/>
                <a:gd name="T74" fmla="*/ 107 w 265"/>
                <a:gd name="T75" fmla="*/ 229 h 229"/>
                <a:gd name="T76" fmla="*/ 114 w 265"/>
                <a:gd name="T77" fmla="*/ 221 h 229"/>
                <a:gd name="T78" fmla="*/ 117 w 265"/>
                <a:gd name="T79" fmla="*/ 211 h 229"/>
                <a:gd name="T80" fmla="*/ 131 w 265"/>
                <a:gd name="T81" fmla="*/ 211 h 229"/>
                <a:gd name="T82" fmla="*/ 157 w 265"/>
                <a:gd name="T83" fmla="*/ 213 h 229"/>
                <a:gd name="T84" fmla="*/ 163 w 265"/>
                <a:gd name="T85" fmla="*/ 218 h 229"/>
                <a:gd name="T86" fmla="*/ 173 w 265"/>
                <a:gd name="T87" fmla="*/ 203 h 229"/>
                <a:gd name="T88" fmla="*/ 192 w 265"/>
                <a:gd name="T89" fmla="*/ 194 h 229"/>
                <a:gd name="T90" fmla="*/ 260 w 265"/>
                <a:gd name="T91" fmla="*/ 175 h 229"/>
                <a:gd name="T92" fmla="*/ 265 w 265"/>
                <a:gd name="T93" fmla="*/ 149 h 229"/>
                <a:gd name="T94" fmla="*/ 263 w 265"/>
                <a:gd name="T95" fmla="*/ 143 h 229"/>
                <a:gd name="T96" fmla="*/ 263 w 265"/>
                <a:gd name="T97" fmla="*/ 1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5" h="229">
                  <a:moveTo>
                    <a:pt x="263" y="143"/>
                  </a:moveTo>
                  <a:lnTo>
                    <a:pt x="260" y="140"/>
                  </a:lnTo>
                  <a:lnTo>
                    <a:pt x="260" y="137"/>
                  </a:lnTo>
                  <a:lnTo>
                    <a:pt x="260" y="137"/>
                  </a:lnTo>
                  <a:lnTo>
                    <a:pt x="257" y="135"/>
                  </a:lnTo>
                  <a:lnTo>
                    <a:pt x="257" y="137"/>
                  </a:lnTo>
                  <a:lnTo>
                    <a:pt x="244" y="135"/>
                  </a:lnTo>
                  <a:lnTo>
                    <a:pt x="225" y="132"/>
                  </a:lnTo>
                  <a:lnTo>
                    <a:pt x="222" y="127"/>
                  </a:lnTo>
                  <a:lnTo>
                    <a:pt x="214" y="118"/>
                  </a:lnTo>
                  <a:lnTo>
                    <a:pt x="214" y="114"/>
                  </a:lnTo>
                  <a:lnTo>
                    <a:pt x="212" y="113"/>
                  </a:lnTo>
                  <a:lnTo>
                    <a:pt x="209" y="113"/>
                  </a:lnTo>
                  <a:lnTo>
                    <a:pt x="209" y="111"/>
                  </a:lnTo>
                  <a:lnTo>
                    <a:pt x="211" y="110"/>
                  </a:lnTo>
                  <a:lnTo>
                    <a:pt x="209" y="110"/>
                  </a:lnTo>
                  <a:lnTo>
                    <a:pt x="208" y="110"/>
                  </a:lnTo>
                  <a:lnTo>
                    <a:pt x="208" y="110"/>
                  </a:lnTo>
                  <a:lnTo>
                    <a:pt x="208" y="110"/>
                  </a:lnTo>
                  <a:lnTo>
                    <a:pt x="204" y="110"/>
                  </a:lnTo>
                  <a:lnTo>
                    <a:pt x="201" y="106"/>
                  </a:lnTo>
                  <a:lnTo>
                    <a:pt x="201" y="103"/>
                  </a:lnTo>
                  <a:lnTo>
                    <a:pt x="198" y="97"/>
                  </a:lnTo>
                  <a:lnTo>
                    <a:pt x="195" y="95"/>
                  </a:lnTo>
                  <a:lnTo>
                    <a:pt x="193" y="92"/>
                  </a:lnTo>
                  <a:lnTo>
                    <a:pt x="195" y="94"/>
                  </a:lnTo>
                  <a:lnTo>
                    <a:pt x="192" y="89"/>
                  </a:lnTo>
                  <a:lnTo>
                    <a:pt x="190" y="87"/>
                  </a:lnTo>
                  <a:lnTo>
                    <a:pt x="190" y="86"/>
                  </a:lnTo>
                  <a:lnTo>
                    <a:pt x="192" y="87"/>
                  </a:lnTo>
                  <a:lnTo>
                    <a:pt x="193" y="86"/>
                  </a:lnTo>
                  <a:lnTo>
                    <a:pt x="193" y="83"/>
                  </a:lnTo>
                  <a:lnTo>
                    <a:pt x="192" y="81"/>
                  </a:lnTo>
                  <a:lnTo>
                    <a:pt x="190" y="78"/>
                  </a:lnTo>
                  <a:lnTo>
                    <a:pt x="187" y="75"/>
                  </a:lnTo>
                  <a:lnTo>
                    <a:pt x="184" y="75"/>
                  </a:lnTo>
                  <a:lnTo>
                    <a:pt x="184" y="71"/>
                  </a:lnTo>
                  <a:lnTo>
                    <a:pt x="182" y="71"/>
                  </a:lnTo>
                  <a:lnTo>
                    <a:pt x="181" y="71"/>
                  </a:lnTo>
                  <a:lnTo>
                    <a:pt x="179" y="68"/>
                  </a:lnTo>
                  <a:lnTo>
                    <a:pt x="179" y="65"/>
                  </a:lnTo>
                  <a:lnTo>
                    <a:pt x="177" y="65"/>
                  </a:lnTo>
                  <a:lnTo>
                    <a:pt x="174" y="65"/>
                  </a:lnTo>
                  <a:lnTo>
                    <a:pt x="173" y="64"/>
                  </a:lnTo>
                  <a:lnTo>
                    <a:pt x="173" y="62"/>
                  </a:lnTo>
                  <a:lnTo>
                    <a:pt x="173" y="59"/>
                  </a:lnTo>
                  <a:lnTo>
                    <a:pt x="169" y="56"/>
                  </a:lnTo>
                  <a:lnTo>
                    <a:pt x="169" y="52"/>
                  </a:lnTo>
                  <a:lnTo>
                    <a:pt x="166" y="52"/>
                  </a:lnTo>
                  <a:lnTo>
                    <a:pt x="166" y="51"/>
                  </a:lnTo>
                  <a:lnTo>
                    <a:pt x="160" y="52"/>
                  </a:lnTo>
                  <a:lnTo>
                    <a:pt x="160" y="52"/>
                  </a:lnTo>
                  <a:lnTo>
                    <a:pt x="160" y="52"/>
                  </a:lnTo>
                  <a:lnTo>
                    <a:pt x="158" y="51"/>
                  </a:lnTo>
                  <a:lnTo>
                    <a:pt x="157" y="46"/>
                  </a:lnTo>
                  <a:lnTo>
                    <a:pt x="155" y="44"/>
                  </a:lnTo>
                  <a:lnTo>
                    <a:pt x="154" y="44"/>
                  </a:lnTo>
                  <a:lnTo>
                    <a:pt x="146" y="43"/>
                  </a:lnTo>
                  <a:lnTo>
                    <a:pt x="144" y="43"/>
                  </a:lnTo>
                  <a:lnTo>
                    <a:pt x="141" y="44"/>
                  </a:lnTo>
                  <a:lnTo>
                    <a:pt x="123" y="41"/>
                  </a:lnTo>
                  <a:lnTo>
                    <a:pt x="122" y="41"/>
                  </a:lnTo>
                  <a:lnTo>
                    <a:pt x="120" y="41"/>
                  </a:lnTo>
                  <a:lnTo>
                    <a:pt x="117" y="40"/>
                  </a:lnTo>
                  <a:lnTo>
                    <a:pt x="112" y="33"/>
                  </a:lnTo>
                  <a:lnTo>
                    <a:pt x="96" y="22"/>
                  </a:lnTo>
                  <a:lnTo>
                    <a:pt x="90" y="17"/>
                  </a:lnTo>
                  <a:lnTo>
                    <a:pt x="79" y="10"/>
                  </a:lnTo>
                  <a:lnTo>
                    <a:pt x="66" y="5"/>
                  </a:lnTo>
                  <a:lnTo>
                    <a:pt x="66" y="3"/>
                  </a:lnTo>
                  <a:lnTo>
                    <a:pt x="58" y="2"/>
                  </a:lnTo>
                  <a:lnTo>
                    <a:pt x="50" y="0"/>
                  </a:lnTo>
                  <a:lnTo>
                    <a:pt x="49" y="0"/>
                  </a:lnTo>
                  <a:lnTo>
                    <a:pt x="38" y="6"/>
                  </a:lnTo>
                  <a:lnTo>
                    <a:pt x="25" y="10"/>
                  </a:lnTo>
                  <a:lnTo>
                    <a:pt x="38" y="24"/>
                  </a:lnTo>
                  <a:lnTo>
                    <a:pt x="34" y="25"/>
                  </a:lnTo>
                  <a:lnTo>
                    <a:pt x="34" y="27"/>
                  </a:lnTo>
                  <a:lnTo>
                    <a:pt x="33" y="30"/>
                  </a:lnTo>
                  <a:lnTo>
                    <a:pt x="33" y="30"/>
                  </a:lnTo>
                  <a:lnTo>
                    <a:pt x="31" y="30"/>
                  </a:lnTo>
                  <a:lnTo>
                    <a:pt x="27" y="30"/>
                  </a:lnTo>
                  <a:lnTo>
                    <a:pt x="23" y="33"/>
                  </a:lnTo>
                  <a:lnTo>
                    <a:pt x="20" y="37"/>
                  </a:lnTo>
                  <a:lnTo>
                    <a:pt x="19" y="40"/>
                  </a:lnTo>
                  <a:lnTo>
                    <a:pt x="15" y="41"/>
                  </a:lnTo>
                  <a:lnTo>
                    <a:pt x="9" y="41"/>
                  </a:lnTo>
                  <a:lnTo>
                    <a:pt x="4" y="40"/>
                  </a:lnTo>
                  <a:lnTo>
                    <a:pt x="3" y="40"/>
                  </a:lnTo>
                  <a:lnTo>
                    <a:pt x="1" y="43"/>
                  </a:lnTo>
                  <a:lnTo>
                    <a:pt x="1" y="48"/>
                  </a:lnTo>
                  <a:lnTo>
                    <a:pt x="1" y="52"/>
                  </a:lnTo>
                  <a:lnTo>
                    <a:pt x="0" y="56"/>
                  </a:lnTo>
                  <a:lnTo>
                    <a:pt x="0" y="57"/>
                  </a:lnTo>
                  <a:lnTo>
                    <a:pt x="0" y="59"/>
                  </a:lnTo>
                  <a:lnTo>
                    <a:pt x="1" y="59"/>
                  </a:lnTo>
                  <a:lnTo>
                    <a:pt x="3" y="57"/>
                  </a:lnTo>
                  <a:lnTo>
                    <a:pt x="6" y="59"/>
                  </a:lnTo>
                  <a:lnTo>
                    <a:pt x="9" y="60"/>
                  </a:lnTo>
                  <a:lnTo>
                    <a:pt x="9" y="65"/>
                  </a:lnTo>
                  <a:lnTo>
                    <a:pt x="15" y="75"/>
                  </a:lnTo>
                  <a:lnTo>
                    <a:pt x="22" y="84"/>
                  </a:lnTo>
                  <a:lnTo>
                    <a:pt x="25" y="87"/>
                  </a:lnTo>
                  <a:lnTo>
                    <a:pt x="27" y="89"/>
                  </a:lnTo>
                  <a:lnTo>
                    <a:pt x="27" y="91"/>
                  </a:lnTo>
                  <a:lnTo>
                    <a:pt x="28" y="92"/>
                  </a:lnTo>
                  <a:lnTo>
                    <a:pt x="30" y="95"/>
                  </a:lnTo>
                  <a:lnTo>
                    <a:pt x="34" y="100"/>
                  </a:lnTo>
                  <a:lnTo>
                    <a:pt x="34" y="103"/>
                  </a:lnTo>
                  <a:lnTo>
                    <a:pt x="34" y="103"/>
                  </a:lnTo>
                  <a:lnTo>
                    <a:pt x="33" y="106"/>
                  </a:lnTo>
                  <a:lnTo>
                    <a:pt x="36" y="110"/>
                  </a:lnTo>
                  <a:lnTo>
                    <a:pt x="38" y="111"/>
                  </a:lnTo>
                  <a:lnTo>
                    <a:pt x="38" y="113"/>
                  </a:lnTo>
                  <a:lnTo>
                    <a:pt x="41" y="114"/>
                  </a:lnTo>
                  <a:lnTo>
                    <a:pt x="44" y="116"/>
                  </a:lnTo>
                  <a:lnTo>
                    <a:pt x="49" y="121"/>
                  </a:lnTo>
                  <a:lnTo>
                    <a:pt x="52" y="125"/>
                  </a:lnTo>
                  <a:lnTo>
                    <a:pt x="54" y="130"/>
                  </a:lnTo>
                  <a:lnTo>
                    <a:pt x="55" y="132"/>
                  </a:lnTo>
                  <a:lnTo>
                    <a:pt x="57" y="132"/>
                  </a:lnTo>
                  <a:lnTo>
                    <a:pt x="55" y="132"/>
                  </a:lnTo>
                  <a:lnTo>
                    <a:pt x="57" y="135"/>
                  </a:lnTo>
                  <a:lnTo>
                    <a:pt x="58" y="138"/>
                  </a:lnTo>
                  <a:lnTo>
                    <a:pt x="58" y="143"/>
                  </a:lnTo>
                  <a:lnTo>
                    <a:pt x="58" y="148"/>
                  </a:lnTo>
                  <a:lnTo>
                    <a:pt x="60" y="154"/>
                  </a:lnTo>
                  <a:lnTo>
                    <a:pt x="60" y="156"/>
                  </a:lnTo>
                  <a:lnTo>
                    <a:pt x="61" y="159"/>
                  </a:lnTo>
                  <a:lnTo>
                    <a:pt x="65" y="165"/>
                  </a:lnTo>
                  <a:lnTo>
                    <a:pt x="69" y="168"/>
                  </a:lnTo>
                  <a:lnTo>
                    <a:pt x="73" y="170"/>
                  </a:lnTo>
                  <a:lnTo>
                    <a:pt x="76" y="171"/>
                  </a:lnTo>
                  <a:lnTo>
                    <a:pt x="79" y="176"/>
                  </a:lnTo>
                  <a:lnTo>
                    <a:pt x="82" y="178"/>
                  </a:lnTo>
                  <a:lnTo>
                    <a:pt x="82" y="181"/>
                  </a:lnTo>
                  <a:lnTo>
                    <a:pt x="84" y="183"/>
                  </a:lnTo>
                  <a:lnTo>
                    <a:pt x="85" y="186"/>
                  </a:lnTo>
                  <a:lnTo>
                    <a:pt x="87" y="191"/>
                  </a:lnTo>
                  <a:lnTo>
                    <a:pt x="88" y="194"/>
                  </a:lnTo>
                  <a:lnTo>
                    <a:pt x="90" y="197"/>
                  </a:lnTo>
                  <a:lnTo>
                    <a:pt x="92" y="200"/>
                  </a:lnTo>
                  <a:lnTo>
                    <a:pt x="93" y="205"/>
                  </a:lnTo>
                  <a:lnTo>
                    <a:pt x="100" y="210"/>
                  </a:lnTo>
                  <a:lnTo>
                    <a:pt x="103" y="213"/>
                  </a:lnTo>
                  <a:lnTo>
                    <a:pt x="103" y="216"/>
                  </a:lnTo>
                  <a:lnTo>
                    <a:pt x="103" y="216"/>
                  </a:lnTo>
                  <a:lnTo>
                    <a:pt x="104" y="218"/>
                  </a:lnTo>
                  <a:lnTo>
                    <a:pt x="106" y="221"/>
                  </a:lnTo>
                  <a:lnTo>
                    <a:pt x="107" y="222"/>
                  </a:lnTo>
                  <a:lnTo>
                    <a:pt x="107" y="225"/>
                  </a:lnTo>
                  <a:lnTo>
                    <a:pt x="107" y="229"/>
                  </a:lnTo>
                  <a:lnTo>
                    <a:pt x="109" y="225"/>
                  </a:lnTo>
                  <a:lnTo>
                    <a:pt x="111" y="225"/>
                  </a:lnTo>
                  <a:lnTo>
                    <a:pt x="114" y="222"/>
                  </a:lnTo>
                  <a:lnTo>
                    <a:pt x="114" y="221"/>
                  </a:lnTo>
                  <a:lnTo>
                    <a:pt x="112" y="219"/>
                  </a:lnTo>
                  <a:lnTo>
                    <a:pt x="112" y="213"/>
                  </a:lnTo>
                  <a:lnTo>
                    <a:pt x="114" y="211"/>
                  </a:lnTo>
                  <a:lnTo>
                    <a:pt x="117" y="211"/>
                  </a:lnTo>
                  <a:lnTo>
                    <a:pt x="119" y="211"/>
                  </a:lnTo>
                  <a:lnTo>
                    <a:pt x="122" y="213"/>
                  </a:lnTo>
                  <a:lnTo>
                    <a:pt x="127" y="213"/>
                  </a:lnTo>
                  <a:lnTo>
                    <a:pt x="131" y="211"/>
                  </a:lnTo>
                  <a:lnTo>
                    <a:pt x="138" y="211"/>
                  </a:lnTo>
                  <a:lnTo>
                    <a:pt x="141" y="211"/>
                  </a:lnTo>
                  <a:lnTo>
                    <a:pt x="144" y="213"/>
                  </a:lnTo>
                  <a:lnTo>
                    <a:pt x="157" y="213"/>
                  </a:lnTo>
                  <a:lnTo>
                    <a:pt x="158" y="214"/>
                  </a:lnTo>
                  <a:lnTo>
                    <a:pt x="160" y="216"/>
                  </a:lnTo>
                  <a:lnTo>
                    <a:pt x="160" y="218"/>
                  </a:lnTo>
                  <a:lnTo>
                    <a:pt x="163" y="218"/>
                  </a:lnTo>
                  <a:lnTo>
                    <a:pt x="166" y="218"/>
                  </a:lnTo>
                  <a:lnTo>
                    <a:pt x="166" y="214"/>
                  </a:lnTo>
                  <a:lnTo>
                    <a:pt x="169" y="208"/>
                  </a:lnTo>
                  <a:lnTo>
                    <a:pt x="173" y="203"/>
                  </a:lnTo>
                  <a:lnTo>
                    <a:pt x="176" y="200"/>
                  </a:lnTo>
                  <a:lnTo>
                    <a:pt x="181" y="197"/>
                  </a:lnTo>
                  <a:lnTo>
                    <a:pt x="187" y="194"/>
                  </a:lnTo>
                  <a:lnTo>
                    <a:pt x="192" y="194"/>
                  </a:lnTo>
                  <a:lnTo>
                    <a:pt x="222" y="187"/>
                  </a:lnTo>
                  <a:lnTo>
                    <a:pt x="222" y="187"/>
                  </a:lnTo>
                  <a:lnTo>
                    <a:pt x="244" y="181"/>
                  </a:lnTo>
                  <a:lnTo>
                    <a:pt x="260" y="175"/>
                  </a:lnTo>
                  <a:lnTo>
                    <a:pt x="260" y="173"/>
                  </a:lnTo>
                  <a:lnTo>
                    <a:pt x="260" y="171"/>
                  </a:lnTo>
                  <a:lnTo>
                    <a:pt x="263" y="156"/>
                  </a:lnTo>
                  <a:lnTo>
                    <a:pt x="265" y="149"/>
                  </a:lnTo>
                  <a:lnTo>
                    <a:pt x="265" y="146"/>
                  </a:lnTo>
                  <a:lnTo>
                    <a:pt x="263" y="143"/>
                  </a:lnTo>
                  <a:lnTo>
                    <a:pt x="263" y="143"/>
                  </a:lnTo>
                  <a:lnTo>
                    <a:pt x="263" y="143"/>
                  </a:lnTo>
                  <a:lnTo>
                    <a:pt x="263" y="143"/>
                  </a:lnTo>
                  <a:lnTo>
                    <a:pt x="263" y="143"/>
                  </a:lnTo>
                  <a:lnTo>
                    <a:pt x="263" y="143"/>
                  </a:lnTo>
                  <a:lnTo>
                    <a:pt x="263" y="143"/>
                  </a:lnTo>
                  <a:lnTo>
                    <a:pt x="263" y="143"/>
                  </a:lnTo>
                  <a:lnTo>
                    <a:pt x="263" y="14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89" name="Freeform 329">
              <a:extLst>
                <a:ext uri="{FF2B5EF4-FFF2-40B4-BE49-F238E27FC236}">
                  <a16:creationId xmlns:a16="http://schemas.microsoft.com/office/drawing/2014/main" id="{1316278C-CBCF-35FF-EFA7-83FAD5CB0D25}"/>
                </a:ext>
              </a:extLst>
            </p:cNvPr>
            <p:cNvSpPr>
              <a:spLocks noEditPoints="1"/>
            </p:cNvSpPr>
            <p:nvPr/>
          </p:nvSpPr>
          <p:spPr bwMode="auto">
            <a:xfrm>
              <a:off x="6975944" y="3410508"/>
              <a:ext cx="338705" cy="217578"/>
            </a:xfrm>
            <a:custGeom>
              <a:avLst/>
              <a:gdLst>
                <a:gd name="T0" fmla="*/ 143 w 151"/>
                <a:gd name="T1" fmla="*/ 94 h 97"/>
                <a:gd name="T2" fmla="*/ 137 w 151"/>
                <a:gd name="T3" fmla="*/ 97 h 97"/>
                <a:gd name="T4" fmla="*/ 150 w 151"/>
                <a:gd name="T5" fmla="*/ 97 h 97"/>
                <a:gd name="T6" fmla="*/ 148 w 151"/>
                <a:gd name="T7" fmla="*/ 94 h 97"/>
                <a:gd name="T8" fmla="*/ 148 w 151"/>
                <a:gd name="T9" fmla="*/ 94 h 97"/>
                <a:gd name="T10" fmla="*/ 148 w 151"/>
                <a:gd name="T11" fmla="*/ 94 h 97"/>
                <a:gd name="T12" fmla="*/ 129 w 151"/>
                <a:gd name="T13" fmla="*/ 32 h 97"/>
                <a:gd name="T14" fmla="*/ 128 w 151"/>
                <a:gd name="T15" fmla="*/ 24 h 97"/>
                <a:gd name="T16" fmla="*/ 124 w 151"/>
                <a:gd name="T17" fmla="*/ 18 h 97"/>
                <a:gd name="T18" fmla="*/ 116 w 151"/>
                <a:gd name="T19" fmla="*/ 2 h 97"/>
                <a:gd name="T20" fmla="*/ 85 w 151"/>
                <a:gd name="T21" fmla="*/ 7 h 97"/>
                <a:gd name="T22" fmla="*/ 70 w 151"/>
                <a:gd name="T23" fmla="*/ 13 h 97"/>
                <a:gd name="T24" fmla="*/ 61 w 151"/>
                <a:gd name="T25" fmla="*/ 27 h 97"/>
                <a:gd name="T26" fmla="*/ 53 w 151"/>
                <a:gd name="T27" fmla="*/ 31 h 97"/>
                <a:gd name="T28" fmla="*/ 50 w 151"/>
                <a:gd name="T29" fmla="*/ 26 h 97"/>
                <a:gd name="T30" fmla="*/ 31 w 151"/>
                <a:gd name="T31" fmla="*/ 24 h 97"/>
                <a:gd name="T32" fmla="*/ 15 w 151"/>
                <a:gd name="T33" fmla="*/ 26 h 97"/>
                <a:gd name="T34" fmla="*/ 8 w 151"/>
                <a:gd name="T35" fmla="*/ 24 h 97"/>
                <a:gd name="T36" fmla="*/ 8 w 151"/>
                <a:gd name="T37" fmla="*/ 34 h 97"/>
                <a:gd name="T38" fmla="*/ 4 w 151"/>
                <a:gd name="T39" fmla="*/ 38 h 97"/>
                <a:gd name="T40" fmla="*/ 4 w 151"/>
                <a:gd name="T41" fmla="*/ 45 h 97"/>
                <a:gd name="T42" fmla="*/ 4 w 151"/>
                <a:gd name="T43" fmla="*/ 56 h 97"/>
                <a:gd name="T44" fmla="*/ 4 w 151"/>
                <a:gd name="T45" fmla="*/ 58 h 97"/>
                <a:gd name="T46" fmla="*/ 8 w 151"/>
                <a:gd name="T47" fmla="*/ 77 h 97"/>
                <a:gd name="T48" fmla="*/ 12 w 151"/>
                <a:gd name="T49" fmla="*/ 86 h 97"/>
                <a:gd name="T50" fmla="*/ 12 w 151"/>
                <a:gd name="T51" fmla="*/ 92 h 97"/>
                <a:gd name="T52" fmla="*/ 18 w 151"/>
                <a:gd name="T53" fmla="*/ 94 h 97"/>
                <a:gd name="T54" fmla="*/ 27 w 151"/>
                <a:gd name="T55" fmla="*/ 92 h 97"/>
                <a:gd name="T56" fmla="*/ 32 w 151"/>
                <a:gd name="T57" fmla="*/ 92 h 97"/>
                <a:gd name="T58" fmla="*/ 37 w 151"/>
                <a:gd name="T59" fmla="*/ 88 h 97"/>
                <a:gd name="T60" fmla="*/ 53 w 151"/>
                <a:gd name="T61" fmla="*/ 81 h 97"/>
                <a:gd name="T62" fmla="*/ 64 w 151"/>
                <a:gd name="T63" fmla="*/ 77 h 97"/>
                <a:gd name="T64" fmla="*/ 70 w 151"/>
                <a:gd name="T65" fmla="*/ 73 h 97"/>
                <a:gd name="T66" fmla="*/ 80 w 151"/>
                <a:gd name="T67" fmla="*/ 69 h 97"/>
                <a:gd name="T68" fmla="*/ 94 w 151"/>
                <a:gd name="T69" fmla="*/ 62 h 97"/>
                <a:gd name="T70" fmla="*/ 112 w 151"/>
                <a:gd name="T71" fmla="*/ 56 h 97"/>
                <a:gd name="T72" fmla="*/ 118 w 151"/>
                <a:gd name="T73" fmla="*/ 51 h 97"/>
                <a:gd name="T74" fmla="*/ 121 w 151"/>
                <a:gd name="T75" fmla="*/ 48 h 97"/>
                <a:gd name="T76" fmla="*/ 126 w 151"/>
                <a:gd name="T77" fmla="*/ 38 h 97"/>
                <a:gd name="T78" fmla="*/ 131 w 151"/>
                <a:gd name="T79" fmla="*/ 34 h 97"/>
                <a:gd name="T80" fmla="*/ 131 w 151"/>
                <a:gd name="T81" fmla="*/ 34 h 97"/>
                <a:gd name="T82" fmla="*/ 131 w 151"/>
                <a:gd name="T83" fmla="*/ 3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 h="97">
                  <a:moveTo>
                    <a:pt x="148" y="94"/>
                  </a:moveTo>
                  <a:lnTo>
                    <a:pt x="147" y="92"/>
                  </a:lnTo>
                  <a:lnTo>
                    <a:pt x="143" y="94"/>
                  </a:lnTo>
                  <a:lnTo>
                    <a:pt x="140" y="92"/>
                  </a:lnTo>
                  <a:lnTo>
                    <a:pt x="137" y="94"/>
                  </a:lnTo>
                  <a:lnTo>
                    <a:pt x="137" y="97"/>
                  </a:lnTo>
                  <a:lnTo>
                    <a:pt x="143" y="97"/>
                  </a:lnTo>
                  <a:lnTo>
                    <a:pt x="148" y="97"/>
                  </a:lnTo>
                  <a:lnTo>
                    <a:pt x="150" y="97"/>
                  </a:lnTo>
                  <a:lnTo>
                    <a:pt x="151" y="94"/>
                  </a:lnTo>
                  <a:lnTo>
                    <a:pt x="148" y="94"/>
                  </a:lnTo>
                  <a:lnTo>
                    <a:pt x="148" y="94"/>
                  </a:lnTo>
                  <a:lnTo>
                    <a:pt x="148" y="94"/>
                  </a:lnTo>
                  <a:lnTo>
                    <a:pt x="148" y="94"/>
                  </a:lnTo>
                  <a:lnTo>
                    <a:pt x="148" y="94"/>
                  </a:lnTo>
                  <a:lnTo>
                    <a:pt x="148" y="94"/>
                  </a:lnTo>
                  <a:lnTo>
                    <a:pt x="148" y="94"/>
                  </a:lnTo>
                  <a:lnTo>
                    <a:pt x="148" y="94"/>
                  </a:lnTo>
                  <a:lnTo>
                    <a:pt x="148" y="94"/>
                  </a:lnTo>
                  <a:close/>
                  <a:moveTo>
                    <a:pt x="131" y="34"/>
                  </a:moveTo>
                  <a:lnTo>
                    <a:pt x="129" y="32"/>
                  </a:lnTo>
                  <a:lnTo>
                    <a:pt x="129" y="29"/>
                  </a:lnTo>
                  <a:lnTo>
                    <a:pt x="128" y="27"/>
                  </a:lnTo>
                  <a:lnTo>
                    <a:pt x="128" y="24"/>
                  </a:lnTo>
                  <a:lnTo>
                    <a:pt x="126" y="23"/>
                  </a:lnTo>
                  <a:lnTo>
                    <a:pt x="124" y="21"/>
                  </a:lnTo>
                  <a:lnTo>
                    <a:pt x="124" y="18"/>
                  </a:lnTo>
                  <a:lnTo>
                    <a:pt x="121" y="13"/>
                  </a:lnTo>
                  <a:lnTo>
                    <a:pt x="121" y="13"/>
                  </a:lnTo>
                  <a:lnTo>
                    <a:pt x="116" y="2"/>
                  </a:lnTo>
                  <a:lnTo>
                    <a:pt x="115" y="0"/>
                  </a:lnTo>
                  <a:lnTo>
                    <a:pt x="116" y="0"/>
                  </a:lnTo>
                  <a:lnTo>
                    <a:pt x="85" y="7"/>
                  </a:lnTo>
                  <a:lnTo>
                    <a:pt x="80" y="7"/>
                  </a:lnTo>
                  <a:lnTo>
                    <a:pt x="74" y="10"/>
                  </a:lnTo>
                  <a:lnTo>
                    <a:pt x="70" y="13"/>
                  </a:lnTo>
                  <a:lnTo>
                    <a:pt x="66" y="16"/>
                  </a:lnTo>
                  <a:lnTo>
                    <a:pt x="64" y="21"/>
                  </a:lnTo>
                  <a:lnTo>
                    <a:pt x="61" y="27"/>
                  </a:lnTo>
                  <a:lnTo>
                    <a:pt x="59" y="31"/>
                  </a:lnTo>
                  <a:lnTo>
                    <a:pt x="56" y="31"/>
                  </a:lnTo>
                  <a:lnTo>
                    <a:pt x="53" y="31"/>
                  </a:lnTo>
                  <a:lnTo>
                    <a:pt x="53" y="29"/>
                  </a:lnTo>
                  <a:lnTo>
                    <a:pt x="51" y="27"/>
                  </a:lnTo>
                  <a:lnTo>
                    <a:pt x="50" y="26"/>
                  </a:lnTo>
                  <a:lnTo>
                    <a:pt x="39" y="26"/>
                  </a:lnTo>
                  <a:lnTo>
                    <a:pt x="35" y="24"/>
                  </a:lnTo>
                  <a:lnTo>
                    <a:pt x="31" y="24"/>
                  </a:lnTo>
                  <a:lnTo>
                    <a:pt x="24" y="24"/>
                  </a:lnTo>
                  <a:lnTo>
                    <a:pt x="21" y="26"/>
                  </a:lnTo>
                  <a:lnTo>
                    <a:pt x="15" y="26"/>
                  </a:lnTo>
                  <a:lnTo>
                    <a:pt x="12" y="24"/>
                  </a:lnTo>
                  <a:lnTo>
                    <a:pt x="12" y="24"/>
                  </a:lnTo>
                  <a:lnTo>
                    <a:pt x="8" y="24"/>
                  </a:lnTo>
                  <a:lnTo>
                    <a:pt x="7" y="26"/>
                  </a:lnTo>
                  <a:lnTo>
                    <a:pt x="7" y="32"/>
                  </a:lnTo>
                  <a:lnTo>
                    <a:pt x="8" y="34"/>
                  </a:lnTo>
                  <a:lnTo>
                    <a:pt x="8" y="35"/>
                  </a:lnTo>
                  <a:lnTo>
                    <a:pt x="5" y="38"/>
                  </a:lnTo>
                  <a:lnTo>
                    <a:pt x="4" y="38"/>
                  </a:lnTo>
                  <a:lnTo>
                    <a:pt x="2" y="42"/>
                  </a:lnTo>
                  <a:lnTo>
                    <a:pt x="4" y="42"/>
                  </a:lnTo>
                  <a:lnTo>
                    <a:pt x="4" y="45"/>
                  </a:lnTo>
                  <a:lnTo>
                    <a:pt x="2" y="50"/>
                  </a:lnTo>
                  <a:lnTo>
                    <a:pt x="2" y="53"/>
                  </a:lnTo>
                  <a:lnTo>
                    <a:pt x="4" y="56"/>
                  </a:lnTo>
                  <a:lnTo>
                    <a:pt x="2" y="56"/>
                  </a:lnTo>
                  <a:lnTo>
                    <a:pt x="0" y="56"/>
                  </a:lnTo>
                  <a:lnTo>
                    <a:pt x="4" y="58"/>
                  </a:lnTo>
                  <a:lnTo>
                    <a:pt x="5" y="62"/>
                  </a:lnTo>
                  <a:lnTo>
                    <a:pt x="8" y="73"/>
                  </a:lnTo>
                  <a:lnTo>
                    <a:pt x="8" y="77"/>
                  </a:lnTo>
                  <a:lnTo>
                    <a:pt x="8" y="80"/>
                  </a:lnTo>
                  <a:lnTo>
                    <a:pt x="8" y="83"/>
                  </a:lnTo>
                  <a:lnTo>
                    <a:pt x="12" y="86"/>
                  </a:lnTo>
                  <a:lnTo>
                    <a:pt x="12" y="88"/>
                  </a:lnTo>
                  <a:lnTo>
                    <a:pt x="12" y="91"/>
                  </a:lnTo>
                  <a:lnTo>
                    <a:pt x="12" y="92"/>
                  </a:lnTo>
                  <a:lnTo>
                    <a:pt x="15" y="92"/>
                  </a:lnTo>
                  <a:lnTo>
                    <a:pt x="18" y="92"/>
                  </a:lnTo>
                  <a:lnTo>
                    <a:pt x="18" y="94"/>
                  </a:lnTo>
                  <a:lnTo>
                    <a:pt x="21" y="94"/>
                  </a:lnTo>
                  <a:lnTo>
                    <a:pt x="26" y="92"/>
                  </a:lnTo>
                  <a:lnTo>
                    <a:pt x="27" y="92"/>
                  </a:lnTo>
                  <a:lnTo>
                    <a:pt x="31" y="92"/>
                  </a:lnTo>
                  <a:lnTo>
                    <a:pt x="31" y="91"/>
                  </a:lnTo>
                  <a:lnTo>
                    <a:pt x="32" y="92"/>
                  </a:lnTo>
                  <a:lnTo>
                    <a:pt x="34" y="89"/>
                  </a:lnTo>
                  <a:lnTo>
                    <a:pt x="35" y="88"/>
                  </a:lnTo>
                  <a:lnTo>
                    <a:pt x="37" y="88"/>
                  </a:lnTo>
                  <a:lnTo>
                    <a:pt x="40" y="85"/>
                  </a:lnTo>
                  <a:lnTo>
                    <a:pt x="42" y="83"/>
                  </a:lnTo>
                  <a:lnTo>
                    <a:pt x="53" y="81"/>
                  </a:lnTo>
                  <a:lnTo>
                    <a:pt x="56" y="81"/>
                  </a:lnTo>
                  <a:lnTo>
                    <a:pt x="59" y="80"/>
                  </a:lnTo>
                  <a:lnTo>
                    <a:pt x="64" y="77"/>
                  </a:lnTo>
                  <a:lnTo>
                    <a:pt x="67" y="75"/>
                  </a:lnTo>
                  <a:lnTo>
                    <a:pt x="70" y="73"/>
                  </a:lnTo>
                  <a:lnTo>
                    <a:pt x="70" y="73"/>
                  </a:lnTo>
                  <a:lnTo>
                    <a:pt x="74" y="73"/>
                  </a:lnTo>
                  <a:lnTo>
                    <a:pt x="78" y="72"/>
                  </a:lnTo>
                  <a:lnTo>
                    <a:pt x="80" y="69"/>
                  </a:lnTo>
                  <a:lnTo>
                    <a:pt x="83" y="65"/>
                  </a:lnTo>
                  <a:lnTo>
                    <a:pt x="88" y="64"/>
                  </a:lnTo>
                  <a:lnTo>
                    <a:pt x="94" y="62"/>
                  </a:lnTo>
                  <a:lnTo>
                    <a:pt x="101" y="61"/>
                  </a:lnTo>
                  <a:lnTo>
                    <a:pt x="105" y="59"/>
                  </a:lnTo>
                  <a:lnTo>
                    <a:pt x="112" y="56"/>
                  </a:lnTo>
                  <a:lnTo>
                    <a:pt x="113" y="54"/>
                  </a:lnTo>
                  <a:lnTo>
                    <a:pt x="115" y="53"/>
                  </a:lnTo>
                  <a:lnTo>
                    <a:pt x="118" y="51"/>
                  </a:lnTo>
                  <a:lnTo>
                    <a:pt x="120" y="51"/>
                  </a:lnTo>
                  <a:lnTo>
                    <a:pt x="121" y="50"/>
                  </a:lnTo>
                  <a:lnTo>
                    <a:pt x="121" y="48"/>
                  </a:lnTo>
                  <a:lnTo>
                    <a:pt x="121" y="42"/>
                  </a:lnTo>
                  <a:lnTo>
                    <a:pt x="123" y="42"/>
                  </a:lnTo>
                  <a:lnTo>
                    <a:pt x="126" y="38"/>
                  </a:lnTo>
                  <a:lnTo>
                    <a:pt x="132" y="35"/>
                  </a:lnTo>
                  <a:lnTo>
                    <a:pt x="131" y="35"/>
                  </a:lnTo>
                  <a:lnTo>
                    <a:pt x="131" y="34"/>
                  </a:lnTo>
                  <a:lnTo>
                    <a:pt x="131" y="34"/>
                  </a:lnTo>
                  <a:lnTo>
                    <a:pt x="131" y="34"/>
                  </a:lnTo>
                  <a:lnTo>
                    <a:pt x="131" y="34"/>
                  </a:lnTo>
                  <a:lnTo>
                    <a:pt x="131" y="34"/>
                  </a:lnTo>
                  <a:lnTo>
                    <a:pt x="131" y="34"/>
                  </a:lnTo>
                  <a:lnTo>
                    <a:pt x="131" y="34"/>
                  </a:lnTo>
                  <a:lnTo>
                    <a:pt x="131" y="34"/>
                  </a:lnTo>
                  <a:lnTo>
                    <a:pt x="131" y="3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0" name="Freeform 331">
              <a:extLst>
                <a:ext uri="{FF2B5EF4-FFF2-40B4-BE49-F238E27FC236}">
                  <a16:creationId xmlns:a16="http://schemas.microsoft.com/office/drawing/2014/main" id="{36ECB3A9-1A36-122E-0369-3CE28AA17F70}"/>
                </a:ext>
              </a:extLst>
            </p:cNvPr>
            <p:cNvSpPr>
              <a:spLocks/>
            </p:cNvSpPr>
            <p:nvPr/>
          </p:nvSpPr>
          <p:spPr bwMode="auto">
            <a:xfrm>
              <a:off x="7233897" y="3222090"/>
              <a:ext cx="213092" cy="266926"/>
            </a:xfrm>
            <a:custGeom>
              <a:avLst/>
              <a:gdLst>
                <a:gd name="T0" fmla="*/ 90 w 95"/>
                <a:gd name="T1" fmla="*/ 34 h 119"/>
                <a:gd name="T2" fmla="*/ 84 w 95"/>
                <a:gd name="T3" fmla="*/ 27 h 119"/>
                <a:gd name="T4" fmla="*/ 81 w 95"/>
                <a:gd name="T5" fmla="*/ 21 h 119"/>
                <a:gd name="T6" fmla="*/ 70 w 95"/>
                <a:gd name="T7" fmla="*/ 18 h 119"/>
                <a:gd name="T8" fmla="*/ 60 w 95"/>
                <a:gd name="T9" fmla="*/ 15 h 119"/>
                <a:gd name="T10" fmla="*/ 51 w 95"/>
                <a:gd name="T11" fmla="*/ 3 h 119"/>
                <a:gd name="T12" fmla="*/ 49 w 95"/>
                <a:gd name="T13" fmla="*/ 0 h 119"/>
                <a:gd name="T14" fmla="*/ 44 w 95"/>
                <a:gd name="T15" fmla="*/ 0 h 119"/>
                <a:gd name="T16" fmla="*/ 43 w 95"/>
                <a:gd name="T17" fmla="*/ 3 h 119"/>
                <a:gd name="T18" fmla="*/ 44 w 95"/>
                <a:gd name="T19" fmla="*/ 11 h 119"/>
                <a:gd name="T20" fmla="*/ 46 w 95"/>
                <a:gd name="T21" fmla="*/ 13 h 119"/>
                <a:gd name="T22" fmla="*/ 40 w 95"/>
                <a:gd name="T23" fmla="*/ 15 h 119"/>
                <a:gd name="T24" fmla="*/ 41 w 95"/>
                <a:gd name="T25" fmla="*/ 18 h 119"/>
                <a:gd name="T26" fmla="*/ 38 w 95"/>
                <a:gd name="T27" fmla="*/ 29 h 119"/>
                <a:gd name="T28" fmla="*/ 38 w 95"/>
                <a:gd name="T29" fmla="*/ 34 h 119"/>
                <a:gd name="T30" fmla="*/ 40 w 95"/>
                <a:gd name="T31" fmla="*/ 37 h 119"/>
                <a:gd name="T32" fmla="*/ 44 w 95"/>
                <a:gd name="T33" fmla="*/ 43 h 119"/>
                <a:gd name="T34" fmla="*/ 43 w 95"/>
                <a:gd name="T35" fmla="*/ 53 h 119"/>
                <a:gd name="T36" fmla="*/ 38 w 95"/>
                <a:gd name="T37" fmla="*/ 70 h 119"/>
                <a:gd name="T38" fmla="*/ 22 w 95"/>
                <a:gd name="T39" fmla="*/ 78 h 119"/>
                <a:gd name="T40" fmla="*/ 0 w 95"/>
                <a:gd name="T41" fmla="*/ 84 h 119"/>
                <a:gd name="T42" fmla="*/ 6 w 95"/>
                <a:gd name="T43" fmla="*/ 97 h 119"/>
                <a:gd name="T44" fmla="*/ 9 w 95"/>
                <a:gd name="T45" fmla="*/ 102 h 119"/>
                <a:gd name="T46" fmla="*/ 11 w 95"/>
                <a:gd name="T47" fmla="*/ 107 h 119"/>
                <a:gd name="T48" fmla="*/ 13 w 95"/>
                <a:gd name="T49" fmla="*/ 111 h 119"/>
                <a:gd name="T50" fmla="*/ 14 w 95"/>
                <a:gd name="T51" fmla="*/ 116 h 119"/>
                <a:gd name="T52" fmla="*/ 16 w 95"/>
                <a:gd name="T53" fmla="*/ 119 h 119"/>
                <a:gd name="T54" fmla="*/ 22 w 95"/>
                <a:gd name="T55" fmla="*/ 119 h 119"/>
                <a:gd name="T56" fmla="*/ 28 w 95"/>
                <a:gd name="T57" fmla="*/ 116 h 119"/>
                <a:gd name="T58" fmla="*/ 35 w 95"/>
                <a:gd name="T59" fmla="*/ 115 h 119"/>
                <a:gd name="T60" fmla="*/ 38 w 95"/>
                <a:gd name="T61" fmla="*/ 116 h 119"/>
                <a:gd name="T62" fmla="*/ 43 w 95"/>
                <a:gd name="T63" fmla="*/ 113 h 119"/>
                <a:gd name="T64" fmla="*/ 43 w 95"/>
                <a:gd name="T65" fmla="*/ 108 h 119"/>
                <a:gd name="T66" fmla="*/ 47 w 95"/>
                <a:gd name="T67" fmla="*/ 102 h 119"/>
                <a:gd name="T68" fmla="*/ 54 w 95"/>
                <a:gd name="T69" fmla="*/ 102 h 119"/>
                <a:gd name="T70" fmla="*/ 60 w 95"/>
                <a:gd name="T71" fmla="*/ 97 h 119"/>
                <a:gd name="T72" fmla="*/ 60 w 95"/>
                <a:gd name="T73" fmla="*/ 91 h 119"/>
                <a:gd name="T74" fmla="*/ 71 w 95"/>
                <a:gd name="T75" fmla="*/ 88 h 119"/>
                <a:gd name="T76" fmla="*/ 73 w 95"/>
                <a:gd name="T77" fmla="*/ 84 h 119"/>
                <a:gd name="T78" fmla="*/ 71 w 95"/>
                <a:gd name="T79" fmla="*/ 78 h 119"/>
                <a:gd name="T80" fmla="*/ 73 w 95"/>
                <a:gd name="T81" fmla="*/ 68 h 119"/>
                <a:gd name="T82" fmla="*/ 76 w 95"/>
                <a:gd name="T83" fmla="*/ 64 h 119"/>
                <a:gd name="T84" fmla="*/ 78 w 95"/>
                <a:gd name="T85" fmla="*/ 64 h 119"/>
                <a:gd name="T86" fmla="*/ 81 w 95"/>
                <a:gd name="T87" fmla="*/ 65 h 119"/>
                <a:gd name="T88" fmla="*/ 81 w 95"/>
                <a:gd name="T89" fmla="*/ 62 h 119"/>
                <a:gd name="T90" fmla="*/ 87 w 95"/>
                <a:gd name="T91" fmla="*/ 53 h 119"/>
                <a:gd name="T92" fmla="*/ 90 w 95"/>
                <a:gd name="T93" fmla="*/ 48 h 119"/>
                <a:gd name="T94" fmla="*/ 95 w 95"/>
                <a:gd name="T95" fmla="*/ 37 h 119"/>
                <a:gd name="T96" fmla="*/ 93 w 95"/>
                <a:gd name="T97" fmla="*/ 35 h 119"/>
                <a:gd name="T98" fmla="*/ 93 w 95"/>
                <a:gd name="T99" fmla="*/ 35 h 119"/>
                <a:gd name="T100" fmla="*/ 93 w 95"/>
                <a:gd name="T101" fmla="*/ 35 h 119"/>
                <a:gd name="T102" fmla="*/ 93 w 95"/>
                <a:gd name="T103" fmla="*/ 35 h 119"/>
                <a:gd name="T104" fmla="*/ 93 w 95"/>
                <a:gd name="T105"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93" y="35"/>
                  </a:moveTo>
                  <a:lnTo>
                    <a:pt x="90" y="34"/>
                  </a:lnTo>
                  <a:lnTo>
                    <a:pt x="89" y="32"/>
                  </a:lnTo>
                  <a:lnTo>
                    <a:pt x="84" y="27"/>
                  </a:lnTo>
                  <a:lnTo>
                    <a:pt x="81" y="22"/>
                  </a:lnTo>
                  <a:lnTo>
                    <a:pt x="81" y="21"/>
                  </a:lnTo>
                  <a:lnTo>
                    <a:pt x="78" y="19"/>
                  </a:lnTo>
                  <a:lnTo>
                    <a:pt x="70" y="18"/>
                  </a:lnTo>
                  <a:lnTo>
                    <a:pt x="62" y="16"/>
                  </a:lnTo>
                  <a:lnTo>
                    <a:pt x="60" y="15"/>
                  </a:lnTo>
                  <a:lnTo>
                    <a:pt x="57" y="11"/>
                  </a:lnTo>
                  <a:lnTo>
                    <a:pt x="51" y="3"/>
                  </a:lnTo>
                  <a:lnTo>
                    <a:pt x="51" y="3"/>
                  </a:lnTo>
                  <a:lnTo>
                    <a:pt x="49" y="0"/>
                  </a:lnTo>
                  <a:lnTo>
                    <a:pt x="46" y="3"/>
                  </a:lnTo>
                  <a:lnTo>
                    <a:pt x="44" y="0"/>
                  </a:lnTo>
                  <a:lnTo>
                    <a:pt x="43" y="0"/>
                  </a:lnTo>
                  <a:lnTo>
                    <a:pt x="43" y="3"/>
                  </a:lnTo>
                  <a:lnTo>
                    <a:pt x="43" y="7"/>
                  </a:lnTo>
                  <a:lnTo>
                    <a:pt x="44" y="11"/>
                  </a:lnTo>
                  <a:lnTo>
                    <a:pt x="46" y="11"/>
                  </a:lnTo>
                  <a:lnTo>
                    <a:pt x="46" y="13"/>
                  </a:lnTo>
                  <a:lnTo>
                    <a:pt x="43" y="15"/>
                  </a:lnTo>
                  <a:lnTo>
                    <a:pt x="40" y="15"/>
                  </a:lnTo>
                  <a:lnTo>
                    <a:pt x="40" y="16"/>
                  </a:lnTo>
                  <a:lnTo>
                    <a:pt x="41" y="18"/>
                  </a:lnTo>
                  <a:lnTo>
                    <a:pt x="40" y="24"/>
                  </a:lnTo>
                  <a:lnTo>
                    <a:pt x="38" y="29"/>
                  </a:lnTo>
                  <a:lnTo>
                    <a:pt x="38" y="32"/>
                  </a:lnTo>
                  <a:lnTo>
                    <a:pt x="38" y="34"/>
                  </a:lnTo>
                  <a:lnTo>
                    <a:pt x="38" y="34"/>
                  </a:lnTo>
                  <a:lnTo>
                    <a:pt x="40" y="37"/>
                  </a:lnTo>
                  <a:lnTo>
                    <a:pt x="43" y="40"/>
                  </a:lnTo>
                  <a:lnTo>
                    <a:pt x="44" y="43"/>
                  </a:lnTo>
                  <a:lnTo>
                    <a:pt x="44" y="46"/>
                  </a:lnTo>
                  <a:lnTo>
                    <a:pt x="43" y="53"/>
                  </a:lnTo>
                  <a:lnTo>
                    <a:pt x="38" y="68"/>
                  </a:lnTo>
                  <a:lnTo>
                    <a:pt x="38" y="70"/>
                  </a:lnTo>
                  <a:lnTo>
                    <a:pt x="38" y="72"/>
                  </a:lnTo>
                  <a:lnTo>
                    <a:pt x="22" y="78"/>
                  </a:lnTo>
                  <a:lnTo>
                    <a:pt x="1" y="84"/>
                  </a:lnTo>
                  <a:lnTo>
                    <a:pt x="0" y="84"/>
                  </a:lnTo>
                  <a:lnTo>
                    <a:pt x="1" y="86"/>
                  </a:lnTo>
                  <a:lnTo>
                    <a:pt x="6" y="97"/>
                  </a:lnTo>
                  <a:lnTo>
                    <a:pt x="6" y="97"/>
                  </a:lnTo>
                  <a:lnTo>
                    <a:pt x="9" y="102"/>
                  </a:lnTo>
                  <a:lnTo>
                    <a:pt x="9" y="105"/>
                  </a:lnTo>
                  <a:lnTo>
                    <a:pt x="11" y="107"/>
                  </a:lnTo>
                  <a:lnTo>
                    <a:pt x="13" y="108"/>
                  </a:lnTo>
                  <a:lnTo>
                    <a:pt x="13" y="111"/>
                  </a:lnTo>
                  <a:lnTo>
                    <a:pt x="14" y="113"/>
                  </a:lnTo>
                  <a:lnTo>
                    <a:pt x="14" y="116"/>
                  </a:lnTo>
                  <a:lnTo>
                    <a:pt x="16" y="118"/>
                  </a:lnTo>
                  <a:lnTo>
                    <a:pt x="16" y="119"/>
                  </a:lnTo>
                  <a:lnTo>
                    <a:pt x="17" y="119"/>
                  </a:lnTo>
                  <a:lnTo>
                    <a:pt x="22" y="119"/>
                  </a:lnTo>
                  <a:lnTo>
                    <a:pt x="25" y="118"/>
                  </a:lnTo>
                  <a:lnTo>
                    <a:pt x="28" y="116"/>
                  </a:lnTo>
                  <a:lnTo>
                    <a:pt x="32" y="115"/>
                  </a:lnTo>
                  <a:lnTo>
                    <a:pt x="35" y="115"/>
                  </a:lnTo>
                  <a:lnTo>
                    <a:pt x="36" y="116"/>
                  </a:lnTo>
                  <a:lnTo>
                    <a:pt x="38" y="116"/>
                  </a:lnTo>
                  <a:lnTo>
                    <a:pt x="40" y="116"/>
                  </a:lnTo>
                  <a:lnTo>
                    <a:pt x="43" y="113"/>
                  </a:lnTo>
                  <a:lnTo>
                    <a:pt x="44" y="111"/>
                  </a:lnTo>
                  <a:lnTo>
                    <a:pt x="43" y="108"/>
                  </a:lnTo>
                  <a:lnTo>
                    <a:pt x="44" y="105"/>
                  </a:lnTo>
                  <a:lnTo>
                    <a:pt x="47" y="102"/>
                  </a:lnTo>
                  <a:lnTo>
                    <a:pt x="51" y="102"/>
                  </a:lnTo>
                  <a:lnTo>
                    <a:pt x="54" y="102"/>
                  </a:lnTo>
                  <a:lnTo>
                    <a:pt x="57" y="99"/>
                  </a:lnTo>
                  <a:lnTo>
                    <a:pt x="60" y="97"/>
                  </a:lnTo>
                  <a:lnTo>
                    <a:pt x="60" y="94"/>
                  </a:lnTo>
                  <a:lnTo>
                    <a:pt x="60" y="91"/>
                  </a:lnTo>
                  <a:lnTo>
                    <a:pt x="63" y="88"/>
                  </a:lnTo>
                  <a:lnTo>
                    <a:pt x="71" y="88"/>
                  </a:lnTo>
                  <a:lnTo>
                    <a:pt x="73" y="88"/>
                  </a:lnTo>
                  <a:lnTo>
                    <a:pt x="73" y="84"/>
                  </a:lnTo>
                  <a:lnTo>
                    <a:pt x="73" y="83"/>
                  </a:lnTo>
                  <a:lnTo>
                    <a:pt x="71" y="78"/>
                  </a:lnTo>
                  <a:lnTo>
                    <a:pt x="73" y="73"/>
                  </a:lnTo>
                  <a:lnTo>
                    <a:pt x="73" y="68"/>
                  </a:lnTo>
                  <a:lnTo>
                    <a:pt x="74" y="65"/>
                  </a:lnTo>
                  <a:lnTo>
                    <a:pt x="76" y="64"/>
                  </a:lnTo>
                  <a:lnTo>
                    <a:pt x="78" y="62"/>
                  </a:lnTo>
                  <a:lnTo>
                    <a:pt x="78" y="64"/>
                  </a:lnTo>
                  <a:lnTo>
                    <a:pt x="78" y="65"/>
                  </a:lnTo>
                  <a:lnTo>
                    <a:pt x="81" y="65"/>
                  </a:lnTo>
                  <a:lnTo>
                    <a:pt x="81" y="64"/>
                  </a:lnTo>
                  <a:lnTo>
                    <a:pt x="81" y="62"/>
                  </a:lnTo>
                  <a:lnTo>
                    <a:pt x="84" y="56"/>
                  </a:lnTo>
                  <a:lnTo>
                    <a:pt x="87" y="53"/>
                  </a:lnTo>
                  <a:lnTo>
                    <a:pt x="89" y="51"/>
                  </a:lnTo>
                  <a:lnTo>
                    <a:pt x="90" y="48"/>
                  </a:lnTo>
                  <a:lnTo>
                    <a:pt x="95" y="40"/>
                  </a:lnTo>
                  <a:lnTo>
                    <a:pt x="95" y="37"/>
                  </a:lnTo>
                  <a:lnTo>
                    <a:pt x="95" y="35"/>
                  </a:lnTo>
                  <a:lnTo>
                    <a:pt x="93" y="35"/>
                  </a:lnTo>
                  <a:lnTo>
                    <a:pt x="93" y="35"/>
                  </a:lnTo>
                  <a:lnTo>
                    <a:pt x="93" y="35"/>
                  </a:lnTo>
                  <a:lnTo>
                    <a:pt x="93" y="35"/>
                  </a:lnTo>
                  <a:lnTo>
                    <a:pt x="93" y="35"/>
                  </a:lnTo>
                  <a:lnTo>
                    <a:pt x="93" y="35"/>
                  </a:lnTo>
                  <a:lnTo>
                    <a:pt x="93" y="35"/>
                  </a:lnTo>
                  <a:lnTo>
                    <a:pt x="93" y="35"/>
                  </a:lnTo>
                  <a:lnTo>
                    <a:pt x="93" y="3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1" name="Freeform 333">
              <a:extLst>
                <a:ext uri="{FF2B5EF4-FFF2-40B4-BE49-F238E27FC236}">
                  <a16:creationId xmlns:a16="http://schemas.microsoft.com/office/drawing/2014/main" id="{A1434209-9E4B-62F5-EAC5-81884B58DE90}"/>
                </a:ext>
              </a:extLst>
            </p:cNvPr>
            <p:cNvSpPr>
              <a:spLocks/>
            </p:cNvSpPr>
            <p:nvPr/>
          </p:nvSpPr>
          <p:spPr bwMode="auto">
            <a:xfrm>
              <a:off x="6749393" y="2822824"/>
              <a:ext cx="170474" cy="174960"/>
            </a:xfrm>
            <a:custGeom>
              <a:avLst/>
              <a:gdLst>
                <a:gd name="T0" fmla="*/ 70 w 76"/>
                <a:gd name="T1" fmla="*/ 4 h 78"/>
                <a:gd name="T2" fmla="*/ 65 w 76"/>
                <a:gd name="T3" fmla="*/ 4 h 78"/>
                <a:gd name="T4" fmla="*/ 57 w 76"/>
                <a:gd name="T5" fmla="*/ 4 h 78"/>
                <a:gd name="T6" fmla="*/ 54 w 76"/>
                <a:gd name="T7" fmla="*/ 4 h 78"/>
                <a:gd name="T8" fmla="*/ 41 w 76"/>
                <a:gd name="T9" fmla="*/ 10 h 78"/>
                <a:gd name="T10" fmla="*/ 38 w 76"/>
                <a:gd name="T11" fmla="*/ 10 h 78"/>
                <a:gd name="T12" fmla="*/ 32 w 76"/>
                <a:gd name="T13" fmla="*/ 8 h 78"/>
                <a:gd name="T14" fmla="*/ 28 w 76"/>
                <a:gd name="T15" fmla="*/ 7 h 78"/>
                <a:gd name="T16" fmla="*/ 22 w 76"/>
                <a:gd name="T17" fmla="*/ 8 h 78"/>
                <a:gd name="T18" fmla="*/ 16 w 76"/>
                <a:gd name="T19" fmla="*/ 10 h 78"/>
                <a:gd name="T20" fmla="*/ 13 w 76"/>
                <a:gd name="T21" fmla="*/ 8 h 78"/>
                <a:gd name="T22" fmla="*/ 9 w 76"/>
                <a:gd name="T23" fmla="*/ 8 h 78"/>
                <a:gd name="T24" fmla="*/ 8 w 76"/>
                <a:gd name="T25" fmla="*/ 12 h 78"/>
                <a:gd name="T26" fmla="*/ 9 w 76"/>
                <a:gd name="T27" fmla="*/ 15 h 78"/>
                <a:gd name="T28" fmla="*/ 6 w 76"/>
                <a:gd name="T29" fmla="*/ 18 h 78"/>
                <a:gd name="T30" fmla="*/ 6 w 76"/>
                <a:gd name="T31" fmla="*/ 19 h 78"/>
                <a:gd name="T32" fmla="*/ 3 w 76"/>
                <a:gd name="T33" fmla="*/ 21 h 78"/>
                <a:gd name="T34" fmla="*/ 1 w 76"/>
                <a:gd name="T35" fmla="*/ 21 h 78"/>
                <a:gd name="T36" fmla="*/ 0 w 76"/>
                <a:gd name="T37" fmla="*/ 24 h 78"/>
                <a:gd name="T38" fmla="*/ 1 w 76"/>
                <a:gd name="T39" fmla="*/ 27 h 78"/>
                <a:gd name="T40" fmla="*/ 1 w 76"/>
                <a:gd name="T41" fmla="*/ 31 h 78"/>
                <a:gd name="T42" fmla="*/ 1 w 76"/>
                <a:gd name="T43" fmla="*/ 35 h 78"/>
                <a:gd name="T44" fmla="*/ 5 w 76"/>
                <a:gd name="T45" fmla="*/ 39 h 78"/>
                <a:gd name="T46" fmla="*/ 6 w 76"/>
                <a:gd name="T47" fmla="*/ 39 h 78"/>
                <a:gd name="T48" fmla="*/ 8 w 76"/>
                <a:gd name="T49" fmla="*/ 42 h 78"/>
                <a:gd name="T50" fmla="*/ 9 w 76"/>
                <a:gd name="T51" fmla="*/ 42 h 78"/>
                <a:gd name="T52" fmla="*/ 11 w 76"/>
                <a:gd name="T53" fmla="*/ 46 h 78"/>
                <a:gd name="T54" fmla="*/ 9 w 76"/>
                <a:gd name="T55" fmla="*/ 48 h 78"/>
                <a:gd name="T56" fmla="*/ 9 w 76"/>
                <a:gd name="T57" fmla="*/ 50 h 78"/>
                <a:gd name="T58" fmla="*/ 5 w 76"/>
                <a:gd name="T59" fmla="*/ 50 h 78"/>
                <a:gd name="T60" fmla="*/ 6 w 76"/>
                <a:gd name="T61" fmla="*/ 54 h 78"/>
                <a:gd name="T62" fmla="*/ 3 w 76"/>
                <a:gd name="T63" fmla="*/ 58 h 78"/>
                <a:gd name="T64" fmla="*/ 1 w 76"/>
                <a:gd name="T65" fmla="*/ 64 h 78"/>
                <a:gd name="T66" fmla="*/ 1 w 76"/>
                <a:gd name="T67" fmla="*/ 69 h 78"/>
                <a:gd name="T68" fmla="*/ 1 w 76"/>
                <a:gd name="T69" fmla="*/ 72 h 78"/>
                <a:gd name="T70" fmla="*/ 14 w 76"/>
                <a:gd name="T71" fmla="*/ 78 h 78"/>
                <a:gd name="T72" fmla="*/ 41 w 76"/>
                <a:gd name="T73" fmla="*/ 75 h 78"/>
                <a:gd name="T74" fmla="*/ 44 w 76"/>
                <a:gd name="T75" fmla="*/ 73 h 78"/>
                <a:gd name="T76" fmla="*/ 43 w 76"/>
                <a:gd name="T77" fmla="*/ 72 h 78"/>
                <a:gd name="T78" fmla="*/ 43 w 76"/>
                <a:gd name="T79" fmla="*/ 70 h 78"/>
                <a:gd name="T80" fmla="*/ 43 w 76"/>
                <a:gd name="T81" fmla="*/ 67 h 78"/>
                <a:gd name="T82" fmla="*/ 40 w 76"/>
                <a:gd name="T83" fmla="*/ 58 h 78"/>
                <a:gd name="T84" fmla="*/ 49 w 76"/>
                <a:gd name="T85" fmla="*/ 53 h 78"/>
                <a:gd name="T86" fmla="*/ 60 w 76"/>
                <a:gd name="T87" fmla="*/ 46 h 78"/>
                <a:gd name="T88" fmla="*/ 65 w 76"/>
                <a:gd name="T89" fmla="*/ 39 h 78"/>
                <a:gd name="T90" fmla="*/ 65 w 76"/>
                <a:gd name="T91" fmla="*/ 35 h 78"/>
                <a:gd name="T92" fmla="*/ 67 w 76"/>
                <a:gd name="T93" fmla="*/ 26 h 78"/>
                <a:gd name="T94" fmla="*/ 67 w 76"/>
                <a:gd name="T95" fmla="*/ 24 h 78"/>
                <a:gd name="T96" fmla="*/ 63 w 76"/>
                <a:gd name="T97" fmla="*/ 15 h 78"/>
                <a:gd name="T98" fmla="*/ 67 w 76"/>
                <a:gd name="T99" fmla="*/ 13 h 78"/>
                <a:gd name="T100" fmla="*/ 71 w 76"/>
                <a:gd name="T101" fmla="*/ 10 h 78"/>
                <a:gd name="T102" fmla="*/ 75 w 76"/>
                <a:gd name="T103" fmla="*/ 7 h 78"/>
                <a:gd name="T104" fmla="*/ 76 w 76"/>
                <a:gd name="T105" fmla="*/ 4 h 78"/>
                <a:gd name="T106" fmla="*/ 76 w 76"/>
                <a:gd name="T107" fmla="*/ 2 h 78"/>
                <a:gd name="T108" fmla="*/ 75 w 76"/>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78">
                  <a:moveTo>
                    <a:pt x="75" y="0"/>
                  </a:moveTo>
                  <a:lnTo>
                    <a:pt x="75" y="0"/>
                  </a:lnTo>
                  <a:lnTo>
                    <a:pt x="70" y="4"/>
                  </a:lnTo>
                  <a:lnTo>
                    <a:pt x="70" y="4"/>
                  </a:lnTo>
                  <a:lnTo>
                    <a:pt x="65" y="4"/>
                  </a:lnTo>
                  <a:lnTo>
                    <a:pt x="65" y="4"/>
                  </a:lnTo>
                  <a:lnTo>
                    <a:pt x="63" y="4"/>
                  </a:lnTo>
                  <a:lnTo>
                    <a:pt x="63" y="4"/>
                  </a:lnTo>
                  <a:lnTo>
                    <a:pt x="57" y="4"/>
                  </a:lnTo>
                  <a:lnTo>
                    <a:pt x="57" y="4"/>
                  </a:lnTo>
                  <a:lnTo>
                    <a:pt x="54" y="4"/>
                  </a:lnTo>
                  <a:lnTo>
                    <a:pt x="54" y="4"/>
                  </a:lnTo>
                  <a:lnTo>
                    <a:pt x="49" y="7"/>
                  </a:lnTo>
                  <a:lnTo>
                    <a:pt x="49" y="7"/>
                  </a:lnTo>
                  <a:lnTo>
                    <a:pt x="41" y="10"/>
                  </a:lnTo>
                  <a:lnTo>
                    <a:pt x="41" y="10"/>
                  </a:lnTo>
                  <a:lnTo>
                    <a:pt x="38" y="10"/>
                  </a:lnTo>
                  <a:lnTo>
                    <a:pt x="38" y="10"/>
                  </a:lnTo>
                  <a:lnTo>
                    <a:pt x="33" y="10"/>
                  </a:lnTo>
                  <a:lnTo>
                    <a:pt x="33" y="10"/>
                  </a:lnTo>
                  <a:lnTo>
                    <a:pt x="32" y="8"/>
                  </a:lnTo>
                  <a:lnTo>
                    <a:pt x="32" y="8"/>
                  </a:lnTo>
                  <a:lnTo>
                    <a:pt x="28" y="7"/>
                  </a:lnTo>
                  <a:lnTo>
                    <a:pt x="28" y="7"/>
                  </a:lnTo>
                  <a:lnTo>
                    <a:pt x="25" y="7"/>
                  </a:lnTo>
                  <a:lnTo>
                    <a:pt x="25" y="7"/>
                  </a:lnTo>
                  <a:lnTo>
                    <a:pt x="22" y="8"/>
                  </a:lnTo>
                  <a:lnTo>
                    <a:pt x="22" y="8"/>
                  </a:lnTo>
                  <a:lnTo>
                    <a:pt x="16" y="10"/>
                  </a:lnTo>
                  <a:lnTo>
                    <a:pt x="16" y="10"/>
                  </a:lnTo>
                  <a:lnTo>
                    <a:pt x="14" y="10"/>
                  </a:lnTo>
                  <a:lnTo>
                    <a:pt x="14" y="10"/>
                  </a:lnTo>
                  <a:lnTo>
                    <a:pt x="13" y="8"/>
                  </a:lnTo>
                  <a:lnTo>
                    <a:pt x="13" y="8"/>
                  </a:lnTo>
                  <a:lnTo>
                    <a:pt x="9" y="8"/>
                  </a:lnTo>
                  <a:lnTo>
                    <a:pt x="9" y="8"/>
                  </a:lnTo>
                  <a:lnTo>
                    <a:pt x="8" y="10"/>
                  </a:lnTo>
                  <a:lnTo>
                    <a:pt x="8" y="10"/>
                  </a:lnTo>
                  <a:lnTo>
                    <a:pt x="8" y="12"/>
                  </a:lnTo>
                  <a:lnTo>
                    <a:pt x="8" y="12"/>
                  </a:lnTo>
                  <a:lnTo>
                    <a:pt x="9" y="15"/>
                  </a:lnTo>
                  <a:lnTo>
                    <a:pt x="9" y="15"/>
                  </a:lnTo>
                  <a:lnTo>
                    <a:pt x="6" y="15"/>
                  </a:lnTo>
                  <a:lnTo>
                    <a:pt x="6" y="15"/>
                  </a:lnTo>
                  <a:lnTo>
                    <a:pt x="6" y="18"/>
                  </a:lnTo>
                  <a:lnTo>
                    <a:pt x="6" y="18"/>
                  </a:lnTo>
                  <a:lnTo>
                    <a:pt x="6" y="19"/>
                  </a:lnTo>
                  <a:lnTo>
                    <a:pt x="6" y="19"/>
                  </a:lnTo>
                  <a:lnTo>
                    <a:pt x="5" y="21"/>
                  </a:lnTo>
                  <a:lnTo>
                    <a:pt x="5" y="21"/>
                  </a:lnTo>
                  <a:lnTo>
                    <a:pt x="3" y="21"/>
                  </a:lnTo>
                  <a:lnTo>
                    <a:pt x="3" y="21"/>
                  </a:lnTo>
                  <a:lnTo>
                    <a:pt x="1" y="21"/>
                  </a:lnTo>
                  <a:lnTo>
                    <a:pt x="1" y="21"/>
                  </a:lnTo>
                  <a:lnTo>
                    <a:pt x="0" y="21"/>
                  </a:lnTo>
                  <a:lnTo>
                    <a:pt x="0" y="21"/>
                  </a:lnTo>
                  <a:lnTo>
                    <a:pt x="0" y="24"/>
                  </a:lnTo>
                  <a:lnTo>
                    <a:pt x="0" y="24"/>
                  </a:lnTo>
                  <a:lnTo>
                    <a:pt x="1" y="27"/>
                  </a:lnTo>
                  <a:lnTo>
                    <a:pt x="1" y="27"/>
                  </a:lnTo>
                  <a:lnTo>
                    <a:pt x="1" y="29"/>
                  </a:lnTo>
                  <a:lnTo>
                    <a:pt x="1" y="29"/>
                  </a:lnTo>
                  <a:lnTo>
                    <a:pt x="1" y="31"/>
                  </a:lnTo>
                  <a:lnTo>
                    <a:pt x="1" y="31"/>
                  </a:lnTo>
                  <a:lnTo>
                    <a:pt x="1" y="35"/>
                  </a:lnTo>
                  <a:lnTo>
                    <a:pt x="1" y="35"/>
                  </a:lnTo>
                  <a:lnTo>
                    <a:pt x="3" y="39"/>
                  </a:lnTo>
                  <a:lnTo>
                    <a:pt x="3" y="39"/>
                  </a:lnTo>
                  <a:lnTo>
                    <a:pt x="5" y="39"/>
                  </a:lnTo>
                  <a:lnTo>
                    <a:pt x="5" y="39"/>
                  </a:lnTo>
                  <a:lnTo>
                    <a:pt x="6" y="39"/>
                  </a:lnTo>
                  <a:lnTo>
                    <a:pt x="6" y="39"/>
                  </a:lnTo>
                  <a:lnTo>
                    <a:pt x="8" y="39"/>
                  </a:lnTo>
                  <a:lnTo>
                    <a:pt x="8" y="39"/>
                  </a:lnTo>
                  <a:lnTo>
                    <a:pt x="8" y="42"/>
                  </a:lnTo>
                  <a:lnTo>
                    <a:pt x="8" y="42"/>
                  </a:lnTo>
                  <a:lnTo>
                    <a:pt x="9" y="42"/>
                  </a:lnTo>
                  <a:lnTo>
                    <a:pt x="9" y="42"/>
                  </a:lnTo>
                  <a:lnTo>
                    <a:pt x="11" y="45"/>
                  </a:lnTo>
                  <a:lnTo>
                    <a:pt x="11" y="45"/>
                  </a:lnTo>
                  <a:lnTo>
                    <a:pt x="11" y="46"/>
                  </a:lnTo>
                  <a:lnTo>
                    <a:pt x="11" y="46"/>
                  </a:lnTo>
                  <a:lnTo>
                    <a:pt x="9" y="48"/>
                  </a:lnTo>
                  <a:lnTo>
                    <a:pt x="9" y="48"/>
                  </a:lnTo>
                  <a:lnTo>
                    <a:pt x="9" y="50"/>
                  </a:lnTo>
                  <a:lnTo>
                    <a:pt x="9" y="50"/>
                  </a:lnTo>
                  <a:lnTo>
                    <a:pt x="9" y="50"/>
                  </a:lnTo>
                  <a:lnTo>
                    <a:pt x="9" y="50"/>
                  </a:lnTo>
                  <a:lnTo>
                    <a:pt x="5" y="50"/>
                  </a:lnTo>
                  <a:lnTo>
                    <a:pt x="5" y="50"/>
                  </a:lnTo>
                  <a:lnTo>
                    <a:pt x="5" y="53"/>
                  </a:lnTo>
                  <a:lnTo>
                    <a:pt x="5" y="53"/>
                  </a:lnTo>
                  <a:lnTo>
                    <a:pt x="6" y="54"/>
                  </a:lnTo>
                  <a:lnTo>
                    <a:pt x="6" y="54"/>
                  </a:lnTo>
                  <a:lnTo>
                    <a:pt x="3" y="58"/>
                  </a:lnTo>
                  <a:lnTo>
                    <a:pt x="3" y="58"/>
                  </a:lnTo>
                  <a:lnTo>
                    <a:pt x="1" y="62"/>
                  </a:lnTo>
                  <a:lnTo>
                    <a:pt x="1" y="62"/>
                  </a:lnTo>
                  <a:lnTo>
                    <a:pt x="1" y="64"/>
                  </a:lnTo>
                  <a:lnTo>
                    <a:pt x="1" y="64"/>
                  </a:lnTo>
                  <a:lnTo>
                    <a:pt x="1" y="69"/>
                  </a:lnTo>
                  <a:lnTo>
                    <a:pt x="1" y="69"/>
                  </a:lnTo>
                  <a:lnTo>
                    <a:pt x="1" y="72"/>
                  </a:lnTo>
                  <a:lnTo>
                    <a:pt x="1" y="72"/>
                  </a:lnTo>
                  <a:lnTo>
                    <a:pt x="1" y="72"/>
                  </a:lnTo>
                  <a:lnTo>
                    <a:pt x="6" y="75"/>
                  </a:lnTo>
                  <a:lnTo>
                    <a:pt x="6" y="75"/>
                  </a:lnTo>
                  <a:lnTo>
                    <a:pt x="14" y="78"/>
                  </a:lnTo>
                  <a:lnTo>
                    <a:pt x="14" y="78"/>
                  </a:lnTo>
                  <a:lnTo>
                    <a:pt x="41" y="75"/>
                  </a:lnTo>
                  <a:lnTo>
                    <a:pt x="41" y="75"/>
                  </a:lnTo>
                  <a:lnTo>
                    <a:pt x="44" y="75"/>
                  </a:lnTo>
                  <a:lnTo>
                    <a:pt x="44" y="75"/>
                  </a:lnTo>
                  <a:lnTo>
                    <a:pt x="44" y="73"/>
                  </a:lnTo>
                  <a:lnTo>
                    <a:pt x="46" y="73"/>
                  </a:lnTo>
                  <a:lnTo>
                    <a:pt x="46" y="73"/>
                  </a:lnTo>
                  <a:lnTo>
                    <a:pt x="43" y="72"/>
                  </a:lnTo>
                  <a:lnTo>
                    <a:pt x="43" y="72"/>
                  </a:lnTo>
                  <a:lnTo>
                    <a:pt x="43" y="70"/>
                  </a:lnTo>
                  <a:lnTo>
                    <a:pt x="43" y="70"/>
                  </a:lnTo>
                  <a:lnTo>
                    <a:pt x="43" y="70"/>
                  </a:lnTo>
                  <a:lnTo>
                    <a:pt x="43" y="70"/>
                  </a:lnTo>
                  <a:lnTo>
                    <a:pt x="43" y="67"/>
                  </a:lnTo>
                  <a:lnTo>
                    <a:pt x="43" y="67"/>
                  </a:lnTo>
                  <a:lnTo>
                    <a:pt x="40" y="58"/>
                  </a:lnTo>
                  <a:lnTo>
                    <a:pt x="40" y="58"/>
                  </a:lnTo>
                  <a:lnTo>
                    <a:pt x="44" y="54"/>
                  </a:lnTo>
                  <a:lnTo>
                    <a:pt x="44" y="54"/>
                  </a:lnTo>
                  <a:lnTo>
                    <a:pt x="49" y="53"/>
                  </a:lnTo>
                  <a:lnTo>
                    <a:pt x="49" y="53"/>
                  </a:lnTo>
                  <a:lnTo>
                    <a:pt x="60" y="46"/>
                  </a:lnTo>
                  <a:lnTo>
                    <a:pt x="60" y="46"/>
                  </a:lnTo>
                  <a:lnTo>
                    <a:pt x="63" y="42"/>
                  </a:lnTo>
                  <a:lnTo>
                    <a:pt x="63" y="42"/>
                  </a:lnTo>
                  <a:lnTo>
                    <a:pt x="65" y="39"/>
                  </a:lnTo>
                  <a:lnTo>
                    <a:pt x="65" y="39"/>
                  </a:lnTo>
                  <a:lnTo>
                    <a:pt x="65" y="35"/>
                  </a:lnTo>
                  <a:lnTo>
                    <a:pt x="65" y="35"/>
                  </a:lnTo>
                  <a:lnTo>
                    <a:pt x="65" y="31"/>
                  </a:lnTo>
                  <a:lnTo>
                    <a:pt x="65" y="31"/>
                  </a:lnTo>
                  <a:lnTo>
                    <a:pt x="67" y="26"/>
                  </a:lnTo>
                  <a:lnTo>
                    <a:pt x="67" y="26"/>
                  </a:lnTo>
                  <a:lnTo>
                    <a:pt x="67" y="24"/>
                  </a:lnTo>
                  <a:lnTo>
                    <a:pt x="67" y="24"/>
                  </a:lnTo>
                  <a:lnTo>
                    <a:pt x="65" y="18"/>
                  </a:lnTo>
                  <a:lnTo>
                    <a:pt x="65" y="18"/>
                  </a:lnTo>
                  <a:lnTo>
                    <a:pt x="63" y="15"/>
                  </a:lnTo>
                  <a:lnTo>
                    <a:pt x="63" y="15"/>
                  </a:lnTo>
                  <a:lnTo>
                    <a:pt x="67" y="13"/>
                  </a:lnTo>
                  <a:lnTo>
                    <a:pt x="67" y="13"/>
                  </a:lnTo>
                  <a:lnTo>
                    <a:pt x="68" y="12"/>
                  </a:lnTo>
                  <a:lnTo>
                    <a:pt x="68" y="12"/>
                  </a:lnTo>
                  <a:lnTo>
                    <a:pt x="71" y="10"/>
                  </a:lnTo>
                  <a:lnTo>
                    <a:pt x="71" y="10"/>
                  </a:lnTo>
                  <a:lnTo>
                    <a:pt x="75" y="7"/>
                  </a:lnTo>
                  <a:lnTo>
                    <a:pt x="75" y="7"/>
                  </a:lnTo>
                  <a:lnTo>
                    <a:pt x="76" y="5"/>
                  </a:lnTo>
                  <a:lnTo>
                    <a:pt x="76" y="5"/>
                  </a:lnTo>
                  <a:lnTo>
                    <a:pt x="76" y="4"/>
                  </a:lnTo>
                  <a:lnTo>
                    <a:pt x="76" y="4"/>
                  </a:lnTo>
                  <a:lnTo>
                    <a:pt x="76" y="2"/>
                  </a:lnTo>
                  <a:lnTo>
                    <a:pt x="76" y="2"/>
                  </a:lnTo>
                  <a:lnTo>
                    <a:pt x="76" y="0"/>
                  </a:lnTo>
                  <a:lnTo>
                    <a:pt x="75" y="0"/>
                  </a:lnTo>
                  <a:lnTo>
                    <a:pt x="75" y="0"/>
                  </a:lnTo>
                  <a:lnTo>
                    <a:pt x="75"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2" name="Freeform 375">
              <a:extLst>
                <a:ext uri="{FF2B5EF4-FFF2-40B4-BE49-F238E27FC236}">
                  <a16:creationId xmlns:a16="http://schemas.microsoft.com/office/drawing/2014/main" id="{CA577508-5410-11F2-DCC6-CB3CBFE2025C}"/>
                </a:ext>
              </a:extLst>
            </p:cNvPr>
            <p:cNvSpPr>
              <a:spLocks noEditPoints="1"/>
            </p:cNvSpPr>
            <p:nvPr/>
          </p:nvSpPr>
          <p:spPr bwMode="auto">
            <a:xfrm>
              <a:off x="6951270" y="2744315"/>
              <a:ext cx="578712" cy="471045"/>
            </a:xfrm>
            <a:custGeom>
              <a:avLst/>
              <a:gdLst>
                <a:gd name="T0" fmla="*/ 246 w 258"/>
                <a:gd name="T1" fmla="*/ 166 h 210"/>
                <a:gd name="T2" fmla="*/ 224 w 258"/>
                <a:gd name="T3" fmla="*/ 147 h 210"/>
                <a:gd name="T4" fmla="*/ 231 w 258"/>
                <a:gd name="T5" fmla="*/ 126 h 210"/>
                <a:gd name="T6" fmla="*/ 218 w 258"/>
                <a:gd name="T7" fmla="*/ 116 h 210"/>
                <a:gd name="T8" fmla="*/ 212 w 258"/>
                <a:gd name="T9" fmla="*/ 94 h 210"/>
                <a:gd name="T10" fmla="*/ 208 w 258"/>
                <a:gd name="T11" fmla="*/ 85 h 210"/>
                <a:gd name="T12" fmla="*/ 212 w 258"/>
                <a:gd name="T13" fmla="*/ 74 h 210"/>
                <a:gd name="T14" fmla="*/ 215 w 258"/>
                <a:gd name="T15" fmla="*/ 61 h 210"/>
                <a:gd name="T16" fmla="*/ 212 w 258"/>
                <a:gd name="T17" fmla="*/ 51 h 210"/>
                <a:gd name="T18" fmla="*/ 202 w 258"/>
                <a:gd name="T19" fmla="*/ 45 h 210"/>
                <a:gd name="T20" fmla="*/ 189 w 258"/>
                <a:gd name="T21" fmla="*/ 37 h 210"/>
                <a:gd name="T22" fmla="*/ 172 w 258"/>
                <a:gd name="T23" fmla="*/ 29 h 210"/>
                <a:gd name="T24" fmla="*/ 150 w 258"/>
                <a:gd name="T25" fmla="*/ 23 h 210"/>
                <a:gd name="T26" fmla="*/ 137 w 258"/>
                <a:gd name="T27" fmla="*/ 26 h 210"/>
                <a:gd name="T28" fmla="*/ 131 w 258"/>
                <a:gd name="T29" fmla="*/ 35 h 210"/>
                <a:gd name="T30" fmla="*/ 123 w 258"/>
                <a:gd name="T31" fmla="*/ 43 h 210"/>
                <a:gd name="T32" fmla="*/ 89 w 258"/>
                <a:gd name="T33" fmla="*/ 43 h 210"/>
                <a:gd name="T34" fmla="*/ 62 w 258"/>
                <a:gd name="T35" fmla="*/ 29 h 210"/>
                <a:gd name="T36" fmla="*/ 50 w 258"/>
                <a:gd name="T37" fmla="*/ 12 h 210"/>
                <a:gd name="T38" fmla="*/ 45 w 258"/>
                <a:gd name="T39" fmla="*/ 0 h 210"/>
                <a:gd name="T40" fmla="*/ 29 w 258"/>
                <a:gd name="T41" fmla="*/ 13 h 210"/>
                <a:gd name="T42" fmla="*/ 11 w 258"/>
                <a:gd name="T43" fmla="*/ 5 h 210"/>
                <a:gd name="T44" fmla="*/ 4 w 258"/>
                <a:gd name="T45" fmla="*/ 10 h 210"/>
                <a:gd name="T46" fmla="*/ 7 w 258"/>
                <a:gd name="T47" fmla="*/ 26 h 210"/>
                <a:gd name="T48" fmla="*/ 15 w 258"/>
                <a:gd name="T49" fmla="*/ 40 h 210"/>
                <a:gd name="T50" fmla="*/ 23 w 258"/>
                <a:gd name="T51" fmla="*/ 53 h 210"/>
                <a:gd name="T52" fmla="*/ 32 w 258"/>
                <a:gd name="T53" fmla="*/ 59 h 210"/>
                <a:gd name="T54" fmla="*/ 32 w 258"/>
                <a:gd name="T55" fmla="*/ 67 h 210"/>
                <a:gd name="T56" fmla="*/ 27 w 258"/>
                <a:gd name="T57" fmla="*/ 77 h 210"/>
                <a:gd name="T58" fmla="*/ 31 w 258"/>
                <a:gd name="T59" fmla="*/ 88 h 210"/>
                <a:gd name="T60" fmla="*/ 43 w 258"/>
                <a:gd name="T61" fmla="*/ 101 h 210"/>
                <a:gd name="T62" fmla="*/ 56 w 258"/>
                <a:gd name="T63" fmla="*/ 110 h 210"/>
                <a:gd name="T64" fmla="*/ 61 w 258"/>
                <a:gd name="T65" fmla="*/ 126 h 210"/>
                <a:gd name="T66" fmla="*/ 64 w 258"/>
                <a:gd name="T67" fmla="*/ 132 h 210"/>
                <a:gd name="T68" fmla="*/ 73 w 258"/>
                <a:gd name="T69" fmla="*/ 140 h 210"/>
                <a:gd name="T70" fmla="*/ 78 w 258"/>
                <a:gd name="T71" fmla="*/ 135 h 210"/>
                <a:gd name="T72" fmla="*/ 83 w 258"/>
                <a:gd name="T73" fmla="*/ 140 h 210"/>
                <a:gd name="T74" fmla="*/ 92 w 258"/>
                <a:gd name="T75" fmla="*/ 147 h 210"/>
                <a:gd name="T76" fmla="*/ 99 w 258"/>
                <a:gd name="T77" fmla="*/ 154 h 210"/>
                <a:gd name="T78" fmla="*/ 92 w 258"/>
                <a:gd name="T79" fmla="*/ 159 h 210"/>
                <a:gd name="T80" fmla="*/ 99 w 258"/>
                <a:gd name="T81" fmla="*/ 174 h 210"/>
                <a:gd name="T82" fmla="*/ 105 w 258"/>
                <a:gd name="T83" fmla="*/ 178 h 210"/>
                <a:gd name="T84" fmla="*/ 112 w 258"/>
                <a:gd name="T85" fmla="*/ 172 h 210"/>
                <a:gd name="T86" fmla="*/ 124 w 258"/>
                <a:gd name="T87" fmla="*/ 178 h 210"/>
                <a:gd name="T88" fmla="*/ 150 w 258"/>
                <a:gd name="T89" fmla="*/ 189 h 210"/>
                <a:gd name="T90" fmla="*/ 162 w 258"/>
                <a:gd name="T91" fmla="*/ 186 h 210"/>
                <a:gd name="T92" fmla="*/ 178 w 258"/>
                <a:gd name="T93" fmla="*/ 181 h 210"/>
                <a:gd name="T94" fmla="*/ 189 w 258"/>
                <a:gd name="T95" fmla="*/ 202 h 210"/>
                <a:gd name="T96" fmla="*/ 199 w 258"/>
                <a:gd name="T97" fmla="*/ 205 h 210"/>
                <a:gd name="T98" fmla="*/ 218 w 258"/>
                <a:gd name="T99" fmla="*/ 207 h 210"/>
                <a:gd name="T100" fmla="*/ 237 w 258"/>
                <a:gd name="T101" fmla="*/ 210 h 210"/>
                <a:gd name="T102" fmla="*/ 243 w 258"/>
                <a:gd name="T103" fmla="*/ 193 h 210"/>
                <a:gd name="T104" fmla="*/ 258 w 258"/>
                <a:gd name="T105" fmla="*/ 188 h 210"/>
                <a:gd name="T106" fmla="*/ 86 w 258"/>
                <a:gd name="T107" fmla="*/ 158 h 210"/>
                <a:gd name="T108" fmla="*/ 142 w 258"/>
                <a:gd name="T109" fmla="*/ 194 h 210"/>
                <a:gd name="T110" fmla="*/ 126 w 258"/>
                <a:gd name="T111" fmla="*/ 193 h 210"/>
                <a:gd name="T112" fmla="*/ 119 w 258"/>
                <a:gd name="T113" fmla="*/ 189 h 210"/>
                <a:gd name="T114" fmla="*/ 129 w 258"/>
                <a:gd name="T115" fmla="*/ 197 h 210"/>
                <a:gd name="T116" fmla="*/ 143 w 258"/>
                <a:gd name="T117"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8" h="210">
                  <a:moveTo>
                    <a:pt x="256" y="181"/>
                  </a:moveTo>
                  <a:lnTo>
                    <a:pt x="256" y="181"/>
                  </a:lnTo>
                  <a:lnTo>
                    <a:pt x="251" y="181"/>
                  </a:lnTo>
                  <a:lnTo>
                    <a:pt x="251" y="181"/>
                  </a:lnTo>
                  <a:lnTo>
                    <a:pt x="251" y="178"/>
                  </a:lnTo>
                  <a:lnTo>
                    <a:pt x="251" y="178"/>
                  </a:lnTo>
                  <a:lnTo>
                    <a:pt x="251" y="175"/>
                  </a:lnTo>
                  <a:lnTo>
                    <a:pt x="251" y="175"/>
                  </a:lnTo>
                  <a:lnTo>
                    <a:pt x="250" y="170"/>
                  </a:lnTo>
                  <a:lnTo>
                    <a:pt x="250" y="170"/>
                  </a:lnTo>
                  <a:lnTo>
                    <a:pt x="248" y="167"/>
                  </a:lnTo>
                  <a:lnTo>
                    <a:pt x="248" y="167"/>
                  </a:lnTo>
                  <a:lnTo>
                    <a:pt x="246" y="166"/>
                  </a:lnTo>
                  <a:lnTo>
                    <a:pt x="246" y="166"/>
                  </a:lnTo>
                  <a:lnTo>
                    <a:pt x="242" y="164"/>
                  </a:lnTo>
                  <a:lnTo>
                    <a:pt x="242" y="164"/>
                  </a:lnTo>
                  <a:lnTo>
                    <a:pt x="237" y="161"/>
                  </a:lnTo>
                  <a:lnTo>
                    <a:pt x="237" y="161"/>
                  </a:lnTo>
                  <a:lnTo>
                    <a:pt x="234" y="158"/>
                  </a:lnTo>
                  <a:lnTo>
                    <a:pt x="234" y="158"/>
                  </a:lnTo>
                  <a:lnTo>
                    <a:pt x="231" y="154"/>
                  </a:lnTo>
                  <a:lnTo>
                    <a:pt x="231" y="154"/>
                  </a:lnTo>
                  <a:lnTo>
                    <a:pt x="227" y="151"/>
                  </a:lnTo>
                  <a:lnTo>
                    <a:pt x="227" y="151"/>
                  </a:lnTo>
                  <a:lnTo>
                    <a:pt x="224" y="147"/>
                  </a:lnTo>
                  <a:lnTo>
                    <a:pt x="224" y="147"/>
                  </a:lnTo>
                  <a:lnTo>
                    <a:pt x="223" y="143"/>
                  </a:lnTo>
                  <a:lnTo>
                    <a:pt x="223" y="143"/>
                  </a:lnTo>
                  <a:lnTo>
                    <a:pt x="224" y="142"/>
                  </a:lnTo>
                  <a:lnTo>
                    <a:pt x="224" y="142"/>
                  </a:lnTo>
                  <a:lnTo>
                    <a:pt x="227" y="135"/>
                  </a:lnTo>
                  <a:lnTo>
                    <a:pt x="227" y="135"/>
                  </a:lnTo>
                  <a:lnTo>
                    <a:pt x="227" y="132"/>
                  </a:lnTo>
                  <a:lnTo>
                    <a:pt x="227" y="132"/>
                  </a:lnTo>
                  <a:lnTo>
                    <a:pt x="231" y="129"/>
                  </a:lnTo>
                  <a:lnTo>
                    <a:pt x="231" y="129"/>
                  </a:lnTo>
                  <a:lnTo>
                    <a:pt x="231" y="126"/>
                  </a:lnTo>
                  <a:lnTo>
                    <a:pt x="231" y="126"/>
                  </a:lnTo>
                  <a:lnTo>
                    <a:pt x="231" y="126"/>
                  </a:lnTo>
                  <a:lnTo>
                    <a:pt x="231" y="126"/>
                  </a:lnTo>
                  <a:lnTo>
                    <a:pt x="231" y="123"/>
                  </a:lnTo>
                  <a:lnTo>
                    <a:pt x="231" y="123"/>
                  </a:lnTo>
                  <a:lnTo>
                    <a:pt x="227" y="120"/>
                  </a:lnTo>
                  <a:lnTo>
                    <a:pt x="227" y="120"/>
                  </a:lnTo>
                  <a:lnTo>
                    <a:pt x="224" y="120"/>
                  </a:lnTo>
                  <a:lnTo>
                    <a:pt x="224" y="120"/>
                  </a:lnTo>
                  <a:lnTo>
                    <a:pt x="223" y="120"/>
                  </a:lnTo>
                  <a:lnTo>
                    <a:pt x="223" y="120"/>
                  </a:lnTo>
                  <a:lnTo>
                    <a:pt x="219" y="120"/>
                  </a:lnTo>
                  <a:lnTo>
                    <a:pt x="219" y="120"/>
                  </a:lnTo>
                  <a:lnTo>
                    <a:pt x="218" y="116"/>
                  </a:lnTo>
                  <a:lnTo>
                    <a:pt x="218" y="116"/>
                  </a:lnTo>
                  <a:lnTo>
                    <a:pt x="218" y="115"/>
                  </a:lnTo>
                  <a:lnTo>
                    <a:pt x="218" y="115"/>
                  </a:lnTo>
                  <a:lnTo>
                    <a:pt x="216" y="108"/>
                  </a:lnTo>
                  <a:lnTo>
                    <a:pt x="216" y="108"/>
                  </a:lnTo>
                  <a:lnTo>
                    <a:pt x="215" y="107"/>
                  </a:lnTo>
                  <a:lnTo>
                    <a:pt x="215" y="107"/>
                  </a:lnTo>
                  <a:lnTo>
                    <a:pt x="213" y="102"/>
                  </a:lnTo>
                  <a:lnTo>
                    <a:pt x="213" y="102"/>
                  </a:lnTo>
                  <a:lnTo>
                    <a:pt x="212" y="97"/>
                  </a:lnTo>
                  <a:lnTo>
                    <a:pt x="212" y="97"/>
                  </a:lnTo>
                  <a:lnTo>
                    <a:pt x="212" y="96"/>
                  </a:lnTo>
                  <a:lnTo>
                    <a:pt x="212" y="96"/>
                  </a:lnTo>
                  <a:lnTo>
                    <a:pt x="212" y="94"/>
                  </a:lnTo>
                  <a:lnTo>
                    <a:pt x="212" y="94"/>
                  </a:lnTo>
                  <a:lnTo>
                    <a:pt x="213" y="94"/>
                  </a:lnTo>
                  <a:lnTo>
                    <a:pt x="213" y="94"/>
                  </a:lnTo>
                  <a:lnTo>
                    <a:pt x="215" y="91"/>
                  </a:lnTo>
                  <a:lnTo>
                    <a:pt x="215" y="91"/>
                  </a:lnTo>
                  <a:lnTo>
                    <a:pt x="215" y="91"/>
                  </a:lnTo>
                  <a:lnTo>
                    <a:pt x="215" y="91"/>
                  </a:lnTo>
                  <a:lnTo>
                    <a:pt x="212" y="91"/>
                  </a:lnTo>
                  <a:lnTo>
                    <a:pt x="212" y="91"/>
                  </a:lnTo>
                  <a:lnTo>
                    <a:pt x="210" y="88"/>
                  </a:lnTo>
                  <a:lnTo>
                    <a:pt x="210" y="88"/>
                  </a:lnTo>
                  <a:lnTo>
                    <a:pt x="208" y="85"/>
                  </a:lnTo>
                  <a:lnTo>
                    <a:pt x="208" y="85"/>
                  </a:lnTo>
                  <a:lnTo>
                    <a:pt x="208" y="83"/>
                  </a:lnTo>
                  <a:lnTo>
                    <a:pt x="208" y="83"/>
                  </a:lnTo>
                  <a:lnTo>
                    <a:pt x="208" y="81"/>
                  </a:lnTo>
                  <a:lnTo>
                    <a:pt x="208" y="81"/>
                  </a:lnTo>
                  <a:lnTo>
                    <a:pt x="210" y="80"/>
                  </a:lnTo>
                  <a:lnTo>
                    <a:pt x="210" y="80"/>
                  </a:lnTo>
                  <a:lnTo>
                    <a:pt x="212" y="78"/>
                  </a:lnTo>
                  <a:lnTo>
                    <a:pt x="212" y="78"/>
                  </a:lnTo>
                  <a:lnTo>
                    <a:pt x="212" y="77"/>
                  </a:lnTo>
                  <a:lnTo>
                    <a:pt x="212" y="77"/>
                  </a:lnTo>
                  <a:lnTo>
                    <a:pt x="210" y="75"/>
                  </a:lnTo>
                  <a:lnTo>
                    <a:pt x="210" y="75"/>
                  </a:lnTo>
                  <a:lnTo>
                    <a:pt x="212" y="74"/>
                  </a:lnTo>
                  <a:lnTo>
                    <a:pt x="212" y="74"/>
                  </a:lnTo>
                  <a:lnTo>
                    <a:pt x="213" y="72"/>
                  </a:lnTo>
                  <a:lnTo>
                    <a:pt x="213" y="72"/>
                  </a:lnTo>
                  <a:lnTo>
                    <a:pt x="213" y="69"/>
                  </a:lnTo>
                  <a:lnTo>
                    <a:pt x="213" y="69"/>
                  </a:lnTo>
                  <a:lnTo>
                    <a:pt x="213" y="67"/>
                  </a:lnTo>
                  <a:lnTo>
                    <a:pt x="213" y="67"/>
                  </a:lnTo>
                  <a:lnTo>
                    <a:pt x="213" y="64"/>
                  </a:lnTo>
                  <a:lnTo>
                    <a:pt x="213" y="64"/>
                  </a:lnTo>
                  <a:lnTo>
                    <a:pt x="213" y="64"/>
                  </a:lnTo>
                  <a:lnTo>
                    <a:pt x="213" y="64"/>
                  </a:lnTo>
                  <a:lnTo>
                    <a:pt x="215" y="61"/>
                  </a:lnTo>
                  <a:lnTo>
                    <a:pt x="215" y="61"/>
                  </a:lnTo>
                  <a:lnTo>
                    <a:pt x="215" y="61"/>
                  </a:lnTo>
                  <a:lnTo>
                    <a:pt x="215" y="61"/>
                  </a:lnTo>
                  <a:lnTo>
                    <a:pt x="213" y="61"/>
                  </a:lnTo>
                  <a:lnTo>
                    <a:pt x="213" y="61"/>
                  </a:lnTo>
                  <a:lnTo>
                    <a:pt x="213" y="59"/>
                  </a:lnTo>
                  <a:lnTo>
                    <a:pt x="213" y="59"/>
                  </a:lnTo>
                  <a:lnTo>
                    <a:pt x="212" y="56"/>
                  </a:lnTo>
                  <a:lnTo>
                    <a:pt x="212" y="56"/>
                  </a:lnTo>
                  <a:lnTo>
                    <a:pt x="212" y="54"/>
                  </a:lnTo>
                  <a:lnTo>
                    <a:pt x="212" y="54"/>
                  </a:lnTo>
                  <a:lnTo>
                    <a:pt x="212" y="53"/>
                  </a:lnTo>
                  <a:lnTo>
                    <a:pt x="212" y="53"/>
                  </a:lnTo>
                  <a:lnTo>
                    <a:pt x="212" y="51"/>
                  </a:lnTo>
                  <a:lnTo>
                    <a:pt x="212" y="51"/>
                  </a:lnTo>
                  <a:lnTo>
                    <a:pt x="212" y="50"/>
                  </a:lnTo>
                  <a:lnTo>
                    <a:pt x="212" y="50"/>
                  </a:lnTo>
                  <a:lnTo>
                    <a:pt x="210" y="45"/>
                  </a:lnTo>
                  <a:lnTo>
                    <a:pt x="210" y="45"/>
                  </a:lnTo>
                  <a:lnTo>
                    <a:pt x="208" y="45"/>
                  </a:lnTo>
                  <a:lnTo>
                    <a:pt x="208" y="45"/>
                  </a:lnTo>
                  <a:lnTo>
                    <a:pt x="207" y="45"/>
                  </a:lnTo>
                  <a:lnTo>
                    <a:pt x="207" y="45"/>
                  </a:lnTo>
                  <a:lnTo>
                    <a:pt x="205" y="45"/>
                  </a:lnTo>
                  <a:lnTo>
                    <a:pt x="205" y="45"/>
                  </a:lnTo>
                  <a:lnTo>
                    <a:pt x="202" y="45"/>
                  </a:lnTo>
                  <a:lnTo>
                    <a:pt x="202" y="45"/>
                  </a:lnTo>
                  <a:lnTo>
                    <a:pt x="202" y="45"/>
                  </a:lnTo>
                  <a:lnTo>
                    <a:pt x="202" y="45"/>
                  </a:lnTo>
                  <a:lnTo>
                    <a:pt x="199" y="45"/>
                  </a:lnTo>
                  <a:lnTo>
                    <a:pt x="199" y="45"/>
                  </a:lnTo>
                  <a:lnTo>
                    <a:pt x="199" y="45"/>
                  </a:lnTo>
                  <a:lnTo>
                    <a:pt x="199" y="45"/>
                  </a:lnTo>
                  <a:lnTo>
                    <a:pt x="199" y="42"/>
                  </a:lnTo>
                  <a:lnTo>
                    <a:pt x="199" y="42"/>
                  </a:lnTo>
                  <a:lnTo>
                    <a:pt x="196" y="40"/>
                  </a:lnTo>
                  <a:lnTo>
                    <a:pt x="196" y="40"/>
                  </a:lnTo>
                  <a:lnTo>
                    <a:pt x="192" y="39"/>
                  </a:lnTo>
                  <a:lnTo>
                    <a:pt x="192" y="39"/>
                  </a:lnTo>
                  <a:lnTo>
                    <a:pt x="189" y="37"/>
                  </a:lnTo>
                  <a:lnTo>
                    <a:pt x="189" y="37"/>
                  </a:lnTo>
                  <a:lnTo>
                    <a:pt x="188" y="35"/>
                  </a:lnTo>
                  <a:lnTo>
                    <a:pt x="188" y="35"/>
                  </a:lnTo>
                  <a:lnTo>
                    <a:pt x="186" y="32"/>
                  </a:lnTo>
                  <a:lnTo>
                    <a:pt x="186" y="32"/>
                  </a:lnTo>
                  <a:lnTo>
                    <a:pt x="183" y="32"/>
                  </a:lnTo>
                  <a:lnTo>
                    <a:pt x="183" y="32"/>
                  </a:lnTo>
                  <a:lnTo>
                    <a:pt x="178" y="32"/>
                  </a:lnTo>
                  <a:lnTo>
                    <a:pt x="178" y="32"/>
                  </a:lnTo>
                  <a:lnTo>
                    <a:pt x="175" y="32"/>
                  </a:lnTo>
                  <a:lnTo>
                    <a:pt x="175" y="32"/>
                  </a:lnTo>
                  <a:lnTo>
                    <a:pt x="172" y="29"/>
                  </a:lnTo>
                  <a:lnTo>
                    <a:pt x="172" y="29"/>
                  </a:lnTo>
                  <a:lnTo>
                    <a:pt x="169" y="29"/>
                  </a:lnTo>
                  <a:lnTo>
                    <a:pt x="169" y="29"/>
                  </a:lnTo>
                  <a:lnTo>
                    <a:pt x="166" y="26"/>
                  </a:lnTo>
                  <a:lnTo>
                    <a:pt x="166" y="26"/>
                  </a:lnTo>
                  <a:lnTo>
                    <a:pt x="162" y="26"/>
                  </a:lnTo>
                  <a:lnTo>
                    <a:pt x="162" y="26"/>
                  </a:lnTo>
                  <a:lnTo>
                    <a:pt x="161" y="23"/>
                  </a:lnTo>
                  <a:lnTo>
                    <a:pt x="161" y="23"/>
                  </a:lnTo>
                  <a:lnTo>
                    <a:pt x="158" y="23"/>
                  </a:lnTo>
                  <a:lnTo>
                    <a:pt x="158" y="23"/>
                  </a:lnTo>
                  <a:lnTo>
                    <a:pt x="151" y="23"/>
                  </a:lnTo>
                  <a:lnTo>
                    <a:pt x="151" y="23"/>
                  </a:lnTo>
                  <a:lnTo>
                    <a:pt x="150" y="23"/>
                  </a:lnTo>
                  <a:lnTo>
                    <a:pt x="150" y="23"/>
                  </a:lnTo>
                  <a:lnTo>
                    <a:pt x="148" y="24"/>
                  </a:lnTo>
                  <a:lnTo>
                    <a:pt x="148" y="24"/>
                  </a:lnTo>
                  <a:lnTo>
                    <a:pt x="148" y="26"/>
                  </a:lnTo>
                  <a:lnTo>
                    <a:pt x="148" y="26"/>
                  </a:lnTo>
                  <a:lnTo>
                    <a:pt x="143" y="24"/>
                  </a:lnTo>
                  <a:lnTo>
                    <a:pt x="143" y="24"/>
                  </a:lnTo>
                  <a:lnTo>
                    <a:pt x="142" y="24"/>
                  </a:lnTo>
                  <a:lnTo>
                    <a:pt x="142" y="24"/>
                  </a:lnTo>
                  <a:lnTo>
                    <a:pt x="140" y="26"/>
                  </a:lnTo>
                  <a:lnTo>
                    <a:pt x="140" y="26"/>
                  </a:lnTo>
                  <a:lnTo>
                    <a:pt x="137" y="26"/>
                  </a:lnTo>
                  <a:lnTo>
                    <a:pt x="137" y="26"/>
                  </a:lnTo>
                  <a:lnTo>
                    <a:pt x="134" y="26"/>
                  </a:lnTo>
                  <a:lnTo>
                    <a:pt x="134" y="26"/>
                  </a:lnTo>
                  <a:lnTo>
                    <a:pt x="132" y="29"/>
                  </a:lnTo>
                  <a:lnTo>
                    <a:pt x="132" y="29"/>
                  </a:lnTo>
                  <a:lnTo>
                    <a:pt x="132" y="32"/>
                  </a:lnTo>
                  <a:lnTo>
                    <a:pt x="132" y="32"/>
                  </a:lnTo>
                  <a:lnTo>
                    <a:pt x="132" y="32"/>
                  </a:lnTo>
                  <a:lnTo>
                    <a:pt x="132" y="32"/>
                  </a:lnTo>
                  <a:lnTo>
                    <a:pt x="131" y="32"/>
                  </a:lnTo>
                  <a:lnTo>
                    <a:pt x="131" y="32"/>
                  </a:lnTo>
                  <a:lnTo>
                    <a:pt x="131" y="34"/>
                  </a:lnTo>
                  <a:lnTo>
                    <a:pt x="131" y="34"/>
                  </a:lnTo>
                  <a:lnTo>
                    <a:pt x="131" y="35"/>
                  </a:lnTo>
                  <a:lnTo>
                    <a:pt x="131" y="35"/>
                  </a:lnTo>
                  <a:lnTo>
                    <a:pt x="126" y="35"/>
                  </a:lnTo>
                  <a:lnTo>
                    <a:pt x="126" y="35"/>
                  </a:lnTo>
                  <a:lnTo>
                    <a:pt x="121" y="35"/>
                  </a:lnTo>
                  <a:lnTo>
                    <a:pt x="121" y="35"/>
                  </a:lnTo>
                  <a:lnTo>
                    <a:pt x="123" y="39"/>
                  </a:lnTo>
                  <a:lnTo>
                    <a:pt x="123" y="39"/>
                  </a:lnTo>
                  <a:lnTo>
                    <a:pt x="124" y="42"/>
                  </a:lnTo>
                  <a:lnTo>
                    <a:pt x="124" y="42"/>
                  </a:lnTo>
                  <a:lnTo>
                    <a:pt x="124" y="43"/>
                  </a:lnTo>
                  <a:lnTo>
                    <a:pt x="124" y="43"/>
                  </a:lnTo>
                  <a:lnTo>
                    <a:pt x="123" y="43"/>
                  </a:lnTo>
                  <a:lnTo>
                    <a:pt x="123" y="43"/>
                  </a:lnTo>
                  <a:lnTo>
                    <a:pt x="119" y="42"/>
                  </a:lnTo>
                  <a:lnTo>
                    <a:pt x="119" y="42"/>
                  </a:lnTo>
                  <a:lnTo>
                    <a:pt x="118" y="42"/>
                  </a:lnTo>
                  <a:lnTo>
                    <a:pt x="118" y="42"/>
                  </a:lnTo>
                  <a:lnTo>
                    <a:pt x="113" y="42"/>
                  </a:lnTo>
                  <a:lnTo>
                    <a:pt x="113" y="42"/>
                  </a:lnTo>
                  <a:lnTo>
                    <a:pt x="105" y="45"/>
                  </a:lnTo>
                  <a:lnTo>
                    <a:pt x="105" y="45"/>
                  </a:lnTo>
                  <a:lnTo>
                    <a:pt x="99" y="47"/>
                  </a:lnTo>
                  <a:lnTo>
                    <a:pt x="99" y="47"/>
                  </a:lnTo>
                  <a:lnTo>
                    <a:pt x="97" y="45"/>
                  </a:lnTo>
                  <a:lnTo>
                    <a:pt x="97" y="45"/>
                  </a:lnTo>
                  <a:lnTo>
                    <a:pt x="89" y="43"/>
                  </a:lnTo>
                  <a:lnTo>
                    <a:pt x="89" y="43"/>
                  </a:lnTo>
                  <a:lnTo>
                    <a:pt x="81" y="39"/>
                  </a:lnTo>
                  <a:lnTo>
                    <a:pt x="81" y="39"/>
                  </a:lnTo>
                  <a:lnTo>
                    <a:pt x="78" y="37"/>
                  </a:lnTo>
                  <a:lnTo>
                    <a:pt x="78" y="37"/>
                  </a:lnTo>
                  <a:lnTo>
                    <a:pt x="77" y="35"/>
                  </a:lnTo>
                  <a:lnTo>
                    <a:pt x="77" y="35"/>
                  </a:lnTo>
                  <a:lnTo>
                    <a:pt x="70" y="32"/>
                  </a:lnTo>
                  <a:lnTo>
                    <a:pt x="70" y="32"/>
                  </a:lnTo>
                  <a:lnTo>
                    <a:pt x="64" y="32"/>
                  </a:lnTo>
                  <a:lnTo>
                    <a:pt x="64" y="32"/>
                  </a:lnTo>
                  <a:lnTo>
                    <a:pt x="62" y="29"/>
                  </a:lnTo>
                  <a:lnTo>
                    <a:pt x="62" y="29"/>
                  </a:lnTo>
                  <a:lnTo>
                    <a:pt x="62" y="26"/>
                  </a:lnTo>
                  <a:lnTo>
                    <a:pt x="62" y="26"/>
                  </a:lnTo>
                  <a:lnTo>
                    <a:pt x="59" y="21"/>
                  </a:lnTo>
                  <a:lnTo>
                    <a:pt x="59" y="21"/>
                  </a:lnTo>
                  <a:lnTo>
                    <a:pt x="58" y="20"/>
                  </a:lnTo>
                  <a:lnTo>
                    <a:pt x="58" y="20"/>
                  </a:lnTo>
                  <a:lnTo>
                    <a:pt x="53" y="16"/>
                  </a:lnTo>
                  <a:lnTo>
                    <a:pt x="53" y="16"/>
                  </a:lnTo>
                  <a:lnTo>
                    <a:pt x="50" y="15"/>
                  </a:lnTo>
                  <a:lnTo>
                    <a:pt x="50" y="15"/>
                  </a:lnTo>
                  <a:lnTo>
                    <a:pt x="48" y="13"/>
                  </a:lnTo>
                  <a:lnTo>
                    <a:pt x="48" y="13"/>
                  </a:lnTo>
                  <a:lnTo>
                    <a:pt x="50" y="12"/>
                  </a:lnTo>
                  <a:lnTo>
                    <a:pt x="50" y="12"/>
                  </a:lnTo>
                  <a:lnTo>
                    <a:pt x="51" y="12"/>
                  </a:lnTo>
                  <a:lnTo>
                    <a:pt x="51" y="12"/>
                  </a:lnTo>
                  <a:lnTo>
                    <a:pt x="50" y="10"/>
                  </a:lnTo>
                  <a:lnTo>
                    <a:pt x="50" y="10"/>
                  </a:lnTo>
                  <a:lnTo>
                    <a:pt x="50" y="7"/>
                  </a:lnTo>
                  <a:lnTo>
                    <a:pt x="50" y="7"/>
                  </a:lnTo>
                  <a:lnTo>
                    <a:pt x="51" y="5"/>
                  </a:lnTo>
                  <a:lnTo>
                    <a:pt x="51" y="5"/>
                  </a:lnTo>
                  <a:lnTo>
                    <a:pt x="48" y="4"/>
                  </a:lnTo>
                  <a:lnTo>
                    <a:pt x="48" y="4"/>
                  </a:lnTo>
                  <a:lnTo>
                    <a:pt x="45" y="0"/>
                  </a:lnTo>
                  <a:lnTo>
                    <a:pt x="45" y="0"/>
                  </a:lnTo>
                  <a:lnTo>
                    <a:pt x="43" y="4"/>
                  </a:lnTo>
                  <a:lnTo>
                    <a:pt x="43" y="4"/>
                  </a:lnTo>
                  <a:lnTo>
                    <a:pt x="38" y="5"/>
                  </a:lnTo>
                  <a:lnTo>
                    <a:pt x="38" y="5"/>
                  </a:lnTo>
                  <a:lnTo>
                    <a:pt x="38" y="7"/>
                  </a:lnTo>
                  <a:lnTo>
                    <a:pt x="38" y="7"/>
                  </a:lnTo>
                  <a:lnTo>
                    <a:pt x="35" y="8"/>
                  </a:lnTo>
                  <a:lnTo>
                    <a:pt x="35" y="8"/>
                  </a:lnTo>
                  <a:lnTo>
                    <a:pt x="32" y="13"/>
                  </a:lnTo>
                  <a:lnTo>
                    <a:pt x="32" y="13"/>
                  </a:lnTo>
                  <a:lnTo>
                    <a:pt x="31" y="13"/>
                  </a:lnTo>
                  <a:lnTo>
                    <a:pt x="31" y="13"/>
                  </a:lnTo>
                  <a:lnTo>
                    <a:pt x="29" y="13"/>
                  </a:lnTo>
                  <a:lnTo>
                    <a:pt x="29" y="13"/>
                  </a:lnTo>
                  <a:lnTo>
                    <a:pt x="27" y="13"/>
                  </a:lnTo>
                  <a:lnTo>
                    <a:pt x="27" y="13"/>
                  </a:lnTo>
                  <a:lnTo>
                    <a:pt x="23" y="13"/>
                  </a:lnTo>
                  <a:lnTo>
                    <a:pt x="23" y="13"/>
                  </a:lnTo>
                  <a:lnTo>
                    <a:pt x="19" y="12"/>
                  </a:lnTo>
                  <a:lnTo>
                    <a:pt x="19" y="12"/>
                  </a:lnTo>
                  <a:lnTo>
                    <a:pt x="16" y="10"/>
                  </a:lnTo>
                  <a:lnTo>
                    <a:pt x="16" y="10"/>
                  </a:lnTo>
                  <a:lnTo>
                    <a:pt x="15" y="8"/>
                  </a:lnTo>
                  <a:lnTo>
                    <a:pt x="15" y="8"/>
                  </a:lnTo>
                  <a:lnTo>
                    <a:pt x="11" y="5"/>
                  </a:lnTo>
                  <a:lnTo>
                    <a:pt x="11" y="5"/>
                  </a:lnTo>
                  <a:lnTo>
                    <a:pt x="8" y="4"/>
                  </a:lnTo>
                  <a:lnTo>
                    <a:pt x="8" y="4"/>
                  </a:lnTo>
                  <a:lnTo>
                    <a:pt x="7" y="2"/>
                  </a:lnTo>
                  <a:lnTo>
                    <a:pt x="7" y="2"/>
                  </a:lnTo>
                  <a:lnTo>
                    <a:pt x="7" y="0"/>
                  </a:lnTo>
                  <a:lnTo>
                    <a:pt x="7" y="0"/>
                  </a:lnTo>
                  <a:lnTo>
                    <a:pt x="4" y="4"/>
                  </a:lnTo>
                  <a:lnTo>
                    <a:pt x="4" y="4"/>
                  </a:lnTo>
                  <a:lnTo>
                    <a:pt x="4" y="5"/>
                  </a:lnTo>
                  <a:lnTo>
                    <a:pt x="4" y="5"/>
                  </a:lnTo>
                  <a:lnTo>
                    <a:pt x="0" y="5"/>
                  </a:lnTo>
                  <a:lnTo>
                    <a:pt x="0" y="5"/>
                  </a:lnTo>
                  <a:lnTo>
                    <a:pt x="4" y="10"/>
                  </a:lnTo>
                  <a:lnTo>
                    <a:pt x="4" y="10"/>
                  </a:lnTo>
                  <a:lnTo>
                    <a:pt x="4" y="15"/>
                  </a:lnTo>
                  <a:lnTo>
                    <a:pt x="4" y="15"/>
                  </a:lnTo>
                  <a:lnTo>
                    <a:pt x="7" y="18"/>
                  </a:lnTo>
                  <a:lnTo>
                    <a:pt x="7" y="18"/>
                  </a:lnTo>
                  <a:lnTo>
                    <a:pt x="7" y="21"/>
                  </a:lnTo>
                  <a:lnTo>
                    <a:pt x="7" y="21"/>
                  </a:lnTo>
                  <a:lnTo>
                    <a:pt x="7" y="21"/>
                  </a:lnTo>
                  <a:lnTo>
                    <a:pt x="7" y="21"/>
                  </a:lnTo>
                  <a:lnTo>
                    <a:pt x="7" y="24"/>
                  </a:lnTo>
                  <a:lnTo>
                    <a:pt x="7" y="24"/>
                  </a:lnTo>
                  <a:lnTo>
                    <a:pt x="7" y="26"/>
                  </a:lnTo>
                  <a:lnTo>
                    <a:pt x="7" y="26"/>
                  </a:lnTo>
                  <a:lnTo>
                    <a:pt x="7" y="29"/>
                  </a:lnTo>
                  <a:lnTo>
                    <a:pt x="7" y="29"/>
                  </a:lnTo>
                  <a:lnTo>
                    <a:pt x="8" y="29"/>
                  </a:lnTo>
                  <a:lnTo>
                    <a:pt x="8" y="29"/>
                  </a:lnTo>
                  <a:lnTo>
                    <a:pt x="10" y="32"/>
                  </a:lnTo>
                  <a:lnTo>
                    <a:pt x="10" y="32"/>
                  </a:lnTo>
                  <a:lnTo>
                    <a:pt x="10" y="35"/>
                  </a:lnTo>
                  <a:lnTo>
                    <a:pt x="10" y="35"/>
                  </a:lnTo>
                  <a:lnTo>
                    <a:pt x="13" y="35"/>
                  </a:lnTo>
                  <a:lnTo>
                    <a:pt x="13" y="35"/>
                  </a:lnTo>
                  <a:lnTo>
                    <a:pt x="13" y="37"/>
                  </a:lnTo>
                  <a:lnTo>
                    <a:pt x="13" y="37"/>
                  </a:lnTo>
                  <a:lnTo>
                    <a:pt x="15" y="40"/>
                  </a:lnTo>
                  <a:lnTo>
                    <a:pt x="15" y="40"/>
                  </a:lnTo>
                  <a:lnTo>
                    <a:pt x="16" y="43"/>
                  </a:lnTo>
                  <a:lnTo>
                    <a:pt x="16" y="43"/>
                  </a:lnTo>
                  <a:lnTo>
                    <a:pt x="18" y="45"/>
                  </a:lnTo>
                  <a:lnTo>
                    <a:pt x="18" y="45"/>
                  </a:lnTo>
                  <a:lnTo>
                    <a:pt x="18" y="47"/>
                  </a:lnTo>
                  <a:lnTo>
                    <a:pt x="18" y="47"/>
                  </a:lnTo>
                  <a:lnTo>
                    <a:pt x="18" y="48"/>
                  </a:lnTo>
                  <a:lnTo>
                    <a:pt x="18" y="48"/>
                  </a:lnTo>
                  <a:lnTo>
                    <a:pt x="21" y="51"/>
                  </a:lnTo>
                  <a:lnTo>
                    <a:pt x="21" y="51"/>
                  </a:lnTo>
                  <a:lnTo>
                    <a:pt x="23" y="53"/>
                  </a:lnTo>
                  <a:lnTo>
                    <a:pt x="23" y="53"/>
                  </a:lnTo>
                  <a:lnTo>
                    <a:pt x="23" y="54"/>
                  </a:lnTo>
                  <a:lnTo>
                    <a:pt x="23" y="54"/>
                  </a:lnTo>
                  <a:lnTo>
                    <a:pt x="26" y="56"/>
                  </a:lnTo>
                  <a:lnTo>
                    <a:pt x="26" y="56"/>
                  </a:lnTo>
                  <a:lnTo>
                    <a:pt x="27" y="58"/>
                  </a:lnTo>
                  <a:lnTo>
                    <a:pt x="27" y="58"/>
                  </a:lnTo>
                  <a:lnTo>
                    <a:pt x="31" y="58"/>
                  </a:lnTo>
                  <a:lnTo>
                    <a:pt x="31" y="58"/>
                  </a:lnTo>
                  <a:lnTo>
                    <a:pt x="32" y="58"/>
                  </a:lnTo>
                  <a:lnTo>
                    <a:pt x="32" y="58"/>
                  </a:lnTo>
                  <a:lnTo>
                    <a:pt x="35" y="58"/>
                  </a:lnTo>
                  <a:lnTo>
                    <a:pt x="35" y="58"/>
                  </a:lnTo>
                  <a:lnTo>
                    <a:pt x="32" y="59"/>
                  </a:lnTo>
                  <a:lnTo>
                    <a:pt x="32" y="59"/>
                  </a:lnTo>
                  <a:lnTo>
                    <a:pt x="32" y="61"/>
                  </a:lnTo>
                  <a:lnTo>
                    <a:pt x="32" y="61"/>
                  </a:lnTo>
                  <a:lnTo>
                    <a:pt x="32" y="61"/>
                  </a:lnTo>
                  <a:lnTo>
                    <a:pt x="32" y="61"/>
                  </a:lnTo>
                  <a:lnTo>
                    <a:pt x="32" y="64"/>
                  </a:lnTo>
                  <a:lnTo>
                    <a:pt x="32" y="64"/>
                  </a:lnTo>
                  <a:lnTo>
                    <a:pt x="32" y="67"/>
                  </a:lnTo>
                  <a:lnTo>
                    <a:pt x="32" y="67"/>
                  </a:lnTo>
                  <a:lnTo>
                    <a:pt x="32" y="67"/>
                  </a:lnTo>
                  <a:lnTo>
                    <a:pt x="32" y="67"/>
                  </a:lnTo>
                  <a:lnTo>
                    <a:pt x="32" y="67"/>
                  </a:lnTo>
                  <a:lnTo>
                    <a:pt x="32" y="67"/>
                  </a:lnTo>
                  <a:lnTo>
                    <a:pt x="31" y="69"/>
                  </a:lnTo>
                  <a:lnTo>
                    <a:pt x="31" y="69"/>
                  </a:lnTo>
                  <a:lnTo>
                    <a:pt x="31" y="70"/>
                  </a:lnTo>
                  <a:lnTo>
                    <a:pt x="31" y="70"/>
                  </a:lnTo>
                  <a:lnTo>
                    <a:pt x="29" y="72"/>
                  </a:lnTo>
                  <a:lnTo>
                    <a:pt x="29" y="72"/>
                  </a:lnTo>
                  <a:lnTo>
                    <a:pt x="29" y="74"/>
                  </a:lnTo>
                  <a:lnTo>
                    <a:pt x="29" y="74"/>
                  </a:lnTo>
                  <a:lnTo>
                    <a:pt x="31" y="75"/>
                  </a:lnTo>
                  <a:lnTo>
                    <a:pt x="31" y="75"/>
                  </a:lnTo>
                  <a:lnTo>
                    <a:pt x="27" y="75"/>
                  </a:lnTo>
                  <a:lnTo>
                    <a:pt x="27" y="75"/>
                  </a:lnTo>
                  <a:lnTo>
                    <a:pt x="27" y="77"/>
                  </a:lnTo>
                  <a:lnTo>
                    <a:pt x="27" y="77"/>
                  </a:lnTo>
                  <a:lnTo>
                    <a:pt x="27" y="78"/>
                  </a:lnTo>
                  <a:lnTo>
                    <a:pt x="27" y="78"/>
                  </a:lnTo>
                  <a:lnTo>
                    <a:pt x="29" y="80"/>
                  </a:lnTo>
                  <a:lnTo>
                    <a:pt x="29" y="80"/>
                  </a:lnTo>
                  <a:lnTo>
                    <a:pt x="29" y="81"/>
                  </a:lnTo>
                  <a:lnTo>
                    <a:pt x="29" y="81"/>
                  </a:lnTo>
                  <a:lnTo>
                    <a:pt x="27" y="83"/>
                  </a:lnTo>
                  <a:lnTo>
                    <a:pt x="27" y="83"/>
                  </a:lnTo>
                  <a:lnTo>
                    <a:pt x="27" y="85"/>
                  </a:lnTo>
                  <a:lnTo>
                    <a:pt x="27" y="85"/>
                  </a:lnTo>
                  <a:lnTo>
                    <a:pt x="31" y="88"/>
                  </a:lnTo>
                  <a:lnTo>
                    <a:pt x="31" y="88"/>
                  </a:lnTo>
                  <a:lnTo>
                    <a:pt x="32" y="88"/>
                  </a:lnTo>
                  <a:lnTo>
                    <a:pt x="32" y="88"/>
                  </a:lnTo>
                  <a:lnTo>
                    <a:pt x="35" y="91"/>
                  </a:lnTo>
                  <a:lnTo>
                    <a:pt x="35" y="91"/>
                  </a:lnTo>
                  <a:lnTo>
                    <a:pt x="38" y="94"/>
                  </a:lnTo>
                  <a:lnTo>
                    <a:pt x="38" y="94"/>
                  </a:lnTo>
                  <a:lnTo>
                    <a:pt x="35" y="96"/>
                  </a:lnTo>
                  <a:lnTo>
                    <a:pt x="35" y="96"/>
                  </a:lnTo>
                  <a:lnTo>
                    <a:pt x="38" y="97"/>
                  </a:lnTo>
                  <a:lnTo>
                    <a:pt x="38" y="97"/>
                  </a:lnTo>
                  <a:lnTo>
                    <a:pt x="42" y="99"/>
                  </a:lnTo>
                  <a:lnTo>
                    <a:pt x="42" y="99"/>
                  </a:lnTo>
                  <a:lnTo>
                    <a:pt x="43" y="101"/>
                  </a:lnTo>
                  <a:lnTo>
                    <a:pt x="43" y="101"/>
                  </a:lnTo>
                  <a:lnTo>
                    <a:pt x="46" y="104"/>
                  </a:lnTo>
                  <a:lnTo>
                    <a:pt x="46" y="104"/>
                  </a:lnTo>
                  <a:lnTo>
                    <a:pt x="48" y="105"/>
                  </a:lnTo>
                  <a:lnTo>
                    <a:pt x="48" y="105"/>
                  </a:lnTo>
                  <a:lnTo>
                    <a:pt x="50" y="105"/>
                  </a:lnTo>
                  <a:lnTo>
                    <a:pt x="50" y="105"/>
                  </a:lnTo>
                  <a:lnTo>
                    <a:pt x="53" y="107"/>
                  </a:lnTo>
                  <a:lnTo>
                    <a:pt x="53" y="107"/>
                  </a:lnTo>
                  <a:lnTo>
                    <a:pt x="54" y="107"/>
                  </a:lnTo>
                  <a:lnTo>
                    <a:pt x="54" y="107"/>
                  </a:lnTo>
                  <a:lnTo>
                    <a:pt x="56" y="110"/>
                  </a:lnTo>
                  <a:lnTo>
                    <a:pt x="56" y="110"/>
                  </a:lnTo>
                  <a:lnTo>
                    <a:pt x="59" y="115"/>
                  </a:lnTo>
                  <a:lnTo>
                    <a:pt x="59" y="115"/>
                  </a:lnTo>
                  <a:lnTo>
                    <a:pt x="59" y="116"/>
                  </a:lnTo>
                  <a:lnTo>
                    <a:pt x="59" y="116"/>
                  </a:lnTo>
                  <a:lnTo>
                    <a:pt x="59" y="116"/>
                  </a:lnTo>
                  <a:lnTo>
                    <a:pt x="59" y="116"/>
                  </a:lnTo>
                  <a:lnTo>
                    <a:pt x="59" y="120"/>
                  </a:lnTo>
                  <a:lnTo>
                    <a:pt x="59" y="120"/>
                  </a:lnTo>
                  <a:lnTo>
                    <a:pt x="59" y="123"/>
                  </a:lnTo>
                  <a:lnTo>
                    <a:pt x="59" y="123"/>
                  </a:lnTo>
                  <a:lnTo>
                    <a:pt x="59" y="126"/>
                  </a:lnTo>
                  <a:lnTo>
                    <a:pt x="59" y="126"/>
                  </a:lnTo>
                  <a:lnTo>
                    <a:pt x="61" y="126"/>
                  </a:lnTo>
                  <a:lnTo>
                    <a:pt x="61" y="126"/>
                  </a:lnTo>
                  <a:lnTo>
                    <a:pt x="62" y="126"/>
                  </a:lnTo>
                  <a:lnTo>
                    <a:pt x="62" y="126"/>
                  </a:lnTo>
                  <a:lnTo>
                    <a:pt x="64" y="126"/>
                  </a:lnTo>
                  <a:lnTo>
                    <a:pt x="64" y="126"/>
                  </a:lnTo>
                  <a:lnTo>
                    <a:pt x="64" y="129"/>
                  </a:lnTo>
                  <a:lnTo>
                    <a:pt x="64" y="129"/>
                  </a:lnTo>
                  <a:lnTo>
                    <a:pt x="64" y="129"/>
                  </a:lnTo>
                  <a:lnTo>
                    <a:pt x="64" y="129"/>
                  </a:lnTo>
                  <a:lnTo>
                    <a:pt x="64" y="131"/>
                  </a:lnTo>
                  <a:lnTo>
                    <a:pt x="64" y="131"/>
                  </a:lnTo>
                  <a:lnTo>
                    <a:pt x="64" y="132"/>
                  </a:lnTo>
                  <a:lnTo>
                    <a:pt x="64" y="132"/>
                  </a:lnTo>
                  <a:lnTo>
                    <a:pt x="64" y="134"/>
                  </a:lnTo>
                  <a:lnTo>
                    <a:pt x="64" y="134"/>
                  </a:lnTo>
                  <a:lnTo>
                    <a:pt x="67" y="135"/>
                  </a:lnTo>
                  <a:lnTo>
                    <a:pt x="67" y="135"/>
                  </a:lnTo>
                  <a:lnTo>
                    <a:pt x="67" y="139"/>
                  </a:lnTo>
                  <a:lnTo>
                    <a:pt x="67" y="139"/>
                  </a:lnTo>
                  <a:lnTo>
                    <a:pt x="70" y="140"/>
                  </a:lnTo>
                  <a:lnTo>
                    <a:pt x="70" y="140"/>
                  </a:lnTo>
                  <a:lnTo>
                    <a:pt x="70" y="142"/>
                  </a:lnTo>
                  <a:lnTo>
                    <a:pt x="70" y="142"/>
                  </a:lnTo>
                  <a:lnTo>
                    <a:pt x="73" y="142"/>
                  </a:lnTo>
                  <a:lnTo>
                    <a:pt x="73" y="142"/>
                  </a:lnTo>
                  <a:lnTo>
                    <a:pt x="73" y="140"/>
                  </a:lnTo>
                  <a:lnTo>
                    <a:pt x="73" y="140"/>
                  </a:lnTo>
                  <a:lnTo>
                    <a:pt x="77" y="140"/>
                  </a:lnTo>
                  <a:lnTo>
                    <a:pt x="77" y="140"/>
                  </a:lnTo>
                  <a:lnTo>
                    <a:pt x="77" y="139"/>
                  </a:lnTo>
                  <a:lnTo>
                    <a:pt x="77" y="139"/>
                  </a:lnTo>
                  <a:lnTo>
                    <a:pt x="77" y="135"/>
                  </a:lnTo>
                  <a:lnTo>
                    <a:pt x="77" y="135"/>
                  </a:lnTo>
                  <a:lnTo>
                    <a:pt x="77" y="134"/>
                  </a:lnTo>
                  <a:lnTo>
                    <a:pt x="77" y="134"/>
                  </a:lnTo>
                  <a:lnTo>
                    <a:pt x="77" y="134"/>
                  </a:lnTo>
                  <a:lnTo>
                    <a:pt x="77" y="134"/>
                  </a:lnTo>
                  <a:lnTo>
                    <a:pt x="78" y="135"/>
                  </a:lnTo>
                  <a:lnTo>
                    <a:pt x="78" y="135"/>
                  </a:lnTo>
                  <a:lnTo>
                    <a:pt x="77" y="135"/>
                  </a:lnTo>
                  <a:lnTo>
                    <a:pt x="77" y="135"/>
                  </a:lnTo>
                  <a:lnTo>
                    <a:pt x="77" y="137"/>
                  </a:lnTo>
                  <a:lnTo>
                    <a:pt x="77" y="137"/>
                  </a:lnTo>
                  <a:lnTo>
                    <a:pt x="78" y="139"/>
                  </a:lnTo>
                  <a:lnTo>
                    <a:pt x="78" y="139"/>
                  </a:lnTo>
                  <a:lnTo>
                    <a:pt x="80" y="140"/>
                  </a:lnTo>
                  <a:lnTo>
                    <a:pt x="80" y="140"/>
                  </a:lnTo>
                  <a:lnTo>
                    <a:pt x="80" y="140"/>
                  </a:lnTo>
                  <a:lnTo>
                    <a:pt x="80" y="140"/>
                  </a:lnTo>
                  <a:lnTo>
                    <a:pt x="81" y="139"/>
                  </a:lnTo>
                  <a:lnTo>
                    <a:pt x="81" y="139"/>
                  </a:lnTo>
                  <a:lnTo>
                    <a:pt x="83" y="140"/>
                  </a:lnTo>
                  <a:lnTo>
                    <a:pt x="83" y="140"/>
                  </a:lnTo>
                  <a:lnTo>
                    <a:pt x="85" y="140"/>
                  </a:lnTo>
                  <a:lnTo>
                    <a:pt x="85" y="140"/>
                  </a:lnTo>
                  <a:lnTo>
                    <a:pt x="86" y="142"/>
                  </a:lnTo>
                  <a:lnTo>
                    <a:pt x="86" y="142"/>
                  </a:lnTo>
                  <a:lnTo>
                    <a:pt x="88" y="145"/>
                  </a:lnTo>
                  <a:lnTo>
                    <a:pt x="88" y="145"/>
                  </a:lnTo>
                  <a:lnTo>
                    <a:pt x="89" y="145"/>
                  </a:lnTo>
                  <a:lnTo>
                    <a:pt x="89" y="145"/>
                  </a:lnTo>
                  <a:lnTo>
                    <a:pt x="91" y="145"/>
                  </a:lnTo>
                  <a:lnTo>
                    <a:pt x="91" y="145"/>
                  </a:lnTo>
                  <a:lnTo>
                    <a:pt x="92" y="147"/>
                  </a:lnTo>
                  <a:lnTo>
                    <a:pt x="92" y="147"/>
                  </a:lnTo>
                  <a:lnTo>
                    <a:pt x="89" y="148"/>
                  </a:lnTo>
                  <a:lnTo>
                    <a:pt x="89" y="148"/>
                  </a:lnTo>
                  <a:lnTo>
                    <a:pt x="88" y="147"/>
                  </a:lnTo>
                  <a:lnTo>
                    <a:pt x="88" y="147"/>
                  </a:lnTo>
                  <a:lnTo>
                    <a:pt x="92" y="154"/>
                  </a:lnTo>
                  <a:lnTo>
                    <a:pt x="92" y="154"/>
                  </a:lnTo>
                  <a:lnTo>
                    <a:pt x="92" y="154"/>
                  </a:lnTo>
                  <a:lnTo>
                    <a:pt x="92" y="154"/>
                  </a:lnTo>
                  <a:lnTo>
                    <a:pt x="94" y="153"/>
                  </a:lnTo>
                  <a:lnTo>
                    <a:pt x="94" y="153"/>
                  </a:lnTo>
                  <a:lnTo>
                    <a:pt x="97" y="154"/>
                  </a:lnTo>
                  <a:lnTo>
                    <a:pt x="97" y="154"/>
                  </a:lnTo>
                  <a:lnTo>
                    <a:pt x="99" y="154"/>
                  </a:lnTo>
                  <a:lnTo>
                    <a:pt x="99" y="154"/>
                  </a:lnTo>
                  <a:lnTo>
                    <a:pt x="99" y="154"/>
                  </a:lnTo>
                  <a:lnTo>
                    <a:pt x="99" y="154"/>
                  </a:lnTo>
                  <a:lnTo>
                    <a:pt x="102" y="154"/>
                  </a:lnTo>
                  <a:lnTo>
                    <a:pt x="102" y="154"/>
                  </a:lnTo>
                  <a:lnTo>
                    <a:pt x="99" y="154"/>
                  </a:lnTo>
                  <a:lnTo>
                    <a:pt x="99" y="154"/>
                  </a:lnTo>
                  <a:lnTo>
                    <a:pt x="97" y="156"/>
                  </a:lnTo>
                  <a:lnTo>
                    <a:pt x="97" y="156"/>
                  </a:lnTo>
                  <a:lnTo>
                    <a:pt x="96" y="156"/>
                  </a:lnTo>
                  <a:lnTo>
                    <a:pt x="96" y="156"/>
                  </a:lnTo>
                  <a:lnTo>
                    <a:pt x="92" y="159"/>
                  </a:lnTo>
                  <a:lnTo>
                    <a:pt x="92" y="159"/>
                  </a:lnTo>
                  <a:lnTo>
                    <a:pt x="92" y="161"/>
                  </a:lnTo>
                  <a:lnTo>
                    <a:pt x="92" y="161"/>
                  </a:lnTo>
                  <a:lnTo>
                    <a:pt x="94" y="164"/>
                  </a:lnTo>
                  <a:lnTo>
                    <a:pt x="94" y="164"/>
                  </a:lnTo>
                  <a:lnTo>
                    <a:pt x="97" y="166"/>
                  </a:lnTo>
                  <a:lnTo>
                    <a:pt x="97" y="166"/>
                  </a:lnTo>
                  <a:lnTo>
                    <a:pt x="99" y="167"/>
                  </a:lnTo>
                  <a:lnTo>
                    <a:pt x="99" y="167"/>
                  </a:lnTo>
                  <a:lnTo>
                    <a:pt x="97" y="170"/>
                  </a:lnTo>
                  <a:lnTo>
                    <a:pt x="97" y="170"/>
                  </a:lnTo>
                  <a:lnTo>
                    <a:pt x="97" y="172"/>
                  </a:lnTo>
                  <a:lnTo>
                    <a:pt x="97" y="172"/>
                  </a:lnTo>
                  <a:lnTo>
                    <a:pt x="99" y="174"/>
                  </a:lnTo>
                  <a:lnTo>
                    <a:pt x="99" y="174"/>
                  </a:lnTo>
                  <a:lnTo>
                    <a:pt x="100" y="175"/>
                  </a:lnTo>
                  <a:lnTo>
                    <a:pt x="100" y="175"/>
                  </a:lnTo>
                  <a:lnTo>
                    <a:pt x="102" y="172"/>
                  </a:lnTo>
                  <a:lnTo>
                    <a:pt x="102" y="172"/>
                  </a:lnTo>
                  <a:lnTo>
                    <a:pt x="102" y="172"/>
                  </a:lnTo>
                  <a:lnTo>
                    <a:pt x="102" y="172"/>
                  </a:lnTo>
                  <a:lnTo>
                    <a:pt x="102" y="172"/>
                  </a:lnTo>
                  <a:lnTo>
                    <a:pt x="102" y="172"/>
                  </a:lnTo>
                  <a:lnTo>
                    <a:pt x="105" y="174"/>
                  </a:lnTo>
                  <a:lnTo>
                    <a:pt x="105" y="174"/>
                  </a:lnTo>
                  <a:lnTo>
                    <a:pt x="105" y="178"/>
                  </a:lnTo>
                  <a:lnTo>
                    <a:pt x="105" y="178"/>
                  </a:lnTo>
                  <a:lnTo>
                    <a:pt x="107" y="178"/>
                  </a:lnTo>
                  <a:lnTo>
                    <a:pt x="107" y="178"/>
                  </a:lnTo>
                  <a:lnTo>
                    <a:pt x="108" y="175"/>
                  </a:lnTo>
                  <a:lnTo>
                    <a:pt x="108" y="175"/>
                  </a:lnTo>
                  <a:lnTo>
                    <a:pt x="108" y="175"/>
                  </a:lnTo>
                  <a:lnTo>
                    <a:pt x="108" y="175"/>
                  </a:lnTo>
                  <a:lnTo>
                    <a:pt x="110" y="175"/>
                  </a:lnTo>
                  <a:lnTo>
                    <a:pt x="110" y="175"/>
                  </a:lnTo>
                  <a:lnTo>
                    <a:pt x="112" y="178"/>
                  </a:lnTo>
                  <a:lnTo>
                    <a:pt x="112" y="178"/>
                  </a:lnTo>
                  <a:lnTo>
                    <a:pt x="113" y="178"/>
                  </a:lnTo>
                  <a:lnTo>
                    <a:pt x="113" y="178"/>
                  </a:lnTo>
                  <a:lnTo>
                    <a:pt x="112" y="172"/>
                  </a:lnTo>
                  <a:lnTo>
                    <a:pt x="112" y="172"/>
                  </a:lnTo>
                  <a:lnTo>
                    <a:pt x="113" y="172"/>
                  </a:lnTo>
                  <a:lnTo>
                    <a:pt x="113" y="172"/>
                  </a:lnTo>
                  <a:lnTo>
                    <a:pt x="116" y="172"/>
                  </a:lnTo>
                  <a:lnTo>
                    <a:pt x="116" y="172"/>
                  </a:lnTo>
                  <a:lnTo>
                    <a:pt x="119" y="175"/>
                  </a:lnTo>
                  <a:lnTo>
                    <a:pt x="119" y="175"/>
                  </a:lnTo>
                  <a:lnTo>
                    <a:pt x="124" y="175"/>
                  </a:lnTo>
                  <a:lnTo>
                    <a:pt x="124" y="175"/>
                  </a:lnTo>
                  <a:lnTo>
                    <a:pt x="126" y="178"/>
                  </a:lnTo>
                  <a:lnTo>
                    <a:pt x="126" y="178"/>
                  </a:lnTo>
                  <a:lnTo>
                    <a:pt x="124" y="178"/>
                  </a:lnTo>
                  <a:lnTo>
                    <a:pt x="124" y="178"/>
                  </a:lnTo>
                  <a:lnTo>
                    <a:pt x="132" y="181"/>
                  </a:lnTo>
                  <a:lnTo>
                    <a:pt x="132" y="181"/>
                  </a:lnTo>
                  <a:lnTo>
                    <a:pt x="134" y="185"/>
                  </a:lnTo>
                  <a:lnTo>
                    <a:pt x="134" y="185"/>
                  </a:lnTo>
                  <a:lnTo>
                    <a:pt x="137" y="185"/>
                  </a:lnTo>
                  <a:lnTo>
                    <a:pt x="137" y="185"/>
                  </a:lnTo>
                  <a:lnTo>
                    <a:pt x="140" y="186"/>
                  </a:lnTo>
                  <a:lnTo>
                    <a:pt x="140" y="186"/>
                  </a:lnTo>
                  <a:lnTo>
                    <a:pt x="140" y="188"/>
                  </a:lnTo>
                  <a:lnTo>
                    <a:pt x="140" y="188"/>
                  </a:lnTo>
                  <a:lnTo>
                    <a:pt x="145" y="188"/>
                  </a:lnTo>
                  <a:lnTo>
                    <a:pt x="145" y="188"/>
                  </a:lnTo>
                  <a:lnTo>
                    <a:pt x="150" y="189"/>
                  </a:lnTo>
                  <a:lnTo>
                    <a:pt x="150" y="189"/>
                  </a:lnTo>
                  <a:lnTo>
                    <a:pt x="151" y="191"/>
                  </a:lnTo>
                  <a:lnTo>
                    <a:pt x="151" y="191"/>
                  </a:lnTo>
                  <a:lnTo>
                    <a:pt x="154" y="191"/>
                  </a:lnTo>
                  <a:lnTo>
                    <a:pt x="154" y="191"/>
                  </a:lnTo>
                  <a:lnTo>
                    <a:pt x="156" y="188"/>
                  </a:lnTo>
                  <a:lnTo>
                    <a:pt x="156" y="188"/>
                  </a:lnTo>
                  <a:lnTo>
                    <a:pt x="159" y="186"/>
                  </a:lnTo>
                  <a:lnTo>
                    <a:pt x="159" y="186"/>
                  </a:lnTo>
                  <a:lnTo>
                    <a:pt x="161" y="186"/>
                  </a:lnTo>
                  <a:lnTo>
                    <a:pt x="161" y="186"/>
                  </a:lnTo>
                  <a:lnTo>
                    <a:pt x="162" y="186"/>
                  </a:lnTo>
                  <a:lnTo>
                    <a:pt x="162" y="186"/>
                  </a:lnTo>
                  <a:lnTo>
                    <a:pt x="162" y="185"/>
                  </a:lnTo>
                  <a:lnTo>
                    <a:pt x="162" y="185"/>
                  </a:lnTo>
                  <a:lnTo>
                    <a:pt x="164" y="185"/>
                  </a:lnTo>
                  <a:lnTo>
                    <a:pt x="164" y="185"/>
                  </a:lnTo>
                  <a:lnTo>
                    <a:pt x="166" y="185"/>
                  </a:lnTo>
                  <a:lnTo>
                    <a:pt x="166" y="185"/>
                  </a:lnTo>
                  <a:lnTo>
                    <a:pt x="169" y="181"/>
                  </a:lnTo>
                  <a:lnTo>
                    <a:pt x="169" y="181"/>
                  </a:lnTo>
                  <a:lnTo>
                    <a:pt x="172" y="181"/>
                  </a:lnTo>
                  <a:lnTo>
                    <a:pt x="172" y="181"/>
                  </a:lnTo>
                  <a:lnTo>
                    <a:pt x="175" y="181"/>
                  </a:lnTo>
                  <a:lnTo>
                    <a:pt x="175" y="181"/>
                  </a:lnTo>
                  <a:lnTo>
                    <a:pt x="178" y="181"/>
                  </a:lnTo>
                  <a:lnTo>
                    <a:pt x="178" y="181"/>
                  </a:lnTo>
                  <a:lnTo>
                    <a:pt x="180" y="185"/>
                  </a:lnTo>
                  <a:lnTo>
                    <a:pt x="180" y="185"/>
                  </a:lnTo>
                  <a:lnTo>
                    <a:pt x="180" y="188"/>
                  </a:lnTo>
                  <a:lnTo>
                    <a:pt x="180" y="188"/>
                  </a:lnTo>
                  <a:lnTo>
                    <a:pt x="181" y="194"/>
                  </a:lnTo>
                  <a:lnTo>
                    <a:pt x="181" y="194"/>
                  </a:lnTo>
                  <a:lnTo>
                    <a:pt x="183" y="199"/>
                  </a:lnTo>
                  <a:lnTo>
                    <a:pt x="183" y="199"/>
                  </a:lnTo>
                  <a:lnTo>
                    <a:pt x="185" y="201"/>
                  </a:lnTo>
                  <a:lnTo>
                    <a:pt x="185" y="201"/>
                  </a:lnTo>
                  <a:lnTo>
                    <a:pt x="189" y="202"/>
                  </a:lnTo>
                  <a:lnTo>
                    <a:pt x="189" y="202"/>
                  </a:lnTo>
                  <a:lnTo>
                    <a:pt x="191" y="202"/>
                  </a:lnTo>
                  <a:lnTo>
                    <a:pt x="191" y="202"/>
                  </a:lnTo>
                  <a:lnTo>
                    <a:pt x="191" y="204"/>
                  </a:lnTo>
                  <a:lnTo>
                    <a:pt x="191" y="204"/>
                  </a:lnTo>
                  <a:lnTo>
                    <a:pt x="192" y="204"/>
                  </a:lnTo>
                  <a:lnTo>
                    <a:pt x="192" y="204"/>
                  </a:lnTo>
                  <a:lnTo>
                    <a:pt x="192" y="204"/>
                  </a:lnTo>
                  <a:lnTo>
                    <a:pt x="192" y="204"/>
                  </a:lnTo>
                  <a:lnTo>
                    <a:pt x="196" y="205"/>
                  </a:lnTo>
                  <a:lnTo>
                    <a:pt x="196" y="205"/>
                  </a:lnTo>
                  <a:lnTo>
                    <a:pt x="196" y="205"/>
                  </a:lnTo>
                  <a:lnTo>
                    <a:pt x="196" y="205"/>
                  </a:lnTo>
                  <a:lnTo>
                    <a:pt x="199" y="205"/>
                  </a:lnTo>
                  <a:lnTo>
                    <a:pt x="199" y="205"/>
                  </a:lnTo>
                  <a:lnTo>
                    <a:pt x="202" y="205"/>
                  </a:lnTo>
                  <a:lnTo>
                    <a:pt x="202" y="205"/>
                  </a:lnTo>
                  <a:lnTo>
                    <a:pt x="204" y="205"/>
                  </a:lnTo>
                  <a:lnTo>
                    <a:pt x="204" y="205"/>
                  </a:lnTo>
                  <a:lnTo>
                    <a:pt x="207" y="207"/>
                  </a:lnTo>
                  <a:lnTo>
                    <a:pt x="207" y="207"/>
                  </a:lnTo>
                  <a:lnTo>
                    <a:pt x="208" y="207"/>
                  </a:lnTo>
                  <a:lnTo>
                    <a:pt x="208" y="207"/>
                  </a:lnTo>
                  <a:lnTo>
                    <a:pt x="213" y="207"/>
                  </a:lnTo>
                  <a:lnTo>
                    <a:pt x="213" y="207"/>
                  </a:lnTo>
                  <a:lnTo>
                    <a:pt x="218" y="207"/>
                  </a:lnTo>
                  <a:lnTo>
                    <a:pt x="218" y="207"/>
                  </a:lnTo>
                  <a:lnTo>
                    <a:pt x="224" y="207"/>
                  </a:lnTo>
                  <a:lnTo>
                    <a:pt x="224" y="207"/>
                  </a:lnTo>
                  <a:lnTo>
                    <a:pt x="224" y="207"/>
                  </a:lnTo>
                  <a:lnTo>
                    <a:pt x="224" y="207"/>
                  </a:lnTo>
                  <a:lnTo>
                    <a:pt x="227" y="207"/>
                  </a:lnTo>
                  <a:lnTo>
                    <a:pt x="227" y="207"/>
                  </a:lnTo>
                  <a:lnTo>
                    <a:pt x="227" y="210"/>
                  </a:lnTo>
                  <a:lnTo>
                    <a:pt x="227" y="210"/>
                  </a:lnTo>
                  <a:lnTo>
                    <a:pt x="231" y="210"/>
                  </a:lnTo>
                  <a:lnTo>
                    <a:pt x="231" y="210"/>
                  </a:lnTo>
                  <a:lnTo>
                    <a:pt x="234" y="210"/>
                  </a:lnTo>
                  <a:lnTo>
                    <a:pt x="234" y="210"/>
                  </a:lnTo>
                  <a:lnTo>
                    <a:pt x="237" y="210"/>
                  </a:lnTo>
                  <a:lnTo>
                    <a:pt x="237" y="210"/>
                  </a:lnTo>
                  <a:lnTo>
                    <a:pt x="237" y="210"/>
                  </a:lnTo>
                  <a:lnTo>
                    <a:pt x="237" y="210"/>
                  </a:lnTo>
                  <a:lnTo>
                    <a:pt x="239" y="210"/>
                  </a:lnTo>
                  <a:lnTo>
                    <a:pt x="239" y="210"/>
                  </a:lnTo>
                  <a:lnTo>
                    <a:pt x="239" y="207"/>
                  </a:lnTo>
                  <a:lnTo>
                    <a:pt x="239" y="207"/>
                  </a:lnTo>
                  <a:lnTo>
                    <a:pt x="240" y="201"/>
                  </a:lnTo>
                  <a:lnTo>
                    <a:pt x="240" y="201"/>
                  </a:lnTo>
                  <a:lnTo>
                    <a:pt x="242" y="194"/>
                  </a:lnTo>
                  <a:lnTo>
                    <a:pt x="242" y="194"/>
                  </a:lnTo>
                  <a:lnTo>
                    <a:pt x="243" y="193"/>
                  </a:lnTo>
                  <a:lnTo>
                    <a:pt x="243" y="193"/>
                  </a:lnTo>
                  <a:lnTo>
                    <a:pt x="245" y="193"/>
                  </a:lnTo>
                  <a:lnTo>
                    <a:pt x="245" y="193"/>
                  </a:lnTo>
                  <a:lnTo>
                    <a:pt x="245" y="191"/>
                  </a:lnTo>
                  <a:lnTo>
                    <a:pt x="245" y="191"/>
                  </a:lnTo>
                  <a:lnTo>
                    <a:pt x="246" y="191"/>
                  </a:lnTo>
                  <a:lnTo>
                    <a:pt x="246" y="191"/>
                  </a:lnTo>
                  <a:lnTo>
                    <a:pt x="250" y="189"/>
                  </a:lnTo>
                  <a:lnTo>
                    <a:pt x="250" y="189"/>
                  </a:lnTo>
                  <a:lnTo>
                    <a:pt x="254" y="189"/>
                  </a:lnTo>
                  <a:lnTo>
                    <a:pt x="254" y="189"/>
                  </a:lnTo>
                  <a:lnTo>
                    <a:pt x="256" y="188"/>
                  </a:lnTo>
                  <a:lnTo>
                    <a:pt x="256" y="188"/>
                  </a:lnTo>
                  <a:lnTo>
                    <a:pt x="258" y="188"/>
                  </a:lnTo>
                  <a:lnTo>
                    <a:pt x="258" y="188"/>
                  </a:lnTo>
                  <a:lnTo>
                    <a:pt x="258" y="185"/>
                  </a:lnTo>
                  <a:lnTo>
                    <a:pt x="258" y="185"/>
                  </a:lnTo>
                  <a:lnTo>
                    <a:pt x="258" y="181"/>
                  </a:lnTo>
                  <a:lnTo>
                    <a:pt x="256" y="181"/>
                  </a:lnTo>
                  <a:lnTo>
                    <a:pt x="256" y="181"/>
                  </a:lnTo>
                  <a:lnTo>
                    <a:pt x="256" y="181"/>
                  </a:lnTo>
                  <a:close/>
                  <a:moveTo>
                    <a:pt x="85" y="154"/>
                  </a:moveTo>
                  <a:lnTo>
                    <a:pt x="85" y="154"/>
                  </a:lnTo>
                  <a:lnTo>
                    <a:pt x="86" y="158"/>
                  </a:lnTo>
                  <a:lnTo>
                    <a:pt x="86" y="158"/>
                  </a:lnTo>
                  <a:lnTo>
                    <a:pt x="86" y="158"/>
                  </a:lnTo>
                  <a:lnTo>
                    <a:pt x="86" y="158"/>
                  </a:lnTo>
                  <a:lnTo>
                    <a:pt x="88" y="158"/>
                  </a:lnTo>
                  <a:lnTo>
                    <a:pt x="88" y="158"/>
                  </a:lnTo>
                  <a:lnTo>
                    <a:pt x="88" y="156"/>
                  </a:lnTo>
                  <a:lnTo>
                    <a:pt x="88" y="156"/>
                  </a:lnTo>
                  <a:lnTo>
                    <a:pt x="88" y="154"/>
                  </a:lnTo>
                  <a:lnTo>
                    <a:pt x="88" y="154"/>
                  </a:lnTo>
                  <a:lnTo>
                    <a:pt x="86" y="153"/>
                  </a:lnTo>
                  <a:lnTo>
                    <a:pt x="86" y="153"/>
                  </a:lnTo>
                  <a:lnTo>
                    <a:pt x="85" y="154"/>
                  </a:lnTo>
                  <a:lnTo>
                    <a:pt x="85" y="154"/>
                  </a:lnTo>
                  <a:close/>
                  <a:moveTo>
                    <a:pt x="143" y="196"/>
                  </a:moveTo>
                  <a:lnTo>
                    <a:pt x="143" y="196"/>
                  </a:lnTo>
                  <a:lnTo>
                    <a:pt x="142" y="194"/>
                  </a:lnTo>
                  <a:lnTo>
                    <a:pt x="142" y="194"/>
                  </a:lnTo>
                  <a:lnTo>
                    <a:pt x="140" y="194"/>
                  </a:lnTo>
                  <a:lnTo>
                    <a:pt x="140" y="194"/>
                  </a:lnTo>
                  <a:lnTo>
                    <a:pt x="135" y="194"/>
                  </a:lnTo>
                  <a:lnTo>
                    <a:pt x="135" y="194"/>
                  </a:lnTo>
                  <a:lnTo>
                    <a:pt x="134" y="194"/>
                  </a:lnTo>
                  <a:lnTo>
                    <a:pt x="134" y="194"/>
                  </a:lnTo>
                  <a:lnTo>
                    <a:pt x="134" y="193"/>
                  </a:lnTo>
                  <a:lnTo>
                    <a:pt x="134" y="193"/>
                  </a:lnTo>
                  <a:lnTo>
                    <a:pt x="132" y="191"/>
                  </a:lnTo>
                  <a:lnTo>
                    <a:pt x="132" y="191"/>
                  </a:lnTo>
                  <a:lnTo>
                    <a:pt x="126" y="193"/>
                  </a:lnTo>
                  <a:lnTo>
                    <a:pt x="126" y="193"/>
                  </a:lnTo>
                  <a:lnTo>
                    <a:pt x="124" y="191"/>
                  </a:lnTo>
                  <a:lnTo>
                    <a:pt x="124" y="191"/>
                  </a:lnTo>
                  <a:lnTo>
                    <a:pt x="124" y="191"/>
                  </a:lnTo>
                  <a:lnTo>
                    <a:pt x="124" y="191"/>
                  </a:lnTo>
                  <a:lnTo>
                    <a:pt x="124" y="191"/>
                  </a:lnTo>
                  <a:lnTo>
                    <a:pt x="124" y="191"/>
                  </a:lnTo>
                  <a:lnTo>
                    <a:pt x="124" y="189"/>
                  </a:lnTo>
                  <a:lnTo>
                    <a:pt x="124" y="189"/>
                  </a:lnTo>
                  <a:lnTo>
                    <a:pt x="123" y="191"/>
                  </a:lnTo>
                  <a:lnTo>
                    <a:pt x="123" y="191"/>
                  </a:lnTo>
                  <a:lnTo>
                    <a:pt x="121" y="189"/>
                  </a:lnTo>
                  <a:lnTo>
                    <a:pt x="121" y="189"/>
                  </a:lnTo>
                  <a:lnTo>
                    <a:pt x="119" y="189"/>
                  </a:lnTo>
                  <a:lnTo>
                    <a:pt x="119" y="189"/>
                  </a:lnTo>
                  <a:lnTo>
                    <a:pt x="119" y="191"/>
                  </a:lnTo>
                  <a:lnTo>
                    <a:pt x="119" y="191"/>
                  </a:lnTo>
                  <a:lnTo>
                    <a:pt x="118" y="191"/>
                  </a:lnTo>
                  <a:lnTo>
                    <a:pt x="118" y="191"/>
                  </a:lnTo>
                  <a:lnTo>
                    <a:pt x="118" y="194"/>
                  </a:lnTo>
                  <a:lnTo>
                    <a:pt x="118" y="194"/>
                  </a:lnTo>
                  <a:lnTo>
                    <a:pt x="124" y="194"/>
                  </a:lnTo>
                  <a:lnTo>
                    <a:pt x="124" y="194"/>
                  </a:lnTo>
                  <a:lnTo>
                    <a:pt x="127" y="196"/>
                  </a:lnTo>
                  <a:lnTo>
                    <a:pt x="127" y="196"/>
                  </a:lnTo>
                  <a:lnTo>
                    <a:pt x="129" y="197"/>
                  </a:lnTo>
                  <a:lnTo>
                    <a:pt x="129" y="197"/>
                  </a:lnTo>
                  <a:lnTo>
                    <a:pt x="131" y="197"/>
                  </a:lnTo>
                  <a:lnTo>
                    <a:pt x="131" y="197"/>
                  </a:lnTo>
                  <a:lnTo>
                    <a:pt x="131" y="199"/>
                  </a:lnTo>
                  <a:lnTo>
                    <a:pt x="131" y="199"/>
                  </a:lnTo>
                  <a:lnTo>
                    <a:pt x="143" y="197"/>
                  </a:lnTo>
                  <a:lnTo>
                    <a:pt x="143" y="197"/>
                  </a:lnTo>
                  <a:lnTo>
                    <a:pt x="146" y="197"/>
                  </a:lnTo>
                  <a:lnTo>
                    <a:pt x="146" y="197"/>
                  </a:lnTo>
                  <a:lnTo>
                    <a:pt x="148" y="196"/>
                  </a:lnTo>
                  <a:lnTo>
                    <a:pt x="148" y="196"/>
                  </a:lnTo>
                  <a:lnTo>
                    <a:pt x="146" y="194"/>
                  </a:lnTo>
                  <a:lnTo>
                    <a:pt x="146" y="194"/>
                  </a:lnTo>
                  <a:lnTo>
                    <a:pt x="143" y="196"/>
                  </a:lnTo>
                  <a:lnTo>
                    <a:pt x="143" y="19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3" name="Freeform 377">
              <a:extLst>
                <a:ext uri="{FF2B5EF4-FFF2-40B4-BE49-F238E27FC236}">
                  <a16:creationId xmlns:a16="http://schemas.microsoft.com/office/drawing/2014/main" id="{E66157D3-963B-F8C4-B914-71C34D4667FF}"/>
                </a:ext>
              </a:extLst>
            </p:cNvPr>
            <p:cNvSpPr>
              <a:spLocks/>
            </p:cNvSpPr>
            <p:nvPr/>
          </p:nvSpPr>
          <p:spPr bwMode="auto">
            <a:xfrm>
              <a:off x="7215952" y="3190687"/>
              <a:ext cx="139071" cy="107667"/>
            </a:xfrm>
            <a:custGeom>
              <a:avLst/>
              <a:gdLst>
                <a:gd name="T0" fmla="*/ 59 w 62"/>
                <a:gd name="T1" fmla="*/ 11 h 48"/>
                <a:gd name="T2" fmla="*/ 57 w 62"/>
                <a:gd name="T3" fmla="*/ 6 h 48"/>
                <a:gd name="T4" fmla="*/ 55 w 62"/>
                <a:gd name="T5" fmla="*/ 6 h 48"/>
                <a:gd name="T6" fmla="*/ 55 w 62"/>
                <a:gd name="T7" fmla="*/ 6 h 48"/>
                <a:gd name="T8" fmla="*/ 52 w 62"/>
                <a:gd name="T9" fmla="*/ 6 h 48"/>
                <a:gd name="T10" fmla="*/ 52 w 62"/>
                <a:gd name="T11" fmla="*/ 5 h 48"/>
                <a:gd name="T12" fmla="*/ 51 w 62"/>
                <a:gd name="T13" fmla="*/ 5 h 48"/>
                <a:gd name="T14" fmla="*/ 52 w 62"/>
                <a:gd name="T15" fmla="*/ 5 h 48"/>
                <a:gd name="T16" fmla="*/ 52 w 62"/>
                <a:gd name="T17" fmla="*/ 3 h 48"/>
                <a:gd name="T18" fmla="*/ 52 w 62"/>
                <a:gd name="T19" fmla="*/ 3 h 48"/>
                <a:gd name="T20" fmla="*/ 52 w 62"/>
                <a:gd name="T21" fmla="*/ 2 h 48"/>
                <a:gd name="T22" fmla="*/ 52 w 62"/>
                <a:gd name="T23" fmla="*/ 0 h 48"/>
                <a:gd name="T24" fmla="*/ 52 w 62"/>
                <a:gd name="T25" fmla="*/ 0 h 48"/>
                <a:gd name="T26" fmla="*/ 51 w 62"/>
                <a:gd name="T27" fmla="*/ 3 h 48"/>
                <a:gd name="T28" fmla="*/ 46 w 62"/>
                <a:gd name="T29" fmla="*/ 6 h 48"/>
                <a:gd name="T30" fmla="*/ 43 w 62"/>
                <a:gd name="T31" fmla="*/ 9 h 48"/>
                <a:gd name="T32" fmla="*/ 40 w 62"/>
                <a:gd name="T33" fmla="*/ 14 h 48"/>
                <a:gd name="T34" fmla="*/ 36 w 62"/>
                <a:gd name="T35" fmla="*/ 17 h 48"/>
                <a:gd name="T36" fmla="*/ 36 w 62"/>
                <a:gd name="T37" fmla="*/ 22 h 48"/>
                <a:gd name="T38" fmla="*/ 33 w 62"/>
                <a:gd name="T39" fmla="*/ 24 h 48"/>
                <a:gd name="T40" fmla="*/ 33 w 62"/>
                <a:gd name="T41" fmla="*/ 25 h 48"/>
                <a:gd name="T42" fmla="*/ 30 w 62"/>
                <a:gd name="T43" fmla="*/ 24 h 48"/>
                <a:gd name="T44" fmla="*/ 30 w 62"/>
                <a:gd name="T45" fmla="*/ 24 h 48"/>
                <a:gd name="T46" fmla="*/ 30 w 62"/>
                <a:gd name="T47" fmla="*/ 25 h 48"/>
                <a:gd name="T48" fmla="*/ 27 w 62"/>
                <a:gd name="T49" fmla="*/ 27 h 48"/>
                <a:gd name="T50" fmla="*/ 25 w 62"/>
                <a:gd name="T51" fmla="*/ 27 h 48"/>
                <a:gd name="T52" fmla="*/ 19 w 62"/>
                <a:gd name="T53" fmla="*/ 27 h 48"/>
                <a:gd name="T54" fmla="*/ 14 w 62"/>
                <a:gd name="T55" fmla="*/ 27 h 48"/>
                <a:gd name="T56" fmla="*/ 11 w 62"/>
                <a:gd name="T57" fmla="*/ 25 h 48"/>
                <a:gd name="T58" fmla="*/ 9 w 62"/>
                <a:gd name="T59" fmla="*/ 27 h 48"/>
                <a:gd name="T60" fmla="*/ 5 w 62"/>
                <a:gd name="T61" fmla="*/ 29 h 48"/>
                <a:gd name="T62" fmla="*/ 3 w 62"/>
                <a:gd name="T63" fmla="*/ 29 h 48"/>
                <a:gd name="T64" fmla="*/ 1 w 62"/>
                <a:gd name="T65" fmla="*/ 29 h 48"/>
                <a:gd name="T66" fmla="*/ 0 w 62"/>
                <a:gd name="T67" fmla="*/ 24 h 48"/>
                <a:gd name="T68" fmla="*/ 0 w 62"/>
                <a:gd name="T69" fmla="*/ 25 h 48"/>
                <a:gd name="T70" fmla="*/ 0 w 62"/>
                <a:gd name="T71" fmla="*/ 29 h 48"/>
                <a:gd name="T72" fmla="*/ 8 w 62"/>
                <a:gd name="T73" fmla="*/ 38 h 48"/>
                <a:gd name="T74" fmla="*/ 13 w 62"/>
                <a:gd name="T75" fmla="*/ 43 h 48"/>
                <a:gd name="T76" fmla="*/ 30 w 62"/>
                <a:gd name="T77" fmla="*/ 44 h 48"/>
                <a:gd name="T78" fmla="*/ 43 w 62"/>
                <a:gd name="T79" fmla="*/ 48 h 48"/>
                <a:gd name="T80" fmla="*/ 44 w 62"/>
                <a:gd name="T81" fmla="*/ 46 h 48"/>
                <a:gd name="T82" fmla="*/ 46 w 62"/>
                <a:gd name="T83" fmla="*/ 48 h 48"/>
                <a:gd name="T84" fmla="*/ 46 w 62"/>
                <a:gd name="T85" fmla="*/ 46 h 48"/>
                <a:gd name="T86" fmla="*/ 46 w 62"/>
                <a:gd name="T87" fmla="*/ 41 h 48"/>
                <a:gd name="T88" fmla="*/ 48 w 62"/>
                <a:gd name="T89" fmla="*/ 38 h 48"/>
                <a:gd name="T90" fmla="*/ 49 w 62"/>
                <a:gd name="T91" fmla="*/ 32 h 48"/>
                <a:gd name="T92" fmla="*/ 48 w 62"/>
                <a:gd name="T93" fmla="*/ 30 h 48"/>
                <a:gd name="T94" fmla="*/ 48 w 62"/>
                <a:gd name="T95" fmla="*/ 29 h 48"/>
                <a:gd name="T96" fmla="*/ 51 w 62"/>
                <a:gd name="T97" fmla="*/ 29 h 48"/>
                <a:gd name="T98" fmla="*/ 54 w 62"/>
                <a:gd name="T99" fmla="*/ 27 h 48"/>
                <a:gd name="T100" fmla="*/ 54 w 62"/>
                <a:gd name="T101" fmla="*/ 25 h 48"/>
                <a:gd name="T102" fmla="*/ 52 w 62"/>
                <a:gd name="T103" fmla="*/ 25 h 48"/>
                <a:gd name="T104" fmla="*/ 51 w 62"/>
                <a:gd name="T105" fmla="*/ 19 h 48"/>
                <a:gd name="T106" fmla="*/ 51 w 62"/>
                <a:gd name="T107" fmla="*/ 16 h 48"/>
                <a:gd name="T108" fmla="*/ 51 w 62"/>
                <a:gd name="T109" fmla="*/ 14 h 48"/>
                <a:gd name="T110" fmla="*/ 52 w 62"/>
                <a:gd name="T111" fmla="*/ 14 h 48"/>
                <a:gd name="T112" fmla="*/ 54 w 62"/>
                <a:gd name="T113" fmla="*/ 16 h 48"/>
                <a:gd name="T114" fmla="*/ 57 w 62"/>
                <a:gd name="T115" fmla="*/ 14 h 48"/>
                <a:gd name="T116" fmla="*/ 59 w 62"/>
                <a:gd name="T117" fmla="*/ 16 h 48"/>
                <a:gd name="T118" fmla="*/ 62 w 62"/>
                <a:gd name="T119" fmla="*/ 13 h 48"/>
                <a:gd name="T120" fmla="*/ 59 w 62"/>
                <a:gd name="T121"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48">
                  <a:moveTo>
                    <a:pt x="59" y="11"/>
                  </a:moveTo>
                  <a:lnTo>
                    <a:pt x="59" y="11"/>
                  </a:lnTo>
                  <a:lnTo>
                    <a:pt x="57" y="6"/>
                  </a:lnTo>
                  <a:lnTo>
                    <a:pt x="57" y="6"/>
                  </a:lnTo>
                  <a:lnTo>
                    <a:pt x="55" y="6"/>
                  </a:lnTo>
                  <a:lnTo>
                    <a:pt x="55" y="6"/>
                  </a:lnTo>
                  <a:lnTo>
                    <a:pt x="55" y="6"/>
                  </a:lnTo>
                  <a:lnTo>
                    <a:pt x="55" y="6"/>
                  </a:lnTo>
                  <a:lnTo>
                    <a:pt x="54" y="6"/>
                  </a:lnTo>
                  <a:lnTo>
                    <a:pt x="52" y="6"/>
                  </a:lnTo>
                  <a:lnTo>
                    <a:pt x="52" y="6"/>
                  </a:lnTo>
                  <a:lnTo>
                    <a:pt x="52" y="5"/>
                  </a:lnTo>
                  <a:lnTo>
                    <a:pt x="52" y="5"/>
                  </a:lnTo>
                  <a:lnTo>
                    <a:pt x="51" y="5"/>
                  </a:lnTo>
                  <a:lnTo>
                    <a:pt x="52" y="5"/>
                  </a:lnTo>
                  <a:lnTo>
                    <a:pt x="52" y="5"/>
                  </a:lnTo>
                  <a:lnTo>
                    <a:pt x="52" y="3"/>
                  </a:lnTo>
                  <a:lnTo>
                    <a:pt x="52" y="3"/>
                  </a:lnTo>
                  <a:lnTo>
                    <a:pt x="52" y="3"/>
                  </a:lnTo>
                  <a:lnTo>
                    <a:pt x="52" y="3"/>
                  </a:lnTo>
                  <a:lnTo>
                    <a:pt x="52" y="3"/>
                  </a:lnTo>
                  <a:lnTo>
                    <a:pt x="52" y="2"/>
                  </a:lnTo>
                  <a:lnTo>
                    <a:pt x="52" y="2"/>
                  </a:lnTo>
                  <a:lnTo>
                    <a:pt x="52" y="0"/>
                  </a:lnTo>
                  <a:lnTo>
                    <a:pt x="52" y="0"/>
                  </a:lnTo>
                  <a:lnTo>
                    <a:pt x="52" y="0"/>
                  </a:lnTo>
                  <a:lnTo>
                    <a:pt x="52" y="0"/>
                  </a:lnTo>
                  <a:lnTo>
                    <a:pt x="51" y="3"/>
                  </a:lnTo>
                  <a:lnTo>
                    <a:pt x="51" y="3"/>
                  </a:lnTo>
                  <a:lnTo>
                    <a:pt x="46" y="6"/>
                  </a:lnTo>
                  <a:lnTo>
                    <a:pt x="46" y="6"/>
                  </a:lnTo>
                  <a:lnTo>
                    <a:pt x="43" y="9"/>
                  </a:lnTo>
                  <a:lnTo>
                    <a:pt x="43" y="9"/>
                  </a:lnTo>
                  <a:lnTo>
                    <a:pt x="40" y="14"/>
                  </a:lnTo>
                  <a:lnTo>
                    <a:pt x="40" y="14"/>
                  </a:lnTo>
                  <a:lnTo>
                    <a:pt x="36" y="17"/>
                  </a:lnTo>
                  <a:lnTo>
                    <a:pt x="36" y="17"/>
                  </a:lnTo>
                  <a:lnTo>
                    <a:pt x="36" y="22"/>
                  </a:lnTo>
                  <a:lnTo>
                    <a:pt x="36" y="22"/>
                  </a:lnTo>
                  <a:lnTo>
                    <a:pt x="33" y="24"/>
                  </a:lnTo>
                  <a:lnTo>
                    <a:pt x="33" y="24"/>
                  </a:lnTo>
                  <a:lnTo>
                    <a:pt x="33" y="25"/>
                  </a:lnTo>
                  <a:lnTo>
                    <a:pt x="33" y="25"/>
                  </a:lnTo>
                  <a:lnTo>
                    <a:pt x="30" y="24"/>
                  </a:lnTo>
                  <a:lnTo>
                    <a:pt x="30" y="24"/>
                  </a:lnTo>
                  <a:lnTo>
                    <a:pt x="30" y="24"/>
                  </a:lnTo>
                  <a:lnTo>
                    <a:pt x="30" y="24"/>
                  </a:lnTo>
                  <a:lnTo>
                    <a:pt x="30" y="25"/>
                  </a:lnTo>
                  <a:lnTo>
                    <a:pt x="30" y="25"/>
                  </a:lnTo>
                  <a:lnTo>
                    <a:pt x="27" y="27"/>
                  </a:lnTo>
                  <a:lnTo>
                    <a:pt x="27" y="27"/>
                  </a:lnTo>
                  <a:lnTo>
                    <a:pt x="25" y="27"/>
                  </a:lnTo>
                  <a:lnTo>
                    <a:pt x="25" y="27"/>
                  </a:lnTo>
                  <a:lnTo>
                    <a:pt x="19" y="27"/>
                  </a:lnTo>
                  <a:lnTo>
                    <a:pt x="19" y="27"/>
                  </a:lnTo>
                  <a:lnTo>
                    <a:pt x="14" y="27"/>
                  </a:lnTo>
                  <a:lnTo>
                    <a:pt x="14" y="27"/>
                  </a:lnTo>
                  <a:lnTo>
                    <a:pt x="11" y="25"/>
                  </a:lnTo>
                  <a:lnTo>
                    <a:pt x="11" y="25"/>
                  </a:lnTo>
                  <a:lnTo>
                    <a:pt x="9" y="27"/>
                  </a:lnTo>
                  <a:lnTo>
                    <a:pt x="9" y="27"/>
                  </a:lnTo>
                  <a:lnTo>
                    <a:pt x="5" y="29"/>
                  </a:lnTo>
                  <a:lnTo>
                    <a:pt x="5" y="29"/>
                  </a:lnTo>
                  <a:lnTo>
                    <a:pt x="3" y="29"/>
                  </a:lnTo>
                  <a:lnTo>
                    <a:pt x="3" y="29"/>
                  </a:lnTo>
                  <a:lnTo>
                    <a:pt x="1" y="29"/>
                  </a:lnTo>
                  <a:lnTo>
                    <a:pt x="1" y="29"/>
                  </a:lnTo>
                  <a:lnTo>
                    <a:pt x="0" y="24"/>
                  </a:lnTo>
                  <a:lnTo>
                    <a:pt x="0" y="24"/>
                  </a:lnTo>
                  <a:lnTo>
                    <a:pt x="0" y="25"/>
                  </a:lnTo>
                  <a:lnTo>
                    <a:pt x="0" y="25"/>
                  </a:lnTo>
                  <a:lnTo>
                    <a:pt x="0" y="29"/>
                  </a:lnTo>
                  <a:lnTo>
                    <a:pt x="0" y="29"/>
                  </a:lnTo>
                  <a:lnTo>
                    <a:pt x="8" y="38"/>
                  </a:lnTo>
                  <a:lnTo>
                    <a:pt x="8" y="38"/>
                  </a:lnTo>
                  <a:lnTo>
                    <a:pt x="13" y="43"/>
                  </a:lnTo>
                  <a:lnTo>
                    <a:pt x="13" y="43"/>
                  </a:lnTo>
                  <a:lnTo>
                    <a:pt x="30" y="44"/>
                  </a:lnTo>
                  <a:lnTo>
                    <a:pt x="30" y="44"/>
                  </a:lnTo>
                  <a:lnTo>
                    <a:pt x="43" y="48"/>
                  </a:lnTo>
                  <a:lnTo>
                    <a:pt x="43" y="48"/>
                  </a:lnTo>
                  <a:lnTo>
                    <a:pt x="44" y="46"/>
                  </a:lnTo>
                  <a:lnTo>
                    <a:pt x="44" y="46"/>
                  </a:lnTo>
                  <a:lnTo>
                    <a:pt x="46" y="48"/>
                  </a:lnTo>
                  <a:lnTo>
                    <a:pt x="46" y="48"/>
                  </a:lnTo>
                  <a:lnTo>
                    <a:pt x="46" y="46"/>
                  </a:lnTo>
                  <a:lnTo>
                    <a:pt x="46" y="46"/>
                  </a:lnTo>
                  <a:lnTo>
                    <a:pt x="46" y="41"/>
                  </a:lnTo>
                  <a:lnTo>
                    <a:pt x="46" y="41"/>
                  </a:lnTo>
                  <a:lnTo>
                    <a:pt x="48" y="38"/>
                  </a:lnTo>
                  <a:lnTo>
                    <a:pt x="48" y="38"/>
                  </a:lnTo>
                  <a:lnTo>
                    <a:pt x="49" y="32"/>
                  </a:lnTo>
                  <a:lnTo>
                    <a:pt x="49" y="32"/>
                  </a:lnTo>
                  <a:lnTo>
                    <a:pt x="48" y="30"/>
                  </a:lnTo>
                  <a:lnTo>
                    <a:pt x="48" y="30"/>
                  </a:lnTo>
                  <a:lnTo>
                    <a:pt x="48" y="29"/>
                  </a:lnTo>
                  <a:lnTo>
                    <a:pt x="48" y="29"/>
                  </a:lnTo>
                  <a:lnTo>
                    <a:pt x="51" y="29"/>
                  </a:lnTo>
                  <a:lnTo>
                    <a:pt x="51" y="29"/>
                  </a:lnTo>
                  <a:lnTo>
                    <a:pt x="54" y="27"/>
                  </a:lnTo>
                  <a:lnTo>
                    <a:pt x="54" y="27"/>
                  </a:lnTo>
                  <a:lnTo>
                    <a:pt x="54" y="25"/>
                  </a:lnTo>
                  <a:lnTo>
                    <a:pt x="54" y="25"/>
                  </a:lnTo>
                  <a:lnTo>
                    <a:pt x="52" y="25"/>
                  </a:lnTo>
                  <a:lnTo>
                    <a:pt x="52" y="25"/>
                  </a:lnTo>
                  <a:lnTo>
                    <a:pt x="51" y="19"/>
                  </a:lnTo>
                  <a:lnTo>
                    <a:pt x="51" y="19"/>
                  </a:lnTo>
                  <a:lnTo>
                    <a:pt x="51" y="16"/>
                  </a:lnTo>
                  <a:lnTo>
                    <a:pt x="51" y="16"/>
                  </a:lnTo>
                  <a:lnTo>
                    <a:pt x="51" y="14"/>
                  </a:lnTo>
                  <a:lnTo>
                    <a:pt x="51" y="14"/>
                  </a:lnTo>
                  <a:lnTo>
                    <a:pt x="52" y="14"/>
                  </a:lnTo>
                  <a:lnTo>
                    <a:pt x="52" y="14"/>
                  </a:lnTo>
                  <a:lnTo>
                    <a:pt x="54" y="16"/>
                  </a:lnTo>
                  <a:lnTo>
                    <a:pt x="54" y="16"/>
                  </a:lnTo>
                  <a:lnTo>
                    <a:pt x="57" y="14"/>
                  </a:lnTo>
                  <a:lnTo>
                    <a:pt x="57" y="14"/>
                  </a:lnTo>
                  <a:lnTo>
                    <a:pt x="59" y="16"/>
                  </a:lnTo>
                  <a:lnTo>
                    <a:pt x="59" y="16"/>
                  </a:lnTo>
                  <a:lnTo>
                    <a:pt x="62" y="13"/>
                  </a:lnTo>
                  <a:lnTo>
                    <a:pt x="62" y="13"/>
                  </a:lnTo>
                  <a:lnTo>
                    <a:pt x="59" y="11"/>
                  </a:lnTo>
                  <a:lnTo>
                    <a:pt x="59" y="1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4" name="Freeform 380">
              <a:extLst>
                <a:ext uri="{FF2B5EF4-FFF2-40B4-BE49-F238E27FC236}">
                  <a16:creationId xmlns:a16="http://schemas.microsoft.com/office/drawing/2014/main" id="{B5F797BC-372F-0388-489F-4AA6C1295371}"/>
                </a:ext>
              </a:extLst>
            </p:cNvPr>
            <p:cNvSpPr>
              <a:spLocks/>
            </p:cNvSpPr>
            <p:nvPr/>
          </p:nvSpPr>
          <p:spPr bwMode="auto">
            <a:xfrm>
              <a:off x="7330350" y="3186201"/>
              <a:ext cx="8972" cy="17945"/>
            </a:xfrm>
            <a:custGeom>
              <a:avLst/>
              <a:gdLst>
                <a:gd name="T0" fmla="*/ 0 w 4"/>
                <a:gd name="T1" fmla="*/ 4 h 8"/>
                <a:gd name="T2" fmla="*/ 0 w 4"/>
                <a:gd name="T3" fmla="*/ 4 h 8"/>
                <a:gd name="T4" fmla="*/ 0 w 4"/>
                <a:gd name="T5" fmla="*/ 4 h 8"/>
                <a:gd name="T6" fmla="*/ 0 w 4"/>
                <a:gd name="T7" fmla="*/ 4 h 8"/>
                <a:gd name="T8" fmla="*/ 1 w 4"/>
                <a:gd name="T9" fmla="*/ 5 h 8"/>
                <a:gd name="T10" fmla="*/ 1 w 4"/>
                <a:gd name="T11" fmla="*/ 5 h 8"/>
                <a:gd name="T12" fmla="*/ 1 w 4"/>
                <a:gd name="T13" fmla="*/ 5 h 8"/>
                <a:gd name="T14" fmla="*/ 1 w 4"/>
                <a:gd name="T15" fmla="*/ 7 h 8"/>
                <a:gd name="T16" fmla="*/ 1 w 4"/>
                <a:gd name="T17" fmla="*/ 7 h 8"/>
                <a:gd name="T18" fmla="*/ 0 w 4"/>
                <a:gd name="T19" fmla="*/ 7 h 8"/>
                <a:gd name="T20" fmla="*/ 0 w 4"/>
                <a:gd name="T21" fmla="*/ 7 h 8"/>
                <a:gd name="T22" fmla="*/ 0 w 4"/>
                <a:gd name="T23" fmla="*/ 7 h 8"/>
                <a:gd name="T24" fmla="*/ 0 w 4"/>
                <a:gd name="T25" fmla="*/ 7 h 8"/>
                <a:gd name="T26" fmla="*/ 0 w 4"/>
                <a:gd name="T27" fmla="*/ 7 h 8"/>
                <a:gd name="T28" fmla="*/ 1 w 4"/>
                <a:gd name="T29" fmla="*/ 8 h 8"/>
                <a:gd name="T30" fmla="*/ 1 w 4"/>
                <a:gd name="T31" fmla="*/ 8 h 8"/>
                <a:gd name="T32" fmla="*/ 1 w 4"/>
                <a:gd name="T33" fmla="*/ 8 h 8"/>
                <a:gd name="T34" fmla="*/ 3 w 4"/>
                <a:gd name="T35" fmla="*/ 8 h 8"/>
                <a:gd name="T36" fmla="*/ 3 w 4"/>
                <a:gd name="T37" fmla="*/ 8 h 8"/>
                <a:gd name="T38" fmla="*/ 4 w 4"/>
                <a:gd name="T39" fmla="*/ 8 h 8"/>
                <a:gd name="T40" fmla="*/ 4 w 4"/>
                <a:gd name="T41" fmla="*/ 8 h 8"/>
                <a:gd name="T42" fmla="*/ 3 w 4"/>
                <a:gd name="T43" fmla="*/ 8 h 8"/>
                <a:gd name="T44" fmla="*/ 3 w 4"/>
                <a:gd name="T45" fmla="*/ 8 h 8"/>
                <a:gd name="T46" fmla="*/ 3 w 4"/>
                <a:gd name="T47" fmla="*/ 7 h 8"/>
                <a:gd name="T48" fmla="*/ 3 w 4"/>
                <a:gd name="T49" fmla="*/ 7 h 8"/>
                <a:gd name="T50" fmla="*/ 1 w 4"/>
                <a:gd name="T51" fmla="*/ 7 h 8"/>
                <a:gd name="T52" fmla="*/ 1 w 4"/>
                <a:gd name="T53" fmla="*/ 7 h 8"/>
                <a:gd name="T54" fmla="*/ 1 w 4"/>
                <a:gd name="T55" fmla="*/ 5 h 8"/>
                <a:gd name="T56" fmla="*/ 1 w 4"/>
                <a:gd name="T57" fmla="*/ 5 h 8"/>
                <a:gd name="T58" fmla="*/ 1 w 4"/>
                <a:gd name="T59" fmla="*/ 2 h 8"/>
                <a:gd name="T60" fmla="*/ 1 w 4"/>
                <a:gd name="T61" fmla="*/ 2 h 8"/>
                <a:gd name="T62" fmla="*/ 1 w 4"/>
                <a:gd name="T63" fmla="*/ 0 h 8"/>
                <a:gd name="T64" fmla="*/ 1 w 4"/>
                <a:gd name="T65" fmla="*/ 0 h 8"/>
                <a:gd name="T66" fmla="*/ 0 w 4"/>
                <a:gd name="T67" fmla="*/ 0 h 8"/>
                <a:gd name="T68" fmla="*/ 0 w 4"/>
                <a:gd name="T69" fmla="*/ 0 h 8"/>
                <a:gd name="T70" fmla="*/ 0 w 4"/>
                <a:gd name="T71" fmla="*/ 2 h 8"/>
                <a:gd name="T72" fmla="*/ 0 w 4"/>
                <a:gd name="T73" fmla="*/ 2 h 8"/>
                <a:gd name="T74" fmla="*/ 0 w 4"/>
                <a:gd name="T75" fmla="*/ 4 h 8"/>
                <a:gd name="T76" fmla="*/ 0 w 4"/>
                <a:gd name="T7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8">
                  <a:moveTo>
                    <a:pt x="0" y="4"/>
                  </a:moveTo>
                  <a:lnTo>
                    <a:pt x="0" y="4"/>
                  </a:lnTo>
                  <a:lnTo>
                    <a:pt x="0" y="4"/>
                  </a:lnTo>
                  <a:lnTo>
                    <a:pt x="0" y="4"/>
                  </a:lnTo>
                  <a:lnTo>
                    <a:pt x="1" y="5"/>
                  </a:lnTo>
                  <a:lnTo>
                    <a:pt x="1" y="5"/>
                  </a:lnTo>
                  <a:lnTo>
                    <a:pt x="1" y="5"/>
                  </a:lnTo>
                  <a:lnTo>
                    <a:pt x="1" y="7"/>
                  </a:lnTo>
                  <a:lnTo>
                    <a:pt x="1" y="7"/>
                  </a:lnTo>
                  <a:lnTo>
                    <a:pt x="0" y="7"/>
                  </a:lnTo>
                  <a:lnTo>
                    <a:pt x="0" y="7"/>
                  </a:lnTo>
                  <a:lnTo>
                    <a:pt x="0" y="7"/>
                  </a:lnTo>
                  <a:lnTo>
                    <a:pt x="0" y="7"/>
                  </a:lnTo>
                  <a:lnTo>
                    <a:pt x="0" y="7"/>
                  </a:lnTo>
                  <a:lnTo>
                    <a:pt x="1" y="8"/>
                  </a:lnTo>
                  <a:lnTo>
                    <a:pt x="1" y="8"/>
                  </a:lnTo>
                  <a:lnTo>
                    <a:pt x="1" y="8"/>
                  </a:lnTo>
                  <a:lnTo>
                    <a:pt x="3" y="8"/>
                  </a:lnTo>
                  <a:lnTo>
                    <a:pt x="3" y="8"/>
                  </a:lnTo>
                  <a:lnTo>
                    <a:pt x="4" y="8"/>
                  </a:lnTo>
                  <a:lnTo>
                    <a:pt x="4" y="8"/>
                  </a:lnTo>
                  <a:lnTo>
                    <a:pt x="3" y="8"/>
                  </a:lnTo>
                  <a:lnTo>
                    <a:pt x="3" y="8"/>
                  </a:lnTo>
                  <a:lnTo>
                    <a:pt x="3" y="7"/>
                  </a:lnTo>
                  <a:lnTo>
                    <a:pt x="3" y="7"/>
                  </a:lnTo>
                  <a:lnTo>
                    <a:pt x="1" y="7"/>
                  </a:lnTo>
                  <a:lnTo>
                    <a:pt x="1" y="7"/>
                  </a:lnTo>
                  <a:lnTo>
                    <a:pt x="1" y="5"/>
                  </a:lnTo>
                  <a:lnTo>
                    <a:pt x="1" y="5"/>
                  </a:lnTo>
                  <a:lnTo>
                    <a:pt x="1" y="2"/>
                  </a:lnTo>
                  <a:lnTo>
                    <a:pt x="1" y="2"/>
                  </a:lnTo>
                  <a:lnTo>
                    <a:pt x="1" y="0"/>
                  </a:lnTo>
                  <a:lnTo>
                    <a:pt x="1" y="0"/>
                  </a:lnTo>
                  <a:lnTo>
                    <a:pt x="0" y="0"/>
                  </a:lnTo>
                  <a:lnTo>
                    <a:pt x="0" y="0"/>
                  </a:lnTo>
                  <a:lnTo>
                    <a:pt x="0" y="2"/>
                  </a:lnTo>
                  <a:lnTo>
                    <a:pt x="0" y="2"/>
                  </a:lnTo>
                  <a:lnTo>
                    <a:pt x="0" y="4"/>
                  </a:lnTo>
                  <a:lnTo>
                    <a:pt x="0" y="4"/>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5" name="Freeform 220">
              <a:extLst>
                <a:ext uri="{FF2B5EF4-FFF2-40B4-BE49-F238E27FC236}">
                  <a16:creationId xmlns:a16="http://schemas.microsoft.com/office/drawing/2014/main" id="{BE9DD242-C074-A538-954E-6E40C848A6C2}"/>
                </a:ext>
              </a:extLst>
            </p:cNvPr>
            <p:cNvSpPr>
              <a:spLocks noEditPoints="1"/>
            </p:cNvSpPr>
            <p:nvPr/>
          </p:nvSpPr>
          <p:spPr bwMode="auto">
            <a:xfrm>
              <a:off x="9878479" y="3614627"/>
              <a:ext cx="26917" cy="165988"/>
            </a:xfrm>
            <a:custGeom>
              <a:avLst/>
              <a:gdLst>
                <a:gd name="T0" fmla="*/ 5 w 12"/>
                <a:gd name="T1" fmla="*/ 0 h 74"/>
                <a:gd name="T2" fmla="*/ 7 w 12"/>
                <a:gd name="T3" fmla="*/ 0 h 74"/>
                <a:gd name="T4" fmla="*/ 5 w 12"/>
                <a:gd name="T5" fmla="*/ 0 h 74"/>
                <a:gd name="T6" fmla="*/ 5 w 12"/>
                <a:gd name="T7" fmla="*/ 0 h 74"/>
                <a:gd name="T8" fmla="*/ 5 w 12"/>
                <a:gd name="T9" fmla="*/ 0 h 74"/>
                <a:gd name="T10" fmla="*/ 5 w 12"/>
                <a:gd name="T11" fmla="*/ 0 h 74"/>
                <a:gd name="T12" fmla="*/ 5 w 12"/>
                <a:gd name="T13" fmla="*/ 0 h 74"/>
                <a:gd name="T14" fmla="*/ 12 w 12"/>
                <a:gd name="T15" fmla="*/ 19 h 74"/>
                <a:gd name="T16" fmla="*/ 12 w 12"/>
                <a:gd name="T17" fmla="*/ 21 h 74"/>
                <a:gd name="T18" fmla="*/ 12 w 12"/>
                <a:gd name="T19" fmla="*/ 21 h 74"/>
                <a:gd name="T20" fmla="*/ 12 w 12"/>
                <a:gd name="T21" fmla="*/ 19 h 74"/>
                <a:gd name="T22" fmla="*/ 12 w 12"/>
                <a:gd name="T23" fmla="*/ 19 h 74"/>
                <a:gd name="T24" fmla="*/ 12 w 12"/>
                <a:gd name="T25" fmla="*/ 19 h 74"/>
                <a:gd name="T26" fmla="*/ 12 w 12"/>
                <a:gd name="T27" fmla="*/ 19 h 74"/>
                <a:gd name="T28" fmla="*/ 12 w 12"/>
                <a:gd name="T29" fmla="*/ 19 h 74"/>
                <a:gd name="T30" fmla="*/ 12 w 12"/>
                <a:gd name="T31" fmla="*/ 54 h 74"/>
                <a:gd name="T32" fmla="*/ 12 w 12"/>
                <a:gd name="T33" fmla="*/ 54 h 74"/>
                <a:gd name="T34" fmla="*/ 12 w 12"/>
                <a:gd name="T35" fmla="*/ 55 h 74"/>
                <a:gd name="T36" fmla="*/ 12 w 12"/>
                <a:gd name="T37" fmla="*/ 54 h 74"/>
                <a:gd name="T38" fmla="*/ 12 w 12"/>
                <a:gd name="T39" fmla="*/ 54 h 74"/>
                <a:gd name="T40" fmla="*/ 12 w 12"/>
                <a:gd name="T41" fmla="*/ 54 h 74"/>
                <a:gd name="T42" fmla="*/ 12 w 12"/>
                <a:gd name="T43" fmla="*/ 54 h 74"/>
                <a:gd name="T44" fmla="*/ 12 w 12"/>
                <a:gd name="T45" fmla="*/ 54 h 74"/>
                <a:gd name="T46" fmla="*/ 12 w 12"/>
                <a:gd name="T47" fmla="*/ 54 h 74"/>
                <a:gd name="T48" fmla="*/ 0 w 12"/>
                <a:gd name="T49" fmla="*/ 73 h 74"/>
                <a:gd name="T50" fmla="*/ 0 w 12"/>
                <a:gd name="T51" fmla="*/ 74 h 74"/>
                <a:gd name="T52" fmla="*/ 2 w 12"/>
                <a:gd name="T53" fmla="*/ 73 h 74"/>
                <a:gd name="T54" fmla="*/ 2 w 12"/>
                <a:gd name="T55" fmla="*/ 71 h 74"/>
                <a:gd name="T56" fmla="*/ 0 w 12"/>
                <a:gd name="T57" fmla="*/ 73 h 74"/>
                <a:gd name="T58" fmla="*/ 0 w 12"/>
                <a:gd name="T59" fmla="*/ 73 h 74"/>
                <a:gd name="T60" fmla="*/ 0 w 12"/>
                <a:gd name="T61" fmla="*/ 73 h 74"/>
                <a:gd name="T62" fmla="*/ 0 w 12"/>
                <a:gd name="T63" fmla="*/ 73 h 74"/>
                <a:gd name="T64" fmla="*/ 0 w 12"/>
                <a:gd name="T65"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74">
                  <a:moveTo>
                    <a:pt x="5" y="0"/>
                  </a:moveTo>
                  <a:lnTo>
                    <a:pt x="5" y="0"/>
                  </a:lnTo>
                  <a:lnTo>
                    <a:pt x="7" y="0"/>
                  </a:lnTo>
                  <a:lnTo>
                    <a:pt x="7" y="0"/>
                  </a:lnTo>
                  <a:lnTo>
                    <a:pt x="5" y="0"/>
                  </a:lnTo>
                  <a:lnTo>
                    <a:pt x="5" y="0"/>
                  </a:lnTo>
                  <a:lnTo>
                    <a:pt x="5" y="0"/>
                  </a:lnTo>
                  <a:lnTo>
                    <a:pt x="5" y="0"/>
                  </a:lnTo>
                  <a:lnTo>
                    <a:pt x="5" y="0"/>
                  </a:lnTo>
                  <a:lnTo>
                    <a:pt x="5" y="0"/>
                  </a:lnTo>
                  <a:lnTo>
                    <a:pt x="5" y="0"/>
                  </a:lnTo>
                  <a:lnTo>
                    <a:pt x="5" y="0"/>
                  </a:lnTo>
                  <a:lnTo>
                    <a:pt x="5" y="0"/>
                  </a:lnTo>
                  <a:lnTo>
                    <a:pt x="5" y="0"/>
                  </a:lnTo>
                  <a:lnTo>
                    <a:pt x="5" y="0"/>
                  </a:lnTo>
                  <a:close/>
                  <a:moveTo>
                    <a:pt x="12" y="19"/>
                  </a:moveTo>
                  <a:lnTo>
                    <a:pt x="12" y="21"/>
                  </a:lnTo>
                  <a:lnTo>
                    <a:pt x="12" y="21"/>
                  </a:lnTo>
                  <a:lnTo>
                    <a:pt x="12" y="21"/>
                  </a:lnTo>
                  <a:lnTo>
                    <a:pt x="12" y="21"/>
                  </a:lnTo>
                  <a:lnTo>
                    <a:pt x="12" y="19"/>
                  </a:lnTo>
                  <a:lnTo>
                    <a:pt x="12" y="19"/>
                  </a:lnTo>
                  <a:lnTo>
                    <a:pt x="12" y="19"/>
                  </a:lnTo>
                  <a:lnTo>
                    <a:pt x="12" y="19"/>
                  </a:lnTo>
                  <a:lnTo>
                    <a:pt x="12" y="19"/>
                  </a:lnTo>
                  <a:lnTo>
                    <a:pt x="12" y="19"/>
                  </a:lnTo>
                  <a:lnTo>
                    <a:pt x="12" y="19"/>
                  </a:lnTo>
                  <a:lnTo>
                    <a:pt x="12" y="19"/>
                  </a:lnTo>
                  <a:lnTo>
                    <a:pt x="12" y="19"/>
                  </a:lnTo>
                  <a:lnTo>
                    <a:pt x="12" y="19"/>
                  </a:lnTo>
                  <a:lnTo>
                    <a:pt x="12" y="19"/>
                  </a:lnTo>
                  <a:close/>
                  <a:moveTo>
                    <a:pt x="12" y="54"/>
                  </a:moveTo>
                  <a:lnTo>
                    <a:pt x="12" y="54"/>
                  </a:lnTo>
                  <a:lnTo>
                    <a:pt x="12" y="54"/>
                  </a:lnTo>
                  <a:lnTo>
                    <a:pt x="12" y="55"/>
                  </a:lnTo>
                  <a:lnTo>
                    <a:pt x="12" y="55"/>
                  </a:lnTo>
                  <a:lnTo>
                    <a:pt x="12" y="54"/>
                  </a:lnTo>
                  <a:lnTo>
                    <a:pt x="12" y="54"/>
                  </a:lnTo>
                  <a:lnTo>
                    <a:pt x="12" y="54"/>
                  </a:lnTo>
                  <a:lnTo>
                    <a:pt x="12" y="54"/>
                  </a:lnTo>
                  <a:lnTo>
                    <a:pt x="12" y="54"/>
                  </a:lnTo>
                  <a:lnTo>
                    <a:pt x="12" y="54"/>
                  </a:lnTo>
                  <a:lnTo>
                    <a:pt x="12" y="54"/>
                  </a:lnTo>
                  <a:lnTo>
                    <a:pt x="12" y="54"/>
                  </a:lnTo>
                  <a:lnTo>
                    <a:pt x="12" y="54"/>
                  </a:lnTo>
                  <a:lnTo>
                    <a:pt x="12" y="54"/>
                  </a:lnTo>
                  <a:lnTo>
                    <a:pt x="12" y="54"/>
                  </a:lnTo>
                  <a:lnTo>
                    <a:pt x="12" y="54"/>
                  </a:lnTo>
                  <a:close/>
                  <a:moveTo>
                    <a:pt x="0" y="73"/>
                  </a:moveTo>
                  <a:lnTo>
                    <a:pt x="0" y="73"/>
                  </a:lnTo>
                  <a:lnTo>
                    <a:pt x="0" y="73"/>
                  </a:lnTo>
                  <a:lnTo>
                    <a:pt x="0" y="74"/>
                  </a:lnTo>
                  <a:lnTo>
                    <a:pt x="2" y="74"/>
                  </a:lnTo>
                  <a:lnTo>
                    <a:pt x="2" y="73"/>
                  </a:lnTo>
                  <a:lnTo>
                    <a:pt x="2" y="73"/>
                  </a:lnTo>
                  <a:lnTo>
                    <a:pt x="2" y="71"/>
                  </a:lnTo>
                  <a:lnTo>
                    <a:pt x="2" y="71"/>
                  </a:lnTo>
                  <a:lnTo>
                    <a:pt x="0" y="73"/>
                  </a:lnTo>
                  <a:lnTo>
                    <a:pt x="0" y="73"/>
                  </a:lnTo>
                  <a:lnTo>
                    <a:pt x="0" y="73"/>
                  </a:lnTo>
                  <a:lnTo>
                    <a:pt x="0" y="73"/>
                  </a:lnTo>
                  <a:lnTo>
                    <a:pt x="0" y="73"/>
                  </a:lnTo>
                  <a:lnTo>
                    <a:pt x="0" y="73"/>
                  </a:lnTo>
                  <a:lnTo>
                    <a:pt x="0" y="73"/>
                  </a:lnTo>
                  <a:lnTo>
                    <a:pt x="0" y="73"/>
                  </a:lnTo>
                  <a:lnTo>
                    <a:pt x="0" y="73"/>
                  </a:lnTo>
                  <a:lnTo>
                    <a:pt x="0" y="73"/>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6" name="Freeform 223">
              <a:extLst>
                <a:ext uri="{FF2B5EF4-FFF2-40B4-BE49-F238E27FC236}">
                  <a16:creationId xmlns:a16="http://schemas.microsoft.com/office/drawing/2014/main" id="{36AE2B6C-C4C9-2FA8-EFBB-F205C668CF3C}"/>
                </a:ext>
              </a:extLst>
            </p:cNvPr>
            <p:cNvSpPr>
              <a:spLocks/>
            </p:cNvSpPr>
            <p:nvPr/>
          </p:nvSpPr>
          <p:spPr bwMode="auto">
            <a:xfrm>
              <a:off x="8622358" y="3814260"/>
              <a:ext cx="121125" cy="174960"/>
            </a:xfrm>
            <a:custGeom>
              <a:avLst/>
              <a:gdLst>
                <a:gd name="T0" fmla="*/ 22 w 54"/>
                <a:gd name="T1" fmla="*/ 11 h 78"/>
                <a:gd name="T2" fmla="*/ 19 w 54"/>
                <a:gd name="T3" fmla="*/ 11 h 78"/>
                <a:gd name="T4" fmla="*/ 16 w 54"/>
                <a:gd name="T5" fmla="*/ 11 h 78"/>
                <a:gd name="T6" fmla="*/ 13 w 54"/>
                <a:gd name="T7" fmla="*/ 14 h 78"/>
                <a:gd name="T8" fmla="*/ 11 w 54"/>
                <a:gd name="T9" fmla="*/ 11 h 78"/>
                <a:gd name="T10" fmla="*/ 13 w 54"/>
                <a:gd name="T11" fmla="*/ 8 h 78"/>
                <a:gd name="T12" fmla="*/ 8 w 54"/>
                <a:gd name="T13" fmla="*/ 5 h 78"/>
                <a:gd name="T14" fmla="*/ 6 w 54"/>
                <a:gd name="T15" fmla="*/ 3 h 78"/>
                <a:gd name="T16" fmla="*/ 2 w 54"/>
                <a:gd name="T17" fmla="*/ 0 h 78"/>
                <a:gd name="T18" fmla="*/ 0 w 54"/>
                <a:gd name="T19" fmla="*/ 3 h 78"/>
                <a:gd name="T20" fmla="*/ 3 w 54"/>
                <a:gd name="T21" fmla="*/ 14 h 78"/>
                <a:gd name="T22" fmla="*/ 5 w 54"/>
                <a:gd name="T23" fmla="*/ 24 h 78"/>
                <a:gd name="T24" fmla="*/ 6 w 54"/>
                <a:gd name="T25" fmla="*/ 32 h 78"/>
                <a:gd name="T26" fmla="*/ 10 w 54"/>
                <a:gd name="T27" fmla="*/ 36 h 78"/>
                <a:gd name="T28" fmla="*/ 10 w 54"/>
                <a:gd name="T29" fmla="*/ 39 h 78"/>
                <a:gd name="T30" fmla="*/ 13 w 54"/>
                <a:gd name="T31" fmla="*/ 46 h 78"/>
                <a:gd name="T32" fmla="*/ 16 w 54"/>
                <a:gd name="T33" fmla="*/ 51 h 78"/>
                <a:gd name="T34" fmla="*/ 16 w 54"/>
                <a:gd name="T35" fmla="*/ 54 h 78"/>
                <a:gd name="T36" fmla="*/ 19 w 54"/>
                <a:gd name="T37" fmla="*/ 57 h 78"/>
                <a:gd name="T38" fmla="*/ 22 w 54"/>
                <a:gd name="T39" fmla="*/ 59 h 78"/>
                <a:gd name="T40" fmla="*/ 32 w 54"/>
                <a:gd name="T41" fmla="*/ 66 h 78"/>
                <a:gd name="T42" fmla="*/ 40 w 54"/>
                <a:gd name="T43" fmla="*/ 71 h 78"/>
                <a:gd name="T44" fmla="*/ 43 w 54"/>
                <a:gd name="T45" fmla="*/ 78 h 78"/>
                <a:gd name="T46" fmla="*/ 49 w 54"/>
                <a:gd name="T47" fmla="*/ 74 h 78"/>
                <a:gd name="T48" fmla="*/ 52 w 54"/>
                <a:gd name="T49" fmla="*/ 74 h 78"/>
                <a:gd name="T50" fmla="*/ 54 w 54"/>
                <a:gd name="T51" fmla="*/ 71 h 78"/>
                <a:gd name="T52" fmla="*/ 46 w 54"/>
                <a:gd name="T53" fmla="*/ 59 h 78"/>
                <a:gd name="T54" fmla="*/ 43 w 54"/>
                <a:gd name="T55" fmla="*/ 52 h 78"/>
                <a:gd name="T56" fmla="*/ 43 w 54"/>
                <a:gd name="T57" fmla="*/ 46 h 78"/>
                <a:gd name="T58" fmla="*/ 43 w 54"/>
                <a:gd name="T59" fmla="*/ 39 h 78"/>
                <a:gd name="T60" fmla="*/ 43 w 54"/>
                <a:gd name="T61" fmla="*/ 27 h 78"/>
                <a:gd name="T62" fmla="*/ 37 w 54"/>
                <a:gd name="T63" fmla="*/ 16 h 78"/>
                <a:gd name="T64" fmla="*/ 29 w 54"/>
                <a:gd name="T65" fmla="*/ 8 h 78"/>
                <a:gd name="T66" fmla="*/ 25 w 54"/>
                <a:gd name="T67" fmla="*/ 5 h 78"/>
                <a:gd name="T68" fmla="*/ 25 w 54"/>
                <a:gd name="T69" fmla="*/ 8 h 78"/>
                <a:gd name="T70" fmla="*/ 25 w 54"/>
                <a:gd name="T71" fmla="*/ 8 h 78"/>
                <a:gd name="T72" fmla="*/ 25 w 54"/>
                <a:gd name="T73" fmla="*/ 8 h 78"/>
                <a:gd name="T74" fmla="*/ 25 w 54"/>
                <a:gd name="T75" fmla="*/ 8 h 78"/>
                <a:gd name="T76" fmla="*/ 25 w 54"/>
                <a:gd name="T77"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78">
                  <a:moveTo>
                    <a:pt x="25" y="8"/>
                  </a:moveTo>
                  <a:lnTo>
                    <a:pt x="22" y="11"/>
                  </a:lnTo>
                  <a:lnTo>
                    <a:pt x="22" y="14"/>
                  </a:lnTo>
                  <a:lnTo>
                    <a:pt x="19" y="11"/>
                  </a:lnTo>
                  <a:lnTo>
                    <a:pt x="19" y="11"/>
                  </a:lnTo>
                  <a:lnTo>
                    <a:pt x="16" y="11"/>
                  </a:lnTo>
                  <a:lnTo>
                    <a:pt x="16" y="11"/>
                  </a:lnTo>
                  <a:lnTo>
                    <a:pt x="13" y="14"/>
                  </a:lnTo>
                  <a:lnTo>
                    <a:pt x="13" y="14"/>
                  </a:lnTo>
                  <a:lnTo>
                    <a:pt x="11" y="11"/>
                  </a:lnTo>
                  <a:lnTo>
                    <a:pt x="13" y="8"/>
                  </a:lnTo>
                  <a:lnTo>
                    <a:pt x="13" y="8"/>
                  </a:lnTo>
                  <a:lnTo>
                    <a:pt x="10" y="5"/>
                  </a:lnTo>
                  <a:lnTo>
                    <a:pt x="8" y="5"/>
                  </a:lnTo>
                  <a:lnTo>
                    <a:pt x="8" y="3"/>
                  </a:lnTo>
                  <a:lnTo>
                    <a:pt x="6" y="3"/>
                  </a:lnTo>
                  <a:lnTo>
                    <a:pt x="3" y="1"/>
                  </a:lnTo>
                  <a:lnTo>
                    <a:pt x="2" y="0"/>
                  </a:lnTo>
                  <a:lnTo>
                    <a:pt x="0" y="0"/>
                  </a:lnTo>
                  <a:lnTo>
                    <a:pt x="0" y="3"/>
                  </a:lnTo>
                  <a:lnTo>
                    <a:pt x="2" y="8"/>
                  </a:lnTo>
                  <a:lnTo>
                    <a:pt x="3" y="14"/>
                  </a:lnTo>
                  <a:lnTo>
                    <a:pt x="3" y="17"/>
                  </a:lnTo>
                  <a:lnTo>
                    <a:pt x="5" y="24"/>
                  </a:lnTo>
                  <a:lnTo>
                    <a:pt x="6" y="27"/>
                  </a:lnTo>
                  <a:lnTo>
                    <a:pt x="6" y="32"/>
                  </a:lnTo>
                  <a:lnTo>
                    <a:pt x="8" y="36"/>
                  </a:lnTo>
                  <a:lnTo>
                    <a:pt x="10" y="36"/>
                  </a:lnTo>
                  <a:lnTo>
                    <a:pt x="11" y="36"/>
                  </a:lnTo>
                  <a:lnTo>
                    <a:pt x="10" y="39"/>
                  </a:lnTo>
                  <a:lnTo>
                    <a:pt x="11" y="39"/>
                  </a:lnTo>
                  <a:lnTo>
                    <a:pt x="13" y="46"/>
                  </a:lnTo>
                  <a:lnTo>
                    <a:pt x="16" y="49"/>
                  </a:lnTo>
                  <a:lnTo>
                    <a:pt x="16" y="51"/>
                  </a:lnTo>
                  <a:lnTo>
                    <a:pt x="16" y="52"/>
                  </a:lnTo>
                  <a:lnTo>
                    <a:pt x="16" y="54"/>
                  </a:lnTo>
                  <a:lnTo>
                    <a:pt x="16" y="55"/>
                  </a:lnTo>
                  <a:lnTo>
                    <a:pt x="19" y="57"/>
                  </a:lnTo>
                  <a:lnTo>
                    <a:pt x="22" y="57"/>
                  </a:lnTo>
                  <a:lnTo>
                    <a:pt x="22" y="59"/>
                  </a:lnTo>
                  <a:lnTo>
                    <a:pt x="27" y="63"/>
                  </a:lnTo>
                  <a:lnTo>
                    <a:pt x="32" y="66"/>
                  </a:lnTo>
                  <a:lnTo>
                    <a:pt x="35" y="68"/>
                  </a:lnTo>
                  <a:lnTo>
                    <a:pt x="40" y="71"/>
                  </a:lnTo>
                  <a:lnTo>
                    <a:pt x="43" y="74"/>
                  </a:lnTo>
                  <a:lnTo>
                    <a:pt x="43" y="78"/>
                  </a:lnTo>
                  <a:lnTo>
                    <a:pt x="46" y="74"/>
                  </a:lnTo>
                  <a:lnTo>
                    <a:pt x="49" y="74"/>
                  </a:lnTo>
                  <a:lnTo>
                    <a:pt x="51" y="74"/>
                  </a:lnTo>
                  <a:lnTo>
                    <a:pt x="52" y="74"/>
                  </a:lnTo>
                  <a:lnTo>
                    <a:pt x="54" y="74"/>
                  </a:lnTo>
                  <a:lnTo>
                    <a:pt x="54" y="71"/>
                  </a:lnTo>
                  <a:lnTo>
                    <a:pt x="49" y="62"/>
                  </a:lnTo>
                  <a:lnTo>
                    <a:pt x="46" y="59"/>
                  </a:lnTo>
                  <a:lnTo>
                    <a:pt x="43" y="55"/>
                  </a:lnTo>
                  <a:lnTo>
                    <a:pt x="43" y="52"/>
                  </a:lnTo>
                  <a:lnTo>
                    <a:pt x="43" y="49"/>
                  </a:lnTo>
                  <a:lnTo>
                    <a:pt x="43" y="46"/>
                  </a:lnTo>
                  <a:lnTo>
                    <a:pt x="43" y="43"/>
                  </a:lnTo>
                  <a:lnTo>
                    <a:pt x="43" y="39"/>
                  </a:lnTo>
                  <a:lnTo>
                    <a:pt x="43" y="35"/>
                  </a:lnTo>
                  <a:lnTo>
                    <a:pt x="43" y="27"/>
                  </a:lnTo>
                  <a:lnTo>
                    <a:pt x="40" y="20"/>
                  </a:lnTo>
                  <a:lnTo>
                    <a:pt x="37" y="16"/>
                  </a:lnTo>
                  <a:lnTo>
                    <a:pt x="32" y="11"/>
                  </a:lnTo>
                  <a:lnTo>
                    <a:pt x="29" y="8"/>
                  </a:lnTo>
                  <a:lnTo>
                    <a:pt x="25" y="5"/>
                  </a:lnTo>
                  <a:lnTo>
                    <a:pt x="25" y="5"/>
                  </a:lnTo>
                  <a:lnTo>
                    <a:pt x="25" y="8"/>
                  </a:lnTo>
                  <a:lnTo>
                    <a:pt x="25" y="8"/>
                  </a:lnTo>
                  <a:lnTo>
                    <a:pt x="25" y="8"/>
                  </a:lnTo>
                  <a:lnTo>
                    <a:pt x="25" y="8"/>
                  </a:lnTo>
                  <a:lnTo>
                    <a:pt x="25" y="8"/>
                  </a:lnTo>
                  <a:lnTo>
                    <a:pt x="25" y="8"/>
                  </a:lnTo>
                  <a:lnTo>
                    <a:pt x="25" y="8"/>
                  </a:lnTo>
                  <a:lnTo>
                    <a:pt x="25" y="8"/>
                  </a:lnTo>
                  <a:lnTo>
                    <a:pt x="25" y="8"/>
                  </a:lnTo>
                  <a:lnTo>
                    <a:pt x="25"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7" name="Freeform 226">
              <a:extLst>
                <a:ext uri="{FF2B5EF4-FFF2-40B4-BE49-F238E27FC236}">
                  <a16:creationId xmlns:a16="http://schemas.microsoft.com/office/drawing/2014/main" id="{CC784FDB-72D8-471A-4BF8-8E7AC827A07A}"/>
                </a:ext>
              </a:extLst>
            </p:cNvPr>
            <p:cNvSpPr>
              <a:spLocks/>
            </p:cNvSpPr>
            <p:nvPr/>
          </p:nvSpPr>
          <p:spPr bwMode="auto">
            <a:xfrm>
              <a:off x="8743485" y="3989220"/>
              <a:ext cx="11216" cy="8972"/>
            </a:xfrm>
            <a:custGeom>
              <a:avLst/>
              <a:gdLst>
                <a:gd name="T0" fmla="*/ 5 w 5"/>
                <a:gd name="T1" fmla="*/ 3 h 4"/>
                <a:gd name="T2" fmla="*/ 5 w 5"/>
                <a:gd name="T3" fmla="*/ 3 h 4"/>
                <a:gd name="T4" fmla="*/ 3 w 5"/>
                <a:gd name="T5" fmla="*/ 0 h 4"/>
                <a:gd name="T6" fmla="*/ 2 w 5"/>
                <a:gd name="T7" fmla="*/ 3 h 4"/>
                <a:gd name="T8" fmla="*/ 0 w 5"/>
                <a:gd name="T9" fmla="*/ 3 h 4"/>
                <a:gd name="T10" fmla="*/ 0 w 5"/>
                <a:gd name="T11" fmla="*/ 3 h 4"/>
                <a:gd name="T12" fmla="*/ 0 w 5"/>
                <a:gd name="T13" fmla="*/ 3 h 4"/>
                <a:gd name="T14" fmla="*/ 2 w 5"/>
                <a:gd name="T15" fmla="*/ 3 h 4"/>
                <a:gd name="T16" fmla="*/ 3 w 5"/>
                <a:gd name="T17" fmla="*/ 4 h 4"/>
                <a:gd name="T18" fmla="*/ 3 w 5"/>
                <a:gd name="T19" fmla="*/ 4 h 4"/>
                <a:gd name="T20" fmla="*/ 3 w 5"/>
                <a:gd name="T21" fmla="*/ 4 h 4"/>
                <a:gd name="T22" fmla="*/ 5 w 5"/>
                <a:gd name="T23" fmla="*/ 4 h 4"/>
                <a:gd name="T24" fmla="*/ 5 w 5"/>
                <a:gd name="T25" fmla="*/ 3 h 4"/>
                <a:gd name="T26" fmla="*/ 5 w 5"/>
                <a:gd name="T27" fmla="*/ 3 h 4"/>
                <a:gd name="T28" fmla="*/ 5 w 5"/>
                <a:gd name="T29" fmla="*/ 3 h 4"/>
                <a:gd name="T30" fmla="*/ 5 w 5"/>
                <a:gd name="T31" fmla="*/ 3 h 4"/>
                <a:gd name="T32" fmla="*/ 5 w 5"/>
                <a:gd name="T33" fmla="*/ 3 h 4"/>
                <a:gd name="T34" fmla="*/ 5 w 5"/>
                <a:gd name="T35" fmla="*/ 3 h 4"/>
                <a:gd name="T36" fmla="*/ 5 w 5"/>
                <a:gd name="T37" fmla="*/ 3 h 4"/>
                <a:gd name="T38" fmla="*/ 5 w 5"/>
                <a:gd name="T39" fmla="*/ 3 h 4"/>
                <a:gd name="T40" fmla="*/ 5 w 5"/>
                <a:gd name="T41" fmla="*/ 3 h 4"/>
                <a:gd name="T42" fmla="*/ 5 w 5"/>
                <a:gd name="T4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4">
                  <a:moveTo>
                    <a:pt x="5" y="3"/>
                  </a:moveTo>
                  <a:lnTo>
                    <a:pt x="5" y="3"/>
                  </a:lnTo>
                  <a:lnTo>
                    <a:pt x="3" y="0"/>
                  </a:lnTo>
                  <a:lnTo>
                    <a:pt x="2" y="3"/>
                  </a:lnTo>
                  <a:lnTo>
                    <a:pt x="0" y="3"/>
                  </a:lnTo>
                  <a:lnTo>
                    <a:pt x="0" y="3"/>
                  </a:lnTo>
                  <a:lnTo>
                    <a:pt x="0" y="3"/>
                  </a:lnTo>
                  <a:lnTo>
                    <a:pt x="2" y="3"/>
                  </a:lnTo>
                  <a:lnTo>
                    <a:pt x="3" y="4"/>
                  </a:lnTo>
                  <a:lnTo>
                    <a:pt x="3" y="4"/>
                  </a:lnTo>
                  <a:lnTo>
                    <a:pt x="3" y="4"/>
                  </a:lnTo>
                  <a:lnTo>
                    <a:pt x="5" y="4"/>
                  </a:lnTo>
                  <a:lnTo>
                    <a:pt x="5" y="3"/>
                  </a:lnTo>
                  <a:lnTo>
                    <a:pt x="5" y="3"/>
                  </a:lnTo>
                  <a:lnTo>
                    <a:pt x="5" y="3"/>
                  </a:lnTo>
                  <a:lnTo>
                    <a:pt x="5" y="3"/>
                  </a:lnTo>
                  <a:lnTo>
                    <a:pt x="5" y="3"/>
                  </a:lnTo>
                  <a:lnTo>
                    <a:pt x="5" y="3"/>
                  </a:lnTo>
                  <a:lnTo>
                    <a:pt x="5" y="3"/>
                  </a:lnTo>
                  <a:lnTo>
                    <a:pt x="5" y="3"/>
                  </a:lnTo>
                  <a:lnTo>
                    <a:pt x="5" y="3"/>
                  </a:lnTo>
                  <a:lnTo>
                    <a:pt x="5" y="3"/>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8" name="Freeform 243">
              <a:extLst>
                <a:ext uri="{FF2B5EF4-FFF2-40B4-BE49-F238E27FC236}">
                  <a16:creationId xmlns:a16="http://schemas.microsoft.com/office/drawing/2014/main" id="{D3A72DE4-8F26-7441-61F8-140BAF7EC140}"/>
                </a:ext>
              </a:extLst>
            </p:cNvPr>
            <p:cNvSpPr>
              <a:spLocks/>
            </p:cNvSpPr>
            <p:nvPr/>
          </p:nvSpPr>
          <p:spPr bwMode="auto">
            <a:xfrm>
              <a:off x="8039160" y="3713321"/>
              <a:ext cx="62806" cy="125612"/>
            </a:xfrm>
            <a:custGeom>
              <a:avLst/>
              <a:gdLst>
                <a:gd name="T0" fmla="*/ 1 w 28"/>
                <a:gd name="T1" fmla="*/ 32 h 56"/>
                <a:gd name="T2" fmla="*/ 4 w 28"/>
                <a:gd name="T3" fmla="*/ 46 h 56"/>
                <a:gd name="T4" fmla="*/ 8 w 28"/>
                <a:gd name="T5" fmla="*/ 53 h 56"/>
                <a:gd name="T6" fmla="*/ 12 w 28"/>
                <a:gd name="T7" fmla="*/ 56 h 56"/>
                <a:gd name="T8" fmla="*/ 20 w 28"/>
                <a:gd name="T9" fmla="*/ 53 h 56"/>
                <a:gd name="T10" fmla="*/ 25 w 28"/>
                <a:gd name="T11" fmla="*/ 46 h 56"/>
                <a:gd name="T12" fmla="*/ 28 w 28"/>
                <a:gd name="T13" fmla="*/ 40 h 56"/>
                <a:gd name="T14" fmla="*/ 25 w 28"/>
                <a:gd name="T15" fmla="*/ 32 h 56"/>
                <a:gd name="T16" fmla="*/ 25 w 28"/>
                <a:gd name="T17" fmla="*/ 29 h 56"/>
                <a:gd name="T18" fmla="*/ 25 w 28"/>
                <a:gd name="T19" fmla="*/ 29 h 56"/>
                <a:gd name="T20" fmla="*/ 23 w 28"/>
                <a:gd name="T21" fmla="*/ 26 h 56"/>
                <a:gd name="T22" fmla="*/ 20 w 28"/>
                <a:gd name="T23" fmla="*/ 18 h 56"/>
                <a:gd name="T24" fmla="*/ 19 w 28"/>
                <a:gd name="T25" fmla="*/ 19 h 56"/>
                <a:gd name="T26" fmla="*/ 17 w 28"/>
                <a:gd name="T27" fmla="*/ 18 h 56"/>
                <a:gd name="T28" fmla="*/ 19 w 28"/>
                <a:gd name="T29" fmla="*/ 16 h 56"/>
                <a:gd name="T30" fmla="*/ 14 w 28"/>
                <a:gd name="T31" fmla="*/ 8 h 56"/>
                <a:gd name="T32" fmla="*/ 11 w 28"/>
                <a:gd name="T33" fmla="*/ 3 h 56"/>
                <a:gd name="T34" fmla="*/ 4 w 28"/>
                <a:gd name="T35" fmla="*/ 0 h 56"/>
                <a:gd name="T36" fmla="*/ 8 w 28"/>
                <a:gd name="T37" fmla="*/ 0 h 56"/>
                <a:gd name="T38" fmla="*/ 8 w 28"/>
                <a:gd name="T39" fmla="*/ 3 h 56"/>
                <a:gd name="T40" fmla="*/ 4 w 28"/>
                <a:gd name="T41" fmla="*/ 0 h 56"/>
                <a:gd name="T42" fmla="*/ 1 w 28"/>
                <a:gd name="T43" fmla="*/ 0 h 56"/>
                <a:gd name="T44" fmla="*/ 4 w 28"/>
                <a:gd name="T45" fmla="*/ 3 h 56"/>
                <a:gd name="T46" fmla="*/ 4 w 28"/>
                <a:gd name="T47" fmla="*/ 3 h 56"/>
                <a:gd name="T48" fmla="*/ 11 w 28"/>
                <a:gd name="T49" fmla="*/ 3 h 56"/>
                <a:gd name="T50" fmla="*/ 4 w 28"/>
                <a:gd name="T51" fmla="*/ 3 h 56"/>
                <a:gd name="T52" fmla="*/ 4 w 28"/>
                <a:gd name="T53" fmla="*/ 3 h 56"/>
                <a:gd name="T54" fmla="*/ 4 w 28"/>
                <a:gd name="T55" fmla="*/ 5 h 56"/>
                <a:gd name="T56" fmla="*/ 4 w 28"/>
                <a:gd name="T57" fmla="*/ 10 h 56"/>
                <a:gd name="T58" fmla="*/ 1 w 28"/>
                <a:gd name="T59" fmla="*/ 13 h 56"/>
                <a:gd name="T60" fmla="*/ 1 w 28"/>
                <a:gd name="T61" fmla="*/ 26 h 56"/>
                <a:gd name="T62" fmla="*/ 1 w 28"/>
                <a:gd name="T63" fmla="*/ 26 h 56"/>
                <a:gd name="T64" fmla="*/ 1 w 28"/>
                <a:gd name="T65" fmla="*/ 21 h 56"/>
                <a:gd name="T66" fmla="*/ 0 w 28"/>
                <a:gd name="T67" fmla="*/ 24 h 56"/>
                <a:gd name="T68" fmla="*/ 1 w 28"/>
                <a:gd name="T69" fmla="*/ 32 h 56"/>
                <a:gd name="T70" fmla="*/ 1 w 28"/>
                <a:gd name="T71" fmla="*/ 32 h 56"/>
                <a:gd name="T72" fmla="*/ 1 w 28"/>
                <a:gd name="T73" fmla="*/ 32 h 56"/>
                <a:gd name="T74" fmla="*/ 1 w 28"/>
                <a:gd name="T75" fmla="*/ 32 h 56"/>
                <a:gd name="T76" fmla="*/ 1 w 28"/>
                <a:gd name="T7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56">
                  <a:moveTo>
                    <a:pt x="1" y="32"/>
                  </a:moveTo>
                  <a:lnTo>
                    <a:pt x="1" y="32"/>
                  </a:lnTo>
                  <a:lnTo>
                    <a:pt x="1" y="37"/>
                  </a:lnTo>
                  <a:lnTo>
                    <a:pt x="4" y="46"/>
                  </a:lnTo>
                  <a:lnTo>
                    <a:pt x="4" y="50"/>
                  </a:lnTo>
                  <a:lnTo>
                    <a:pt x="8" y="53"/>
                  </a:lnTo>
                  <a:lnTo>
                    <a:pt x="11" y="56"/>
                  </a:lnTo>
                  <a:lnTo>
                    <a:pt x="12" y="56"/>
                  </a:lnTo>
                  <a:lnTo>
                    <a:pt x="12" y="56"/>
                  </a:lnTo>
                  <a:lnTo>
                    <a:pt x="20" y="53"/>
                  </a:lnTo>
                  <a:lnTo>
                    <a:pt x="25" y="50"/>
                  </a:lnTo>
                  <a:lnTo>
                    <a:pt x="25" y="46"/>
                  </a:lnTo>
                  <a:lnTo>
                    <a:pt x="25" y="46"/>
                  </a:lnTo>
                  <a:lnTo>
                    <a:pt x="28" y="40"/>
                  </a:lnTo>
                  <a:lnTo>
                    <a:pt x="28" y="35"/>
                  </a:lnTo>
                  <a:lnTo>
                    <a:pt x="25" y="32"/>
                  </a:lnTo>
                  <a:lnTo>
                    <a:pt x="25" y="32"/>
                  </a:lnTo>
                  <a:lnTo>
                    <a:pt x="25" y="29"/>
                  </a:lnTo>
                  <a:lnTo>
                    <a:pt x="25" y="29"/>
                  </a:lnTo>
                  <a:lnTo>
                    <a:pt x="25" y="29"/>
                  </a:lnTo>
                  <a:lnTo>
                    <a:pt x="25" y="29"/>
                  </a:lnTo>
                  <a:lnTo>
                    <a:pt x="23" y="26"/>
                  </a:lnTo>
                  <a:lnTo>
                    <a:pt x="23" y="26"/>
                  </a:lnTo>
                  <a:lnTo>
                    <a:pt x="20" y="18"/>
                  </a:lnTo>
                  <a:lnTo>
                    <a:pt x="20" y="18"/>
                  </a:lnTo>
                  <a:lnTo>
                    <a:pt x="19" y="19"/>
                  </a:lnTo>
                  <a:lnTo>
                    <a:pt x="17" y="18"/>
                  </a:lnTo>
                  <a:lnTo>
                    <a:pt x="17" y="18"/>
                  </a:lnTo>
                  <a:lnTo>
                    <a:pt x="19" y="18"/>
                  </a:lnTo>
                  <a:lnTo>
                    <a:pt x="19" y="16"/>
                  </a:lnTo>
                  <a:lnTo>
                    <a:pt x="17" y="13"/>
                  </a:lnTo>
                  <a:lnTo>
                    <a:pt x="14" y="8"/>
                  </a:lnTo>
                  <a:lnTo>
                    <a:pt x="14" y="8"/>
                  </a:lnTo>
                  <a:lnTo>
                    <a:pt x="11" y="3"/>
                  </a:lnTo>
                  <a:lnTo>
                    <a:pt x="8" y="0"/>
                  </a:lnTo>
                  <a:lnTo>
                    <a:pt x="4" y="0"/>
                  </a:lnTo>
                  <a:lnTo>
                    <a:pt x="4" y="0"/>
                  </a:lnTo>
                  <a:lnTo>
                    <a:pt x="8" y="0"/>
                  </a:lnTo>
                  <a:lnTo>
                    <a:pt x="8" y="3"/>
                  </a:lnTo>
                  <a:lnTo>
                    <a:pt x="8" y="3"/>
                  </a:lnTo>
                  <a:lnTo>
                    <a:pt x="4" y="0"/>
                  </a:lnTo>
                  <a:lnTo>
                    <a:pt x="4" y="0"/>
                  </a:lnTo>
                  <a:lnTo>
                    <a:pt x="1" y="0"/>
                  </a:lnTo>
                  <a:lnTo>
                    <a:pt x="1" y="0"/>
                  </a:lnTo>
                  <a:lnTo>
                    <a:pt x="4" y="0"/>
                  </a:lnTo>
                  <a:lnTo>
                    <a:pt x="4" y="3"/>
                  </a:lnTo>
                  <a:lnTo>
                    <a:pt x="4" y="3"/>
                  </a:lnTo>
                  <a:lnTo>
                    <a:pt x="4" y="3"/>
                  </a:lnTo>
                  <a:lnTo>
                    <a:pt x="8" y="3"/>
                  </a:lnTo>
                  <a:lnTo>
                    <a:pt x="11" y="3"/>
                  </a:lnTo>
                  <a:lnTo>
                    <a:pt x="11" y="3"/>
                  </a:lnTo>
                  <a:lnTo>
                    <a:pt x="4" y="3"/>
                  </a:lnTo>
                  <a:lnTo>
                    <a:pt x="4" y="3"/>
                  </a:lnTo>
                  <a:lnTo>
                    <a:pt x="4" y="3"/>
                  </a:lnTo>
                  <a:lnTo>
                    <a:pt x="4" y="5"/>
                  </a:lnTo>
                  <a:lnTo>
                    <a:pt x="4" y="5"/>
                  </a:lnTo>
                  <a:lnTo>
                    <a:pt x="4" y="7"/>
                  </a:lnTo>
                  <a:lnTo>
                    <a:pt x="4" y="10"/>
                  </a:lnTo>
                  <a:lnTo>
                    <a:pt x="4" y="10"/>
                  </a:lnTo>
                  <a:lnTo>
                    <a:pt x="1" y="13"/>
                  </a:lnTo>
                  <a:lnTo>
                    <a:pt x="1" y="18"/>
                  </a:lnTo>
                  <a:lnTo>
                    <a:pt x="1" y="26"/>
                  </a:lnTo>
                  <a:lnTo>
                    <a:pt x="1" y="26"/>
                  </a:lnTo>
                  <a:lnTo>
                    <a:pt x="1" y="26"/>
                  </a:lnTo>
                  <a:lnTo>
                    <a:pt x="1" y="24"/>
                  </a:lnTo>
                  <a:lnTo>
                    <a:pt x="1" y="21"/>
                  </a:lnTo>
                  <a:lnTo>
                    <a:pt x="1" y="21"/>
                  </a:lnTo>
                  <a:lnTo>
                    <a:pt x="0" y="24"/>
                  </a:lnTo>
                  <a:lnTo>
                    <a:pt x="1" y="26"/>
                  </a:lnTo>
                  <a:lnTo>
                    <a:pt x="1" y="32"/>
                  </a:lnTo>
                  <a:lnTo>
                    <a:pt x="1" y="32"/>
                  </a:lnTo>
                  <a:lnTo>
                    <a:pt x="1" y="32"/>
                  </a:lnTo>
                  <a:lnTo>
                    <a:pt x="1" y="32"/>
                  </a:lnTo>
                  <a:lnTo>
                    <a:pt x="1" y="32"/>
                  </a:lnTo>
                  <a:lnTo>
                    <a:pt x="1" y="32"/>
                  </a:lnTo>
                  <a:lnTo>
                    <a:pt x="1" y="32"/>
                  </a:lnTo>
                  <a:lnTo>
                    <a:pt x="1" y="32"/>
                  </a:lnTo>
                  <a:lnTo>
                    <a:pt x="1" y="32"/>
                  </a:lnTo>
                  <a:lnTo>
                    <a:pt x="1" y="3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099" name="Freeform 257">
              <a:extLst>
                <a:ext uri="{FF2B5EF4-FFF2-40B4-BE49-F238E27FC236}">
                  <a16:creationId xmlns:a16="http://schemas.microsoft.com/office/drawing/2014/main" id="{E0D76070-6983-7CDB-A9FE-5B0A0AFF8ACB}"/>
                </a:ext>
              </a:extLst>
            </p:cNvPr>
            <p:cNvSpPr>
              <a:spLocks/>
            </p:cNvSpPr>
            <p:nvPr/>
          </p:nvSpPr>
          <p:spPr bwMode="auto">
            <a:xfrm>
              <a:off x="9324439" y="4298764"/>
              <a:ext cx="62806" cy="35889"/>
            </a:xfrm>
            <a:custGeom>
              <a:avLst/>
              <a:gdLst>
                <a:gd name="T0" fmla="*/ 27 w 28"/>
                <a:gd name="T1" fmla="*/ 0 h 16"/>
                <a:gd name="T2" fmla="*/ 24 w 28"/>
                <a:gd name="T3" fmla="*/ 0 h 16"/>
                <a:gd name="T4" fmla="*/ 16 w 28"/>
                <a:gd name="T5" fmla="*/ 1 h 16"/>
                <a:gd name="T6" fmla="*/ 6 w 28"/>
                <a:gd name="T7" fmla="*/ 3 h 16"/>
                <a:gd name="T8" fmla="*/ 3 w 28"/>
                <a:gd name="T9" fmla="*/ 4 h 16"/>
                <a:gd name="T10" fmla="*/ 0 w 28"/>
                <a:gd name="T11" fmla="*/ 8 h 16"/>
                <a:gd name="T12" fmla="*/ 3 w 28"/>
                <a:gd name="T13" fmla="*/ 11 h 16"/>
                <a:gd name="T14" fmla="*/ 0 w 28"/>
                <a:gd name="T15" fmla="*/ 12 h 16"/>
                <a:gd name="T16" fmla="*/ 3 w 28"/>
                <a:gd name="T17" fmla="*/ 16 h 16"/>
                <a:gd name="T18" fmla="*/ 6 w 28"/>
                <a:gd name="T19" fmla="*/ 14 h 16"/>
                <a:gd name="T20" fmla="*/ 12 w 28"/>
                <a:gd name="T21" fmla="*/ 9 h 16"/>
                <a:gd name="T22" fmla="*/ 22 w 28"/>
                <a:gd name="T23" fmla="*/ 6 h 16"/>
                <a:gd name="T24" fmla="*/ 25 w 28"/>
                <a:gd name="T25" fmla="*/ 4 h 16"/>
                <a:gd name="T26" fmla="*/ 28 w 28"/>
                <a:gd name="T27" fmla="*/ 1 h 16"/>
                <a:gd name="T28" fmla="*/ 28 w 28"/>
                <a:gd name="T29" fmla="*/ 0 h 16"/>
                <a:gd name="T30" fmla="*/ 27 w 28"/>
                <a:gd name="T31" fmla="*/ 0 h 16"/>
                <a:gd name="T32" fmla="*/ 27 w 28"/>
                <a:gd name="T33" fmla="*/ 0 h 16"/>
                <a:gd name="T34" fmla="*/ 27 w 28"/>
                <a:gd name="T35" fmla="*/ 0 h 16"/>
                <a:gd name="T36" fmla="*/ 27 w 28"/>
                <a:gd name="T37" fmla="*/ 0 h 16"/>
                <a:gd name="T38" fmla="*/ 27 w 28"/>
                <a:gd name="T39" fmla="*/ 0 h 16"/>
                <a:gd name="T40" fmla="*/ 27 w 28"/>
                <a:gd name="T41" fmla="*/ 0 h 16"/>
                <a:gd name="T42" fmla="*/ 27 w 28"/>
                <a:gd name="T43" fmla="*/ 0 h 16"/>
                <a:gd name="T44" fmla="*/ 27 w 28"/>
                <a:gd name="T45" fmla="*/ 0 h 16"/>
                <a:gd name="T46" fmla="*/ 27 w 28"/>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16">
                  <a:moveTo>
                    <a:pt x="27" y="0"/>
                  </a:moveTo>
                  <a:lnTo>
                    <a:pt x="24" y="0"/>
                  </a:lnTo>
                  <a:lnTo>
                    <a:pt x="16" y="1"/>
                  </a:lnTo>
                  <a:lnTo>
                    <a:pt x="6" y="3"/>
                  </a:lnTo>
                  <a:lnTo>
                    <a:pt x="3" y="4"/>
                  </a:lnTo>
                  <a:lnTo>
                    <a:pt x="0" y="8"/>
                  </a:lnTo>
                  <a:lnTo>
                    <a:pt x="3" y="11"/>
                  </a:lnTo>
                  <a:lnTo>
                    <a:pt x="0" y="12"/>
                  </a:lnTo>
                  <a:lnTo>
                    <a:pt x="3" y="16"/>
                  </a:lnTo>
                  <a:lnTo>
                    <a:pt x="6" y="14"/>
                  </a:lnTo>
                  <a:lnTo>
                    <a:pt x="12" y="9"/>
                  </a:lnTo>
                  <a:lnTo>
                    <a:pt x="22" y="6"/>
                  </a:lnTo>
                  <a:lnTo>
                    <a:pt x="25" y="4"/>
                  </a:lnTo>
                  <a:lnTo>
                    <a:pt x="28" y="1"/>
                  </a:lnTo>
                  <a:lnTo>
                    <a:pt x="28" y="0"/>
                  </a:lnTo>
                  <a:lnTo>
                    <a:pt x="27" y="0"/>
                  </a:lnTo>
                  <a:lnTo>
                    <a:pt x="27" y="0"/>
                  </a:lnTo>
                  <a:lnTo>
                    <a:pt x="27" y="0"/>
                  </a:lnTo>
                  <a:lnTo>
                    <a:pt x="27" y="0"/>
                  </a:lnTo>
                  <a:lnTo>
                    <a:pt x="27" y="0"/>
                  </a:lnTo>
                  <a:lnTo>
                    <a:pt x="27" y="0"/>
                  </a:lnTo>
                  <a:lnTo>
                    <a:pt x="27" y="0"/>
                  </a:lnTo>
                  <a:lnTo>
                    <a:pt x="27" y="0"/>
                  </a:lnTo>
                  <a:lnTo>
                    <a:pt x="27"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0" name="Freeform 267">
              <a:extLst>
                <a:ext uri="{FF2B5EF4-FFF2-40B4-BE49-F238E27FC236}">
                  <a16:creationId xmlns:a16="http://schemas.microsoft.com/office/drawing/2014/main" id="{B9FE00A7-C993-4EFC-4F07-1C159EAB6B9D}"/>
                </a:ext>
              </a:extLst>
            </p:cNvPr>
            <p:cNvSpPr>
              <a:spLocks noEditPoints="1"/>
            </p:cNvSpPr>
            <p:nvPr/>
          </p:nvSpPr>
          <p:spPr bwMode="auto">
            <a:xfrm>
              <a:off x="10434760" y="3832205"/>
              <a:ext cx="150286" cy="244495"/>
            </a:xfrm>
            <a:custGeom>
              <a:avLst/>
              <a:gdLst>
                <a:gd name="T0" fmla="*/ 6 w 67"/>
                <a:gd name="T1" fmla="*/ 22 h 109"/>
                <a:gd name="T2" fmla="*/ 6 w 67"/>
                <a:gd name="T3" fmla="*/ 24 h 109"/>
                <a:gd name="T4" fmla="*/ 3 w 67"/>
                <a:gd name="T5" fmla="*/ 24 h 109"/>
                <a:gd name="T6" fmla="*/ 2 w 67"/>
                <a:gd name="T7" fmla="*/ 24 h 109"/>
                <a:gd name="T8" fmla="*/ 3 w 67"/>
                <a:gd name="T9" fmla="*/ 25 h 109"/>
                <a:gd name="T10" fmla="*/ 10 w 67"/>
                <a:gd name="T11" fmla="*/ 28 h 109"/>
                <a:gd name="T12" fmla="*/ 11 w 67"/>
                <a:gd name="T13" fmla="*/ 30 h 109"/>
                <a:gd name="T14" fmla="*/ 11 w 67"/>
                <a:gd name="T15" fmla="*/ 27 h 109"/>
                <a:gd name="T16" fmla="*/ 10 w 67"/>
                <a:gd name="T17" fmla="*/ 24 h 109"/>
                <a:gd name="T18" fmla="*/ 10 w 67"/>
                <a:gd name="T19" fmla="*/ 24 h 109"/>
                <a:gd name="T20" fmla="*/ 10 w 67"/>
                <a:gd name="T21" fmla="*/ 24 h 109"/>
                <a:gd name="T22" fmla="*/ 10 w 67"/>
                <a:gd name="T23" fmla="*/ 24 h 109"/>
                <a:gd name="T24" fmla="*/ 10 w 67"/>
                <a:gd name="T25" fmla="*/ 24 h 109"/>
                <a:gd name="T26" fmla="*/ 3 w 67"/>
                <a:gd name="T27" fmla="*/ 3 h 109"/>
                <a:gd name="T28" fmla="*/ 3 w 67"/>
                <a:gd name="T29" fmla="*/ 0 h 109"/>
                <a:gd name="T30" fmla="*/ 2 w 67"/>
                <a:gd name="T31" fmla="*/ 1 h 109"/>
                <a:gd name="T32" fmla="*/ 0 w 67"/>
                <a:gd name="T33" fmla="*/ 3 h 109"/>
                <a:gd name="T34" fmla="*/ 0 w 67"/>
                <a:gd name="T35" fmla="*/ 4 h 109"/>
                <a:gd name="T36" fmla="*/ 2 w 67"/>
                <a:gd name="T37" fmla="*/ 6 h 109"/>
                <a:gd name="T38" fmla="*/ 3 w 67"/>
                <a:gd name="T39" fmla="*/ 3 h 109"/>
                <a:gd name="T40" fmla="*/ 3 w 67"/>
                <a:gd name="T41" fmla="*/ 3 h 109"/>
                <a:gd name="T42" fmla="*/ 3 w 67"/>
                <a:gd name="T43" fmla="*/ 3 h 109"/>
                <a:gd name="T44" fmla="*/ 3 w 67"/>
                <a:gd name="T45" fmla="*/ 3 h 109"/>
                <a:gd name="T46" fmla="*/ 3 w 67"/>
                <a:gd name="T47" fmla="*/ 3 h 109"/>
                <a:gd name="T48" fmla="*/ 45 w 67"/>
                <a:gd name="T49" fmla="*/ 30 h 109"/>
                <a:gd name="T50" fmla="*/ 43 w 67"/>
                <a:gd name="T51" fmla="*/ 30 h 109"/>
                <a:gd name="T52" fmla="*/ 45 w 67"/>
                <a:gd name="T53" fmla="*/ 31 h 109"/>
                <a:gd name="T54" fmla="*/ 46 w 67"/>
                <a:gd name="T55" fmla="*/ 33 h 109"/>
                <a:gd name="T56" fmla="*/ 48 w 67"/>
                <a:gd name="T57" fmla="*/ 31 h 109"/>
                <a:gd name="T58" fmla="*/ 45 w 67"/>
                <a:gd name="T59" fmla="*/ 30 h 109"/>
                <a:gd name="T60" fmla="*/ 45 w 67"/>
                <a:gd name="T61" fmla="*/ 30 h 109"/>
                <a:gd name="T62" fmla="*/ 45 w 67"/>
                <a:gd name="T63" fmla="*/ 30 h 109"/>
                <a:gd name="T64" fmla="*/ 45 w 67"/>
                <a:gd name="T65" fmla="*/ 30 h 109"/>
                <a:gd name="T66" fmla="*/ 45 w 67"/>
                <a:gd name="T67" fmla="*/ 30 h 109"/>
                <a:gd name="T68" fmla="*/ 67 w 67"/>
                <a:gd name="T69" fmla="*/ 108 h 109"/>
                <a:gd name="T70" fmla="*/ 67 w 67"/>
                <a:gd name="T71" fmla="*/ 104 h 109"/>
                <a:gd name="T72" fmla="*/ 67 w 67"/>
                <a:gd name="T73" fmla="*/ 109 h 109"/>
                <a:gd name="T74" fmla="*/ 67 w 67"/>
                <a:gd name="T75" fmla="*/ 109 h 109"/>
                <a:gd name="T76" fmla="*/ 67 w 67"/>
                <a:gd name="T77" fmla="*/ 108 h 109"/>
                <a:gd name="T78" fmla="*/ 67 w 67"/>
                <a:gd name="T79" fmla="*/ 108 h 109"/>
                <a:gd name="T80" fmla="*/ 67 w 67"/>
                <a:gd name="T81" fmla="*/ 108 h 109"/>
                <a:gd name="T82" fmla="*/ 67 w 67"/>
                <a:gd name="T83" fmla="*/ 108 h 109"/>
                <a:gd name="T84" fmla="*/ 67 w 67"/>
                <a:gd name="T8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109">
                  <a:moveTo>
                    <a:pt x="10" y="24"/>
                  </a:moveTo>
                  <a:lnTo>
                    <a:pt x="6" y="22"/>
                  </a:lnTo>
                  <a:lnTo>
                    <a:pt x="6" y="24"/>
                  </a:lnTo>
                  <a:lnTo>
                    <a:pt x="6" y="24"/>
                  </a:lnTo>
                  <a:lnTo>
                    <a:pt x="3" y="24"/>
                  </a:lnTo>
                  <a:lnTo>
                    <a:pt x="3" y="24"/>
                  </a:lnTo>
                  <a:lnTo>
                    <a:pt x="2" y="24"/>
                  </a:lnTo>
                  <a:lnTo>
                    <a:pt x="2" y="24"/>
                  </a:lnTo>
                  <a:lnTo>
                    <a:pt x="2" y="24"/>
                  </a:lnTo>
                  <a:lnTo>
                    <a:pt x="3" y="25"/>
                  </a:lnTo>
                  <a:lnTo>
                    <a:pt x="6" y="25"/>
                  </a:lnTo>
                  <a:lnTo>
                    <a:pt x="10" y="28"/>
                  </a:lnTo>
                  <a:lnTo>
                    <a:pt x="10" y="30"/>
                  </a:lnTo>
                  <a:lnTo>
                    <a:pt x="11" y="30"/>
                  </a:lnTo>
                  <a:lnTo>
                    <a:pt x="11" y="28"/>
                  </a:lnTo>
                  <a:lnTo>
                    <a:pt x="11" y="27"/>
                  </a:lnTo>
                  <a:lnTo>
                    <a:pt x="10" y="24"/>
                  </a:lnTo>
                  <a:lnTo>
                    <a:pt x="10" y="24"/>
                  </a:lnTo>
                  <a:lnTo>
                    <a:pt x="10" y="24"/>
                  </a:lnTo>
                  <a:lnTo>
                    <a:pt x="10" y="24"/>
                  </a:lnTo>
                  <a:lnTo>
                    <a:pt x="10" y="24"/>
                  </a:lnTo>
                  <a:lnTo>
                    <a:pt x="10" y="24"/>
                  </a:lnTo>
                  <a:lnTo>
                    <a:pt x="10" y="24"/>
                  </a:lnTo>
                  <a:lnTo>
                    <a:pt x="10" y="24"/>
                  </a:lnTo>
                  <a:lnTo>
                    <a:pt x="10" y="24"/>
                  </a:lnTo>
                  <a:lnTo>
                    <a:pt x="10" y="24"/>
                  </a:lnTo>
                  <a:close/>
                  <a:moveTo>
                    <a:pt x="3" y="3"/>
                  </a:moveTo>
                  <a:lnTo>
                    <a:pt x="3" y="3"/>
                  </a:lnTo>
                  <a:lnTo>
                    <a:pt x="3" y="1"/>
                  </a:lnTo>
                  <a:lnTo>
                    <a:pt x="3" y="0"/>
                  </a:lnTo>
                  <a:lnTo>
                    <a:pt x="3" y="1"/>
                  </a:lnTo>
                  <a:lnTo>
                    <a:pt x="2" y="1"/>
                  </a:lnTo>
                  <a:lnTo>
                    <a:pt x="0" y="1"/>
                  </a:lnTo>
                  <a:lnTo>
                    <a:pt x="0" y="3"/>
                  </a:lnTo>
                  <a:lnTo>
                    <a:pt x="0" y="3"/>
                  </a:lnTo>
                  <a:lnTo>
                    <a:pt x="0" y="4"/>
                  </a:lnTo>
                  <a:lnTo>
                    <a:pt x="0" y="4"/>
                  </a:lnTo>
                  <a:lnTo>
                    <a:pt x="2" y="6"/>
                  </a:lnTo>
                  <a:lnTo>
                    <a:pt x="3" y="3"/>
                  </a:lnTo>
                  <a:lnTo>
                    <a:pt x="3" y="3"/>
                  </a:lnTo>
                  <a:lnTo>
                    <a:pt x="3" y="3"/>
                  </a:lnTo>
                  <a:lnTo>
                    <a:pt x="3" y="3"/>
                  </a:lnTo>
                  <a:lnTo>
                    <a:pt x="3" y="3"/>
                  </a:lnTo>
                  <a:lnTo>
                    <a:pt x="3" y="3"/>
                  </a:lnTo>
                  <a:lnTo>
                    <a:pt x="3" y="3"/>
                  </a:lnTo>
                  <a:lnTo>
                    <a:pt x="3" y="3"/>
                  </a:lnTo>
                  <a:lnTo>
                    <a:pt x="3" y="3"/>
                  </a:lnTo>
                  <a:lnTo>
                    <a:pt x="3" y="3"/>
                  </a:lnTo>
                  <a:close/>
                  <a:moveTo>
                    <a:pt x="45" y="30"/>
                  </a:moveTo>
                  <a:lnTo>
                    <a:pt x="45" y="30"/>
                  </a:lnTo>
                  <a:lnTo>
                    <a:pt x="43" y="28"/>
                  </a:lnTo>
                  <a:lnTo>
                    <a:pt x="43" y="30"/>
                  </a:lnTo>
                  <a:lnTo>
                    <a:pt x="43" y="30"/>
                  </a:lnTo>
                  <a:lnTo>
                    <a:pt x="45" y="31"/>
                  </a:lnTo>
                  <a:lnTo>
                    <a:pt x="46" y="33"/>
                  </a:lnTo>
                  <a:lnTo>
                    <a:pt x="46" y="33"/>
                  </a:lnTo>
                  <a:lnTo>
                    <a:pt x="48" y="31"/>
                  </a:lnTo>
                  <a:lnTo>
                    <a:pt x="48" y="31"/>
                  </a:lnTo>
                  <a:lnTo>
                    <a:pt x="45" y="30"/>
                  </a:lnTo>
                  <a:lnTo>
                    <a:pt x="45" y="30"/>
                  </a:lnTo>
                  <a:lnTo>
                    <a:pt x="45" y="30"/>
                  </a:lnTo>
                  <a:lnTo>
                    <a:pt x="45" y="30"/>
                  </a:lnTo>
                  <a:lnTo>
                    <a:pt x="45" y="30"/>
                  </a:lnTo>
                  <a:lnTo>
                    <a:pt x="45" y="30"/>
                  </a:lnTo>
                  <a:lnTo>
                    <a:pt x="45" y="30"/>
                  </a:lnTo>
                  <a:lnTo>
                    <a:pt x="45" y="30"/>
                  </a:lnTo>
                  <a:lnTo>
                    <a:pt x="45" y="30"/>
                  </a:lnTo>
                  <a:lnTo>
                    <a:pt x="45" y="30"/>
                  </a:lnTo>
                  <a:lnTo>
                    <a:pt x="45" y="30"/>
                  </a:lnTo>
                  <a:close/>
                  <a:moveTo>
                    <a:pt x="67" y="108"/>
                  </a:moveTo>
                  <a:lnTo>
                    <a:pt x="67" y="104"/>
                  </a:lnTo>
                  <a:lnTo>
                    <a:pt x="67" y="104"/>
                  </a:lnTo>
                  <a:lnTo>
                    <a:pt x="67" y="104"/>
                  </a:lnTo>
                  <a:lnTo>
                    <a:pt x="67" y="109"/>
                  </a:lnTo>
                  <a:lnTo>
                    <a:pt x="67" y="109"/>
                  </a:lnTo>
                  <a:lnTo>
                    <a:pt x="67" y="109"/>
                  </a:lnTo>
                  <a:lnTo>
                    <a:pt x="67" y="109"/>
                  </a:lnTo>
                  <a:lnTo>
                    <a:pt x="67" y="108"/>
                  </a:lnTo>
                  <a:lnTo>
                    <a:pt x="67" y="108"/>
                  </a:lnTo>
                  <a:lnTo>
                    <a:pt x="67" y="108"/>
                  </a:lnTo>
                  <a:lnTo>
                    <a:pt x="67" y="108"/>
                  </a:lnTo>
                  <a:lnTo>
                    <a:pt x="67" y="108"/>
                  </a:lnTo>
                  <a:lnTo>
                    <a:pt x="67" y="108"/>
                  </a:lnTo>
                  <a:lnTo>
                    <a:pt x="67" y="108"/>
                  </a:lnTo>
                  <a:lnTo>
                    <a:pt x="67" y="108"/>
                  </a:lnTo>
                  <a:lnTo>
                    <a:pt x="67" y="108"/>
                  </a:lnTo>
                  <a:lnTo>
                    <a:pt x="67" y="10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1" name="Freeform 268">
              <a:extLst>
                <a:ext uri="{FF2B5EF4-FFF2-40B4-BE49-F238E27FC236}">
                  <a16:creationId xmlns:a16="http://schemas.microsoft.com/office/drawing/2014/main" id="{94040593-30DA-9417-7935-5032B6BFEDE3}"/>
                </a:ext>
              </a:extLst>
            </p:cNvPr>
            <p:cNvSpPr>
              <a:spLocks noEditPoints="1"/>
            </p:cNvSpPr>
            <p:nvPr/>
          </p:nvSpPr>
          <p:spPr bwMode="auto">
            <a:xfrm>
              <a:off x="10434760" y="3832205"/>
              <a:ext cx="150286" cy="244495"/>
            </a:xfrm>
            <a:custGeom>
              <a:avLst/>
              <a:gdLst>
                <a:gd name="T0" fmla="*/ 6 w 67"/>
                <a:gd name="T1" fmla="*/ 22 h 109"/>
                <a:gd name="T2" fmla="*/ 6 w 67"/>
                <a:gd name="T3" fmla="*/ 24 h 109"/>
                <a:gd name="T4" fmla="*/ 3 w 67"/>
                <a:gd name="T5" fmla="*/ 24 h 109"/>
                <a:gd name="T6" fmla="*/ 2 w 67"/>
                <a:gd name="T7" fmla="*/ 24 h 109"/>
                <a:gd name="T8" fmla="*/ 3 w 67"/>
                <a:gd name="T9" fmla="*/ 25 h 109"/>
                <a:gd name="T10" fmla="*/ 10 w 67"/>
                <a:gd name="T11" fmla="*/ 28 h 109"/>
                <a:gd name="T12" fmla="*/ 11 w 67"/>
                <a:gd name="T13" fmla="*/ 30 h 109"/>
                <a:gd name="T14" fmla="*/ 11 w 67"/>
                <a:gd name="T15" fmla="*/ 27 h 109"/>
                <a:gd name="T16" fmla="*/ 10 w 67"/>
                <a:gd name="T17" fmla="*/ 24 h 109"/>
                <a:gd name="T18" fmla="*/ 10 w 67"/>
                <a:gd name="T19" fmla="*/ 24 h 109"/>
                <a:gd name="T20" fmla="*/ 10 w 67"/>
                <a:gd name="T21" fmla="*/ 24 h 109"/>
                <a:gd name="T22" fmla="*/ 10 w 67"/>
                <a:gd name="T23" fmla="*/ 24 h 109"/>
                <a:gd name="T24" fmla="*/ 10 w 67"/>
                <a:gd name="T25" fmla="*/ 24 h 109"/>
                <a:gd name="T26" fmla="*/ 3 w 67"/>
                <a:gd name="T27" fmla="*/ 3 h 109"/>
                <a:gd name="T28" fmla="*/ 3 w 67"/>
                <a:gd name="T29" fmla="*/ 0 h 109"/>
                <a:gd name="T30" fmla="*/ 2 w 67"/>
                <a:gd name="T31" fmla="*/ 1 h 109"/>
                <a:gd name="T32" fmla="*/ 0 w 67"/>
                <a:gd name="T33" fmla="*/ 3 h 109"/>
                <a:gd name="T34" fmla="*/ 0 w 67"/>
                <a:gd name="T35" fmla="*/ 4 h 109"/>
                <a:gd name="T36" fmla="*/ 2 w 67"/>
                <a:gd name="T37" fmla="*/ 6 h 109"/>
                <a:gd name="T38" fmla="*/ 3 w 67"/>
                <a:gd name="T39" fmla="*/ 3 h 109"/>
                <a:gd name="T40" fmla="*/ 3 w 67"/>
                <a:gd name="T41" fmla="*/ 3 h 109"/>
                <a:gd name="T42" fmla="*/ 3 w 67"/>
                <a:gd name="T43" fmla="*/ 3 h 109"/>
                <a:gd name="T44" fmla="*/ 3 w 67"/>
                <a:gd name="T45" fmla="*/ 3 h 109"/>
                <a:gd name="T46" fmla="*/ 3 w 67"/>
                <a:gd name="T47" fmla="*/ 3 h 109"/>
                <a:gd name="T48" fmla="*/ 45 w 67"/>
                <a:gd name="T49" fmla="*/ 30 h 109"/>
                <a:gd name="T50" fmla="*/ 43 w 67"/>
                <a:gd name="T51" fmla="*/ 30 h 109"/>
                <a:gd name="T52" fmla="*/ 45 w 67"/>
                <a:gd name="T53" fmla="*/ 31 h 109"/>
                <a:gd name="T54" fmla="*/ 46 w 67"/>
                <a:gd name="T55" fmla="*/ 33 h 109"/>
                <a:gd name="T56" fmla="*/ 48 w 67"/>
                <a:gd name="T57" fmla="*/ 31 h 109"/>
                <a:gd name="T58" fmla="*/ 45 w 67"/>
                <a:gd name="T59" fmla="*/ 30 h 109"/>
                <a:gd name="T60" fmla="*/ 45 w 67"/>
                <a:gd name="T61" fmla="*/ 30 h 109"/>
                <a:gd name="T62" fmla="*/ 45 w 67"/>
                <a:gd name="T63" fmla="*/ 30 h 109"/>
                <a:gd name="T64" fmla="*/ 45 w 67"/>
                <a:gd name="T65" fmla="*/ 30 h 109"/>
                <a:gd name="T66" fmla="*/ 45 w 67"/>
                <a:gd name="T67" fmla="*/ 30 h 109"/>
                <a:gd name="T68" fmla="*/ 67 w 67"/>
                <a:gd name="T69" fmla="*/ 108 h 109"/>
                <a:gd name="T70" fmla="*/ 67 w 67"/>
                <a:gd name="T71" fmla="*/ 104 h 109"/>
                <a:gd name="T72" fmla="*/ 67 w 67"/>
                <a:gd name="T73" fmla="*/ 109 h 109"/>
                <a:gd name="T74" fmla="*/ 67 w 67"/>
                <a:gd name="T75" fmla="*/ 109 h 109"/>
                <a:gd name="T76" fmla="*/ 67 w 67"/>
                <a:gd name="T77" fmla="*/ 108 h 109"/>
                <a:gd name="T78" fmla="*/ 67 w 67"/>
                <a:gd name="T79" fmla="*/ 108 h 109"/>
                <a:gd name="T80" fmla="*/ 67 w 67"/>
                <a:gd name="T81" fmla="*/ 108 h 109"/>
                <a:gd name="T82" fmla="*/ 67 w 67"/>
                <a:gd name="T83" fmla="*/ 108 h 109"/>
                <a:gd name="T84" fmla="*/ 67 w 67"/>
                <a:gd name="T8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109">
                  <a:moveTo>
                    <a:pt x="10" y="24"/>
                  </a:moveTo>
                  <a:lnTo>
                    <a:pt x="6" y="22"/>
                  </a:lnTo>
                  <a:lnTo>
                    <a:pt x="6" y="24"/>
                  </a:lnTo>
                  <a:lnTo>
                    <a:pt x="6" y="24"/>
                  </a:lnTo>
                  <a:lnTo>
                    <a:pt x="3" y="24"/>
                  </a:lnTo>
                  <a:lnTo>
                    <a:pt x="3" y="24"/>
                  </a:lnTo>
                  <a:lnTo>
                    <a:pt x="2" y="24"/>
                  </a:lnTo>
                  <a:lnTo>
                    <a:pt x="2" y="24"/>
                  </a:lnTo>
                  <a:lnTo>
                    <a:pt x="2" y="24"/>
                  </a:lnTo>
                  <a:lnTo>
                    <a:pt x="3" y="25"/>
                  </a:lnTo>
                  <a:lnTo>
                    <a:pt x="6" y="25"/>
                  </a:lnTo>
                  <a:lnTo>
                    <a:pt x="10" y="28"/>
                  </a:lnTo>
                  <a:lnTo>
                    <a:pt x="10" y="30"/>
                  </a:lnTo>
                  <a:lnTo>
                    <a:pt x="11" y="30"/>
                  </a:lnTo>
                  <a:lnTo>
                    <a:pt x="11" y="28"/>
                  </a:lnTo>
                  <a:lnTo>
                    <a:pt x="11" y="27"/>
                  </a:lnTo>
                  <a:lnTo>
                    <a:pt x="10" y="24"/>
                  </a:lnTo>
                  <a:lnTo>
                    <a:pt x="10" y="24"/>
                  </a:lnTo>
                  <a:lnTo>
                    <a:pt x="10" y="24"/>
                  </a:lnTo>
                  <a:lnTo>
                    <a:pt x="10" y="24"/>
                  </a:lnTo>
                  <a:lnTo>
                    <a:pt x="10" y="24"/>
                  </a:lnTo>
                  <a:lnTo>
                    <a:pt x="10" y="24"/>
                  </a:lnTo>
                  <a:lnTo>
                    <a:pt x="10" y="24"/>
                  </a:lnTo>
                  <a:lnTo>
                    <a:pt x="10" y="24"/>
                  </a:lnTo>
                  <a:lnTo>
                    <a:pt x="10" y="24"/>
                  </a:lnTo>
                  <a:lnTo>
                    <a:pt x="10" y="24"/>
                  </a:lnTo>
                  <a:close/>
                  <a:moveTo>
                    <a:pt x="3" y="3"/>
                  </a:moveTo>
                  <a:lnTo>
                    <a:pt x="3" y="3"/>
                  </a:lnTo>
                  <a:lnTo>
                    <a:pt x="3" y="1"/>
                  </a:lnTo>
                  <a:lnTo>
                    <a:pt x="3" y="0"/>
                  </a:lnTo>
                  <a:lnTo>
                    <a:pt x="3" y="1"/>
                  </a:lnTo>
                  <a:lnTo>
                    <a:pt x="2" y="1"/>
                  </a:lnTo>
                  <a:lnTo>
                    <a:pt x="0" y="1"/>
                  </a:lnTo>
                  <a:lnTo>
                    <a:pt x="0" y="3"/>
                  </a:lnTo>
                  <a:lnTo>
                    <a:pt x="0" y="3"/>
                  </a:lnTo>
                  <a:lnTo>
                    <a:pt x="0" y="4"/>
                  </a:lnTo>
                  <a:lnTo>
                    <a:pt x="0" y="4"/>
                  </a:lnTo>
                  <a:lnTo>
                    <a:pt x="2" y="6"/>
                  </a:lnTo>
                  <a:lnTo>
                    <a:pt x="3" y="3"/>
                  </a:lnTo>
                  <a:lnTo>
                    <a:pt x="3" y="3"/>
                  </a:lnTo>
                  <a:lnTo>
                    <a:pt x="3" y="3"/>
                  </a:lnTo>
                  <a:lnTo>
                    <a:pt x="3" y="3"/>
                  </a:lnTo>
                  <a:lnTo>
                    <a:pt x="3" y="3"/>
                  </a:lnTo>
                  <a:lnTo>
                    <a:pt x="3" y="3"/>
                  </a:lnTo>
                  <a:lnTo>
                    <a:pt x="3" y="3"/>
                  </a:lnTo>
                  <a:lnTo>
                    <a:pt x="3" y="3"/>
                  </a:lnTo>
                  <a:lnTo>
                    <a:pt x="3" y="3"/>
                  </a:lnTo>
                  <a:lnTo>
                    <a:pt x="3" y="3"/>
                  </a:lnTo>
                  <a:close/>
                  <a:moveTo>
                    <a:pt x="45" y="30"/>
                  </a:moveTo>
                  <a:lnTo>
                    <a:pt x="45" y="30"/>
                  </a:lnTo>
                  <a:lnTo>
                    <a:pt x="43" y="28"/>
                  </a:lnTo>
                  <a:lnTo>
                    <a:pt x="43" y="30"/>
                  </a:lnTo>
                  <a:lnTo>
                    <a:pt x="43" y="30"/>
                  </a:lnTo>
                  <a:lnTo>
                    <a:pt x="45" y="31"/>
                  </a:lnTo>
                  <a:lnTo>
                    <a:pt x="46" y="33"/>
                  </a:lnTo>
                  <a:lnTo>
                    <a:pt x="46" y="33"/>
                  </a:lnTo>
                  <a:lnTo>
                    <a:pt x="48" y="31"/>
                  </a:lnTo>
                  <a:lnTo>
                    <a:pt x="48" y="31"/>
                  </a:lnTo>
                  <a:lnTo>
                    <a:pt x="45" y="30"/>
                  </a:lnTo>
                  <a:lnTo>
                    <a:pt x="45" y="30"/>
                  </a:lnTo>
                  <a:lnTo>
                    <a:pt x="45" y="30"/>
                  </a:lnTo>
                  <a:lnTo>
                    <a:pt x="45" y="30"/>
                  </a:lnTo>
                  <a:lnTo>
                    <a:pt x="45" y="30"/>
                  </a:lnTo>
                  <a:lnTo>
                    <a:pt x="45" y="30"/>
                  </a:lnTo>
                  <a:lnTo>
                    <a:pt x="45" y="30"/>
                  </a:lnTo>
                  <a:lnTo>
                    <a:pt x="45" y="30"/>
                  </a:lnTo>
                  <a:lnTo>
                    <a:pt x="45" y="30"/>
                  </a:lnTo>
                  <a:lnTo>
                    <a:pt x="45" y="30"/>
                  </a:lnTo>
                  <a:lnTo>
                    <a:pt x="45" y="30"/>
                  </a:lnTo>
                  <a:close/>
                  <a:moveTo>
                    <a:pt x="67" y="108"/>
                  </a:moveTo>
                  <a:lnTo>
                    <a:pt x="67" y="104"/>
                  </a:lnTo>
                  <a:lnTo>
                    <a:pt x="67" y="104"/>
                  </a:lnTo>
                  <a:lnTo>
                    <a:pt x="67" y="104"/>
                  </a:lnTo>
                  <a:lnTo>
                    <a:pt x="67" y="109"/>
                  </a:lnTo>
                  <a:lnTo>
                    <a:pt x="67" y="109"/>
                  </a:lnTo>
                  <a:lnTo>
                    <a:pt x="67" y="109"/>
                  </a:lnTo>
                  <a:lnTo>
                    <a:pt x="67" y="109"/>
                  </a:lnTo>
                  <a:lnTo>
                    <a:pt x="67" y="108"/>
                  </a:lnTo>
                  <a:lnTo>
                    <a:pt x="67" y="108"/>
                  </a:lnTo>
                  <a:lnTo>
                    <a:pt x="67" y="108"/>
                  </a:lnTo>
                  <a:lnTo>
                    <a:pt x="67" y="108"/>
                  </a:lnTo>
                  <a:lnTo>
                    <a:pt x="67" y="108"/>
                  </a:lnTo>
                  <a:lnTo>
                    <a:pt x="67" y="108"/>
                  </a:lnTo>
                  <a:lnTo>
                    <a:pt x="67" y="108"/>
                  </a:lnTo>
                  <a:lnTo>
                    <a:pt x="67" y="108"/>
                  </a:lnTo>
                  <a:lnTo>
                    <a:pt x="67" y="108"/>
                  </a:lnTo>
                  <a:lnTo>
                    <a:pt x="67" y="108"/>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2" name="Freeform 247">
              <a:extLst>
                <a:ext uri="{FF2B5EF4-FFF2-40B4-BE49-F238E27FC236}">
                  <a16:creationId xmlns:a16="http://schemas.microsoft.com/office/drawing/2014/main" id="{AD2C505E-52A7-E13A-6B5D-D5666908B592}"/>
                </a:ext>
              </a:extLst>
            </p:cNvPr>
            <p:cNvSpPr>
              <a:spLocks noEditPoints="1"/>
            </p:cNvSpPr>
            <p:nvPr/>
          </p:nvSpPr>
          <p:spPr bwMode="auto">
            <a:xfrm>
              <a:off x="10033250" y="5137672"/>
              <a:ext cx="502448" cy="392538"/>
            </a:xfrm>
            <a:custGeom>
              <a:avLst/>
              <a:gdLst>
                <a:gd name="T0" fmla="*/ 143 w 224"/>
                <a:gd name="T1" fmla="*/ 97 h 175"/>
                <a:gd name="T2" fmla="*/ 139 w 224"/>
                <a:gd name="T3" fmla="*/ 97 h 175"/>
                <a:gd name="T4" fmla="*/ 139 w 224"/>
                <a:gd name="T5" fmla="*/ 97 h 175"/>
                <a:gd name="T6" fmla="*/ 139 w 224"/>
                <a:gd name="T7" fmla="*/ 94 h 175"/>
                <a:gd name="T8" fmla="*/ 128 w 224"/>
                <a:gd name="T9" fmla="*/ 96 h 175"/>
                <a:gd name="T10" fmla="*/ 127 w 224"/>
                <a:gd name="T11" fmla="*/ 91 h 175"/>
                <a:gd name="T12" fmla="*/ 119 w 224"/>
                <a:gd name="T13" fmla="*/ 92 h 175"/>
                <a:gd name="T14" fmla="*/ 100 w 224"/>
                <a:gd name="T15" fmla="*/ 108 h 175"/>
                <a:gd name="T16" fmla="*/ 71 w 224"/>
                <a:gd name="T17" fmla="*/ 127 h 175"/>
                <a:gd name="T18" fmla="*/ 31 w 224"/>
                <a:gd name="T19" fmla="*/ 145 h 175"/>
                <a:gd name="T20" fmla="*/ 20 w 224"/>
                <a:gd name="T21" fmla="*/ 151 h 175"/>
                <a:gd name="T22" fmla="*/ 14 w 224"/>
                <a:gd name="T23" fmla="*/ 154 h 175"/>
                <a:gd name="T24" fmla="*/ 11 w 224"/>
                <a:gd name="T25" fmla="*/ 158 h 175"/>
                <a:gd name="T26" fmla="*/ 3 w 224"/>
                <a:gd name="T27" fmla="*/ 164 h 175"/>
                <a:gd name="T28" fmla="*/ 1 w 224"/>
                <a:gd name="T29" fmla="*/ 167 h 175"/>
                <a:gd name="T30" fmla="*/ 11 w 224"/>
                <a:gd name="T31" fmla="*/ 173 h 175"/>
                <a:gd name="T32" fmla="*/ 20 w 224"/>
                <a:gd name="T33" fmla="*/ 175 h 175"/>
                <a:gd name="T34" fmla="*/ 43 w 224"/>
                <a:gd name="T35" fmla="*/ 167 h 175"/>
                <a:gd name="T36" fmla="*/ 65 w 224"/>
                <a:gd name="T37" fmla="*/ 151 h 175"/>
                <a:gd name="T38" fmla="*/ 92 w 224"/>
                <a:gd name="T39" fmla="*/ 135 h 175"/>
                <a:gd name="T40" fmla="*/ 98 w 224"/>
                <a:gd name="T41" fmla="*/ 135 h 175"/>
                <a:gd name="T42" fmla="*/ 104 w 224"/>
                <a:gd name="T43" fmla="*/ 126 h 175"/>
                <a:gd name="T44" fmla="*/ 130 w 224"/>
                <a:gd name="T45" fmla="*/ 108 h 175"/>
                <a:gd name="T46" fmla="*/ 139 w 224"/>
                <a:gd name="T47" fmla="*/ 99 h 175"/>
                <a:gd name="T48" fmla="*/ 135 w 224"/>
                <a:gd name="T49" fmla="*/ 99 h 175"/>
                <a:gd name="T50" fmla="*/ 135 w 224"/>
                <a:gd name="T51" fmla="*/ 99 h 175"/>
                <a:gd name="T52" fmla="*/ 192 w 224"/>
                <a:gd name="T53" fmla="*/ 29 h 175"/>
                <a:gd name="T54" fmla="*/ 192 w 224"/>
                <a:gd name="T55" fmla="*/ 19 h 175"/>
                <a:gd name="T56" fmla="*/ 192 w 224"/>
                <a:gd name="T57" fmla="*/ 13 h 175"/>
                <a:gd name="T58" fmla="*/ 190 w 224"/>
                <a:gd name="T59" fmla="*/ 10 h 175"/>
                <a:gd name="T60" fmla="*/ 185 w 224"/>
                <a:gd name="T61" fmla="*/ 7 h 175"/>
                <a:gd name="T62" fmla="*/ 181 w 224"/>
                <a:gd name="T63" fmla="*/ 2 h 175"/>
                <a:gd name="T64" fmla="*/ 181 w 224"/>
                <a:gd name="T65" fmla="*/ 16 h 175"/>
                <a:gd name="T66" fmla="*/ 182 w 224"/>
                <a:gd name="T67" fmla="*/ 15 h 175"/>
                <a:gd name="T68" fmla="*/ 184 w 224"/>
                <a:gd name="T69" fmla="*/ 29 h 175"/>
                <a:gd name="T70" fmla="*/ 187 w 224"/>
                <a:gd name="T71" fmla="*/ 26 h 175"/>
                <a:gd name="T72" fmla="*/ 184 w 224"/>
                <a:gd name="T73" fmla="*/ 32 h 175"/>
                <a:gd name="T74" fmla="*/ 184 w 224"/>
                <a:gd name="T75" fmla="*/ 38 h 175"/>
                <a:gd name="T76" fmla="*/ 185 w 224"/>
                <a:gd name="T77" fmla="*/ 37 h 175"/>
                <a:gd name="T78" fmla="*/ 222 w 224"/>
                <a:gd name="T79" fmla="*/ 45 h 175"/>
                <a:gd name="T80" fmla="*/ 203 w 224"/>
                <a:gd name="T81" fmla="*/ 51 h 175"/>
                <a:gd name="T82" fmla="*/ 198 w 224"/>
                <a:gd name="T83" fmla="*/ 35 h 175"/>
                <a:gd name="T84" fmla="*/ 197 w 224"/>
                <a:gd name="T85" fmla="*/ 34 h 175"/>
                <a:gd name="T86" fmla="*/ 190 w 224"/>
                <a:gd name="T87" fmla="*/ 42 h 175"/>
                <a:gd name="T88" fmla="*/ 185 w 224"/>
                <a:gd name="T89" fmla="*/ 37 h 175"/>
                <a:gd name="T90" fmla="*/ 181 w 224"/>
                <a:gd name="T91" fmla="*/ 42 h 175"/>
                <a:gd name="T92" fmla="*/ 181 w 224"/>
                <a:gd name="T93" fmla="*/ 48 h 175"/>
                <a:gd name="T94" fmla="*/ 168 w 224"/>
                <a:gd name="T95" fmla="*/ 61 h 175"/>
                <a:gd name="T96" fmla="*/ 152 w 224"/>
                <a:gd name="T97" fmla="*/ 73 h 175"/>
                <a:gd name="T98" fmla="*/ 162 w 224"/>
                <a:gd name="T99" fmla="*/ 80 h 175"/>
                <a:gd name="T100" fmla="*/ 147 w 224"/>
                <a:gd name="T101" fmla="*/ 97 h 175"/>
                <a:gd name="T102" fmla="*/ 146 w 224"/>
                <a:gd name="T103" fmla="*/ 102 h 175"/>
                <a:gd name="T104" fmla="*/ 157 w 224"/>
                <a:gd name="T105" fmla="*/ 100 h 175"/>
                <a:gd name="T106" fmla="*/ 178 w 224"/>
                <a:gd name="T107" fmla="*/ 84 h 175"/>
                <a:gd name="T108" fmla="*/ 193 w 224"/>
                <a:gd name="T109" fmla="*/ 70 h 175"/>
                <a:gd name="T110" fmla="*/ 203 w 224"/>
                <a:gd name="T111" fmla="*/ 69 h 175"/>
                <a:gd name="T112" fmla="*/ 214 w 224"/>
                <a:gd name="T113" fmla="*/ 59 h 175"/>
                <a:gd name="T114" fmla="*/ 222 w 224"/>
                <a:gd name="T115" fmla="*/ 45 h 175"/>
                <a:gd name="T116" fmla="*/ 222 w 224"/>
                <a:gd name="T117" fmla="*/ 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175">
                  <a:moveTo>
                    <a:pt x="139" y="97"/>
                  </a:moveTo>
                  <a:lnTo>
                    <a:pt x="136" y="97"/>
                  </a:lnTo>
                  <a:lnTo>
                    <a:pt x="138" y="99"/>
                  </a:lnTo>
                  <a:lnTo>
                    <a:pt x="139" y="97"/>
                  </a:lnTo>
                  <a:lnTo>
                    <a:pt x="143" y="97"/>
                  </a:lnTo>
                  <a:lnTo>
                    <a:pt x="143" y="96"/>
                  </a:lnTo>
                  <a:lnTo>
                    <a:pt x="139" y="96"/>
                  </a:lnTo>
                  <a:lnTo>
                    <a:pt x="139" y="97"/>
                  </a:lnTo>
                  <a:lnTo>
                    <a:pt x="139" y="97"/>
                  </a:lnTo>
                  <a:lnTo>
                    <a:pt x="139" y="97"/>
                  </a:lnTo>
                  <a:lnTo>
                    <a:pt x="139" y="97"/>
                  </a:lnTo>
                  <a:lnTo>
                    <a:pt x="139" y="97"/>
                  </a:lnTo>
                  <a:lnTo>
                    <a:pt x="139" y="97"/>
                  </a:lnTo>
                  <a:lnTo>
                    <a:pt x="139" y="97"/>
                  </a:lnTo>
                  <a:lnTo>
                    <a:pt x="139" y="97"/>
                  </a:lnTo>
                  <a:lnTo>
                    <a:pt x="139" y="97"/>
                  </a:lnTo>
                  <a:close/>
                  <a:moveTo>
                    <a:pt x="135" y="99"/>
                  </a:moveTo>
                  <a:lnTo>
                    <a:pt x="136" y="97"/>
                  </a:lnTo>
                  <a:lnTo>
                    <a:pt x="136" y="96"/>
                  </a:lnTo>
                  <a:lnTo>
                    <a:pt x="139" y="94"/>
                  </a:lnTo>
                  <a:lnTo>
                    <a:pt x="133" y="97"/>
                  </a:lnTo>
                  <a:lnTo>
                    <a:pt x="130" y="99"/>
                  </a:lnTo>
                  <a:lnTo>
                    <a:pt x="128" y="99"/>
                  </a:lnTo>
                  <a:lnTo>
                    <a:pt x="127" y="99"/>
                  </a:lnTo>
                  <a:lnTo>
                    <a:pt x="128" y="96"/>
                  </a:lnTo>
                  <a:lnTo>
                    <a:pt x="130" y="94"/>
                  </a:lnTo>
                  <a:lnTo>
                    <a:pt x="130" y="92"/>
                  </a:lnTo>
                  <a:lnTo>
                    <a:pt x="128" y="92"/>
                  </a:lnTo>
                  <a:lnTo>
                    <a:pt x="127" y="92"/>
                  </a:lnTo>
                  <a:lnTo>
                    <a:pt x="127" y="91"/>
                  </a:lnTo>
                  <a:lnTo>
                    <a:pt x="130" y="89"/>
                  </a:lnTo>
                  <a:lnTo>
                    <a:pt x="133" y="88"/>
                  </a:lnTo>
                  <a:lnTo>
                    <a:pt x="130" y="88"/>
                  </a:lnTo>
                  <a:lnTo>
                    <a:pt x="125" y="89"/>
                  </a:lnTo>
                  <a:lnTo>
                    <a:pt x="119" y="92"/>
                  </a:lnTo>
                  <a:lnTo>
                    <a:pt x="116" y="97"/>
                  </a:lnTo>
                  <a:lnTo>
                    <a:pt x="111" y="104"/>
                  </a:lnTo>
                  <a:lnTo>
                    <a:pt x="108" y="105"/>
                  </a:lnTo>
                  <a:lnTo>
                    <a:pt x="101" y="107"/>
                  </a:lnTo>
                  <a:lnTo>
                    <a:pt x="100" y="108"/>
                  </a:lnTo>
                  <a:lnTo>
                    <a:pt x="98" y="111"/>
                  </a:lnTo>
                  <a:lnTo>
                    <a:pt x="92" y="116"/>
                  </a:lnTo>
                  <a:lnTo>
                    <a:pt x="84" y="121"/>
                  </a:lnTo>
                  <a:lnTo>
                    <a:pt x="78" y="124"/>
                  </a:lnTo>
                  <a:lnTo>
                    <a:pt x="71" y="127"/>
                  </a:lnTo>
                  <a:lnTo>
                    <a:pt x="55" y="135"/>
                  </a:lnTo>
                  <a:lnTo>
                    <a:pt x="46" y="138"/>
                  </a:lnTo>
                  <a:lnTo>
                    <a:pt x="39" y="140"/>
                  </a:lnTo>
                  <a:lnTo>
                    <a:pt x="33" y="143"/>
                  </a:lnTo>
                  <a:lnTo>
                    <a:pt x="31" y="145"/>
                  </a:lnTo>
                  <a:lnTo>
                    <a:pt x="30" y="148"/>
                  </a:lnTo>
                  <a:lnTo>
                    <a:pt x="30" y="146"/>
                  </a:lnTo>
                  <a:lnTo>
                    <a:pt x="27" y="146"/>
                  </a:lnTo>
                  <a:lnTo>
                    <a:pt x="24" y="150"/>
                  </a:lnTo>
                  <a:lnTo>
                    <a:pt x="20" y="151"/>
                  </a:lnTo>
                  <a:lnTo>
                    <a:pt x="20" y="151"/>
                  </a:lnTo>
                  <a:lnTo>
                    <a:pt x="20" y="153"/>
                  </a:lnTo>
                  <a:lnTo>
                    <a:pt x="17" y="153"/>
                  </a:lnTo>
                  <a:lnTo>
                    <a:pt x="14" y="154"/>
                  </a:lnTo>
                  <a:lnTo>
                    <a:pt x="14" y="154"/>
                  </a:lnTo>
                  <a:lnTo>
                    <a:pt x="14" y="156"/>
                  </a:lnTo>
                  <a:lnTo>
                    <a:pt x="14" y="156"/>
                  </a:lnTo>
                  <a:lnTo>
                    <a:pt x="14" y="158"/>
                  </a:lnTo>
                  <a:lnTo>
                    <a:pt x="11" y="158"/>
                  </a:lnTo>
                  <a:lnTo>
                    <a:pt x="11" y="158"/>
                  </a:lnTo>
                  <a:lnTo>
                    <a:pt x="9" y="159"/>
                  </a:lnTo>
                  <a:lnTo>
                    <a:pt x="8" y="161"/>
                  </a:lnTo>
                  <a:lnTo>
                    <a:pt x="9" y="161"/>
                  </a:lnTo>
                  <a:lnTo>
                    <a:pt x="8" y="162"/>
                  </a:lnTo>
                  <a:lnTo>
                    <a:pt x="3" y="164"/>
                  </a:lnTo>
                  <a:lnTo>
                    <a:pt x="1" y="164"/>
                  </a:lnTo>
                  <a:lnTo>
                    <a:pt x="0" y="167"/>
                  </a:lnTo>
                  <a:lnTo>
                    <a:pt x="3" y="164"/>
                  </a:lnTo>
                  <a:lnTo>
                    <a:pt x="3" y="167"/>
                  </a:lnTo>
                  <a:lnTo>
                    <a:pt x="1" y="167"/>
                  </a:lnTo>
                  <a:lnTo>
                    <a:pt x="0" y="170"/>
                  </a:lnTo>
                  <a:lnTo>
                    <a:pt x="3" y="170"/>
                  </a:lnTo>
                  <a:lnTo>
                    <a:pt x="8" y="170"/>
                  </a:lnTo>
                  <a:lnTo>
                    <a:pt x="11" y="170"/>
                  </a:lnTo>
                  <a:lnTo>
                    <a:pt x="11" y="173"/>
                  </a:lnTo>
                  <a:lnTo>
                    <a:pt x="14" y="170"/>
                  </a:lnTo>
                  <a:lnTo>
                    <a:pt x="14" y="173"/>
                  </a:lnTo>
                  <a:lnTo>
                    <a:pt x="14" y="175"/>
                  </a:lnTo>
                  <a:lnTo>
                    <a:pt x="17" y="173"/>
                  </a:lnTo>
                  <a:lnTo>
                    <a:pt x="20" y="175"/>
                  </a:lnTo>
                  <a:lnTo>
                    <a:pt x="25" y="173"/>
                  </a:lnTo>
                  <a:lnTo>
                    <a:pt x="31" y="173"/>
                  </a:lnTo>
                  <a:lnTo>
                    <a:pt x="35" y="170"/>
                  </a:lnTo>
                  <a:lnTo>
                    <a:pt x="41" y="167"/>
                  </a:lnTo>
                  <a:lnTo>
                    <a:pt x="43" y="167"/>
                  </a:lnTo>
                  <a:lnTo>
                    <a:pt x="46" y="164"/>
                  </a:lnTo>
                  <a:lnTo>
                    <a:pt x="46" y="164"/>
                  </a:lnTo>
                  <a:lnTo>
                    <a:pt x="52" y="161"/>
                  </a:lnTo>
                  <a:lnTo>
                    <a:pt x="58" y="154"/>
                  </a:lnTo>
                  <a:lnTo>
                    <a:pt x="65" y="151"/>
                  </a:lnTo>
                  <a:lnTo>
                    <a:pt x="70" y="145"/>
                  </a:lnTo>
                  <a:lnTo>
                    <a:pt x="76" y="140"/>
                  </a:lnTo>
                  <a:lnTo>
                    <a:pt x="82" y="138"/>
                  </a:lnTo>
                  <a:lnTo>
                    <a:pt x="89" y="135"/>
                  </a:lnTo>
                  <a:lnTo>
                    <a:pt x="92" y="135"/>
                  </a:lnTo>
                  <a:lnTo>
                    <a:pt x="93" y="135"/>
                  </a:lnTo>
                  <a:lnTo>
                    <a:pt x="95" y="135"/>
                  </a:lnTo>
                  <a:lnTo>
                    <a:pt x="92" y="135"/>
                  </a:lnTo>
                  <a:lnTo>
                    <a:pt x="95" y="135"/>
                  </a:lnTo>
                  <a:lnTo>
                    <a:pt x="98" y="135"/>
                  </a:lnTo>
                  <a:lnTo>
                    <a:pt x="100" y="135"/>
                  </a:lnTo>
                  <a:lnTo>
                    <a:pt x="97" y="132"/>
                  </a:lnTo>
                  <a:lnTo>
                    <a:pt x="100" y="129"/>
                  </a:lnTo>
                  <a:lnTo>
                    <a:pt x="101" y="127"/>
                  </a:lnTo>
                  <a:lnTo>
                    <a:pt x="104" y="126"/>
                  </a:lnTo>
                  <a:lnTo>
                    <a:pt x="111" y="123"/>
                  </a:lnTo>
                  <a:lnTo>
                    <a:pt x="117" y="118"/>
                  </a:lnTo>
                  <a:lnTo>
                    <a:pt x="124" y="113"/>
                  </a:lnTo>
                  <a:lnTo>
                    <a:pt x="127" y="111"/>
                  </a:lnTo>
                  <a:lnTo>
                    <a:pt x="130" y="108"/>
                  </a:lnTo>
                  <a:lnTo>
                    <a:pt x="133" y="108"/>
                  </a:lnTo>
                  <a:lnTo>
                    <a:pt x="135" y="105"/>
                  </a:lnTo>
                  <a:lnTo>
                    <a:pt x="136" y="100"/>
                  </a:lnTo>
                  <a:lnTo>
                    <a:pt x="139" y="99"/>
                  </a:lnTo>
                  <a:lnTo>
                    <a:pt x="139" y="99"/>
                  </a:lnTo>
                  <a:lnTo>
                    <a:pt x="138" y="99"/>
                  </a:lnTo>
                  <a:lnTo>
                    <a:pt x="136" y="99"/>
                  </a:lnTo>
                  <a:lnTo>
                    <a:pt x="135" y="99"/>
                  </a:lnTo>
                  <a:lnTo>
                    <a:pt x="135" y="99"/>
                  </a:lnTo>
                  <a:lnTo>
                    <a:pt x="135" y="99"/>
                  </a:lnTo>
                  <a:lnTo>
                    <a:pt x="135" y="99"/>
                  </a:lnTo>
                  <a:lnTo>
                    <a:pt x="135" y="99"/>
                  </a:lnTo>
                  <a:lnTo>
                    <a:pt x="135" y="99"/>
                  </a:lnTo>
                  <a:lnTo>
                    <a:pt x="135" y="99"/>
                  </a:lnTo>
                  <a:lnTo>
                    <a:pt x="135" y="99"/>
                  </a:lnTo>
                  <a:lnTo>
                    <a:pt x="135" y="99"/>
                  </a:lnTo>
                  <a:close/>
                  <a:moveTo>
                    <a:pt x="185" y="37"/>
                  </a:moveTo>
                  <a:lnTo>
                    <a:pt x="189" y="34"/>
                  </a:lnTo>
                  <a:lnTo>
                    <a:pt x="190" y="31"/>
                  </a:lnTo>
                  <a:lnTo>
                    <a:pt x="192" y="29"/>
                  </a:lnTo>
                  <a:lnTo>
                    <a:pt x="192" y="27"/>
                  </a:lnTo>
                  <a:lnTo>
                    <a:pt x="192" y="24"/>
                  </a:lnTo>
                  <a:lnTo>
                    <a:pt x="192" y="21"/>
                  </a:lnTo>
                  <a:lnTo>
                    <a:pt x="190" y="21"/>
                  </a:lnTo>
                  <a:lnTo>
                    <a:pt x="192" y="19"/>
                  </a:lnTo>
                  <a:lnTo>
                    <a:pt x="193" y="21"/>
                  </a:lnTo>
                  <a:lnTo>
                    <a:pt x="195" y="13"/>
                  </a:lnTo>
                  <a:lnTo>
                    <a:pt x="193" y="13"/>
                  </a:lnTo>
                  <a:lnTo>
                    <a:pt x="193" y="13"/>
                  </a:lnTo>
                  <a:lnTo>
                    <a:pt x="192" y="13"/>
                  </a:lnTo>
                  <a:lnTo>
                    <a:pt x="192" y="13"/>
                  </a:lnTo>
                  <a:lnTo>
                    <a:pt x="193" y="13"/>
                  </a:lnTo>
                  <a:lnTo>
                    <a:pt x="192" y="10"/>
                  </a:lnTo>
                  <a:lnTo>
                    <a:pt x="190" y="10"/>
                  </a:lnTo>
                  <a:lnTo>
                    <a:pt x="190" y="10"/>
                  </a:lnTo>
                  <a:lnTo>
                    <a:pt x="189" y="10"/>
                  </a:lnTo>
                  <a:lnTo>
                    <a:pt x="187" y="7"/>
                  </a:lnTo>
                  <a:lnTo>
                    <a:pt x="185" y="7"/>
                  </a:lnTo>
                  <a:lnTo>
                    <a:pt x="184" y="10"/>
                  </a:lnTo>
                  <a:lnTo>
                    <a:pt x="185" y="7"/>
                  </a:lnTo>
                  <a:lnTo>
                    <a:pt x="184" y="2"/>
                  </a:lnTo>
                  <a:lnTo>
                    <a:pt x="185" y="2"/>
                  </a:lnTo>
                  <a:lnTo>
                    <a:pt x="185" y="0"/>
                  </a:lnTo>
                  <a:lnTo>
                    <a:pt x="184" y="0"/>
                  </a:lnTo>
                  <a:lnTo>
                    <a:pt x="181" y="2"/>
                  </a:lnTo>
                  <a:lnTo>
                    <a:pt x="182" y="4"/>
                  </a:lnTo>
                  <a:lnTo>
                    <a:pt x="182" y="10"/>
                  </a:lnTo>
                  <a:lnTo>
                    <a:pt x="182" y="10"/>
                  </a:lnTo>
                  <a:lnTo>
                    <a:pt x="181" y="13"/>
                  </a:lnTo>
                  <a:lnTo>
                    <a:pt x="181" y="16"/>
                  </a:lnTo>
                  <a:lnTo>
                    <a:pt x="182" y="15"/>
                  </a:lnTo>
                  <a:lnTo>
                    <a:pt x="184" y="13"/>
                  </a:lnTo>
                  <a:lnTo>
                    <a:pt x="185" y="13"/>
                  </a:lnTo>
                  <a:lnTo>
                    <a:pt x="184" y="15"/>
                  </a:lnTo>
                  <a:lnTo>
                    <a:pt x="182" y="15"/>
                  </a:lnTo>
                  <a:lnTo>
                    <a:pt x="182" y="16"/>
                  </a:lnTo>
                  <a:lnTo>
                    <a:pt x="181" y="18"/>
                  </a:lnTo>
                  <a:lnTo>
                    <a:pt x="182" y="23"/>
                  </a:lnTo>
                  <a:lnTo>
                    <a:pt x="182" y="29"/>
                  </a:lnTo>
                  <a:lnTo>
                    <a:pt x="184" y="29"/>
                  </a:lnTo>
                  <a:lnTo>
                    <a:pt x="184" y="27"/>
                  </a:lnTo>
                  <a:lnTo>
                    <a:pt x="184" y="26"/>
                  </a:lnTo>
                  <a:lnTo>
                    <a:pt x="185" y="27"/>
                  </a:lnTo>
                  <a:lnTo>
                    <a:pt x="185" y="26"/>
                  </a:lnTo>
                  <a:lnTo>
                    <a:pt x="187" y="26"/>
                  </a:lnTo>
                  <a:lnTo>
                    <a:pt x="189" y="27"/>
                  </a:lnTo>
                  <a:lnTo>
                    <a:pt x="185" y="27"/>
                  </a:lnTo>
                  <a:lnTo>
                    <a:pt x="185" y="29"/>
                  </a:lnTo>
                  <a:lnTo>
                    <a:pt x="187" y="29"/>
                  </a:lnTo>
                  <a:lnTo>
                    <a:pt x="184" y="32"/>
                  </a:lnTo>
                  <a:lnTo>
                    <a:pt x="184" y="31"/>
                  </a:lnTo>
                  <a:lnTo>
                    <a:pt x="182" y="32"/>
                  </a:lnTo>
                  <a:lnTo>
                    <a:pt x="182" y="34"/>
                  </a:lnTo>
                  <a:lnTo>
                    <a:pt x="182" y="38"/>
                  </a:lnTo>
                  <a:lnTo>
                    <a:pt x="184" y="38"/>
                  </a:lnTo>
                  <a:lnTo>
                    <a:pt x="185" y="37"/>
                  </a:lnTo>
                  <a:lnTo>
                    <a:pt x="185" y="37"/>
                  </a:lnTo>
                  <a:lnTo>
                    <a:pt x="185" y="37"/>
                  </a:lnTo>
                  <a:lnTo>
                    <a:pt x="185" y="37"/>
                  </a:lnTo>
                  <a:lnTo>
                    <a:pt x="185" y="37"/>
                  </a:lnTo>
                  <a:lnTo>
                    <a:pt x="185" y="37"/>
                  </a:lnTo>
                  <a:lnTo>
                    <a:pt x="185" y="37"/>
                  </a:lnTo>
                  <a:lnTo>
                    <a:pt x="185" y="37"/>
                  </a:lnTo>
                  <a:lnTo>
                    <a:pt x="185" y="37"/>
                  </a:lnTo>
                  <a:close/>
                  <a:moveTo>
                    <a:pt x="222" y="45"/>
                  </a:moveTo>
                  <a:lnTo>
                    <a:pt x="219" y="45"/>
                  </a:lnTo>
                  <a:lnTo>
                    <a:pt x="216" y="48"/>
                  </a:lnTo>
                  <a:lnTo>
                    <a:pt x="209" y="51"/>
                  </a:lnTo>
                  <a:lnTo>
                    <a:pt x="206" y="51"/>
                  </a:lnTo>
                  <a:lnTo>
                    <a:pt x="203" y="51"/>
                  </a:lnTo>
                  <a:lnTo>
                    <a:pt x="200" y="48"/>
                  </a:lnTo>
                  <a:lnTo>
                    <a:pt x="195" y="48"/>
                  </a:lnTo>
                  <a:lnTo>
                    <a:pt x="198" y="42"/>
                  </a:lnTo>
                  <a:lnTo>
                    <a:pt x="200" y="37"/>
                  </a:lnTo>
                  <a:lnTo>
                    <a:pt x="198" y="35"/>
                  </a:lnTo>
                  <a:lnTo>
                    <a:pt x="198" y="32"/>
                  </a:lnTo>
                  <a:lnTo>
                    <a:pt x="198" y="31"/>
                  </a:lnTo>
                  <a:lnTo>
                    <a:pt x="197" y="31"/>
                  </a:lnTo>
                  <a:lnTo>
                    <a:pt x="197" y="32"/>
                  </a:lnTo>
                  <a:lnTo>
                    <a:pt x="197" y="34"/>
                  </a:lnTo>
                  <a:lnTo>
                    <a:pt x="195" y="35"/>
                  </a:lnTo>
                  <a:lnTo>
                    <a:pt x="195" y="38"/>
                  </a:lnTo>
                  <a:lnTo>
                    <a:pt x="193" y="38"/>
                  </a:lnTo>
                  <a:lnTo>
                    <a:pt x="192" y="42"/>
                  </a:lnTo>
                  <a:lnTo>
                    <a:pt x="190" y="42"/>
                  </a:lnTo>
                  <a:lnTo>
                    <a:pt x="192" y="38"/>
                  </a:lnTo>
                  <a:lnTo>
                    <a:pt x="192" y="38"/>
                  </a:lnTo>
                  <a:lnTo>
                    <a:pt x="190" y="37"/>
                  </a:lnTo>
                  <a:lnTo>
                    <a:pt x="189" y="37"/>
                  </a:lnTo>
                  <a:lnTo>
                    <a:pt x="185" y="37"/>
                  </a:lnTo>
                  <a:lnTo>
                    <a:pt x="185" y="38"/>
                  </a:lnTo>
                  <a:lnTo>
                    <a:pt x="185" y="38"/>
                  </a:lnTo>
                  <a:lnTo>
                    <a:pt x="184" y="38"/>
                  </a:lnTo>
                  <a:lnTo>
                    <a:pt x="182" y="38"/>
                  </a:lnTo>
                  <a:lnTo>
                    <a:pt x="181" y="42"/>
                  </a:lnTo>
                  <a:lnTo>
                    <a:pt x="181" y="42"/>
                  </a:lnTo>
                  <a:lnTo>
                    <a:pt x="182" y="42"/>
                  </a:lnTo>
                  <a:lnTo>
                    <a:pt x="181" y="45"/>
                  </a:lnTo>
                  <a:lnTo>
                    <a:pt x="181" y="45"/>
                  </a:lnTo>
                  <a:lnTo>
                    <a:pt x="181" y="48"/>
                  </a:lnTo>
                  <a:lnTo>
                    <a:pt x="178" y="50"/>
                  </a:lnTo>
                  <a:lnTo>
                    <a:pt x="178" y="54"/>
                  </a:lnTo>
                  <a:lnTo>
                    <a:pt x="174" y="54"/>
                  </a:lnTo>
                  <a:lnTo>
                    <a:pt x="171" y="56"/>
                  </a:lnTo>
                  <a:lnTo>
                    <a:pt x="168" y="61"/>
                  </a:lnTo>
                  <a:lnTo>
                    <a:pt x="166" y="65"/>
                  </a:lnTo>
                  <a:lnTo>
                    <a:pt x="160" y="67"/>
                  </a:lnTo>
                  <a:lnTo>
                    <a:pt x="155" y="69"/>
                  </a:lnTo>
                  <a:lnTo>
                    <a:pt x="154" y="70"/>
                  </a:lnTo>
                  <a:lnTo>
                    <a:pt x="152" y="73"/>
                  </a:lnTo>
                  <a:lnTo>
                    <a:pt x="154" y="73"/>
                  </a:lnTo>
                  <a:lnTo>
                    <a:pt x="155" y="77"/>
                  </a:lnTo>
                  <a:lnTo>
                    <a:pt x="157" y="77"/>
                  </a:lnTo>
                  <a:lnTo>
                    <a:pt x="160" y="80"/>
                  </a:lnTo>
                  <a:lnTo>
                    <a:pt x="162" y="80"/>
                  </a:lnTo>
                  <a:lnTo>
                    <a:pt x="162" y="83"/>
                  </a:lnTo>
                  <a:lnTo>
                    <a:pt x="157" y="89"/>
                  </a:lnTo>
                  <a:lnTo>
                    <a:pt x="152" y="94"/>
                  </a:lnTo>
                  <a:lnTo>
                    <a:pt x="151" y="96"/>
                  </a:lnTo>
                  <a:lnTo>
                    <a:pt x="147" y="97"/>
                  </a:lnTo>
                  <a:lnTo>
                    <a:pt x="146" y="99"/>
                  </a:lnTo>
                  <a:lnTo>
                    <a:pt x="143" y="100"/>
                  </a:lnTo>
                  <a:lnTo>
                    <a:pt x="146" y="100"/>
                  </a:lnTo>
                  <a:lnTo>
                    <a:pt x="146" y="99"/>
                  </a:lnTo>
                  <a:lnTo>
                    <a:pt x="146" y="102"/>
                  </a:lnTo>
                  <a:lnTo>
                    <a:pt x="149" y="100"/>
                  </a:lnTo>
                  <a:lnTo>
                    <a:pt x="147" y="104"/>
                  </a:lnTo>
                  <a:lnTo>
                    <a:pt x="149" y="104"/>
                  </a:lnTo>
                  <a:lnTo>
                    <a:pt x="152" y="104"/>
                  </a:lnTo>
                  <a:lnTo>
                    <a:pt x="157" y="100"/>
                  </a:lnTo>
                  <a:lnTo>
                    <a:pt x="168" y="92"/>
                  </a:lnTo>
                  <a:lnTo>
                    <a:pt x="171" y="89"/>
                  </a:lnTo>
                  <a:lnTo>
                    <a:pt x="174" y="88"/>
                  </a:lnTo>
                  <a:lnTo>
                    <a:pt x="178" y="86"/>
                  </a:lnTo>
                  <a:lnTo>
                    <a:pt x="178" y="84"/>
                  </a:lnTo>
                  <a:lnTo>
                    <a:pt x="182" y="83"/>
                  </a:lnTo>
                  <a:lnTo>
                    <a:pt x="189" y="77"/>
                  </a:lnTo>
                  <a:lnTo>
                    <a:pt x="187" y="73"/>
                  </a:lnTo>
                  <a:lnTo>
                    <a:pt x="189" y="73"/>
                  </a:lnTo>
                  <a:lnTo>
                    <a:pt x="193" y="70"/>
                  </a:lnTo>
                  <a:lnTo>
                    <a:pt x="200" y="67"/>
                  </a:lnTo>
                  <a:lnTo>
                    <a:pt x="201" y="69"/>
                  </a:lnTo>
                  <a:lnTo>
                    <a:pt x="203" y="69"/>
                  </a:lnTo>
                  <a:lnTo>
                    <a:pt x="203" y="70"/>
                  </a:lnTo>
                  <a:lnTo>
                    <a:pt x="203" y="69"/>
                  </a:lnTo>
                  <a:lnTo>
                    <a:pt x="206" y="67"/>
                  </a:lnTo>
                  <a:lnTo>
                    <a:pt x="206" y="64"/>
                  </a:lnTo>
                  <a:lnTo>
                    <a:pt x="209" y="62"/>
                  </a:lnTo>
                  <a:lnTo>
                    <a:pt x="212" y="61"/>
                  </a:lnTo>
                  <a:lnTo>
                    <a:pt x="214" y="59"/>
                  </a:lnTo>
                  <a:lnTo>
                    <a:pt x="216" y="56"/>
                  </a:lnTo>
                  <a:lnTo>
                    <a:pt x="219" y="53"/>
                  </a:lnTo>
                  <a:lnTo>
                    <a:pt x="224" y="48"/>
                  </a:lnTo>
                  <a:lnTo>
                    <a:pt x="224" y="48"/>
                  </a:lnTo>
                  <a:lnTo>
                    <a:pt x="222" y="45"/>
                  </a:lnTo>
                  <a:lnTo>
                    <a:pt x="222" y="45"/>
                  </a:lnTo>
                  <a:lnTo>
                    <a:pt x="222" y="45"/>
                  </a:lnTo>
                  <a:lnTo>
                    <a:pt x="222" y="45"/>
                  </a:lnTo>
                  <a:lnTo>
                    <a:pt x="222" y="45"/>
                  </a:lnTo>
                  <a:lnTo>
                    <a:pt x="222" y="45"/>
                  </a:lnTo>
                  <a:lnTo>
                    <a:pt x="222" y="45"/>
                  </a:lnTo>
                  <a:lnTo>
                    <a:pt x="222" y="45"/>
                  </a:lnTo>
                  <a:lnTo>
                    <a:pt x="222" y="4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3" name="Freeform 249">
              <a:extLst>
                <a:ext uri="{FF2B5EF4-FFF2-40B4-BE49-F238E27FC236}">
                  <a16:creationId xmlns:a16="http://schemas.microsoft.com/office/drawing/2014/main" id="{EB327B0C-3E4E-8BA0-9FAA-F28D591E701B}"/>
                </a:ext>
              </a:extLst>
            </p:cNvPr>
            <p:cNvSpPr>
              <a:spLocks noEditPoints="1"/>
            </p:cNvSpPr>
            <p:nvPr/>
          </p:nvSpPr>
          <p:spPr bwMode="auto">
            <a:xfrm>
              <a:off x="8884797" y="4377271"/>
              <a:ext cx="1137238" cy="1056487"/>
            </a:xfrm>
            <a:custGeom>
              <a:avLst/>
              <a:gdLst>
                <a:gd name="T0" fmla="*/ 275 w 507"/>
                <a:gd name="T1" fmla="*/ 11 h 471"/>
                <a:gd name="T2" fmla="*/ 266 w 507"/>
                <a:gd name="T3" fmla="*/ 14 h 471"/>
                <a:gd name="T4" fmla="*/ 164 w 507"/>
                <a:gd name="T5" fmla="*/ 82 h 471"/>
                <a:gd name="T6" fmla="*/ 313 w 507"/>
                <a:gd name="T7" fmla="*/ 431 h 471"/>
                <a:gd name="T8" fmla="*/ 307 w 507"/>
                <a:gd name="T9" fmla="*/ 468 h 471"/>
                <a:gd name="T10" fmla="*/ 324 w 507"/>
                <a:gd name="T11" fmla="*/ 463 h 471"/>
                <a:gd name="T12" fmla="*/ 334 w 507"/>
                <a:gd name="T13" fmla="*/ 455 h 471"/>
                <a:gd name="T14" fmla="*/ 348 w 507"/>
                <a:gd name="T15" fmla="*/ 431 h 471"/>
                <a:gd name="T16" fmla="*/ 324 w 507"/>
                <a:gd name="T17" fmla="*/ 462 h 471"/>
                <a:gd name="T18" fmla="*/ 504 w 507"/>
                <a:gd name="T19" fmla="*/ 214 h 471"/>
                <a:gd name="T20" fmla="*/ 491 w 507"/>
                <a:gd name="T21" fmla="*/ 185 h 471"/>
                <a:gd name="T22" fmla="*/ 480 w 507"/>
                <a:gd name="T23" fmla="*/ 171 h 471"/>
                <a:gd name="T24" fmla="*/ 470 w 507"/>
                <a:gd name="T25" fmla="*/ 138 h 471"/>
                <a:gd name="T26" fmla="*/ 458 w 507"/>
                <a:gd name="T27" fmla="*/ 123 h 471"/>
                <a:gd name="T28" fmla="*/ 443 w 507"/>
                <a:gd name="T29" fmla="*/ 108 h 471"/>
                <a:gd name="T30" fmla="*/ 442 w 507"/>
                <a:gd name="T31" fmla="*/ 63 h 471"/>
                <a:gd name="T32" fmla="*/ 423 w 507"/>
                <a:gd name="T33" fmla="*/ 42 h 471"/>
                <a:gd name="T34" fmla="*/ 416 w 507"/>
                <a:gd name="T35" fmla="*/ 1 h 471"/>
                <a:gd name="T36" fmla="*/ 407 w 507"/>
                <a:gd name="T37" fmla="*/ 28 h 471"/>
                <a:gd name="T38" fmla="*/ 389 w 507"/>
                <a:gd name="T39" fmla="*/ 77 h 471"/>
                <a:gd name="T40" fmla="*/ 347 w 507"/>
                <a:gd name="T41" fmla="*/ 82 h 471"/>
                <a:gd name="T42" fmla="*/ 328 w 507"/>
                <a:gd name="T43" fmla="*/ 42 h 471"/>
                <a:gd name="T44" fmla="*/ 340 w 507"/>
                <a:gd name="T45" fmla="*/ 22 h 471"/>
                <a:gd name="T46" fmla="*/ 328 w 507"/>
                <a:gd name="T47" fmla="*/ 22 h 471"/>
                <a:gd name="T48" fmla="*/ 310 w 507"/>
                <a:gd name="T49" fmla="*/ 17 h 471"/>
                <a:gd name="T50" fmla="*/ 286 w 507"/>
                <a:gd name="T51" fmla="*/ 4 h 471"/>
                <a:gd name="T52" fmla="*/ 286 w 507"/>
                <a:gd name="T53" fmla="*/ 19 h 471"/>
                <a:gd name="T54" fmla="*/ 262 w 507"/>
                <a:gd name="T55" fmla="*/ 22 h 471"/>
                <a:gd name="T56" fmla="*/ 248 w 507"/>
                <a:gd name="T57" fmla="*/ 46 h 471"/>
                <a:gd name="T58" fmla="*/ 240 w 507"/>
                <a:gd name="T59" fmla="*/ 58 h 471"/>
                <a:gd name="T60" fmla="*/ 226 w 507"/>
                <a:gd name="T61" fmla="*/ 66 h 471"/>
                <a:gd name="T62" fmla="*/ 208 w 507"/>
                <a:gd name="T63" fmla="*/ 49 h 471"/>
                <a:gd name="T64" fmla="*/ 196 w 507"/>
                <a:gd name="T65" fmla="*/ 52 h 471"/>
                <a:gd name="T66" fmla="*/ 186 w 507"/>
                <a:gd name="T67" fmla="*/ 65 h 471"/>
                <a:gd name="T68" fmla="*/ 177 w 507"/>
                <a:gd name="T69" fmla="*/ 77 h 471"/>
                <a:gd name="T70" fmla="*/ 167 w 507"/>
                <a:gd name="T71" fmla="*/ 81 h 471"/>
                <a:gd name="T72" fmla="*/ 158 w 507"/>
                <a:gd name="T73" fmla="*/ 84 h 471"/>
                <a:gd name="T74" fmla="*/ 140 w 507"/>
                <a:gd name="T75" fmla="*/ 109 h 471"/>
                <a:gd name="T76" fmla="*/ 89 w 507"/>
                <a:gd name="T77" fmla="*/ 138 h 471"/>
                <a:gd name="T78" fmla="*/ 35 w 507"/>
                <a:gd name="T79" fmla="*/ 162 h 471"/>
                <a:gd name="T80" fmla="*/ 24 w 507"/>
                <a:gd name="T81" fmla="*/ 209 h 471"/>
                <a:gd name="T82" fmla="*/ 20 w 507"/>
                <a:gd name="T83" fmla="*/ 227 h 471"/>
                <a:gd name="T84" fmla="*/ 23 w 507"/>
                <a:gd name="T85" fmla="*/ 271 h 471"/>
                <a:gd name="T86" fmla="*/ 7 w 507"/>
                <a:gd name="T87" fmla="*/ 328 h 471"/>
                <a:gd name="T88" fmla="*/ 35 w 507"/>
                <a:gd name="T89" fmla="*/ 349 h 471"/>
                <a:gd name="T90" fmla="*/ 93 w 507"/>
                <a:gd name="T91" fmla="*/ 333 h 471"/>
                <a:gd name="T92" fmla="*/ 150 w 507"/>
                <a:gd name="T93" fmla="*/ 309 h 471"/>
                <a:gd name="T94" fmla="*/ 228 w 507"/>
                <a:gd name="T95" fmla="*/ 304 h 471"/>
                <a:gd name="T96" fmla="*/ 243 w 507"/>
                <a:gd name="T97" fmla="*/ 322 h 471"/>
                <a:gd name="T98" fmla="*/ 248 w 507"/>
                <a:gd name="T99" fmla="*/ 346 h 471"/>
                <a:gd name="T100" fmla="*/ 283 w 507"/>
                <a:gd name="T101" fmla="*/ 317 h 471"/>
                <a:gd name="T102" fmla="*/ 264 w 507"/>
                <a:gd name="T103" fmla="*/ 346 h 471"/>
                <a:gd name="T104" fmla="*/ 270 w 507"/>
                <a:gd name="T105" fmla="*/ 357 h 471"/>
                <a:gd name="T106" fmla="*/ 286 w 507"/>
                <a:gd name="T107" fmla="*/ 368 h 471"/>
                <a:gd name="T108" fmla="*/ 304 w 507"/>
                <a:gd name="T109" fmla="*/ 397 h 471"/>
                <a:gd name="T110" fmla="*/ 331 w 507"/>
                <a:gd name="T111" fmla="*/ 397 h 471"/>
                <a:gd name="T112" fmla="*/ 347 w 507"/>
                <a:gd name="T113" fmla="*/ 403 h 471"/>
                <a:gd name="T114" fmla="*/ 401 w 507"/>
                <a:gd name="T115" fmla="*/ 377 h 471"/>
                <a:gd name="T116" fmla="*/ 442 w 507"/>
                <a:gd name="T117" fmla="*/ 333 h 471"/>
                <a:gd name="T118" fmla="*/ 472 w 507"/>
                <a:gd name="T119" fmla="*/ 301 h 471"/>
                <a:gd name="T120" fmla="*/ 504 w 507"/>
                <a:gd name="T121" fmla="*/ 220 h 471"/>
                <a:gd name="T122" fmla="*/ 283 w 507"/>
                <a:gd name="T123" fmla="*/ 358 h 471"/>
                <a:gd name="T124" fmla="*/ 328 w 507"/>
                <a:gd name="T125" fmla="*/ 1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 h="471">
                  <a:moveTo>
                    <a:pt x="281" y="355"/>
                  </a:moveTo>
                  <a:lnTo>
                    <a:pt x="285" y="362"/>
                  </a:lnTo>
                  <a:lnTo>
                    <a:pt x="283" y="360"/>
                  </a:lnTo>
                  <a:lnTo>
                    <a:pt x="281" y="355"/>
                  </a:lnTo>
                  <a:lnTo>
                    <a:pt x="281" y="355"/>
                  </a:lnTo>
                  <a:lnTo>
                    <a:pt x="281" y="355"/>
                  </a:lnTo>
                  <a:lnTo>
                    <a:pt x="281" y="355"/>
                  </a:lnTo>
                  <a:lnTo>
                    <a:pt x="281" y="355"/>
                  </a:lnTo>
                  <a:lnTo>
                    <a:pt x="281" y="355"/>
                  </a:lnTo>
                  <a:lnTo>
                    <a:pt x="281" y="355"/>
                  </a:lnTo>
                  <a:lnTo>
                    <a:pt x="281" y="355"/>
                  </a:lnTo>
                  <a:lnTo>
                    <a:pt x="281" y="355"/>
                  </a:lnTo>
                  <a:close/>
                  <a:moveTo>
                    <a:pt x="266" y="14"/>
                  </a:moveTo>
                  <a:lnTo>
                    <a:pt x="267" y="15"/>
                  </a:lnTo>
                  <a:lnTo>
                    <a:pt x="272" y="14"/>
                  </a:lnTo>
                  <a:lnTo>
                    <a:pt x="275" y="11"/>
                  </a:lnTo>
                  <a:lnTo>
                    <a:pt x="275" y="8"/>
                  </a:lnTo>
                  <a:lnTo>
                    <a:pt x="275" y="8"/>
                  </a:lnTo>
                  <a:lnTo>
                    <a:pt x="274" y="8"/>
                  </a:lnTo>
                  <a:lnTo>
                    <a:pt x="272" y="8"/>
                  </a:lnTo>
                  <a:lnTo>
                    <a:pt x="272" y="8"/>
                  </a:lnTo>
                  <a:lnTo>
                    <a:pt x="270" y="8"/>
                  </a:lnTo>
                  <a:lnTo>
                    <a:pt x="269" y="8"/>
                  </a:lnTo>
                  <a:lnTo>
                    <a:pt x="267" y="8"/>
                  </a:lnTo>
                  <a:lnTo>
                    <a:pt x="264" y="8"/>
                  </a:lnTo>
                  <a:lnTo>
                    <a:pt x="262" y="8"/>
                  </a:lnTo>
                  <a:lnTo>
                    <a:pt x="261" y="8"/>
                  </a:lnTo>
                  <a:lnTo>
                    <a:pt x="261" y="11"/>
                  </a:lnTo>
                  <a:lnTo>
                    <a:pt x="262" y="14"/>
                  </a:lnTo>
                  <a:lnTo>
                    <a:pt x="266" y="14"/>
                  </a:lnTo>
                  <a:lnTo>
                    <a:pt x="266" y="14"/>
                  </a:lnTo>
                  <a:lnTo>
                    <a:pt x="266" y="14"/>
                  </a:lnTo>
                  <a:lnTo>
                    <a:pt x="266" y="14"/>
                  </a:lnTo>
                  <a:lnTo>
                    <a:pt x="266" y="14"/>
                  </a:lnTo>
                  <a:lnTo>
                    <a:pt x="266" y="14"/>
                  </a:lnTo>
                  <a:lnTo>
                    <a:pt x="266" y="14"/>
                  </a:lnTo>
                  <a:lnTo>
                    <a:pt x="266" y="14"/>
                  </a:lnTo>
                  <a:lnTo>
                    <a:pt x="266" y="14"/>
                  </a:lnTo>
                  <a:close/>
                  <a:moveTo>
                    <a:pt x="164" y="82"/>
                  </a:moveTo>
                  <a:lnTo>
                    <a:pt x="167" y="82"/>
                  </a:lnTo>
                  <a:lnTo>
                    <a:pt x="164" y="81"/>
                  </a:lnTo>
                  <a:lnTo>
                    <a:pt x="164" y="82"/>
                  </a:lnTo>
                  <a:lnTo>
                    <a:pt x="164" y="82"/>
                  </a:lnTo>
                  <a:lnTo>
                    <a:pt x="164" y="82"/>
                  </a:lnTo>
                  <a:lnTo>
                    <a:pt x="164" y="82"/>
                  </a:lnTo>
                  <a:lnTo>
                    <a:pt x="164" y="82"/>
                  </a:lnTo>
                  <a:lnTo>
                    <a:pt x="164" y="82"/>
                  </a:lnTo>
                  <a:lnTo>
                    <a:pt x="164" y="82"/>
                  </a:lnTo>
                  <a:lnTo>
                    <a:pt x="164" y="82"/>
                  </a:lnTo>
                  <a:lnTo>
                    <a:pt x="164" y="82"/>
                  </a:lnTo>
                  <a:close/>
                  <a:moveTo>
                    <a:pt x="348" y="431"/>
                  </a:moveTo>
                  <a:lnTo>
                    <a:pt x="347" y="433"/>
                  </a:lnTo>
                  <a:lnTo>
                    <a:pt x="343" y="433"/>
                  </a:lnTo>
                  <a:lnTo>
                    <a:pt x="342" y="435"/>
                  </a:lnTo>
                  <a:lnTo>
                    <a:pt x="337" y="435"/>
                  </a:lnTo>
                  <a:lnTo>
                    <a:pt x="334" y="435"/>
                  </a:lnTo>
                  <a:lnTo>
                    <a:pt x="334" y="436"/>
                  </a:lnTo>
                  <a:lnTo>
                    <a:pt x="328" y="436"/>
                  </a:lnTo>
                  <a:lnTo>
                    <a:pt x="326" y="436"/>
                  </a:lnTo>
                  <a:lnTo>
                    <a:pt x="324" y="436"/>
                  </a:lnTo>
                  <a:lnTo>
                    <a:pt x="321" y="433"/>
                  </a:lnTo>
                  <a:lnTo>
                    <a:pt x="318" y="431"/>
                  </a:lnTo>
                  <a:lnTo>
                    <a:pt x="316" y="431"/>
                  </a:lnTo>
                  <a:lnTo>
                    <a:pt x="313" y="431"/>
                  </a:lnTo>
                  <a:lnTo>
                    <a:pt x="313" y="430"/>
                  </a:lnTo>
                  <a:lnTo>
                    <a:pt x="310" y="435"/>
                  </a:lnTo>
                  <a:lnTo>
                    <a:pt x="307" y="441"/>
                  </a:lnTo>
                  <a:lnTo>
                    <a:pt x="307" y="444"/>
                  </a:lnTo>
                  <a:lnTo>
                    <a:pt x="307" y="447"/>
                  </a:lnTo>
                  <a:lnTo>
                    <a:pt x="307" y="450"/>
                  </a:lnTo>
                  <a:lnTo>
                    <a:pt x="305" y="450"/>
                  </a:lnTo>
                  <a:lnTo>
                    <a:pt x="307" y="450"/>
                  </a:lnTo>
                  <a:lnTo>
                    <a:pt x="307" y="454"/>
                  </a:lnTo>
                  <a:lnTo>
                    <a:pt x="305" y="452"/>
                  </a:lnTo>
                  <a:lnTo>
                    <a:pt x="304" y="455"/>
                  </a:lnTo>
                  <a:lnTo>
                    <a:pt x="304" y="458"/>
                  </a:lnTo>
                  <a:lnTo>
                    <a:pt x="304" y="466"/>
                  </a:lnTo>
                  <a:lnTo>
                    <a:pt x="305" y="466"/>
                  </a:lnTo>
                  <a:lnTo>
                    <a:pt x="307" y="466"/>
                  </a:lnTo>
                  <a:lnTo>
                    <a:pt x="307" y="468"/>
                  </a:lnTo>
                  <a:lnTo>
                    <a:pt x="307" y="468"/>
                  </a:lnTo>
                  <a:lnTo>
                    <a:pt x="305" y="468"/>
                  </a:lnTo>
                  <a:lnTo>
                    <a:pt x="304" y="471"/>
                  </a:lnTo>
                  <a:lnTo>
                    <a:pt x="307" y="471"/>
                  </a:lnTo>
                  <a:lnTo>
                    <a:pt x="310" y="468"/>
                  </a:lnTo>
                  <a:lnTo>
                    <a:pt x="310" y="471"/>
                  </a:lnTo>
                  <a:lnTo>
                    <a:pt x="313" y="471"/>
                  </a:lnTo>
                  <a:lnTo>
                    <a:pt x="316" y="468"/>
                  </a:lnTo>
                  <a:lnTo>
                    <a:pt x="316" y="468"/>
                  </a:lnTo>
                  <a:lnTo>
                    <a:pt x="316" y="466"/>
                  </a:lnTo>
                  <a:lnTo>
                    <a:pt x="318" y="465"/>
                  </a:lnTo>
                  <a:lnTo>
                    <a:pt x="318" y="466"/>
                  </a:lnTo>
                  <a:lnTo>
                    <a:pt x="320" y="466"/>
                  </a:lnTo>
                  <a:lnTo>
                    <a:pt x="323" y="465"/>
                  </a:lnTo>
                  <a:lnTo>
                    <a:pt x="323" y="463"/>
                  </a:lnTo>
                  <a:lnTo>
                    <a:pt x="324" y="463"/>
                  </a:lnTo>
                  <a:lnTo>
                    <a:pt x="326" y="462"/>
                  </a:lnTo>
                  <a:lnTo>
                    <a:pt x="326" y="460"/>
                  </a:lnTo>
                  <a:lnTo>
                    <a:pt x="328" y="460"/>
                  </a:lnTo>
                  <a:lnTo>
                    <a:pt x="328" y="462"/>
                  </a:lnTo>
                  <a:lnTo>
                    <a:pt x="328" y="463"/>
                  </a:lnTo>
                  <a:lnTo>
                    <a:pt x="328" y="463"/>
                  </a:lnTo>
                  <a:lnTo>
                    <a:pt x="326" y="465"/>
                  </a:lnTo>
                  <a:lnTo>
                    <a:pt x="326" y="466"/>
                  </a:lnTo>
                  <a:lnTo>
                    <a:pt x="328" y="465"/>
                  </a:lnTo>
                  <a:lnTo>
                    <a:pt x="328" y="466"/>
                  </a:lnTo>
                  <a:lnTo>
                    <a:pt x="328" y="465"/>
                  </a:lnTo>
                  <a:lnTo>
                    <a:pt x="331" y="462"/>
                  </a:lnTo>
                  <a:lnTo>
                    <a:pt x="331" y="462"/>
                  </a:lnTo>
                  <a:lnTo>
                    <a:pt x="331" y="460"/>
                  </a:lnTo>
                  <a:lnTo>
                    <a:pt x="331" y="458"/>
                  </a:lnTo>
                  <a:lnTo>
                    <a:pt x="334" y="455"/>
                  </a:lnTo>
                  <a:lnTo>
                    <a:pt x="337" y="450"/>
                  </a:lnTo>
                  <a:lnTo>
                    <a:pt x="339" y="450"/>
                  </a:lnTo>
                  <a:lnTo>
                    <a:pt x="340" y="447"/>
                  </a:lnTo>
                  <a:lnTo>
                    <a:pt x="340" y="450"/>
                  </a:lnTo>
                  <a:lnTo>
                    <a:pt x="340" y="452"/>
                  </a:lnTo>
                  <a:lnTo>
                    <a:pt x="342" y="450"/>
                  </a:lnTo>
                  <a:lnTo>
                    <a:pt x="343" y="447"/>
                  </a:lnTo>
                  <a:lnTo>
                    <a:pt x="347" y="443"/>
                  </a:lnTo>
                  <a:lnTo>
                    <a:pt x="350" y="436"/>
                  </a:lnTo>
                  <a:lnTo>
                    <a:pt x="351" y="435"/>
                  </a:lnTo>
                  <a:lnTo>
                    <a:pt x="350" y="431"/>
                  </a:lnTo>
                  <a:lnTo>
                    <a:pt x="348" y="431"/>
                  </a:lnTo>
                  <a:lnTo>
                    <a:pt x="348" y="431"/>
                  </a:lnTo>
                  <a:lnTo>
                    <a:pt x="348" y="431"/>
                  </a:lnTo>
                  <a:lnTo>
                    <a:pt x="348" y="431"/>
                  </a:lnTo>
                  <a:lnTo>
                    <a:pt x="348" y="431"/>
                  </a:lnTo>
                  <a:lnTo>
                    <a:pt x="348" y="431"/>
                  </a:lnTo>
                  <a:lnTo>
                    <a:pt x="348" y="431"/>
                  </a:lnTo>
                  <a:lnTo>
                    <a:pt x="348" y="431"/>
                  </a:lnTo>
                  <a:lnTo>
                    <a:pt x="348" y="431"/>
                  </a:lnTo>
                  <a:close/>
                  <a:moveTo>
                    <a:pt x="324" y="462"/>
                  </a:moveTo>
                  <a:lnTo>
                    <a:pt x="323" y="462"/>
                  </a:lnTo>
                  <a:lnTo>
                    <a:pt x="324" y="460"/>
                  </a:lnTo>
                  <a:lnTo>
                    <a:pt x="324" y="462"/>
                  </a:lnTo>
                  <a:lnTo>
                    <a:pt x="324" y="462"/>
                  </a:lnTo>
                  <a:lnTo>
                    <a:pt x="324" y="462"/>
                  </a:lnTo>
                  <a:lnTo>
                    <a:pt x="324" y="462"/>
                  </a:lnTo>
                  <a:lnTo>
                    <a:pt x="324" y="462"/>
                  </a:lnTo>
                  <a:lnTo>
                    <a:pt x="324" y="462"/>
                  </a:lnTo>
                  <a:lnTo>
                    <a:pt x="324" y="462"/>
                  </a:lnTo>
                  <a:lnTo>
                    <a:pt x="324" y="462"/>
                  </a:lnTo>
                  <a:lnTo>
                    <a:pt x="324" y="462"/>
                  </a:lnTo>
                  <a:close/>
                  <a:moveTo>
                    <a:pt x="202" y="46"/>
                  </a:moveTo>
                  <a:lnTo>
                    <a:pt x="202" y="46"/>
                  </a:lnTo>
                  <a:lnTo>
                    <a:pt x="204" y="46"/>
                  </a:lnTo>
                  <a:lnTo>
                    <a:pt x="202" y="46"/>
                  </a:lnTo>
                  <a:lnTo>
                    <a:pt x="202" y="46"/>
                  </a:lnTo>
                  <a:lnTo>
                    <a:pt x="202" y="46"/>
                  </a:lnTo>
                  <a:lnTo>
                    <a:pt x="202" y="46"/>
                  </a:lnTo>
                  <a:lnTo>
                    <a:pt x="202" y="46"/>
                  </a:lnTo>
                  <a:lnTo>
                    <a:pt x="202" y="46"/>
                  </a:lnTo>
                  <a:lnTo>
                    <a:pt x="202" y="46"/>
                  </a:lnTo>
                  <a:lnTo>
                    <a:pt x="202" y="46"/>
                  </a:lnTo>
                  <a:lnTo>
                    <a:pt x="202" y="46"/>
                  </a:lnTo>
                  <a:close/>
                  <a:moveTo>
                    <a:pt x="505" y="217"/>
                  </a:moveTo>
                  <a:lnTo>
                    <a:pt x="504" y="217"/>
                  </a:lnTo>
                  <a:lnTo>
                    <a:pt x="504" y="216"/>
                  </a:lnTo>
                  <a:lnTo>
                    <a:pt x="504" y="214"/>
                  </a:lnTo>
                  <a:lnTo>
                    <a:pt x="505" y="211"/>
                  </a:lnTo>
                  <a:lnTo>
                    <a:pt x="505" y="209"/>
                  </a:lnTo>
                  <a:lnTo>
                    <a:pt x="504" y="208"/>
                  </a:lnTo>
                  <a:lnTo>
                    <a:pt x="502" y="206"/>
                  </a:lnTo>
                  <a:lnTo>
                    <a:pt x="502" y="206"/>
                  </a:lnTo>
                  <a:lnTo>
                    <a:pt x="502" y="203"/>
                  </a:lnTo>
                  <a:lnTo>
                    <a:pt x="501" y="200"/>
                  </a:lnTo>
                  <a:lnTo>
                    <a:pt x="497" y="196"/>
                  </a:lnTo>
                  <a:lnTo>
                    <a:pt x="497" y="195"/>
                  </a:lnTo>
                  <a:lnTo>
                    <a:pt x="497" y="192"/>
                  </a:lnTo>
                  <a:lnTo>
                    <a:pt x="494" y="190"/>
                  </a:lnTo>
                  <a:lnTo>
                    <a:pt x="494" y="192"/>
                  </a:lnTo>
                  <a:lnTo>
                    <a:pt x="491" y="190"/>
                  </a:lnTo>
                  <a:lnTo>
                    <a:pt x="488" y="185"/>
                  </a:lnTo>
                  <a:lnTo>
                    <a:pt x="491" y="187"/>
                  </a:lnTo>
                  <a:lnTo>
                    <a:pt x="491" y="185"/>
                  </a:lnTo>
                  <a:lnTo>
                    <a:pt x="491" y="184"/>
                  </a:lnTo>
                  <a:lnTo>
                    <a:pt x="488" y="182"/>
                  </a:lnTo>
                  <a:lnTo>
                    <a:pt x="488" y="184"/>
                  </a:lnTo>
                  <a:lnTo>
                    <a:pt x="488" y="184"/>
                  </a:lnTo>
                  <a:lnTo>
                    <a:pt x="486" y="182"/>
                  </a:lnTo>
                  <a:lnTo>
                    <a:pt x="488" y="181"/>
                  </a:lnTo>
                  <a:lnTo>
                    <a:pt x="488" y="176"/>
                  </a:lnTo>
                  <a:lnTo>
                    <a:pt x="488" y="171"/>
                  </a:lnTo>
                  <a:lnTo>
                    <a:pt x="488" y="168"/>
                  </a:lnTo>
                  <a:lnTo>
                    <a:pt x="488" y="168"/>
                  </a:lnTo>
                  <a:lnTo>
                    <a:pt x="486" y="168"/>
                  </a:lnTo>
                  <a:lnTo>
                    <a:pt x="486" y="168"/>
                  </a:lnTo>
                  <a:lnTo>
                    <a:pt x="483" y="168"/>
                  </a:lnTo>
                  <a:lnTo>
                    <a:pt x="482" y="165"/>
                  </a:lnTo>
                  <a:lnTo>
                    <a:pt x="480" y="168"/>
                  </a:lnTo>
                  <a:lnTo>
                    <a:pt x="480" y="171"/>
                  </a:lnTo>
                  <a:lnTo>
                    <a:pt x="478" y="168"/>
                  </a:lnTo>
                  <a:lnTo>
                    <a:pt x="475" y="168"/>
                  </a:lnTo>
                  <a:lnTo>
                    <a:pt x="477" y="168"/>
                  </a:lnTo>
                  <a:lnTo>
                    <a:pt x="475" y="165"/>
                  </a:lnTo>
                  <a:lnTo>
                    <a:pt x="475" y="162"/>
                  </a:lnTo>
                  <a:lnTo>
                    <a:pt x="475" y="158"/>
                  </a:lnTo>
                  <a:lnTo>
                    <a:pt x="477" y="155"/>
                  </a:lnTo>
                  <a:lnTo>
                    <a:pt x="475" y="154"/>
                  </a:lnTo>
                  <a:lnTo>
                    <a:pt x="474" y="154"/>
                  </a:lnTo>
                  <a:lnTo>
                    <a:pt x="474" y="149"/>
                  </a:lnTo>
                  <a:lnTo>
                    <a:pt x="474" y="146"/>
                  </a:lnTo>
                  <a:lnTo>
                    <a:pt x="472" y="144"/>
                  </a:lnTo>
                  <a:lnTo>
                    <a:pt x="470" y="146"/>
                  </a:lnTo>
                  <a:lnTo>
                    <a:pt x="469" y="142"/>
                  </a:lnTo>
                  <a:lnTo>
                    <a:pt x="469" y="139"/>
                  </a:lnTo>
                  <a:lnTo>
                    <a:pt x="470" y="138"/>
                  </a:lnTo>
                  <a:lnTo>
                    <a:pt x="472" y="139"/>
                  </a:lnTo>
                  <a:lnTo>
                    <a:pt x="470" y="136"/>
                  </a:lnTo>
                  <a:lnTo>
                    <a:pt x="470" y="136"/>
                  </a:lnTo>
                  <a:lnTo>
                    <a:pt x="469" y="136"/>
                  </a:lnTo>
                  <a:lnTo>
                    <a:pt x="469" y="133"/>
                  </a:lnTo>
                  <a:lnTo>
                    <a:pt x="467" y="133"/>
                  </a:lnTo>
                  <a:lnTo>
                    <a:pt x="467" y="133"/>
                  </a:lnTo>
                  <a:lnTo>
                    <a:pt x="466" y="133"/>
                  </a:lnTo>
                  <a:lnTo>
                    <a:pt x="464" y="133"/>
                  </a:lnTo>
                  <a:lnTo>
                    <a:pt x="462" y="130"/>
                  </a:lnTo>
                  <a:lnTo>
                    <a:pt x="462" y="130"/>
                  </a:lnTo>
                  <a:lnTo>
                    <a:pt x="462" y="127"/>
                  </a:lnTo>
                  <a:lnTo>
                    <a:pt x="459" y="130"/>
                  </a:lnTo>
                  <a:lnTo>
                    <a:pt x="459" y="130"/>
                  </a:lnTo>
                  <a:lnTo>
                    <a:pt x="458" y="127"/>
                  </a:lnTo>
                  <a:lnTo>
                    <a:pt x="458" y="123"/>
                  </a:lnTo>
                  <a:lnTo>
                    <a:pt x="456" y="123"/>
                  </a:lnTo>
                  <a:lnTo>
                    <a:pt x="453" y="123"/>
                  </a:lnTo>
                  <a:lnTo>
                    <a:pt x="453" y="122"/>
                  </a:lnTo>
                  <a:lnTo>
                    <a:pt x="451" y="122"/>
                  </a:lnTo>
                  <a:lnTo>
                    <a:pt x="448" y="120"/>
                  </a:lnTo>
                  <a:lnTo>
                    <a:pt x="447" y="119"/>
                  </a:lnTo>
                  <a:lnTo>
                    <a:pt x="445" y="117"/>
                  </a:lnTo>
                  <a:lnTo>
                    <a:pt x="445" y="114"/>
                  </a:lnTo>
                  <a:lnTo>
                    <a:pt x="447" y="112"/>
                  </a:lnTo>
                  <a:lnTo>
                    <a:pt x="447" y="111"/>
                  </a:lnTo>
                  <a:lnTo>
                    <a:pt x="445" y="111"/>
                  </a:lnTo>
                  <a:lnTo>
                    <a:pt x="447" y="109"/>
                  </a:lnTo>
                  <a:lnTo>
                    <a:pt x="445" y="106"/>
                  </a:lnTo>
                  <a:lnTo>
                    <a:pt x="445" y="108"/>
                  </a:lnTo>
                  <a:lnTo>
                    <a:pt x="445" y="109"/>
                  </a:lnTo>
                  <a:lnTo>
                    <a:pt x="443" y="108"/>
                  </a:lnTo>
                  <a:lnTo>
                    <a:pt x="443" y="106"/>
                  </a:lnTo>
                  <a:lnTo>
                    <a:pt x="443" y="104"/>
                  </a:lnTo>
                  <a:lnTo>
                    <a:pt x="445" y="100"/>
                  </a:lnTo>
                  <a:lnTo>
                    <a:pt x="445" y="93"/>
                  </a:lnTo>
                  <a:lnTo>
                    <a:pt x="445" y="90"/>
                  </a:lnTo>
                  <a:lnTo>
                    <a:pt x="445" y="87"/>
                  </a:lnTo>
                  <a:lnTo>
                    <a:pt x="443" y="89"/>
                  </a:lnTo>
                  <a:lnTo>
                    <a:pt x="443" y="85"/>
                  </a:lnTo>
                  <a:lnTo>
                    <a:pt x="442" y="84"/>
                  </a:lnTo>
                  <a:lnTo>
                    <a:pt x="442" y="81"/>
                  </a:lnTo>
                  <a:lnTo>
                    <a:pt x="442" y="77"/>
                  </a:lnTo>
                  <a:lnTo>
                    <a:pt x="442" y="74"/>
                  </a:lnTo>
                  <a:lnTo>
                    <a:pt x="442" y="71"/>
                  </a:lnTo>
                  <a:lnTo>
                    <a:pt x="442" y="68"/>
                  </a:lnTo>
                  <a:lnTo>
                    <a:pt x="442" y="65"/>
                  </a:lnTo>
                  <a:lnTo>
                    <a:pt x="442" y="63"/>
                  </a:lnTo>
                  <a:lnTo>
                    <a:pt x="442" y="62"/>
                  </a:lnTo>
                  <a:lnTo>
                    <a:pt x="443" y="60"/>
                  </a:lnTo>
                  <a:lnTo>
                    <a:pt x="439" y="57"/>
                  </a:lnTo>
                  <a:lnTo>
                    <a:pt x="435" y="55"/>
                  </a:lnTo>
                  <a:lnTo>
                    <a:pt x="435" y="52"/>
                  </a:lnTo>
                  <a:lnTo>
                    <a:pt x="432" y="49"/>
                  </a:lnTo>
                  <a:lnTo>
                    <a:pt x="432" y="50"/>
                  </a:lnTo>
                  <a:lnTo>
                    <a:pt x="431" y="49"/>
                  </a:lnTo>
                  <a:lnTo>
                    <a:pt x="429" y="52"/>
                  </a:lnTo>
                  <a:lnTo>
                    <a:pt x="428" y="52"/>
                  </a:lnTo>
                  <a:lnTo>
                    <a:pt x="426" y="52"/>
                  </a:lnTo>
                  <a:lnTo>
                    <a:pt x="424" y="50"/>
                  </a:lnTo>
                  <a:lnTo>
                    <a:pt x="424" y="49"/>
                  </a:lnTo>
                  <a:lnTo>
                    <a:pt x="424" y="46"/>
                  </a:lnTo>
                  <a:lnTo>
                    <a:pt x="423" y="42"/>
                  </a:lnTo>
                  <a:lnTo>
                    <a:pt x="423" y="42"/>
                  </a:lnTo>
                  <a:lnTo>
                    <a:pt x="424" y="35"/>
                  </a:lnTo>
                  <a:lnTo>
                    <a:pt x="424" y="31"/>
                  </a:lnTo>
                  <a:lnTo>
                    <a:pt x="423" y="30"/>
                  </a:lnTo>
                  <a:lnTo>
                    <a:pt x="423" y="25"/>
                  </a:lnTo>
                  <a:lnTo>
                    <a:pt x="421" y="22"/>
                  </a:lnTo>
                  <a:lnTo>
                    <a:pt x="420" y="19"/>
                  </a:lnTo>
                  <a:lnTo>
                    <a:pt x="423" y="17"/>
                  </a:lnTo>
                  <a:lnTo>
                    <a:pt x="420" y="15"/>
                  </a:lnTo>
                  <a:lnTo>
                    <a:pt x="418" y="15"/>
                  </a:lnTo>
                  <a:lnTo>
                    <a:pt x="418" y="14"/>
                  </a:lnTo>
                  <a:lnTo>
                    <a:pt x="418" y="11"/>
                  </a:lnTo>
                  <a:lnTo>
                    <a:pt x="418" y="8"/>
                  </a:lnTo>
                  <a:lnTo>
                    <a:pt x="418" y="8"/>
                  </a:lnTo>
                  <a:lnTo>
                    <a:pt x="418" y="4"/>
                  </a:lnTo>
                  <a:lnTo>
                    <a:pt x="418" y="1"/>
                  </a:lnTo>
                  <a:lnTo>
                    <a:pt x="416" y="1"/>
                  </a:lnTo>
                  <a:lnTo>
                    <a:pt x="415" y="1"/>
                  </a:lnTo>
                  <a:lnTo>
                    <a:pt x="416" y="0"/>
                  </a:lnTo>
                  <a:lnTo>
                    <a:pt x="415" y="0"/>
                  </a:lnTo>
                  <a:lnTo>
                    <a:pt x="413" y="0"/>
                  </a:lnTo>
                  <a:lnTo>
                    <a:pt x="412" y="1"/>
                  </a:lnTo>
                  <a:lnTo>
                    <a:pt x="410" y="1"/>
                  </a:lnTo>
                  <a:lnTo>
                    <a:pt x="410" y="4"/>
                  </a:lnTo>
                  <a:lnTo>
                    <a:pt x="407" y="11"/>
                  </a:lnTo>
                  <a:lnTo>
                    <a:pt x="407" y="17"/>
                  </a:lnTo>
                  <a:lnTo>
                    <a:pt x="404" y="17"/>
                  </a:lnTo>
                  <a:lnTo>
                    <a:pt x="404" y="19"/>
                  </a:lnTo>
                  <a:lnTo>
                    <a:pt x="404" y="20"/>
                  </a:lnTo>
                  <a:lnTo>
                    <a:pt x="404" y="20"/>
                  </a:lnTo>
                  <a:lnTo>
                    <a:pt x="401" y="23"/>
                  </a:lnTo>
                  <a:lnTo>
                    <a:pt x="401" y="25"/>
                  </a:lnTo>
                  <a:lnTo>
                    <a:pt x="407" y="28"/>
                  </a:lnTo>
                  <a:lnTo>
                    <a:pt x="404" y="30"/>
                  </a:lnTo>
                  <a:lnTo>
                    <a:pt x="404" y="27"/>
                  </a:lnTo>
                  <a:lnTo>
                    <a:pt x="401" y="30"/>
                  </a:lnTo>
                  <a:lnTo>
                    <a:pt x="401" y="31"/>
                  </a:lnTo>
                  <a:lnTo>
                    <a:pt x="401" y="35"/>
                  </a:lnTo>
                  <a:lnTo>
                    <a:pt x="401" y="36"/>
                  </a:lnTo>
                  <a:lnTo>
                    <a:pt x="401" y="36"/>
                  </a:lnTo>
                  <a:lnTo>
                    <a:pt x="397" y="42"/>
                  </a:lnTo>
                  <a:lnTo>
                    <a:pt x="397" y="42"/>
                  </a:lnTo>
                  <a:lnTo>
                    <a:pt x="397" y="46"/>
                  </a:lnTo>
                  <a:lnTo>
                    <a:pt x="397" y="49"/>
                  </a:lnTo>
                  <a:lnTo>
                    <a:pt x="397" y="54"/>
                  </a:lnTo>
                  <a:lnTo>
                    <a:pt x="396" y="57"/>
                  </a:lnTo>
                  <a:lnTo>
                    <a:pt x="396" y="63"/>
                  </a:lnTo>
                  <a:lnTo>
                    <a:pt x="394" y="68"/>
                  </a:lnTo>
                  <a:lnTo>
                    <a:pt x="389" y="77"/>
                  </a:lnTo>
                  <a:lnTo>
                    <a:pt x="386" y="87"/>
                  </a:lnTo>
                  <a:lnTo>
                    <a:pt x="380" y="95"/>
                  </a:lnTo>
                  <a:lnTo>
                    <a:pt x="378" y="98"/>
                  </a:lnTo>
                  <a:lnTo>
                    <a:pt x="374" y="100"/>
                  </a:lnTo>
                  <a:lnTo>
                    <a:pt x="372" y="100"/>
                  </a:lnTo>
                  <a:lnTo>
                    <a:pt x="369" y="98"/>
                  </a:lnTo>
                  <a:lnTo>
                    <a:pt x="362" y="96"/>
                  </a:lnTo>
                  <a:lnTo>
                    <a:pt x="361" y="95"/>
                  </a:lnTo>
                  <a:lnTo>
                    <a:pt x="361" y="93"/>
                  </a:lnTo>
                  <a:lnTo>
                    <a:pt x="359" y="92"/>
                  </a:lnTo>
                  <a:lnTo>
                    <a:pt x="359" y="90"/>
                  </a:lnTo>
                  <a:lnTo>
                    <a:pt x="359" y="89"/>
                  </a:lnTo>
                  <a:lnTo>
                    <a:pt x="356" y="87"/>
                  </a:lnTo>
                  <a:lnTo>
                    <a:pt x="353" y="85"/>
                  </a:lnTo>
                  <a:lnTo>
                    <a:pt x="350" y="85"/>
                  </a:lnTo>
                  <a:lnTo>
                    <a:pt x="347" y="82"/>
                  </a:lnTo>
                  <a:lnTo>
                    <a:pt x="343" y="81"/>
                  </a:lnTo>
                  <a:lnTo>
                    <a:pt x="340" y="77"/>
                  </a:lnTo>
                  <a:lnTo>
                    <a:pt x="337" y="74"/>
                  </a:lnTo>
                  <a:lnTo>
                    <a:pt x="337" y="74"/>
                  </a:lnTo>
                  <a:lnTo>
                    <a:pt x="334" y="74"/>
                  </a:lnTo>
                  <a:lnTo>
                    <a:pt x="331" y="74"/>
                  </a:lnTo>
                  <a:lnTo>
                    <a:pt x="331" y="71"/>
                  </a:lnTo>
                  <a:lnTo>
                    <a:pt x="331" y="71"/>
                  </a:lnTo>
                  <a:lnTo>
                    <a:pt x="326" y="66"/>
                  </a:lnTo>
                  <a:lnTo>
                    <a:pt x="323" y="63"/>
                  </a:lnTo>
                  <a:lnTo>
                    <a:pt x="318" y="58"/>
                  </a:lnTo>
                  <a:lnTo>
                    <a:pt x="318" y="57"/>
                  </a:lnTo>
                  <a:lnTo>
                    <a:pt x="320" y="55"/>
                  </a:lnTo>
                  <a:lnTo>
                    <a:pt x="323" y="50"/>
                  </a:lnTo>
                  <a:lnTo>
                    <a:pt x="328" y="42"/>
                  </a:lnTo>
                  <a:lnTo>
                    <a:pt x="328" y="42"/>
                  </a:lnTo>
                  <a:lnTo>
                    <a:pt x="326" y="39"/>
                  </a:lnTo>
                  <a:lnTo>
                    <a:pt x="326" y="39"/>
                  </a:lnTo>
                  <a:lnTo>
                    <a:pt x="328" y="39"/>
                  </a:lnTo>
                  <a:lnTo>
                    <a:pt x="328" y="36"/>
                  </a:lnTo>
                  <a:lnTo>
                    <a:pt x="328" y="36"/>
                  </a:lnTo>
                  <a:lnTo>
                    <a:pt x="328" y="36"/>
                  </a:lnTo>
                  <a:lnTo>
                    <a:pt x="331" y="35"/>
                  </a:lnTo>
                  <a:lnTo>
                    <a:pt x="331" y="36"/>
                  </a:lnTo>
                  <a:lnTo>
                    <a:pt x="334" y="33"/>
                  </a:lnTo>
                  <a:lnTo>
                    <a:pt x="334" y="36"/>
                  </a:lnTo>
                  <a:lnTo>
                    <a:pt x="334" y="35"/>
                  </a:lnTo>
                  <a:lnTo>
                    <a:pt x="337" y="31"/>
                  </a:lnTo>
                  <a:lnTo>
                    <a:pt x="337" y="33"/>
                  </a:lnTo>
                  <a:lnTo>
                    <a:pt x="334" y="30"/>
                  </a:lnTo>
                  <a:lnTo>
                    <a:pt x="339" y="27"/>
                  </a:lnTo>
                  <a:lnTo>
                    <a:pt x="340" y="22"/>
                  </a:lnTo>
                  <a:lnTo>
                    <a:pt x="340" y="20"/>
                  </a:lnTo>
                  <a:lnTo>
                    <a:pt x="339" y="19"/>
                  </a:lnTo>
                  <a:lnTo>
                    <a:pt x="339" y="20"/>
                  </a:lnTo>
                  <a:lnTo>
                    <a:pt x="337" y="19"/>
                  </a:lnTo>
                  <a:lnTo>
                    <a:pt x="337" y="17"/>
                  </a:lnTo>
                  <a:lnTo>
                    <a:pt x="337" y="15"/>
                  </a:lnTo>
                  <a:lnTo>
                    <a:pt x="334" y="19"/>
                  </a:lnTo>
                  <a:lnTo>
                    <a:pt x="334" y="20"/>
                  </a:lnTo>
                  <a:lnTo>
                    <a:pt x="334" y="20"/>
                  </a:lnTo>
                  <a:lnTo>
                    <a:pt x="334" y="22"/>
                  </a:lnTo>
                  <a:lnTo>
                    <a:pt x="331" y="23"/>
                  </a:lnTo>
                  <a:lnTo>
                    <a:pt x="331" y="22"/>
                  </a:lnTo>
                  <a:lnTo>
                    <a:pt x="331" y="20"/>
                  </a:lnTo>
                  <a:lnTo>
                    <a:pt x="331" y="19"/>
                  </a:lnTo>
                  <a:lnTo>
                    <a:pt x="328" y="20"/>
                  </a:lnTo>
                  <a:lnTo>
                    <a:pt x="328" y="22"/>
                  </a:lnTo>
                  <a:lnTo>
                    <a:pt x="326" y="20"/>
                  </a:lnTo>
                  <a:lnTo>
                    <a:pt x="328" y="19"/>
                  </a:lnTo>
                  <a:lnTo>
                    <a:pt x="328" y="17"/>
                  </a:lnTo>
                  <a:lnTo>
                    <a:pt x="328" y="17"/>
                  </a:lnTo>
                  <a:lnTo>
                    <a:pt x="328" y="15"/>
                  </a:lnTo>
                  <a:lnTo>
                    <a:pt x="326" y="15"/>
                  </a:lnTo>
                  <a:lnTo>
                    <a:pt x="326" y="17"/>
                  </a:lnTo>
                  <a:lnTo>
                    <a:pt x="324" y="19"/>
                  </a:lnTo>
                  <a:lnTo>
                    <a:pt x="323" y="19"/>
                  </a:lnTo>
                  <a:lnTo>
                    <a:pt x="321" y="20"/>
                  </a:lnTo>
                  <a:lnTo>
                    <a:pt x="318" y="20"/>
                  </a:lnTo>
                  <a:lnTo>
                    <a:pt x="316" y="19"/>
                  </a:lnTo>
                  <a:lnTo>
                    <a:pt x="316" y="15"/>
                  </a:lnTo>
                  <a:lnTo>
                    <a:pt x="313" y="17"/>
                  </a:lnTo>
                  <a:lnTo>
                    <a:pt x="310" y="17"/>
                  </a:lnTo>
                  <a:lnTo>
                    <a:pt x="310" y="17"/>
                  </a:lnTo>
                  <a:lnTo>
                    <a:pt x="307" y="19"/>
                  </a:lnTo>
                  <a:lnTo>
                    <a:pt x="307" y="15"/>
                  </a:lnTo>
                  <a:lnTo>
                    <a:pt x="307" y="15"/>
                  </a:lnTo>
                  <a:lnTo>
                    <a:pt x="305" y="14"/>
                  </a:lnTo>
                  <a:lnTo>
                    <a:pt x="305" y="14"/>
                  </a:lnTo>
                  <a:lnTo>
                    <a:pt x="302" y="14"/>
                  </a:lnTo>
                  <a:lnTo>
                    <a:pt x="301" y="14"/>
                  </a:lnTo>
                  <a:lnTo>
                    <a:pt x="299" y="14"/>
                  </a:lnTo>
                  <a:lnTo>
                    <a:pt x="296" y="14"/>
                  </a:lnTo>
                  <a:lnTo>
                    <a:pt x="294" y="11"/>
                  </a:lnTo>
                  <a:lnTo>
                    <a:pt x="293" y="8"/>
                  </a:lnTo>
                  <a:lnTo>
                    <a:pt x="293" y="8"/>
                  </a:lnTo>
                  <a:lnTo>
                    <a:pt x="293" y="11"/>
                  </a:lnTo>
                  <a:lnTo>
                    <a:pt x="289" y="11"/>
                  </a:lnTo>
                  <a:lnTo>
                    <a:pt x="289" y="8"/>
                  </a:lnTo>
                  <a:lnTo>
                    <a:pt x="286" y="4"/>
                  </a:lnTo>
                  <a:lnTo>
                    <a:pt x="283" y="4"/>
                  </a:lnTo>
                  <a:lnTo>
                    <a:pt x="283" y="8"/>
                  </a:lnTo>
                  <a:lnTo>
                    <a:pt x="283" y="8"/>
                  </a:lnTo>
                  <a:lnTo>
                    <a:pt x="283" y="8"/>
                  </a:lnTo>
                  <a:lnTo>
                    <a:pt x="283" y="4"/>
                  </a:lnTo>
                  <a:lnTo>
                    <a:pt x="281" y="4"/>
                  </a:lnTo>
                  <a:lnTo>
                    <a:pt x="280" y="8"/>
                  </a:lnTo>
                  <a:lnTo>
                    <a:pt x="281" y="8"/>
                  </a:lnTo>
                  <a:lnTo>
                    <a:pt x="283" y="11"/>
                  </a:lnTo>
                  <a:lnTo>
                    <a:pt x="286" y="11"/>
                  </a:lnTo>
                  <a:lnTo>
                    <a:pt x="289" y="11"/>
                  </a:lnTo>
                  <a:lnTo>
                    <a:pt x="289" y="11"/>
                  </a:lnTo>
                  <a:lnTo>
                    <a:pt x="289" y="15"/>
                  </a:lnTo>
                  <a:lnTo>
                    <a:pt x="289" y="17"/>
                  </a:lnTo>
                  <a:lnTo>
                    <a:pt x="289" y="19"/>
                  </a:lnTo>
                  <a:lnTo>
                    <a:pt x="286" y="19"/>
                  </a:lnTo>
                  <a:lnTo>
                    <a:pt x="286" y="22"/>
                  </a:lnTo>
                  <a:lnTo>
                    <a:pt x="286" y="20"/>
                  </a:lnTo>
                  <a:lnTo>
                    <a:pt x="283" y="20"/>
                  </a:lnTo>
                  <a:lnTo>
                    <a:pt x="280" y="20"/>
                  </a:lnTo>
                  <a:lnTo>
                    <a:pt x="275" y="20"/>
                  </a:lnTo>
                  <a:lnTo>
                    <a:pt x="272" y="20"/>
                  </a:lnTo>
                  <a:lnTo>
                    <a:pt x="272" y="19"/>
                  </a:lnTo>
                  <a:lnTo>
                    <a:pt x="270" y="20"/>
                  </a:lnTo>
                  <a:lnTo>
                    <a:pt x="269" y="19"/>
                  </a:lnTo>
                  <a:lnTo>
                    <a:pt x="267" y="20"/>
                  </a:lnTo>
                  <a:lnTo>
                    <a:pt x="267" y="22"/>
                  </a:lnTo>
                  <a:lnTo>
                    <a:pt x="266" y="22"/>
                  </a:lnTo>
                  <a:lnTo>
                    <a:pt x="266" y="23"/>
                  </a:lnTo>
                  <a:lnTo>
                    <a:pt x="267" y="27"/>
                  </a:lnTo>
                  <a:lnTo>
                    <a:pt x="264" y="23"/>
                  </a:lnTo>
                  <a:lnTo>
                    <a:pt x="262" y="22"/>
                  </a:lnTo>
                  <a:lnTo>
                    <a:pt x="261" y="25"/>
                  </a:lnTo>
                  <a:lnTo>
                    <a:pt x="262" y="28"/>
                  </a:lnTo>
                  <a:lnTo>
                    <a:pt x="261" y="27"/>
                  </a:lnTo>
                  <a:lnTo>
                    <a:pt x="261" y="27"/>
                  </a:lnTo>
                  <a:lnTo>
                    <a:pt x="258" y="28"/>
                  </a:lnTo>
                  <a:lnTo>
                    <a:pt x="258" y="30"/>
                  </a:lnTo>
                  <a:lnTo>
                    <a:pt x="258" y="31"/>
                  </a:lnTo>
                  <a:lnTo>
                    <a:pt x="256" y="33"/>
                  </a:lnTo>
                  <a:lnTo>
                    <a:pt x="256" y="35"/>
                  </a:lnTo>
                  <a:lnTo>
                    <a:pt x="258" y="36"/>
                  </a:lnTo>
                  <a:lnTo>
                    <a:pt x="256" y="36"/>
                  </a:lnTo>
                  <a:lnTo>
                    <a:pt x="255" y="39"/>
                  </a:lnTo>
                  <a:lnTo>
                    <a:pt x="253" y="39"/>
                  </a:lnTo>
                  <a:lnTo>
                    <a:pt x="251" y="39"/>
                  </a:lnTo>
                  <a:lnTo>
                    <a:pt x="250" y="46"/>
                  </a:lnTo>
                  <a:lnTo>
                    <a:pt x="248" y="46"/>
                  </a:lnTo>
                  <a:lnTo>
                    <a:pt x="247" y="47"/>
                  </a:lnTo>
                  <a:lnTo>
                    <a:pt x="243" y="50"/>
                  </a:lnTo>
                  <a:lnTo>
                    <a:pt x="243" y="52"/>
                  </a:lnTo>
                  <a:lnTo>
                    <a:pt x="245" y="54"/>
                  </a:lnTo>
                  <a:lnTo>
                    <a:pt x="248" y="54"/>
                  </a:lnTo>
                  <a:lnTo>
                    <a:pt x="247" y="55"/>
                  </a:lnTo>
                  <a:lnTo>
                    <a:pt x="248" y="57"/>
                  </a:lnTo>
                  <a:lnTo>
                    <a:pt x="250" y="57"/>
                  </a:lnTo>
                  <a:lnTo>
                    <a:pt x="248" y="58"/>
                  </a:lnTo>
                  <a:lnTo>
                    <a:pt x="247" y="58"/>
                  </a:lnTo>
                  <a:lnTo>
                    <a:pt x="245" y="62"/>
                  </a:lnTo>
                  <a:lnTo>
                    <a:pt x="247" y="63"/>
                  </a:lnTo>
                  <a:lnTo>
                    <a:pt x="245" y="63"/>
                  </a:lnTo>
                  <a:lnTo>
                    <a:pt x="243" y="62"/>
                  </a:lnTo>
                  <a:lnTo>
                    <a:pt x="242" y="60"/>
                  </a:lnTo>
                  <a:lnTo>
                    <a:pt x="240" y="58"/>
                  </a:lnTo>
                  <a:lnTo>
                    <a:pt x="240" y="62"/>
                  </a:lnTo>
                  <a:lnTo>
                    <a:pt x="239" y="63"/>
                  </a:lnTo>
                  <a:lnTo>
                    <a:pt x="239" y="62"/>
                  </a:lnTo>
                  <a:lnTo>
                    <a:pt x="239" y="60"/>
                  </a:lnTo>
                  <a:lnTo>
                    <a:pt x="237" y="58"/>
                  </a:lnTo>
                  <a:lnTo>
                    <a:pt x="231" y="58"/>
                  </a:lnTo>
                  <a:lnTo>
                    <a:pt x="231" y="60"/>
                  </a:lnTo>
                  <a:lnTo>
                    <a:pt x="231" y="62"/>
                  </a:lnTo>
                  <a:lnTo>
                    <a:pt x="228" y="62"/>
                  </a:lnTo>
                  <a:lnTo>
                    <a:pt x="228" y="60"/>
                  </a:lnTo>
                  <a:lnTo>
                    <a:pt x="228" y="62"/>
                  </a:lnTo>
                  <a:lnTo>
                    <a:pt x="228" y="65"/>
                  </a:lnTo>
                  <a:lnTo>
                    <a:pt x="228" y="66"/>
                  </a:lnTo>
                  <a:lnTo>
                    <a:pt x="228" y="65"/>
                  </a:lnTo>
                  <a:lnTo>
                    <a:pt x="226" y="65"/>
                  </a:lnTo>
                  <a:lnTo>
                    <a:pt x="226" y="66"/>
                  </a:lnTo>
                  <a:lnTo>
                    <a:pt x="224" y="68"/>
                  </a:lnTo>
                  <a:lnTo>
                    <a:pt x="226" y="65"/>
                  </a:lnTo>
                  <a:lnTo>
                    <a:pt x="226" y="63"/>
                  </a:lnTo>
                  <a:lnTo>
                    <a:pt x="228" y="57"/>
                  </a:lnTo>
                  <a:lnTo>
                    <a:pt x="228" y="55"/>
                  </a:lnTo>
                  <a:lnTo>
                    <a:pt x="226" y="54"/>
                  </a:lnTo>
                  <a:lnTo>
                    <a:pt x="221" y="47"/>
                  </a:lnTo>
                  <a:lnTo>
                    <a:pt x="220" y="46"/>
                  </a:lnTo>
                  <a:lnTo>
                    <a:pt x="218" y="46"/>
                  </a:lnTo>
                  <a:lnTo>
                    <a:pt x="216" y="46"/>
                  </a:lnTo>
                  <a:lnTo>
                    <a:pt x="215" y="42"/>
                  </a:lnTo>
                  <a:lnTo>
                    <a:pt x="213" y="42"/>
                  </a:lnTo>
                  <a:lnTo>
                    <a:pt x="213" y="42"/>
                  </a:lnTo>
                  <a:lnTo>
                    <a:pt x="213" y="46"/>
                  </a:lnTo>
                  <a:lnTo>
                    <a:pt x="210" y="47"/>
                  </a:lnTo>
                  <a:lnTo>
                    <a:pt x="208" y="49"/>
                  </a:lnTo>
                  <a:lnTo>
                    <a:pt x="207" y="47"/>
                  </a:lnTo>
                  <a:lnTo>
                    <a:pt x="207" y="46"/>
                  </a:lnTo>
                  <a:lnTo>
                    <a:pt x="205" y="46"/>
                  </a:lnTo>
                  <a:lnTo>
                    <a:pt x="205" y="49"/>
                  </a:lnTo>
                  <a:lnTo>
                    <a:pt x="204" y="47"/>
                  </a:lnTo>
                  <a:lnTo>
                    <a:pt x="204" y="46"/>
                  </a:lnTo>
                  <a:lnTo>
                    <a:pt x="202" y="46"/>
                  </a:lnTo>
                  <a:lnTo>
                    <a:pt x="202" y="46"/>
                  </a:lnTo>
                  <a:lnTo>
                    <a:pt x="202" y="47"/>
                  </a:lnTo>
                  <a:lnTo>
                    <a:pt x="202" y="49"/>
                  </a:lnTo>
                  <a:lnTo>
                    <a:pt x="202" y="52"/>
                  </a:lnTo>
                  <a:lnTo>
                    <a:pt x="199" y="54"/>
                  </a:lnTo>
                  <a:lnTo>
                    <a:pt x="199" y="55"/>
                  </a:lnTo>
                  <a:lnTo>
                    <a:pt x="199" y="52"/>
                  </a:lnTo>
                  <a:lnTo>
                    <a:pt x="196" y="55"/>
                  </a:lnTo>
                  <a:lnTo>
                    <a:pt x="196" y="52"/>
                  </a:lnTo>
                  <a:lnTo>
                    <a:pt x="196" y="50"/>
                  </a:lnTo>
                  <a:lnTo>
                    <a:pt x="196" y="49"/>
                  </a:lnTo>
                  <a:lnTo>
                    <a:pt x="196" y="54"/>
                  </a:lnTo>
                  <a:lnTo>
                    <a:pt x="193" y="54"/>
                  </a:lnTo>
                  <a:lnTo>
                    <a:pt x="193" y="54"/>
                  </a:lnTo>
                  <a:lnTo>
                    <a:pt x="191" y="57"/>
                  </a:lnTo>
                  <a:lnTo>
                    <a:pt x="191" y="58"/>
                  </a:lnTo>
                  <a:lnTo>
                    <a:pt x="193" y="58"/>
                  </a:lnTo>
                  <a:lnTo>
                    <a:pt x="193" y="62"/>
                  </a:lnTo>
                  <a:lnTo>
                    <a:pt x="193" y="63"/>
                  </a:lnTo>
                  <a:lnTo>
                    <a:pt x="191" y="62"/>
                  </a:lnTo>
                  <a:lnTo>
                    <a:pt x="189" y="62"/>
                  </a:lnTo>
                  <a:lnTo>
                    <a:pt x="188" y="62"/>
                  </a:lnTo>
                  <a:lnTo>
                    <a:pt x="185" y="65"/>
                  </a:lnTo>
                  <a:lnTo>
                    <a:pt x="188" y="63"/>
                  </a:lnTo>
                  <a:lnTo>
                    <a:pt x="186" y="65"/>
                  </a:lnTo>
                  <a:lnTo>
                    <a:pt x="188" y="65"/>
                  </a:lnTo>
                  <a:lnTo>
                    <a:pt x="188" y="66"/>
                  </a:lnTo>
                  <a:lnTo>
                    <a:pt x="189" y="68"/>
                  </a:lnTo>
                  <a:lnTo>
                    <a:pt x="186" y="68"/>
                  </a:lnTo>
                  <a:lnTo>
                    <a:pt x="186" y="66"/>
                  </a:lnTo>
                  <a:lnTo>
                    <a:pt x="183" y="65"/>
                  </a:lnTo>
                  <a:lnTo>
                    <a:pt x="183" y="66"/>
                  </a:lnTo>
                  <a:lnTo>
                    <a:pt x="180" y="68"/>
                  </a:lnTo>
                  <a:lnTo>
                    <a:pt x="178" y="69"/>
                  </a:lnTo>
                  <a:lnTo>
                    <a:pt x="178" y="71"/>
                  </a:lnTo>
                  <a:lnTo>
                    <a:pt x="180" y="74"/>
                  </a:lnTo>
                  <a:lnTo>
                    <a:pt x="180" y="71"/>
                  </a:lnTo>
                  <a:lnTo>
                    <a:pt x="181" y="71"/>
                  </a:lnTo>
                  <a:lnTo>
                    <a:pt x="180" y="74"/>
                  </a:lnTo>
                  <a:lnTo>
                    <a:pt x="178" y="77"/>
                  </a:lnTo>
                  <a:lnTo>
                    <a:pt x="177" y="77"/>
                  </a:lnTo>
                  <a:lnTo>
                    <a:pt x="177" y="81"/>
                  </a:lnTo>
                  <a:lnTo>
                    <a:pt x="178" y="81"/>
                  </a:lnTo>
                  <a:lnTo>
                    <a:pt x="180" y="81"/>
                  </a:lnTo>
                  <a:lnTo>
                    <a:pt x="181" y="81"/>
                  </a:lnTo>
                  <a:lnTo>
                    <a:pt x="180" y="81"/>
                  </a:lnTo>
                  <a:lnTo>
                    <a:pt x="178" y="81"/>
                  </a:lnTo>
                  <a:lnTo>
                    <a:pt x="177" y="81"/>
                  </a:lnTo>
                  <a:lnTo>
                    <a:pt x="175" y="81"/>
                  </a:lnTo>
                  <a:lnTo>
                    <a:pt x="174" y="81"/>
                  </a:lnTo>
                  <a:lnTo>
                    <a:pt x="172" y="77"/>
                  </a:lnTo>
                  <a:lnTo>
                    <a:pt x="170" y="81"/>
                  </a:lnTo>
                  <a:lnTo>
                    <a:pt x="170" y="81"/>
                  </a:lnTo>
                  <a:lnTo>
                    <a:pt x="170" y="81"/>
                  </a:lnTo>
                  <a:lnTo>
                    <a:pt x="170" y="77"/>
                  </a:lnTo>
                  <a:lnTo>
                    <a:pt x="167" y="77"/>
                  </a:lnTo>
                  <a:lnTo>
                    <a:pt x="167" y="81"/>
                  </a:lnTo>
                  <a:lnTo>
                    <a:pt x="167" y="81"/>
                  </a:lnTo>
                  <a:lnTo>
                    <a:pt x="167" y="82"/>
                  </a:lnTo>
                  <a:lnTo>
                    <a:pt x="167" y="84"/>
                  </a:lnTo>
                  <a:lnTo>
                    <a:pt x="167" y="85"/>
                  </a:lnTo>
                  <a:lnTo>
                    <a:pt x="170" y="87"/>
                  </a:lnTo>
                  <a:lnTo>
                    <a:pt x="167" y="90"/>
                  </a:lnTo>
                  <a:lnTo>
                    <a:pt x="167" y="92"/>
                  </a:lnTo>
                  <a:lnTo>
                    <a:pt x="167" y="89"/>
                  </a:lnTo>
                  <a:lnTo>
                    <a:pt x="164" y="93"/>
                  </a:lnTo>
                  <a:lnTo>
                    <a:pt x="164" y="96"/>
                  </a:lnTo>
                  <a:lnTo>
                    <a:pt x="164" y="98"/>
                  </a:lnTo>
                  <a:lnTo>
                    <a:pt x="164" y="95"/>
                  </a:lnTo>
                  <a:lnTo>
                    <a:pt x="161" y="92"/>
                  </a:lnTo>
                  <a:lnTo>
                    <a:pt x="161" y="87"/>
                  </a:lnTo>
                  <a:lnTo>
                    <a:pt x="161" y="85"/>
                  </a:lnTo>
                  <a:lnTo>
                    <a:pt x="158" y="84"/>
                  </a:lnTo>
                  <a:lnTo>
                    <a:pt x="158" y="82"/>
                  </a:lnTo>
                  <a:lnTo>
                    <a:pt x="158" y="81"/>
                  </a:lnTo>
                  <a:lnTo>
                    <a:pt x="158" y="84"/>
                  </a:lnTo>
                  <a:lnTo>
                    <a:pt x="154" y="85"/>
                  </a:lnTo>
                  <a:lnTo>
                    <a:pt x="153" y="87"/>
                  </a:lnTo>
                  <a:lnTo>
                    <a:pt x="153" y="89"/>
                  </a:lnTo>
                  <a:lnTo>
                    <a:pt x="151" y="89"/>
                  </a:lnTo>
                  <a:lnTo>
                    <a:pt x="150" y="90"/>
                  </a:lnTo>
                  <a:lnTo>
                    <a:pt x="147" y="93"/>
                  </a:lnTo>
                  <a:lnTo>
                    <a:pt x="145" y="98"/>
                  </a:lnTo>
                  <a:lnTo>
                    <a:pt x="145" y="101"/>
                  </a:lnTo>
                  <a:lnTo>
                    <a:pt x="147" y="104"/>
                  </a:lnTo>
                  <a:lnTo>
                    <a:pt x="147" y="104"/>
                  </a:lnTo>
                  <a:lnTo>
                    <a:pt x="147" y="106"/>
                  </a:lnTo>
                  <a:lnTo>
                    <a:pt x="142" y="109"/>
                  </a:lnTo>
                  <a:lnTo>
                    <a:pt x="140" y="109"/>
                  </a:lnTo>
                  <a:lnTo>
                    <a:pt x="139" y="112"/>
                  </a:lnTo>
                  <a:lnTo>
                    <a:pt x="137" y="114"/>
                  </a:lnTo>
                  <a:lnTo>
                    <a:pt x="135" y="114"/>
                  </a:lnTo>
                  <a:lnTo>
                    <a:pt x="137" y="116"/>
                  </a:lnTo>
                  <a:lnTo>
                    <a:pt x="135" y="117"/>
                  </a:lnTo>
                  <a:lnTo>
                    <a:pt x="132" y="122"/>
                  </a:lnTo>
                  <a:lnTo>
                    <a:pt x="124" y="127"/>
                  </a:lnTo>
                  <a:lnTo>
                    <a:pt x="118" y="130"/>
                  </a:lnTo>
                  <a:lnTo>
                    <a:pt x="112" y="133"/>
                  </a:lnTo>
                  <a:lnTo>
                    <a:pt x="108" y="133"/>
                  </a:lnTo>
                  <a:lnTo>
                    <a:pt x="102" y="133"/>
                  </a:lnTo>
                  <a:lnTo>
                    <a:pt x="101" y="133"/>
                  </a:lnTo>
                  <a:lnTo>
                    <a:pt x="99" y="136"/>
                  </a:lnTo>
                  <a:lnTo>
                    <a:pt x="97" y="136"/>
                  </a:lnTo>
                  <a:lnTo>
                    <a:pt x="94" y="136"/>
                  </a:lnTo>
                  <a:lnTo>
                    <a:pt x="89" y="138"/>
                  </a:lnTo>
                  <a:lnTo>
                    <a:pt x="85" y="141"/>
                  </a:lnTo>
                  <a:lnTo>
                    <a:pt x="80" y="142"/>
                  </a:lnTo>
                  <a:lnTo>
                    <a:pt x="77" y="141"/>
                  </a:lnTo>
                  <a:lnTo>
                    <a:pt x="74" y="142"/>
                  </a:lnTo>
                  <a:lnTo>
                    <a:pt x="70" y="141"/>
                  </a:lnTo>
                  <a:lnTo>
                    <a:pt x="67" y="142"/>
                  </a:lnTo>
                  <a:lnTo>
                    <a:pt x="66" y="144"/>
                  </a:lnTo>
                  <a:lnTo>
                    <a:pt x="62" y="146"/>
                  </a:lnTo>
                  <a:lnTo>
                    <a:pt x="61" y="147"/>
                  </a:lnTo>
                  <a:lnTo>
                    <a:pt x="54" y="152"/>
                  </a:lnTo>
                  <a:lnTo>
                    <a:pt x="48" y="157"/>
                  </a:lnTo>
                  <a:lnTo>
                    <a:pt x="45" y="158"/>
                  </a:lnTo>
                  <a:lnTo>
                    <a:pt x="39" y="162"/>
                  </a:lnTo>
                  <a:lnTo>
                    <a:pt x="39" y="165"/>
                  </a:lnTo>
                  <a:lnTo>
                    <a:pt x="32" y="168"/>
                  </a:lnTo>
                  <a:lnTo>
                    <a:pt x="35" y="162"/>
                  </a:lnTo>
                  <a:lnTo>
                    <a:pt x="35" y="162"/>
                  </a:lnTo>
                  <a:lnTo>
                    <a:pt x="35" y="158"/>
                  </a:lnTo>
                  <a:lnTo>
                    <a:pt x="32" y="160"/>
                  </a:lnTo>
                  <a:lnTo>
                    <a:pt x="32" y="162"/>
                  </a:lnTo>
                  <a:lnTo>
                    <a:pt x="31" y="165"/>
                  </a:lnTo>
                  <a:lnTo>
                    <a:pt x="29" y="168"/>
                  </a:lnTo>
                  <a:lnTo>
                    <a:pt x="29" y="171"/>
                  </a:lnTo>
                  <a:lnTo>
                    <a:pt x="29" y="173"/>
                  </a:lnTo>
                  <a:lnTo>
                    <a:pt x="29" y="176"/>
                  </a:lnTo>
                  <a:lnTo>
                    <a:pt x="27" y="181"/>
                  </a:lnTo>
                  <a:lnTo>
                    <a:pt x="24" y="185"/>
                  </a:lnTo>
                  <a:lnTo>
                    <a:pt x="21" y="192"/>
                  </a:lnTo>
                  <a:lnTo>
                    <a:pt x="21" y="196"/>
                  </a:lnTo>
                  <a:lnTo>
                    <a:pt x="23" y="203"/>
                  </a:lnTo>
                  <a:lnTo>
                    <a:pt x="23" y="206"/>
                  </a:lnTo>
                  <a:lnTo>
                    <a:pt x="24" y="209"/>
                  </a:lnTo>
                  <a:lnTo>
                    <a:pt x="26" y="214"/>
                  </a:lnTo>
                  <a:lnTo>
                    <a:pt x="26" y="217"/>
                  </a:lnTo>
                  <a:lnTo>
                    <a:pt x="24" y="223"/>
                  </a:lnTo>
                  <a:lnTo>
                    <a:pt x="24" y="223"/>
                  </a:lnTo>
                  <a:lnTo>
                    <a:pt x="23" y="223"/>
                  </a:lnTo>
                  <a:lnTo>
                    <a:pt x="21" y="220"/>
                  </a:lnTo>
                  <a:lnTo>
                    <a:pt x="21" y="220"/>
                  </a:lnTo>
                  <a:lnTo>
                    <a:pt x="20" y="220"/>
                  </a:lnTo>
                  <a:lnTo>
                    <a:pt x="20" y="217"/>
                  </a:lnTo>
                  <a:lnTo>
                    <a:pt x="20" y="217"/>
                  </a:lnTo>
                  <a:lnTo>
                    <a:pt x="18" y="212"/>
                  </a:lnTo>
                  <a:lnTo>
                    <a:pt x="16" y="214"/>
                  </a:lnTo>
                  <a:lnTo>
                    <a:pt x="16" y="217"/>
                  </a:lnTo>
                  <a:lnTo>
                    <a:pt x="18" y="220"/>
                  </a:lnTo>
                  <a:lnTo>
                    <a:pt x="20" y="223"/>
                  </a:lnTo>
                  <a:lnTo>
                    <a:pt x="20" y="227"/>
                  </a:lnTo>
                  <a:lnTo>
                    <a:pt x="16" y="227"/>
                  </a:lnTo>
                  <a:lnTo>
                    <a:pt x="16" y="227"/>
                  </a:lnTo>
                  <a:lnTo>
                    <a:pt x="15" y="227"/>
                  </a:lnTo>
                  <a:lnTo>
                    <a:pt x="16" y="223"/>
                  </a:lnTo>
                  <a:lnTo>
                    <a:pt x="15" y="223"/>
                  </a:lnTo>
                  <a:lnTo>
                    <a:pt x="15" y="220"/>
                  </a:lnTo>
                  <a:lnTo>
                    <a:pt x="13" y="223"/>
                  </a:lnTo>
                  <a:lnTo>
                    <a:pt x="15" y="230"/>
                  </a:lnTo>
                  <a:lnTo>
                    <a:pt x="18" y="235"/>
                  </a:lnTo>
                  <a:lnTo>
                    <a:pt x="20" y="241"/>
                  </a:lnTo>
                  <a:lnTo>
                    <a:pt x="18" y="249"/>
                  </a:lnTo>
                  <a:lnTo>
                    <a:pt x="20" y="250"/>
                  </a:lnTo>
                  <a:lnTo>
                    <a:pt x="21" y="252"/>
                  </a:lnTo>
                  <a:lnTo>
                    <a:pt x="21" y="258"/>
                  </a:lnTo>
                  <a:lnTo>
                    <a:pt x="23" y="263"/>
                  </a:lnTo>
                  <a:lnTo>
                    <a:pt x="23" y="271"/>
                  </a:lnTo>
                  <a:lnTo>
                    <a:pt x="20" y="279"/>
                  </a:lnTo>
                  <a:lnTo>
                    <a:pt x="20" y="287"/>
                  </a:lnTo>
                  <a:lnTo>
                    <a:pt x="21" y="293"/>
                  </a:lnTo>
                  <a:lnTo>
                    <a:pt x="23" y="300"/>
                  </a:lnTo>
                  <a:lnTo>
                    <a:pt x="21" y="308"/>
                  </a:lnTo>
                  <a:lnTo>
                    <a:pt x="20" y="311"/>
                  </a:lnTo>
                  <a:lnTo>
                    <a:pt x="20" y="314"/>
                  </a:lnTo>
                  <a:lnTo>
                    <a:pt x="18" y="316"/>
                  </a:lnTo>
                  <a:lnTo>
                    <a:pt x="18" y="314"/>
                  </a:lnTo>
                  <a:lnTo>
                    <a:pt x="16" y="316"/>
                  </a:lnTo>
                  <a:lnTo>
                    <a:pt x="16" y="319"/>
                  </a:lnTo>
                  <a:lnTo>
                    <a:pt x="15" y="322"/>
                  </a:lnTo>
                  <a:lnTo>
                    <a:pt x="12" y="328"/>
                  </a:lnTo>
                  <a:lnTo>
                    <a:pt x="10" y="328"/>
                  </a:lnTo>
                  <a:lnTo>
                    <a:pt x="7" y="328"/>
                  </a:lnTo>
                  <a:lnTo>
                    <a:pt x="7" y="328"/>
                  </a:lnTo>
                  <a:lnTo>
                    <a:pt x="4" y="328"/>
                  </a:lnTo>
                  <a:lnTo>
                    <a:pt x="4" y="331"/>
                  </a:lnTo>
                  <a:lnTo>
                    <a:pt x="0" y="336"/>
                  </a:lnTo>
                  <a:lnTo>
                    <a:pt x="4" y="339"/>
                  </a:lnTo>
                  <a:lnTo>
                    <a:pt x="4" y="338"/>
                  </a:lnTo>
                  <a:lnTo>
                    <a:pt x="7" y="339"/>
                  </a:lnTo>
                  <a:lnTo>
                    <a:pt x="10" y="343"/>
                  </a:lnTo>
                  <a:lnTo>
                    <a:pt x="12" y="346"/>
                  </a:lnTo>
                  <a:lnTo>
                    <a:pt x="13" y="346"/>
                  </a:lnTo>
                  <a:lnTo>
                    <a:pt x="16" y="346"/>
                  </a:lnTo>
                  <a:lnTo>
                    <a:pt x="15" y="349"/>
                  </a:lnTo>
                  <a:lnTo>
                    <a:pt x="27" y="349"/>
                  </a:lnTo>
                  <a:lnTo>
                    <a:pt x="32" y="349"/>
                  </a:lnTo>
                  <a:lnTo>
                    <a:pt x="32" y="349"/>
                  </a:lnTo>
                  <a:lnTo>
                    <a:pt x="32" y="349"/>
                  </a:lnTo>
                  <a:lnTo>
                    <a:pt x="35" y="349"/>
                  </a:lnTo>
                  <a:lnTo>
                    <a:pt x="39" y="346"/>
                  </a:lnTo>
                  <a:lnTo>
                    <a:pt x="42" y="343"/>
                  </a:lnTo>
                  <a:lnTo>
                    <a:pt x="45" y="343"/>
                  </a:lnTo>
                  <a:lnTo>
                    <a:pt x="48" y="341"/>
                  </a:lnTo>
                  <a:lnTo>
                    <a:pt x="50" y="341"/>
                  </a:lnTo>
                  <a:lnTo>
                    <a:pt x="51" y="341"/>
                  </a:lnTo>
                  <a:lnTo>
                    <a:pt x="56" y="339"/>
                  </a:lnTo>
                  <a:lnTo>
                    <a:pt x="56" y="336"/>
                  </a:lnTo>
                  <a:lnTo>
                    <a:pt x="59" y="335"/>
                  </a:lnTo>
                  <a:lnTo>
                    <a:pt x="66" y="333"/>
                  </a:lnTo>
                  <a:lnTo>
                    <a:pt x="70" y="333"/>
                  </a:lnTo>
                  <a:lnTo>
                    <a:pt x="77" y="331"/>
                  </a:lnTo>
                  <a:lnTo>
                    <a:pt x="81" y="331"/>
                  </a:lnTo>
                  <a:lnTo>
                    <a:pt x="89" y="331"/>
                  </a:lnTo>
                  <a:lnTo>
                    <a:pt x="91" y="333"/>
                  </a:lnTo>
                  <a:lnTo>
                    <a:pt x="93" y="333"/>
                  </a:lnTo>
                  <a:lnTo>
                    <a:pt x="99" y="331"/>
                  </a:lnTo>
                  <a:lnTo>
                    <a:pt x="102" y="333"/>
                  </a:lnTo>
                  <a:lnTo>
                    <a:pt x="102" y="335"/>
                  </a:lnTo>
                  <a:lnTo>
                    <a:pt x="105" y="333"/>
                  </a:lnTo>
                  <a:lnTo>
                    <a:pt x="105" y="333"/>
                  </a:lnTo>
                  <a:lnTo>
                    <a:pt x="108" y="331"/>
                  </a:lnTo>
                  <a:lnTo>
                    <a:pt x="108" y="331"/>
                  </a:lnTo>
                  <a:lnTo>
                    <a:pt x="113" y="328"/>
                  </a:lnTo>
                  <a:lnTo>
                    <a:pt x="116" y="322"/>
                  </a:lnTo>
                  <a:lnTo>
                    <a:pt x="121" y="320"/>
                  </a:lnTo>
                  <a:lnTo>
                    <a:pt x="126" y="319"/>
                  </a:lnTo>
                  <a:lnTo>
                    <a:pt x="132" y="316"/>
                  </a:lnTo>
                  <a:lnTo>
                    <a:pt x="137" y="314"/>
                  </a:lnTo>
                  <a:lnTo>
                    <a:pt x="143" y="311"/>
                  </a:lnTo>
                  <a:lnTo>
                    <a:pt x="147" y="309"/>
                  </a:lnTo>
                  <a:lnTo>
                    <a:pt x="150" y="309"/>
                  </a:lnTo>
                  <a:lnTo>
                    <a:pt x="156" y="309"/>
                  </a:lnTo>
                  <a:lnTo>
                    <a:pt x="161" y="309"/>
                  </a:lnTo>
                  <a:lnTo>
                    <a:pt x="174" y="304"/>
                  </a:lnTo>
                  <a:lnTo>
                    <a:pt x="186" y="300"/>
                  </a:lnTo>
                  <a:lnTo>
                    <a:pt x="193" y="298"/>
                  </a:lnTo>
                  <a:lnTo>
                    <a:pt x="202" y="298"/>
                  </a:lnTo>
                  <a:lnTo>
                    <a:pt x="204" y="300"/>
                  </a:lnTo>
                  <a:lnTo>
                    <a:pt x="207" y="298"/>
                  </a:lnTo>
                  <a:lnTo>
                    <a:pt x="208" y="298"/>
                  </a:lnTo>
                  <a:lnTo>
                    <a:pt x="212" y="298"/>
                  </a:lnTo>
                  <a:lnTo>
                    <a:pt x="215" y="298"/>
                  </a:lnTo>
                  <a:lnTo>
                    <a:pt x="218" y="301"/>
                  </a:lnTo>
                  <a:lnTo>
                    <a:pt x="221" y="304"/>
                  </a:lnTo>
                  <a:lnTo>
                    <a:pt x="224" y="306"/>
                  </a:lnTo>
                  <a:lnTo>
                    <a:pt x="226" y="304"/>
                  </a:lnTo>
                  <a:lnTo>
                    <a:pt x="228" y="304"/>
                  </a:lnTo>
                  <a:lnTo>
                    <a:pt x="228" y="304"/>
                  </a:lnTo>
                  <a:lnTo>
                    <a:pt x="231" y="306"/>
                  </a:lnTo>
                  <a:lnTo>
                    <a:pt x="234" y="308"/>
                  </a:lnTo>
                  <a:lnTo>
                    <a:pt x="239" y="308"/>
                  </a:lnTo>
                  <a:lnTo>
                    <a:pt x="240" y="311"/>
                  </a:lnTo>
                  <a:lnTo>
                    <a:pt x="239" y="312"/>
                  </a:lnTo>
                  <a:lnTo>
                    <a:pt x="240" y="312"/>
                  </a:lnTo>
                  <a:lnTo>
                    <a:pt x="243" y="312"/>
                  </a:lnTo>
                  <a:lnTo>
                    <a:pt x="243" y="316"/>
                  </a:lnTo>
                  <a:lnTo>
                    <a:pt x="242" y="317"/>
                  </a:lnTo>
                  <a:lnTo>
                    <a:pt x="242" y="316"/>
                  </a:lnTo>
                  <a:lnTo>
                    <a:pt x="240" y="316"/>
                  </a:lnTo>
                  <a:lnTo>
                    <a:pt x="239" y="319"/>
                  </a:lnTo>
                  <a:lnTo>
                    <a:pt x="240" y="322"/>
                  </a:lnTo>
                  <a:lnTo>
                    <a:pt x="242" y="322"/>
                  </a:lnTo>
                  <a:lnTo>
                    <a:pt x="243" y="322"/>
                  </a:lnTo>
                  <a:lnTo>
                    <a:pt x="245" y="322"/>
                  </a:lnTo>
                  <a:lnTo>
                    <a:pt x="245" y="322"/>
                  </a:lnTo>
                  <a:lnTo>
                    <a:pt x="245" y="325"/>
                  </a:lnTo>
                  <a:lnTo>
                    <a:pt x="245" y="325"/>
                  </a:lnTo>
                  <a:lnTo>
                    <a:pt x="245" y="328"/>
                  </a:lnTo>
                  <a:lnTo>
                    <a:pt x="245" y="328"/>
                  </a:lnTo>
                  <a:lnTo>
                    <a:pt x="245" y="331"/>
                  </a:lnTo>
                  <a:lnTo>
                    <a:pt x="247" y="333"/>
                  </a:lnTo>
                  <a:lnTo>
                    <a:pt x="247" y="341"/>
                  </a:lnTo>
                  <a:lnTo>
                    <a:pt x="245" y="343"/>
                  </a:lnTo>
                  <a:lnTo>
                    <a:pt x="243" y="341"/>
                  </a:lnTo>
                  <a:lnTo>
                    <a:pt x="242" y="343"/>
                  </a:lnTo>
                  <a:lnTo>
                    <a:pt x="243" y="343"/>
                  </a:lnTo>
                  <a:lnTo>
                    <a:pt x="245" y="343"/>
                  </a:lnTo>
                  <a:lnTo>
                    <a:pt x="245" y="346"/>
                  </a:lnTo>
                  <a:lnTo>
                    <a:pt x="248" y="346"/>
                  </a:lnTo>
                  <a:lnTo>
                    <a:pt x="250" y="349"/>
                  </a:lnTo>
                  <a:lnTo>
                    <a:pt x="253" y="346"/>
                  </a:lnTo>
                  <a:lnTo>
                    <a:pt x="250" y="346"/>
                  </a:lnTo>
                  <a:lnTo>
                    <a:pt x="251" y="343"/>
                  </a:lnTo>
                  <a:lnTo>
                    <a:pt x="253" y="343"/>
                  </a:lnTo>
                  <a:lnTo>
                    <a:pt x="255" y="341"/>
                  </a:lnTo>
                  <a:lnTo>
                    <a:pt x="256" y="339"/>
                  </a:lnTo>
                  <a:lnTo>
                    <a:pt x="258" y="338"/>
                  </a:lnTo>
                  <a:lnTo>
                    <a:pt x="261" y="335"/>
                  </a:lnTo>
                  <a:lnTo>
                    <a:pt x="264" y="333"/>
                  </a:lnTo>
                  <a:lnTo>
                    <a:pt x="269" y="328"/>
                  </a:lnTo>
                  <a:lnTo>
                    <a:pt x="272" y="331"/>
                  </a:lnTo>
                  <a:lnTo>
                    <a:pt x="274" y="328"/>
                  </a:lnTo>
                  <a:lnTo>
                    <a:pt x="278" y="322"/>
                  </a:lnTo>
                  <a:lnTo>
                    <a:pt x="281" y="320"/>
                  </a:lnTo>
                  <a:lnTo>
                    <a:pt x="283" y="317"/>
                  </a:lnTo>
                  <a:lnTo>
                    <a:pt x="286" y="314"/>
                  </a:lnTo>
                  <a:lnTo>
                    <a:pt x="286" y="316"/>
                  </a:lnTo>
                  <a:lnTo>
                    <a:pt x="286" y="319"/>
                  </a:lnTo>
                  <a:lnTo>
                    <a:pt x="286" y="322"/>
                  </a:lnTo>
                  <a:lnTo>
                    <a:pt x="283" y="322"/>
                  </a:lnTo>
                  <a:lnTo>
                    <a:pt x="283" y="322"/>
                  </a:lnTo>
                  <a:lnTo>
                    <a:pt x="283" y="328"/>
                  </a:lnTo>
                  <a:lnTo>
                    <a:pt x="281" y="328"/>
                  </a:lnTo>
                  <a:lnTo>
                    <a:pt x="280" y="328"/>
                  </a:lnTo>
                  <a:lnTo>
                    <a:pt x="275" y="335"/>
                  </a:lnTo>
                  <a:lnTo>
                    <a:pt x="274" y="338"/>
                  </a:lnTo>
                  <a:lnTo>
                    <a:pt x="272" y="341"/>
                  </a:lnTo>
                  <a:lnTo>
                    <a:pt x="270" y="343"/>
                  </a:lnTo>
                  <a:lnTo>
                    <a:pt x="269" y="346"/>
                  </a:lnTo>
                  <a:lnTo>
                    <a:pt x="267" y="346"/>
                  </a:lnTo>
                  <a:lnTo>
                    <a:pt x="264" y="346"/>
                  </a:lnTo>
                  <a:lnTo>
                    <a:pt x="262" y="346"/>
                  </a:lnTo>
                  <a:lnTo>
                    <a:pt x="261" y="349"/>
                  </a:lnTo>
                  <a:lnTo>
                    <a:pt x="258" y="352"/>
                  </a:lnTo>
                  <a:lnTo>
                    <a:pt x="262" y="352"/>
                  </a:lnTo>
                  <a:lnTo>
                    <a:pt x="266" y="349"/>
                  </a:lnTo>
                  <a:lnTo>
                    <a:pt x="269" y="349"/>
                  </a:lnTo>
                  <a:lnTo>
                    <a:pt x="270" y="349"/>
                  </a:lnTo>
                  <a:lnTo>
                    <a:pt x="275" y="341"/>
                  </a:lnTo>
                  <a:lnTo>
                    <a:pt x="278" y="338"/>
                  </a:lnTo>
                  <a:lnTo>
                    <a:pt x="281" y="336"/>
                  </a:lnTo>
                  <a:lnTo>
                    <a:pt x="281" y="343"/>
                  </a:lnTo>
                  <a:lnTo>
                    <a:pt x="280" y="349"/>
                  </a:lnTo>
                  <a:lnTo>
                    <a:pt x="278" y="352"/>
                  </a:lnTo>
                  <a:lnTo>
                    <a:pt x="277" y="352"/>
                  </a:lnTo>
                  <a:lnTo>
                    <a:pt x="274" y="355"/>
                  </a:lnTo>
                  <a:lnTo>
                    <a:pt x="270" y="357"/>
                  </a:lnTo>
                  <a:lnTo>
                    <a:pt x="274" y="357"/>
                  </a:lnTo>
                  <a:lnTo>
                    <a:pt x="277" y="357"/>
                  </a:lnTo>
                  <a:lnTo>
                    <a:pt x="281" y="355"/>
                  </a:lnTo>
                  <a:lnTo>
                    <a:pt x="283" y="355"/>
                  </a:lnTo>
                  <a:lnTo>
                    <a:pt x="283" y="354"/>
                  </a:lnTo>
                  <a:lnTo>
                    <a:pt x="283" y="352"/>
                  </a:lnTo>
                  <a:lnTo>
                    <a:pt x="286" y="352"/>
                  </a:lnTo>
                  <a:lnTo>
                    <a:pt x="286" y="354"/>
                  </a:lnTo>
                  <a:lnTo>
                    <a:pt x="286" y="355"/>
                  </a:lnTo>
                  <a:lnTo>
                    <a:pt x="286" y="357"/>
                  </a:lnTo>
                  <a:lnTo>
                    <a:pt x="283" y="358"/>
                  </a:lnTo>
                  <a:lnTo>
                    <a:pt x="286" y="362"/>
                  </a:lnTo>
                  <a:lnTo>
                    <a:pt x="286" y="363"/>
                  </a:lnTo>
                  <a:lnTo>
                    <a:pt x="285" y="362"/>
                  </a:lnTo>
                  <a:lnTo>
                    <a:pt x="286" y="366"/>
                  </a:lnTo>
                  <a:lnTo>
                    <a:pt x="286" y="368"/>
                  </a:lnTo>
                  <a:lnTo>
                    <a:pt x="286" y="371"/>
                  </a:lnTo>
                  <a:lnTo>
                    <a:pt x="283" y="376"/>
                  </a:lnTo>
                  <a:lnTo>
                    <a:pt x="281" y="377"/>
                  </a:lnTo>
                  <a:lnTo>
                    <a:pt x="281" y="381"/>
                  </a:lnTo>
                  <a:lnTo>
                    <a:pt x="281" y="384"/>
                  </a:lnTo>
                  <a:lnTo>
                    <a:pt x="283" y="384"/>
                  </a:lnTo>
                  <a:lnTo>
                    <a:pt x="283" y="387"/>
                  </a:lnTo>
                  <a:lnTo>
                    <a:pt x="283" y="390"/>
                  </a:lnTo>
                  <a:lnTo>
                    <a:pt x="289" y="393"/>
                  </a:lnTo>
                  <a:lnTo>
                    <a:pt x="293" y="395"/>
                  </a:lnTo>
                  <a:lnTo>
                    <a:pt x="293" y="397"/>
                  </a:lnTo>
                  <a:lnTo>
                    <a:pt x="293" y="397"/>
                  </a:lnTo>
                  <a:lnTo>
                    <a:pt x="296" y="395"/>
                  </a:lnTo>
                  <a:lnTo>
                    <a:pt x="299" y="397"/>
                  </a:lnTo>
                  <a:lnTo>
                    <a:pt x="301" y="397"/>
                  </a:lnTo>
                  <a:lnTo>
                    <a:pt x="304" y="397"/>
                  </a:lnTo>
                  <a:lnTo>
                    <a:pt x="307" y="398"/>
                  </a:lnTo>
                  <a:lnTo>
                    <a:pt x="310" y="401"/>
                  </a:lnTo>
                  <a:lnTo>
                    <a:pt x="313" y="403"/>
                  </a:lnTo>
                  <a:lnTo>
                    <a:pt x="313" y="403"/>
                  </a:lnTo>
                  <a:lnTo>
                    <a:pt x="320" y="400"/>
                  </a:lnTo>
                  <a:lnTo>
                    <a:pt x="326" y="397"/>
                  </a:lnTo>
                  <a:lnTo>
                    <a:pt x="328" y="395"/>
                  </a:lnTo>
                  <a:lnTo>
                    <a:pt x="331" y="393"/>
                  </a:lnTo>
                  <a:lnTo>
                    <a:pt x="331" y="393"/>
                  </a:lnTo>
                  <a:lnTo>
                    <a:pt x="328" y="393"/>
                  </a:lnTo>
                  <a:lnTo>
                    <a:pt x="331" y="390"/>
                  </a:lnTo>
                  <a:lnTo>
                    <a:pt x="337" y="389"/>
                  </a:lnTo>
                  <a:lnTo>
                    <a:pt x="337" y="392"/>
                  </a:lnTo>
                  <a:lnTo>
                    <a:pt x="334" y="395"/>
                  </a:lnTo>
                  <a:lnTo>
                    <a:pt x="334" y="397"/>
                  </a:lnTo>
                  <a:lnTo>
                    <a:pt x="331" y="397"/>
                  </a:lnTo>
                  <a:lnTo>
                    <a:pt x="331" y="397"/>
                  </a:lnTo>
                  <a:lnTo>
                    <a:pt x="331" y="398"/>
                  </a:lnTo>
                  <a:lnTo>
                    <a:pt x="334" y="397"/>
                  </a:lnTo>
                  <a:lnTo>
                    <a:pt x="337" y="395"/>
                  </a:lnTo>
                  <a:lnTo>
                    <a:pt x="339" y="395"/>
                  </a:lnTo>
                  <a:lnTo>
                    <a:pt x="337" y="398"/>
                  </a:lnTo>
                  <a:lnTo>
                    <a:pt x="337" y="400"/>
                  </a:lnTo>
                  <a:lnTo>
                    <a:pt x="339" y="401"/>
                  </a:lnTo>
                  <a:lnTo>
                    <a:pt x="340" y="401"/>
                  </a:lnTo>
                  <a:lnTo>
                    <a:pt x="340" y="404"/>
                  </a:lnTo>
                  <a:lnTo>
                    <a:pt x="342" y="404"/>
                  </a:lnTo>
                  <a:lnTo>
                    <a:pt x="343" y="404"/>
                  </a:lnTo>
                  <a:lnTo>
                    <a:pt x="343" y="406"/>
                  </a:lnTo>
                  <a:lnTo>
                    <a:pt x="343" y="408"/>
                  </a:lnTo>
                  <a:lnTo>
                    <a:pt x="345" y="406"/>
                  </a:lnTo>
                  <a:lnTo>
                    <a:pt x="347" y="403"/>
                  </a:lnTo>
                  <a:lnTo>
                    <a:pt x="345" y="404"/>
                  </a:lnTo>
                  <a:lnTo>
                    <a:pt x="345" y="403"/>
                  </a:lnTo>
                  <a:lnTo>
                    <a:pt x="348" y="401"/>
                  </a:lnTo>
                  <a:lnTo>
                    <a:pt x="353" y="401"/>
                  </a:lnTo>
                  <a:lnTo>
                    <a:pt x="358" y="398"/>
                  </a:lnTo>
                  <a:lnTo>
                    <a:pt x="366" y="392"/>
                  </a:lnTo>
                  <a:lnTo>
                    <a:pt x="372" y="390"/>
                  </a:lnTo>
                  <a:lnTo>
                    <a:pt x="377" y="389"/>
                  </a:lnTo>
                  <a:lnTo>
                    <a:pt x="388" y="389"/>
                  </a:lnTo>
                  <a:lnTo>
                    <a:pt x="393" y="387"/>
                  </a:lnTo>
                  <a:lnTo>
                    <a:pt x="396" y="384"/>
                  </a:lnTo>
                  <a:lnTo>
                    <a:pt x="397" y="384"/>
                  </a:lnTo>
                  <a:lnTo>
                    <a:pt x="397" y="384"/>
                  </a:lnTo>
                  <a:lnTo>
                    <a:pt x="401" y="384"/>
                  </a:lnTo>
                  <a:lnTo>
                    <a:pt x="401" y="381"/>
                  </a:lnTo>
                  <a:lnTo>
                    <a:pt x="401" y="377"/>
                  </a:lnTo>
                  <a:lnTo>
                    <a:pt x="404" y="376"/>
                  </a:lnTo>
                  <a:lnTo>
                    <a:pt x="407" y="373"/>
                  </a:lnTo>
                  <a:lnTo>
                    <a:pt x="412" y="362"/>
                  </a:lnTo>
                  <a:lnTo>
                    <a:pt x="421" y="352"/>
                  </a:lnTo>
                  <a:lnTo>
                    <a:pt x="424" y="352"/>
                  </a:lnTo>
                  <a:lnTo>
                    <a:pt x="426" y="349"/>
                  </a:lnTo>
                  <a:lnTo>
                    <a:pt x="426" y="349"/>
                  </a:lnTo>
                  <a:lnTo>
                    <a:pt x="428" y="349"/>
                  </a:lnTo>
                  <a:lnTo>
                    <a:pt x="428" y="349"/>
                  </a:lnTo>
                  <a:lnTo>
                    <a:pt x="428" y="346"/>
                  </a:lnTo>
                  <a:lnTo>
                    <a:pt x="431" y="343"/>
                  </a:lnTo>
                  <a:lnTo>
                    <a:pt x="431" y="341"/>
                  </a:lnTo>
                  <a:lnTo>
                    <a:pt x="432" y="341"/>
                  </a:lnTo>
                  <a:lnTo>
                    <a:pt x="435" y="338"/>
                  </a:lnTo>
                  <a:lnTo>
                    <a:pt x="439" y="335"/>
                  </a:lnTo>
                  <a:lnTo>
                    <a:pt x="442" y="333"/>
                  </a:lnTo>
                  <a:lnTo>
                    <a:pt x="442" y="328"/>
                  </a:lnTo>
                  <a:lnTo>
                    <a:pt x="442" y="328"/>
                  </a:lnTo>
                  <a:lnTo>
                    <a:pt x="443" y="328"/>
                  </a:lnTo>
                  <a:lnTo>
                    <a:pt x="445" y="325"/>
                  </a:lnTo>
                  <a:lnTo>
                    <a:pt x="450" y="322"/>
                  </a:lnTo>
                  <a:lnTo>
                    <a:pt x="451" y="320"/>
                  </a:lnTo>
                  <a:lnTo>
                    <a:pt x="455" y="317"/>
                  </a:lnTo>
                  <a:lnTo>
                    <a:pt x="458" y="317"/>
                  </a:lnTo>
                  <a:lnTo>
                    <a:pt x="459" y="316"/>
                  </a:lnTo>
                  <a:lnTo>
                    <a:pt x="458" y="316"/>
                  </a:lnTo>
                  <a:lnTo>
                    <a:pt x="459" y="314"/>
                  </a:lnTo>
                  <a:lnTo>
                    <a:pt x="462" y="312"/>
                  </a:lnTo>
                  <a:lnTo>
                    <a:pt x="464" y="312"/>
                  </a:lnTo>
                  <a:lnTo>
                    <a:pt x="466" y="306"/>
                  </a:lnTo>
                  <a:lnTo>
                    <a:pt x="469" y="303"/>
                  </a:lnTo>
                  <a:lnTo>
                    <a:pt x="472" y="301"/>
                  </a:lnTo>
                  <a:lnTo>
                    <a:pt x="477" y="296"/>
                  </a:lnTo>
                  <a:lnTo>
                    <a:pt x="480" y="287"/>
                  </a:lnTo>
                  <a:lnTo>
                    <a:pt x="485" y="282"/>
                  </a:lnTo>
                  <a:lnTo>
                    <a:pt x="488" y="274"/>
                  </a:lnTo>
                  <a:lnTo>
                    <a:pt x="494" y="265"/>
                  </a:lnTo>
                  <a:lnTo>
                    <a:pt x="497" y="258"/>
                  </a:lnTo>
                  <a:lnTo>
                    <a:pt x="501" y="252"/>
                  </a:lnTo>
                  <a:lnTo>
                    <a:pt x="499" y="249"/>
                  </a:lnTo>
                  <a:lnTo>
                    <a:pt x="501" y="246"/>
                  </a:lnTo>
                  <a:lnTo>
                    <a:pt x="501" y="243"/>
                  </a:lnTo>
                  <a:lnTo>
                    <a:pt x="499" y="239"/>
                  </a:lnTo>
                  <a:lnTo>
                    <a:pt x="499" y="236"/>
                  </a:lnTo>
                  <a:lnTo>
                    <a:pt x="501" y="235"/>
                  </a:lnTo>
                  <a:lnTo>
                    <a:pt x="502" y="231"/>
                  </a:lnTo>
                  <a:lnTo>
                    <a:pt x="502" y="230"/>
                  </a:lnTo>
                  <a:lnTo>
                    <a:pt x="504" y="220"/>
                  </a:lnTo>
                  <a:lnTo>
                    <a:pt x="505" y="220"/>
                  </a:lnTo>
                  <a:lnTo>
                    <a:pt x="507" y="217"/>
                  </a:lnTo>
                  <a:lnTo>
                    <a:pt x="505" y="217"/>
                  </a:lnTo>
                  <a:lnTo>
                    <a:pt x="505" y="217"/>
                  </a:lnTo>
                  <a:lnTo>
                    <a:pt x="505" y="217"/>
                  </a:lnTo>
                  <a:lnTo>
                    <a:pt x="505" y="217"/>
                  </a:lnTo>
                  <a:lnTo>
                    <a:pt x="505" y="217"/>
                  </a:lnTo>
                  <a:lnTo>
                    <a:pt x="505" y="217"/>
                  </a:lnTo>
                  <a:lnTo>
                    <a:pt x="505" y="217"/>
                  </a:lnTo>
                  <a:lnTo>
                    <a:pt x="505" y="217"/>
                  </a:lnTo>
                  <a:lnTo>
                    <a:pt x="505" y="217"/>
                  </a:lnTo>
                  <a:close/>
                  <a:moveTo>
                    <a:pt x="283" y="358"/>
                  </a:moveTo>
                  <a:lnTo>
                    <a:pt x="283" y="355"/>
                  </a:lnTo>
                  <a:lnTo>
                    <a:pt x="283" y="355"/>
                  </a:lnTo>
                  <a:lnTo>
                    <a:pt x="283" y="357"/>
                  </a:lnTo>
                  <a:lnTo>
                    <a:pt x="283" y="358"/>
                  </a:lnTo>
                  <a:lnTo>
                    <a:pt x="283" y="358"/>
                  </a:lnTo>
                  <a:lnTo>
                    <a:pt x="283" y="358"/>
                  </a:lnTo>
                  <a:lnTo>
                    <a:pt x="283" y="358"/>
                  </a:lnTo>
                  <a:lnTo>
                    <a:pt x="283" y="358"/>
                  </a:lnTo>
                  <a:lnTo>
                    <a:pt x="283" y="358"/>
                  </a:lnTo>
                  <a:lnTo>
                    <a:pt x="283" y="358"/>
                  </a:lnTo>
                  <a:lnTo>
                    <a:pt x="283" y="358"/>
                  </a:lnTo>
                  <a:lnTo>
                    <a:pt x="283" y="358"/>
                  </a:lnTo>
                  <a:close/>
                  <a:moveTo>
                    <a:pt x="328" y="14"/>
                  </a:moveTo>
                  <a:lnTo>
                    <a:pt x="328" y="15"/>
                  </a:lnTo>
                  <a:lnTo>
                    <a:pt x="331" y="14"/>
                  </a:lnTo>
                  <a:lnTo>
                    <a:pt x="328" y="14"/>
                  </a:lnTo>
                  <a:lnTo>
                    <a:pt x="328" y="14"/>
                  </a:lnTo>
                  <a:lnTo>
                    <a:pt x="328" y="14"/>
                  </a:lnTo>
                  <a:lnTo>
                    <a:pt x="328" y="14"/>
                  </a:lnTo>
                  <a:lnTo>
                    <a:pt x="328" y="14"/>
                  </a:lnTo>
                  <a:lnTo>
                    <a:pt x="328" y="14"/>
                  </a:lnTo>
                  <a:lnTo>
                    <a:pt x="328" y="14"/>
                  </a:lnTo>
                  <a:lnTo>
                    <a:pt x="328" y="14"/>
                  </a:lnTo>
                  <a:lnTo>
                    <a:pt x="328" y="1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4" name="Freeform 251">
              <a:extLst>
                <a:ext uri="{FF2B5EF4-FFF2-40B4-BE49-F238E27FC236}">
                  <a16:creationId xmlns:a16="http://schemas.microsoft.com/office/drawing/2014/main" id="{D59320B6-90DB-6B51-768A-300499B8E444}"/>
                </a:ext>
              </a:extLst>
            </p:cNvPr>
            <p:cNvSpPr>
              <a:spLocks noEditPoints="1"/>
            </p:cNvSpPr>
            <p:nvPr/>
          </p:nvSpPr>
          <p:spPr bwMode="auto">
            <a:xfrm>
              <a:off x="9775297" y="4092401"/>
              <a:ext cx="435156" cy="309544"/>
            </a:xfrm>
            <a:custGeom>
              <a:avLst/>
              <a:gdLst>
                <a:gd name="T0" fmla="*/ 112 w 194"/>
                <a:gd name="T1" fmla="*/ 111 h 138"/>
                <a:gd name="T2" fmla="*/ 102 w 194"/>
                <a:gd name="T3" fmla="*/ 103 h 138"/>
                <a:gd name="T4" fmla="*/ 94 w 194"/>
                <a:gd name="T5" fmla="*/ 87 h 138"/>
                <a:gd name="T6" fmla="*/ 86 w 194"/>
                <a:gd name="T7" fmla="*/ 69 h 138"/>
                <a:gd name="T8" fmla="*/ 83 w 194"/>
                <a:gd name="T9" fmla="*/ 57 h 138"/>
                <a:gd name="T10" fmla="*/ 65 w 194"/>
                <a:gd name="T11" fmla="*/ 44 h 138"/>
                <a:gd name="T12" fmla="*/ 51 w 194"/>
                <a:gd name="T13" fmla="*/ 28 h 138"/>
                <a:gd name="T14" fmla="*/ 31 w 194"/>
                <a:gd name="T15" fmla="*/ 19 h 138"/>
                <a:gd name="T16" fmla="*/ 4 w 194"/>
                <a:gd name="T17" fmla="*/ 71 h 138"/>
                <a:gd name="T18" fmla="*/ 10 w 194"/>
                <a:gd name="T19" fmla="*/ 104 h 138"/>
                <a:gd name="T20" fmla="*/ 32 w 194"/>
                <a:gd name="T21" fmla="*/ 98 h 138"/>
                <a:gd name="T22" fmla="*/ 19 w 194"/>
                <a:gd name="T23" fmla="*/ 90 h 138"/>
                <a:gd name="T24" fmla="*/ 35 w 194"/>
                <a:gd name="T25" fmla="*/ 89 h 138"/>
                <a:gd name="T26" fmla="*/ 42 w 194"/>
                <a:gd name="T27" fmla="*/ 87 h 138"/>
                <a:gd name="T28" fmla="*/ 46 w 194"/>
                <a:gd name="T29" fmla="*/ 82 h 138"/>
                <a:gd name="T30" fmla="*/ 54 w 194"/>
                <a:gd name="T31" fmla="*/ 84 h 138"/>
                <a:gd name="T32" fmla="*/ 72 w 194"/>
                <a:gd name="T33" fmla="*/ 98 h 138"/>
                <a:gd name="T34" fmla="*/ 81 w 194"/>
                <a:gd name="T35" fmla="*/ 108 h 138"/>
                <a:gd name="T36" fmla="*/ 91 w 194"/>
                <a:gd name="T37" fmla="*/ 117 h 138"/>
                <a:gd name="T38" fmla="*/ 112 w 194"/>
                <a:gd name="T39" fmla="*/ 120 h 138"/>
                <a:gd name="T40" fmla="*/ 119 w 194"/>
                <a:gd name="T41" fmla="*/ 125 h 138"/>
                <a:gd name="T42" fmla="*/ 126 w 194"/>
                <a:gd name="T43" fmla="*/ 119 h 138"/>
                <a:gd name="T44" fmla="*/ 119 w 194"/>
                <a:gd name="T45" fmla="*/ 117 h 138"/>
                <a:gd name="T46" fmla="*/ 94 w 194"/>
                <a:gd name="T47" fmla="*/ 50 h 138"/>
                <a:gd name="T48" fmla="*/ 94 w 194"/>
                <a:gd name="T49" fmla="*/ 55 h 138"/>
                <a:gd name="T50" fmla="*/ 148 w 194"/>
                <a:gd name="T51" fmla="*/ 44 h 138"/>
                <a:gd name="T52" fmla="*/ 146 w 194"/>
                <a:gd name="T53" fmla="*/ 33 h 138"/>
                <a:gd name="T54" fmla="*/ 143 w 194"/>
                <a:gd name="T55" fmla="*/ 41 h 138"/>
                <a:gd name="T56" fmla="*/ 127 w 194"/>
                <a:gd name="T57" fmla="*/ 50 h 138"/>
                <a:gd name="T58" fmla="*/ 123 w 194"/>
                <a:gd name="T59" fmla="*/ 44 h 138"/>
                <a:gd name="T60" fmla="*/ 108 w 194"/>
                <a:gd name="T61" fmla="*/ 50 h 138"/>
                <a:gd name="T62" fmla="*/ 97 w 194"/>
                <a:gd name="T63" fmla="*/ 54 h 138"/>
                <a:gd name="T64" fmla="*/ 113 w 194"/>
                <a:gd name="T65" fmla="*/ 62 h 138"/>
                <a:gd name="T66" fmla="*/ 137 w 194"/>
                <a:gd name="T67" fmla="*/ 54 h 138"/>
                <a:gd name="T68" fmla="*/ 146 w 194"/>
                <a:gd name="T69" fmla="*/ 44 h 138"/>
                <a:gd name="T70" fmla="*/ 146 w 194"/>
                <a:gd name="T71" fmla="*/ 44 h 138"/>
                <a:gd name="T72" fmla="*/ 119 w 194"/>
                <a:gd name="T73" fmla="*/ 108 h 138"/>
                <a:gd name="T74" fmla="*/ 119 w 194"/>
                <a:gd name="T75" fmla="*/ 106 h 138"/>
                <a:gd name="T76" fmla="*/ 123 w 194"/>
                <a:gd name="T77" fmla="*/ 111 h 138"/>
                <a:gd name="T78" fmla="*/ 123 w 194"/>
                <a:gd name="T79" fmla="*/ 108 h 138"/>
                <a:gd name="T80" fmla="*/ 127 w 194"/>
                <a:gd name="T81" fmla="*/ 9 h 138"/>
                <a:gd name="T82" fmla="*/ 126 w 194"/>
                <a:gd name="T83" fmla="*/ 9 h 138"/>
                <a:gd name="T84" fmla="*/ 126 w 194"/>
                <a:gd name="T85" fmla="*/ 9 h 138"/>
                <a:gd name="T86" fmla="*/ 146 w 194"/>
                <a:gd name="T87" fmla="*/ 17 h 138"/>
                <a:gd name="T88" fmla="*/ 134 w 194"/>
                <a:gd name="T89" fmla="*/ 9 h 138"/>
                <a:gd name="T90" fmla="*/ 154 w 194"/>
                <a:gd name="T91" fmla="*/ 31 h 138"/>
                <a:gd name="T92" fmla="*/ 158 w 194"/>
                <a:gd name="T93" fmla="*/ 28 h 138"/>
                <a:gd name="T94" fmla="*/ 158 w 194"/>
                <a:gd name="T95" fmla="*/ 27 h 138"/>
                <a:gd name="T96" fmla="*/ 153 w 194"/>
                <a:gd name="T97" fmla="*/ 104 h 138"/>
                <a:gd name="T98" fmla="*/ 153 w 194"/>
                <a:gd name="T99" fmla="*/ 103 h 138"/>
                <a:gd name="T100" fmla="*/ 159 w 194"/>
                <a:gd name="T101" fmla="*/ 138 h 138"/>
                <a:gd name="T102" fmla="*/ 153 w 194"/>
                <a:gd name="T103" fmla="*/ 135 h 138"/>
                <a:gd name="T104" fmla="*/ 185 w 194"/>
                <a:gd name="T105" fmla="*/ 54 h 138"/>
                <a:gd name="T106" fmla="*/ 185 w 194"/>
                <a:gd name="T107" fmla="*/ 62 h 138"/>
                <a:gd name="T108" fmla="*/ 194 w 194"/>
                <a:gd name="T109" fmla="*/ 68 h 138"/>
                <a:gd name="T110" fmla="*/ 193 w 194"/>
                <a:gd name="T111" fmla="*/ 63 h 138"/>
                <a:gd name="T112" fmla="*/ 81 w 194"/>
                <a:gd name="T113" fmla="*/ 0 h 138"/>
                <a:gd name="T114" fmla="*/ 83 w 194"/>
                <a:gd name="T115"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38">
                  <a:moveTo>
                    <a:pt x="119" y="117"/>
                  </a:moveTo>
                  <a:lnTo>
                    <a:pt x="113" y="115"/>
                  </a:lnTo>
                  <a:lnTo>
                    <a:pt x="112" y="112"/>
                  </a:lnTo>
                  <a:lnTo>
                    <a:pt x="113" y="112"/>
                  </a:lnTo>
                  <a:lnTo>
                    <a:pt x="116" y="111"/>
                  </a:lnTo>
                  <a:lnTo>
                    <a:pt x="113" y="111"/>
                  </a:lnTo>
                  <a:lnTo>
                    <a:pt x="112" y="111"/>
                  </a:lnTo>
                  <a:lnTo>
                    <a:pt x="108" y="111"/>
                  </a:lnTo>
                  <a:lnTo>
                    <a:pt x="105" y="108"/>
                  </a:lnTo>
                  <a:lnTo>
                    <a:pt x="105" y="108"/>
                  </a:lnTo>
                  <a:lnTo>
                    <a:pt x="105" y="104"/>
                  </a:lnTo>
                  <a:lnTo>
                    <a:pt x="108" y="103"/>
                  </a:lnTo>
                  <a:lnTo>
                    <a:pt x="105" y="101"/>
                  </a:lnTo>
                  <a:lnTo>
                    <a:pt x="102" y="103"/>
                  </a:lnTo>
                  <a:lnTo>
                    <a:pt x="100" y="103"/>
                  </a:lnTo>
                  <a:lnTo>
                    <a:pt x="97" y="103"/>
                  </a:lnTo>
                  <a:lnTo>
                    <a:pt x="97" y="100"/>
                  </a:lnTo>
                  <a:lnTo>
                    <a:pt x="97" y="98"/>
                  </a:lnTo>
                  <a:lnTo>
                    <a:pt x="94" y="96"/>
                  </a:lnTo>
                  <a:lnTo>
                    <a:pt x="94" y="95"/>
                  </a:lnTo>
                  <a:lnTo>
                    <a:pt x="94" y="87"/>
                  </a:lnTo>
                  <a:lnTo>
                    <a:pt x="91" y="87"/>
                  </a:lnTo>
                  <a:lnTo>
                    <a:pt x="88" y="84"/>
                  </a:lnTo>
                  <a:lnTo>
                    <a:pt x="83" y="79"/>
                  </a:lnTo>
                  <a:lnTo>
                    <a:pt x="80" y="73"/>
                  </a:lnTo>
                  <a:lnTo>
                    <a:pt x="80" y="69"/>
                  </a:lnTo>
                  <a:lnTo>
                    <a:pt x="81" y="68"/>
                  </a:lnTo>
                  <a:lnTo>
                    <a:pt x="86" y="69"/>
                  </a:lnTo>
                  <a:lnTo>
                    <a:pt x="89" y="69"/>
                  </a:lnTo>
                  <a:lnTo>
                    <a:pt x="91" y="68"/>
                  </a:lnTo>
                  <a:lnTo>
                    <a:pt x="91" y="65"/>
                  </a:lnTo>
                  <a:lnTo>
                    <a:pt x="91" y="62"/>
                  </a:lnTo>
                  <a:lnTo>
                    <a:pt x="88" y="58"/>
                  </a:lnTo>
                  <a:lnTo>
                    <a:pt x="86" y="57"/>
                  </a:lnTo>
                  <a:lnTo>
                    <a:pt x="83" y="57"/>
                  </a:lnTo>
                  <a:lnTo>
                    <a:pt x="80" y="55"/>
                  </a:lnTo>
                  <a:lnTo>
                    <a:pt x="73" y="52"/>
                  </a:lnTo>
                  <a:lnTo>
                    <a:pt x="69" y="50"/>
                  </a:lnTo>
                  <a:lnTo>
                    <a:pt x="65" y="50"/>
                  </a:lnTo>
                  <a:lnTo>
                    <a:pt x="65" y="47"/>
                  </a:lnTo>
                  <a:lnTo>
                    <a:pt x="65" y="47"/>
                  </a:lnTo>
                  <a:lnTo>
                    <a:pt x="65" y="44"/>
                  </a:lnTo>
                  <a:lnTo>
                    <a:pt x="65" y="38"/>
                  </a:lnTo>
                  <a:lnTo>
                    <a:pt x="62" y="36"/>
                  </a:lnTo>
                  <a:lnTo>
                    <a:pt x="61" y="36"/>
                  </a:lnTo>
                  <a:lnTo>
                    <a:pt x="58" y="35"/>
                  </a:lnTo>
                  <a:lnTo>
                    <a:pt x="56" y="31"/>
                  </a:lnTo>
                  <a:lnTo>
                    <a:pt x="53" y="30"/>
                  </a:lnTo>
                  <a:lnTo>
                    <a:pt x="51" y="28"/>
                  </a:lnTo>
                  <a:lnTo>
                    <a:pt x="50" y="27"/>
                  </a:lnTo>
                  <a:lnTo>
                    <a:pt x="46" y="27"/>
                  </a:lnTo>
                  <a:lnTo>
                    <a:pt x="45" y="27"/>
                  </a:lnTo>
                  <a:lnTo>
                    <a:pt x="42" y="23"/>
                  </a:lnTo>
                  <a:lnTo>
                    <a:pt x="38" y="20"/>
                  </a:lnTo>
                  <a:lnTo>
                    <a:pt x="34" y="19"/>
                  </a:lnTo>
                  <a:lnTo>
                    <a:pt x="31" y="19"/>
                  </a:lnTo>
                  <a:lnTo>
                    <a:pt x="23" y="15"/>
                  </a:lnTo>
                  <a:lnTo>
                    <a:pt x="15" y="12"/>
                  </a:lnTo>
                  <a:lnTo>
                    <a:pt x="7" y="9"/>
                  </a:lnTo>
                  <a:lnTo>
                    <a:pt x="7" y="9"/>
                  </a:lnTo>
                  <a:lnTo>
                    <a:pt x="4" y="62"/>
                  </a:lnTo>
                  <a:lnTo>
                    <a:pt x="4" y="68"/>
                  </a:lnTo>
                  <a:lnTo>
                    <a:pt x="4" y="71"/>
                  </a:lnTo>
                  <a:lnTo>
                    <a:pt x="4" y="73"/>
                  </a:lnTo>
                  <a:lnTo>
                    <a:pt x="0" y="103"/>
                  </a:lnTo>
                  <a:lnTo>
                    <a:pt x="4" y="104"/>
                  </a:lnTo>
                  <a:lnTo>
                    <a:pt x="4" y="104"/>
                  </a:lnTo>
                  <a:lnTo>
                    <a:pt x="7" y="104"/>
                  </a:lnTo>
                  <a:lnTo>
                    <a:pt x="7" y="104"/>
                  </a:lnTo>
                  <a:lnTo>
                    <a:pt x="10" y="104"/>
                  </a:lnTo>
                  <a:lnTo>
                    <a:pt x="15" y="104"/>
                  </a:lnTo>
                  <a:lnTo>
                    <a:pt x="18" y="106"/>
                  </a:lnTo>
                  <a:lnTo>
                    <a:pt x="23" y="106"/>
                  </a:lnTo>
                  <a:lnTo>
                    <a:pt x="26" y="104"/>
                  </a:lnTo>
                  <a:lnTo>
                    <a:pt x="29" y="103"/>
                  </a:lnTo>
                  <a:lnTo>
                    <a:pt x="32" y="100"/>
                  </a:lnTo>
                  <a:lnTo>
                    <a:pt x="32" y="98"/>
                  </a:lnTo>
                  <a:lnTo>
                    <a:pt x="31" y="95"/>
                  </a:lnTo>
                  <a:lnTo>
                    <a:pt x="27" y="93"/>
                  </a:lnTo>
                  <a:lnTo>
                    <a:pt x="26" y="92"/>
                  </a:lnTo>
                  <a:lnTo>
                    <a:pt x="23" y="92"/>
                  </a:lnTo>
                  <a:lnTo>
                    <a:pt x="21" y="92"/>
                  </a:lnTo>
                  <a:lnTo>
                    <a:pt x="19" y="92"/>
                  </a:lnTo>
                  <a:lnTo>
                    <a:pt x="19" y="90"/>
                  </a:lnTo>
                  <a:lnTo>
                    <a:pt x="21" y="92"/>
                  </a:lnTo>
                  <a:lnTo>
                    <a:pt x="23" y="90"/>
                  </a:lnTo>
                  <a:lnTo>
                    <a:pt x="26" y="92"/>
                  </a:lnTo>
                  <a:lnTo>
                    <a:pt x="29" y="92"/>
                  </a:lnTo>
                  <a:lnTo>
                    <a:pt x="31" y="90"/>
                  </a:lnTo>
                  <a:lnTo>
                    <a:pt x="35" y="90"/>
                  </a:lnTo>
                  <a:lnTo>
                    <a:pt x="35" y="89"/>
                  </a:lnTo>
                  <a:lnTo>
                    <a:pt x="35" y="87"/>
                  </a:lnTo>
                  <a:lnTo>
                    <a:pt x="34" y="85"/>
                  </a:lnTo>
                  <a:lnTo>
                    <a:pt x="35" y="87"/>
                  </a:lnTo>
                  <a:lnTo>
                    <a:pt x="38" y="89"/>
                  </a:lnTo>
                  <a:lnTo>
                    <a:pt x="38" y="87"/>
                  </a:lnTo>
                  <a:lnTo>
                    <a:pt x="38" y="85"/>
                  </a:lnTo>
                  <a:lnTo>
                    <a:pt x="42" y="87"/>
                  </a:lnTo>
                  <a:lnTo>
                    <a:pt x="38" y="82"/>
                  </a:lnTo>
                  <a:lnTo>
                    <a:pt x="35" y="79"/>
                  </a:lnTo>
                  <a:lnTo>
                    <a:pt x="42" y="82"/>
                  </a:lnTo>
                  <a:lnTo>
                    <a:pt x="45" y="84"/>
                  </a:lnTo>
                  <a:lnTo>
                    <a:pt x="45" y="82"/>
                  </a:lnTo>
                  <a:lnTo>
                    <a:pt x="45" y="82"/>
                  </a:lnTo>
                  <a:lnTo>
                    <a:pt x="46" y="82"/>
                  </a:lnTo>
                  <a:lnTo>
                    <a:pt x="46" y="82"/>
                  </a:lnTo>
                  <a:lnTo>
                    <a:pt x="48" y="79"/>
                  </a:lnTo>
                  <a:lnTo>
                    <a:pt x="48" y="82"/>
                  </a:lnTo>
                  <a:lnTo>
                    <a:pt x="50" y="82"/>
                  </a:lnTo>
                  <a:lnTo>
                    <a:pt x="51" y="82"/>
                  </a:lnTo>
                  <a:lnTo>
                    <a:pt x="53" y="82"/>
                  </a:lnTo>
                  <a:lnTo>
                    <a:pt x="54" y="84"/>
                  </a:lnTo>
                  <a:lnTo>
                    <a:pt x="61" y="85"/>
                  </a:lnTo>
                  <a:lnTo>
                    <a:pt x="62" y="85"/>
                  </a:lnTo>
                  <a:lnTo>
                    <a:pt x="62" y="85"/>
                  </a:lnTo>
                  <a:lnTo>
                    <a:pt x="65" y="87"/>
                  </a:lnTo>
                  <a:lnTo>
                    <a:pt x="67" y="89"/>
                  </a:lnTo>
                  <a:lnTo>
                    <a:pt x="69" y="92"/>
                  </a:lnTo>
                  <a:lnTo>
                    <a:pt x="72" y="98"/>
                  </a:lnTo>
                  <a:lnTo>
                    <a:pt x="72" y="101"/>
                  </a:lnTo>
                  <a:lnTo>
                    <a:pt x="73" y="103"/>
                  </a:lnTo>
                  <a:lnTo>
                    <a:pt x="77" y="103"/>
                  </a:lnTo>
                  <a:lnTo>
                    <a:pt x="77" y="106"/>
                  </a:lnTo>
                  <a:lnTo>
                    <a:pt x="77" y="108"/>
                  </a:lnTo>
                  <a:lnTo>
                    <a:pt x="80" y="108"/>
                  </a:lnTo>
                  <a:lnTo>
                    <a:pt x="81" y="108"/>
                  </a:lnTo>
                  <a:lnTo>
                    <a:pt x="83" y="112"/>
                  </a:lnTo>
                  <a:lnTo>
                    <a:pt x="83" y="114"/>
                  </a:lnTo>
                  <a:lnTo>
                    <a:pt x="85" y="117"/>
                  </a:lnTo>
                  <a:lnTo>
                    <a:pt x="86" y="115"/>
                  </a:lnTo>
                  <a:lnTo>
                    <a:pt x="88" y="117"/>
                  </a:lnTo>
                  <a:lnTo>
                    <a:pt x="89" y="117"/>
                  </a:lnTo>
                  <a:lnTo>
                    <a:pt x="91" y="117"/>
                  </a:lnTo>
                  <a:lnTo>
                    <a:pt x="91" y="117"/>
                  </a:lnTo>
                  <a:lnTo>
                    <a:pt x="94" y="119"/>
                  </a:lnTo>
                  <a:lnTo>
                    <a:pt x="97" y="117"/>
                  </a:lnTo>
                  <a:lnTo>
                    <a:pt x="97" y="119"/>
                  </a:lnTo>
                  <a:lnTo>
                    <a:pt x="102" y="119"/>
                  </a:lnTo>
                  <a:lnTo>
                    <a:pt x="108" y="120"/>
                  </a:lnTo>
                  <a:lnTo>
                    <a:pt x="112" y="120"/>
                  </a:lnTo>
                  <a:lnTo>
                    <a:pt x="113" y="120"/>
                  </a:lnTo>
                  <a:lnTo>
                    <a:pt x="113" y="122"/>
                  </a:lnTo>
                  <a:lnTo>
                    <a:pt x="116" y="122"/>
                  </a:lnTo>
                  <a:lnTo>
                    <a:pt x="113" y="123"/>
                  </a:lnTo>
                  <a:lnTo>
                    <a:pt x="113" y="125"/>
                  </a:lnTo>
                  <a:lnTo>
                    <a:pt x="116" y="125"/>
                  </a:lnTo>
                  <a:lnTo>
                    <a:pt x="119" y="125"/>
                  </a:lnTo>
                  <a:lnTo>
                    <a:pt x="123" y="123"/>
                  </a:lnTo>
                  <a:lnTo>
                    <a:pt x="123" y="122"/>
                  </a:lnTo>
                  <a:lnTo>
                    <a:pt x="119" y="122"/>
                  </a:lnTo>
                  <a:lnTo>
                    <a:pt x="119" y="120"/>
                  </a:lnTo>
                  <a:lnTo>
                    <a:pt x="123" y="120"/>
                  </a:lnTo>
                  <a:lnTo>
                    <a:pt x="123" y="120"/>
                  </a:lnTo>
                  <a:lnTo>
                    <a:pt x="126" y="119"/>
                  </a:lnTo>
                  <a:lnTo>
                    <a:pt x="123" y="119"/>
                  </a:lnTo>
                  <a:lnTo>
                    <a:pt x="119" y="117"/>
                  </a:lnTo>
                  <a:lnTo>
                    <a:pt x="119" y="117"/>
                  </a:lnTo>
                  <a:lnTo>
                    <a:pt x="119" y="117"/>
                  </a:lnTo>
                  <a:lnTo>
                    <a:pt x="119" y="117"/>
                  </a:lnTo>
                  <a:lnTo>
                    <a:pt x="119" y="117"/>
                  </a:lnTo>
                  <a:lnTo>
                    <a:pt x="119" y="117"/>
                  </a:lnTo>
                  <a:lnTo>
                    <a:pt x="119" y="117"/>
                  </a:lnTo>
                  <a:lnTo>
                    <a:pt x="119" y="117"/>
                  </a:lnTo>
                  <a:lnTo>
                    <a:pt x="119" y="117"/>
                  </a:lnTo>
                  <a:close/>
                  <a:moveTo>
                    <a:pt x="94" y="55"/>
                  </a:moveTo>
                  <a:lnTo>
                    <a:pt x="94" y="54"/>
                  </a:lnTo>
                  <a:lnTo>
                    <a:pt x="94" y="52"/>
                  </a:lnTo>
                  <a:lnTo>
                    <a:pt x="94" y="50"/>
                  </a:lnTo>
                  <a:lnTo>
                    <a:pt x="91" y="50"/>
                  </a:lnTo>
                  <a:lnTo>
                    <a:pt x="91" y="50"/>
                  </a:lnTo>
                  <a:lnTo>
                    <a:pt x="91" y="52"/>
                  </a:lnTo>
                  <a:lnTo>
                    <a:pt x="94" y="55"/>
                  </a:lnTo>
                  <a:lnTo>
                    <a:pt x="94" y="55"/>
                  </a:lnTo>
                  <a:lnTo>
                    <a:pt x="94" y="55"/>
                  </a:lnTo>
                  <a:lnTo>
                    <a:pt x="94" y="55"/>
                  </a:lnTo>
                  <a:lnTo>
                    <a:pt x="94" y="55"/>
                  </a:lnTo>
                  <a:lnTo>
                    <a:pt x="94" y="55"/>
                  </a:lnTo>
                  <a:lnTo>
                    <a:pt x="94" y="55"/>
                  </a:lnTo>
                  <a:lnTo>
                    <a:pt x="94" y="55"/>
                  </a:lnTo>
                  <a:lnTo>
                    <a:pt x="94" y="55"/>
                  </a:lnTo>
                  <a:close/>
                  <a:moveTo>
                    <a:pt x="146" y="44"/>
                  </a:moveTo>
                  <a:lnTo>
                    <a:pt x="148" y="44"/>
                  </a:lnTo>
                  <a:lnTo>
                    <a:pt x="150" y="41"/>
                  </a:lnTo>
                  <a:lnTo>
                    <a:pt x="151" y="38"/>
                  </a:lnTo>
                  <a:lnTo>
                    <a:pt x="151" y="36"/>
                  </a:lnTo>
                  <a:lnTo>
                    <a:pt x="150" y="35"/>
                  </a:lnTo>
                  <a:lnTo>
                    <a:pt x="148" y="33"/>
                  </a:lnTo>
                  <a:lnTo>
                    <a:pt x="150" y="31"/>
                  </a:lnTo>
                  <a:lnTo>
                    <a:pt x="146" y="33"/>
                  </a:lnTo>
                  <a:lnTo>
                    <a:pt x="146" y="35"/>
                  </a:lnTo>
                  <a:lnTo>
                    <a:pt x="143" y="33"/>
                  </a:lnTo>
                  <a:lnTo>
                    <a:pt x="143" y="31"/>
                  </a:lnTo>
                  <a:lnTo>
                    <a:pt x="140" y="33"/>
                  </a:lnTo>
                  <a:lnTo>
                    <a:pt x="140" y="35"/>
                  </a:lnTo>
                  <a:lnTo>
                    <a:pt x="140" y="38"/>
                  </a:lnTo>
                  <a:lnTo>
                    <a:pt x="143" y="41"/>
                  </a:lnTo>
                  <a:lnTo>
                    <a:pt x="140" y="41"/>
                  </a:lnTo>
                  <a:lnTo>
                    <a:pt x="140" y="44"/>
                  </a:lnTo>
                  <a:lnTo>
                    <a:pt x="137" y="44"/>
                  </a:lnTo>
                  <a:lnTo>
                    <a:pt x="134" y="47"/>
                  </a:lnTo>
                  <a:lnTo>
                    <a:pt x="132" y="50"/>
                  </a:lnTo>
                  <a:lnTo>
                    <a:pt x="129" y="50"/>
                  </a:lnTo>
                  <a:lnTo>
                    <a:pt x="127" y="50"/>
                  </a:lnTo>
                  <a:lnTo>
                    <a:pt x="126" y="50"/>
                  </a:lnTo>
                  <a:lnTo>
                    <a:pt x="126" y="50"/>
                  </a:lnTo>
                  <a:lnTo>
                    <a:pt x="123" y="50"/>
                  </a:lnTo>
                  <a:lnTo>
                    <a:pt x="123" y="50"/>
                  </a:lnTo>
                  <a:lnTo>
                    <a:pt x="123" y="47"/>
                  </a:lnTo>
                  <a:lnTo>
                    <a:pt x="123" y="47"/>
                  </a:lnTo>
                  <a:lnTo>
                    <a:pt x="123" y="44"/>
                  </a:lnTo>
                  <a:lnTo>
                    <a:pt x="123" y="44"/>
                  </a:lnTo>
                  <a:lnTo>
                    <a:pt x="119" y="47"/>
                  </a:lnTo>
                  <a:lnTo>
                    <a:pt x="119" y="50"/>
                  </a:lnTo>
                  <a:lnTo>
                    <a:pt x="119" y="50"/>
                  </a:lnTo>
                  <a:lnTo>
                    <a:pt x="116" y="50"/>
                  </a:lnTo>
                  <a:lnTo>
                    <a:pt x="112" y="52"/>
                  </a:lnTo>
                  <a:lnTo>
                    <a:pt x="108" y="50"/>
                  </a:lnTo>
                  <a:lnTo>
                    <a:pt x="105" y="50"/>
                  </a:lnTo>
                  <a:lnTo>
                    <a:pt x="104" y="50"/>
                  </a:lnTo>
                  <a:lnTo>
                    <a:pt x="102" y="50"/>
                  </a:lnTo>
                  <a:lnTo>
                    <a:pt x="100" y="50"/>
                  </a:lnTo>
                  <a:lnTo>
                    <a:pt x="97" y="50"/>
                  </a:lnTo>
                  <a:lnTo>
                    <a:pt x="97" y="52"/>
                  </a:lnTo>
                  <a:lnTo>
                    <a:pt x="97" y="54"/>
                  </a:lnTo>
                  <a:lnTo>
                    <a:pt x="100" y="55"/>
                  </a:lnTo>
                  <a:lnTo>
                    <a:pt x="102" y="55"/>
                  </a:lnTo>
                  <a:lnTo>
                    <a:pt x="104" y="57"/>
                  </a:lnTo>
                  <a:lnTo>
                    <a:pt x="108" y="60"/>
                  </a:lnTo>
                  <a:lnTo>
                    <a:pt x="112" y="58"/>
                  </a:lnTo>
                  <a:lnTo>
                    <a:pt x="113" y="60"/>
                  </a:lnTo>
                  <a:lnTo>
                    <a:pt x="113" y="62"/>
                  </a:lnTo>
                  <a:lnTo>
                    <a:pt x="116" y="62"/>
                  </a:lnTo>
                  <a:lnTo>
                    <a:pt x="126" y="62"/>
                  </a:lnTo>
                  <a:lnTo>
                    <a:pt x="127" y="60"/>
                  </a:lnTo>
                  <a:lnTo>
                    <a:pt x="132" y="58"/>
                  </a:lnTo>
                  <a:lnTo>
                    <a:pt x="135" y="57"/>
                  </a:lnTo>
                  <a:lnTo>
                    <a:pt x="137" y="55"/>
                  </a:lnTo>
                  <a:lnTo>
                    <a:pt x="137" y="54"/>
                  </a:lnTo>
                  <a:lnTo>
                    <a:pt x="137" y="50"/>
                  </a:lnTo>
                  <a:lnTo>
                    <a:pt x="143" y="50"/>
                  </a:lnTo>
                  <a:lnTo>
                    <a:pt x="146" y="50"/>
                  </a:lnTo>
                  <a:lnTo>
                    <a:pt x="146" y="47"/>
                  </a:lnTo>
                  <a:lnTo>
                    <a:pt x="146" y="44"/>
                  </a:lnTo>
                  <a:lnTo>
                    <a:pt x="146" y="44"/>
                  </a:lnTo>
                  <a:lnTo>
                    <a:pt x="146" y="44"/>
                  </a:lnTo>
                  <a:lnTo>
                    <a:pt x="146" y="44"/>
                  </a:lnTo>
                  <a:lnTo>
                    <a:pt x="146" y="44"/>
                  </a:lnTo>
                  <a:lnTo>
                    <a:pt x="146" y="44"/>
                  </a:lnTo>
                  <a:lnTo>
                    <a:pt x="146" y="44"/>
                  </a:lnTo>
                  <a:lnTo>
                    <a:pt x="146" y="44"/>
                  </a:lnTo>
                  <a:lnTo>
                    <a:pt x="146" y="44"/>
                  </a:lnTo>
                  <a:lnTo>
                    <a:pt x="146" y="44"/>
                  </a:lnTo>
                  <a:lnTo>
                    <a:pt x="146" y="44"/>
                  </a:lnTo>
                  <a:close/>
                  <a:moveTo>
                    <a:pt x="119" y="106"/>
                  </a:moveTo>
                  <a:lnTo>
                    <a:pt x="119" y="104"/>
                  </a:lnTo>
                  <a:lnTo>
                    <a:pt x="119" y="104"/>
                  </a:lnTo>
                  <a:lnTo>
                    <a:pt x="116" y="106"/>
                  </a:lnTo>
                  <a:lnTo>
                    <a:pt x="116" y="108"/>
                  </a:lnTo>
                  <a:lnTo>
                    <a:pt x="119" y="108"/>
                  </a:lnTo>
                  <a:lnTo>
                    <a:pt x="119" y="106"/>
                  </a:lnTo>
                  <a:lnTo>
                    <a:pt x="119" y="106"/>
                  </a:lnTo>
                  <a:lnTo>
                    <a:pt x="119" y="106"/>
                  </a:lnTo>
                  <a:lnTo>
                    <a:pt x="119" y="106"/>
                  </a:lnTo>
                  <a:lnTo>
                    <a:pt x="119" y="106"/>
                  </a:lnTo>
                  <a:lnTo>
                    <a:pt x="119" y="106"/>
                  </a:lnTo>
                  <a:lnTo>
                    <a:pt x="119" y="106"/>
                  </a:lnTo>
                  <a:lnTo>
                    <a:pt x="119" y="106"/>
                  </a:lnTo>
                  <a:lnTo>
                    <a:pt x="119" y="106"/>
                  </a:lnTo>
                  <a:close/>
                  <a:moveTo>
                    <a:pt x="123" y="108"/>
                  </a:moveTo>
                  <a:lnTo>
                    <a:pt x="123" y="108"/>
                  </a:lnTo>
                  <a:lnTo>
                    <a:pt x="123" y="108"/>
                  </a:lnTo>
                  <a:lnTo>
                    <a:pt x="123" y="111"/>
                  </a:lnTo>
                  <a:lnTo>
                    <a:pt x="123" y="111"/>
                  </a:lnTo>
                  <a:lnTo>
                    <a:pt x="126" y="111"/>
                  </a:lnTo>
                  <a:lnTo>
                    <a:pt x="127" y="111"/>
                  </a:lnTo>
                  <a:lnTo>
                    <a:pt x="126" y="108"/>
                  </a:lnTo>
                  <a:lnTo>
                    <a:pt x="123" y="108"/>
                  </a:lnTo>
                  <a:lnTo>
                    <a:pt x="123" y="108"/>
                  </a:lnTo>
                  <a:lnTo>
                    <a:pt x="123" y="108"/>
                  </a:lnTo>
                  <a:lnTo>
                    <a:pt x="123" y="108"/>
                  </a:lnTo>
                  <a:lnTo>
                    <a:pt x="123" y="108"/>
                  </a:lnTo>
                  <a:lnTo>
                    <a:pt x="123" y="108"/>
                  </a:lnTo>
                  <a:lnTo>
                    <a:pt x="123" y="108"/>
                  </a:lnTo>
                  <a:lnTo>
                    <a:pt x="123" y="108"/>
                  </a:lnTo>
                  <a:lnTo>
                    <a:pt x="123" y="108"/>
                  </a:lnTo>
                  <a:close/>
                  <a:moveTo>
                    <a:pt x="126" y="9"/>
                  </a:moveTo>
                  <a:lnTo>
                    <a:pt x="127" y="9"/>
                  </a:lnTo>
                  <a:lnTo>
                    <a:pt x="127" y="9"/>
                  </a:lnTo>
                  <a:lnTo>
                    <a:pt x="127" y="6"/>
                  </a:lnTo>
                  <a:lnTo>
                    <a:pt x="126" y="6"/>
                  </a:lnTo>
                  <a:lnTo>
                    <a:pt x="123" y="6"/>
                  </a:lnTo>
                  <a:lnTo>
                    <a:pt x="123" y="6"/>
                  </a:lnTo>
                  <a:lnTo>
                    <a:pt x="126" y="9"/>
                  </a:lnTo>
                  <a:lnTo>
                    <a:pt x="126" y="9"/>
                  </a:lnTo>
                  <a:lnTo>
                    <a:pt x="126" y="9"/>
                  </a:lnTo>
                  <a:lnTo>
                    <a:pt x="126" y="9"/>
                  </a:lnTo>
                  <a:lnTo>
                    <a:pt x="126" y="9"/>
                  </a:lnTo>
                  <a:lnTo>
                    <a:pt x="126" y="9"/>
                  </a:lnTo>
                  <a:lnTo>
                    <a:pt x="126" y="9"/>
                  </a:lnTo>
                  <a:lnTo>
                    <a:pt x="126" y="9"/>
                  </a:lnTo>
                  <a:lnTo>
                    <a:pt x="126" y="9"/>
                  </a:lnTo>
                  <a:lnTo>
                    <a:pt x="126" y="9"/>
                  </a:lnTo>
                  <a:close/>
                  <a:moveTo>
                    <a:pt x="158" y="27"/>
                  </a:moveTo>
                  <a:lnTo>
                    <a:pt x="154" y="27"/>
                  </a:lnTo>
                  <a:lnTo>
                    <a:pt x="153" y="25"/>
                  </a:lnTo>
                  <a:lnTo>
                    <a:pt x="151" y="22"/>
                  </a:lnTo>
                  <a:lnTo>
                    <a:pt x="148" y="19"/>
                  </a:lnTo>
                  <a:lnTo>
                    <a:pt x="146" y="17"/>
                  </a:lnTo>
                  <a:lnTo>
                    <a:pt x="143" y="15"/>
                  </a:lnTo>
                  <a:lnTo>
                    <a:pt x="140" y="12"/>
                  </a:lnTo>
                  <a:lnTo>
                    <a:pt x="137" y="12"/>
                  </a:lnTo>
                  <a:lnTo>
                    <a:pt x="137" y="12"/>
                  </a:lnTo>
                  <a:lnTo>
                    <a:pt x="135" y="9"/>
                  </a:lnTo>
                  <a:lnTo>
                    <a:pt x="134" y="9"/>
                  </a:lnTo>
                  <a:lnTo>
                    <a:pt x="134" y="9"/>
                  </a:lnTo>
                  <a:lnTo>
                    <a:pt x="132" y="9"/>
                  </a:lnTo>
                  <a:lnTo>
                    <a:pt x="137" y="12"/>
                  </a:lnTo>
                  <a:lnTo>
                    <a:pt x="140" y="15"/>
                  </a:lnTo>
                  <a:lnTo>
                    <a:pt x="146" y="20"/>
                  </a:lnTo>
                  <a:lnTo>
                    <a:pt x="150" y="22"/>
                  </a:lnTo>
                  <a:lnTo>
                    <a:pt x="153" y="27"/>
                  </a:lnTo>
                  <a:lnTo>
                    <a:pt x="154" y="31"/>
                  </a:lnTo>
                  <a:lnTo>
                    <a:pt x="154" y="33"/>
                  </a:lnTo>
                  <a:lnTo>
                    <a:pt x="154" y="36"/>
                  </a:lnTo>
                  <a:lnTo>
                    <a:pt x="156" y="38"/>
                  </a:lnTo>
                  <a:lnTo>
                    <a:pt x="158" y="41"/>
                  </a:lnTo>
                  <a:lnTo>
                    <a:pt x="159" y="38"/>
                  </a:lnTo>
                  <a:lnTo>
                    <a:pt x="161" y="33"/>
                  </a:lnTo>
                  <a:lnTo>
                    <a:pt x="158" y="28"/>
                  </a:lnTo>
                  <a:lnTo>
                    <a:pt x="158" y="27"/>
                  </a:lnTo>
                  <a:lnTo>
                    <a:pt x="158" y="27"/>
                  </a:lnTo>
                  <a:lnTo>
                    <a:pt x="158" y="27"/>
                  </a:lnTo>
                  <a:lnTo>
                    <a:pt x="158" y="27"/>
                  </a:lnTo>
                  <a:lnTo>
                    <a:pt x="158" y="27"/>
                  </a:lnTo>
                  <a:lnTo>
                    <a:pt x="158" y="27"/>
                  </a:lnTo>
                  <a:lnTo>
                    <a:pt x="158" y="27"/>
                  </a:lnTo>
                  <a:lnTo>
                    <a:pt x="158" y="27"/>
                  </a:lnTo>
                  <a:lnTo>
                    <a:pt x="158" y="27"/>
                  </a:lnTo>
                  <a:close/>
                  <a:moveTo>
                    <a:pt x="153" y="103"/>
                  </a:moveTo>
                  <a:lnTo>
                    <a:pt x="150" y="101"/>
                  </a:lnTo>
                  <a:lnTo>
                    <a:pt x="148" y="101"/>
                  </a:lnTo>
                  <a:lnTo>
                    <a:pt x="151" y="104"/>
                  </a:lnTo>
                  <a:lnTo>
                    <a:pt x="153" y="104"/>
                  </a:lnTo>
                  <a:lnTo>
                    <a:pt x="153" y="103"/>
                  </a:lnTo>
                  <a:lnTo>
                    <a:pt x="153" y="103"/>
                  </a:lnTo>
                  <a:lnTo>
                    <a:pt x="153" y="103"/>
                  </a:lnTo>
                  <a:lnTo>
                    <a:pt x="153" y="103"/>
                  </a:lnTo>
                  <a:lnTo>
                    <a:pt x="153" y="103"/>
                  </a:lnTo>
                  <a:lnTo>
                    <a:pt x="153" y="103"/>
                  </a:lnTo>
                  <a:lnTo>
                    <a:pt x="153" y="103"/>
                  </a:lnTo>
                  <a:lnTo>
                    <a:pt x="153" y="103"/>
                  </a:lnTo>
                  <a:lnTo>
                    <a:pt x="153" y="103"/>
                  </a:lnTo>
                  <a:close/>
                  <a:moveTo>
                    <a:pt x="153" y="135"/>
                  </a:moveTo>
                  <a:lnTo>
                    <a:pt x="154" y="138"/>
                  </a:lnTo>
                  <a:lnTo>
                    <a:pt x="156" y="138"/>
                  </a:lnTo>
                  <a:lnTo>
                    <a:pt x="158" y="138"/>
                  </a:lnTo>
                  <a:lnTo>
                    <a:pt x="159" y="138"/>
                  </a:lnTo>
                  <a:lnTo>
                    <a:pt x="156" y="135"/>
                  </a:lnTo>
                  <a:lnTo>
                    <a:pt x="153" y="135"/>
                  </a:lnTo>
                  <a:lnTo>
                    <a:pt x="153" y="135"/>
                  </a:lnTo>
                  <a:lnTo>
                    <a:pt x="153" y="135"/>
                  </a:lnTo>
                  <a:lnTo>
                    <a:pt x="153" y="135"/>
                  </a:lnTo>
                  <a:lnTo>
                    <a:pt x="153" y="135"/>
                  </a:lnTo>
                  <a:lnTo>
                    <a:pt x="153" y="135"/>
                  </a:lnTo>
                  <a:lnTo>
                    <a:pt x="153" y="135"/>
                  </a:lnTo>
                  <a:lnTo>
                    <a:pt x="153" y="135"/>
                  </a:lnTo>
                  <a:lnTo>
                    <a:pt x="153" y="135"/>
                  </a:lnTo>
                  <a:close/>
                  <a:moveTo>
                    <a:pt x="193" y="63"/>
                  </a:moveTo>
                  <a:lnTo>
                    <a:pt x="191" y="60"/>
                  </a:lnTo>
                  <a:lnTo>
                    <a:pt x="188" y="58"/>
                  </a:lnTo>
                  <a:lnTo>
                    <a:pt x="185" y="54"/>
                  </a:lnTo>
                  <a:lnTo>
                    <a:pt x="181" y="50"/>
                  </a:lnTo>
                  <a:lnTo>
                    <a:pt x="181" y="50"/>
                  </a:lnTo>
                  <a:lnTo>
                    <a:pt x="181" y="52"/>
                  </a:lnTo>
                  <a:lnTo>
                    <a:pt x="181" y="55"/>
                  </a:lnTo>
                  <a:lnTo>
                    <a:pt x="181" y="58"/>
                  </a:lnTo>
                  <a:lnTo>
                    <a:pt x="183" y="62"/>
                  </a:lnTo>
                  <a:lnTo>
                    <a:pt x="185" y="62"/>
                  </a:lnTo>
                  <a:lnTo>
                    <a:pt x="185" y="63"/>
                  </a:lnTo>
                  <a:lnTo>
                    <a:pt x="185" y="66"/>
                  </a:lnTo>
                  <a:lnTo>
                    <a:pt x="186" y="69"/>
                  </a:lnTo>
                  <a:lnTo>
                    <a:pt x="189" y="69"/>
                  </a:lnTo>
                  <a:lnTo>
                    <a:pt x="191" y="71"/>
                  </a:lnTo>
                  <a:lnTo>
                    <a:pt x="194" y="69"/>
                  </a:lnTo>
                  <a:lnTo>
                    <a:pt x="194" y="68"/>
                  </a:lnTo>
                  <a:lnTo>
                    <a:pt x="193" y="63"/>
                  </a:lnTo>
                  <a:lnTo>
                    <a:pt x="193" y="63"/>
                  </a:lnTo>
                  <a:lnTo>
                    <a:pt x="193" y="63"/>
                  </a:lnTo>
                  <a:lnTo>
                    <a:pt x="193" y="63"/>
                  </a:lnTo>
                  <a:lnTo>
                    <a:pt x="193" y="63"/>
                  </a:lnTo>
                  <a:lnTo>
                    <a:pt x="193" y="63"/>
                  </a:lnTo>
                  <a:lnTo>
                    <a:pt x="193" y="63"/>
                  </a:lnTo>
                  <a:lnTo>
                    <a:pt x="193" y="63"/>
                  </a:lnTo>
                  <a:lnTo>
                    <a:pt x="193" y="63"/>
                  </a:lnTo>
                  <a:close/>
                  <a:moveTo>
                    <a:pt x="83" y="3"/>
                  </a:moveTo>
                  <a:lnTo>
                    <a:pt x="86" y="3"/>
                  </a:lnTo>
                  <a:lnTo>
                    <a:pt x="89" y="1"/>
                  </a:lnTo>
                  <a:lnTo>
                    <a:pt x="85" y="0"/>
                  </a:lnTo>
                  <a:lnTo>
                    <a:pt x="81" y="0"/>
                  </a:lnTo>
                  <a:lnTo>
                    <a:pt x="78" y="1"/>
                  </a:lnTo>
                  <a:lnTo>
                    <a:pt x="78" y="3"/>
                  </a:lnTo>
                  <a:lnTo>
                    <a:pt x="78" y="4"/>
                  </a:lnTo>
                  <a:lnTo>
                    <a:pt x="80" y="3"/>
                  </a:lnTo>
                  <a:lnTo>
                    <a:pt x="83" y="3"/>
                  </a:lnTo>
                  <a:lnTo>
                    <a:pt x="83" y="3"/>
                  </a:lnTo>
                  <a:lnTo>
                    <a:pt x="83" y="3"/>
                  </a:lnTo>
                  <a:lnTo>
                    <a:pt x="83" y="3"/>
                  </a:lnTo>
                  <a:lnTo>
                    <a:pt x="83" y="3"/>
                  </a:lnTo>
                  <a:lnTo>
                    <a:pt x="83" y="3"/>
                  </a:lnTo>
                  <a:lnTo>
                    <a:pt x="83" y="3"/>
                  </a:lnTo>
                  <a:lnTo>
                    <a:pt x="83" y="3"/>
                  </a:lnTo>
                  <a:lnTo>
                    <a:pt x="83" y="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5" name="Freeform 259">
              <a:extLst>
                <a:ext uri="{FF2B5EF4-FFF2-40B4-BE49-F238E27FC236}">
                  <a16:creationId xmlns:a16="http://schemas.microsoft.com/office/drawing/2014/main" id="{BC111FA9-6271-1D1C-367F-7C528904502A}"/>
                </a:ext>
              </a:extLst>
            </p:cNvPr>
            <p:cNvSpPr>
              <a:spLocks noEditPoints="1"/>
            </p:cNvSpPr>
            <p:nvPr/>
          </p:nvSpPr>
          <p:spPr bwMode="auto">
            <a:xfrm>
              <a:off x="8436183" y="3796316"/>
              <a:ext cx="1357058" cy="565254"/>
            </a:xfrm>
            <a:custGeom>
              <a:avLst/>
              <a:gdLst>
                <a:gd name="T0" fmla="*/ 54 w 605"/>
                <a:gd name="T1" fmla="*/ 86 h 252"/>
                <a:gd name="T2" fmla="*/ 83 w 605"/>
                <a:gd name="T3" fmla="*/ 138 h 252"/>
                <a:gd name="T4" fmla="*/ 145 w 605"/>
                <a:gd name="T5" fmla="*/ 108 h 252"/>
                <a:gd name="T6" fmla="*/ 270 w 605"/>
                <a:gd name="T7" fmla="*/ 227 h 252"/>
                <a:gd name="T8" fmla="*/ 161 w 605"/>
                <a:gd name="T9" fmla="*/ 149 h 252"/>
                <a:gd name="T10" fmla="*/ 129 w 605"/>
                <a:gd name="T11" fmla="*/ 108 h 252"/>
                <a:gd name="T12" fmla="*/ 88 w 605"/>
                <a:gd name="T13" fmla="*/ 68 h 252"/>
                <a:gd name="T14" fmla="*/ 26 w 605"/>
                <a:gd name="T15" fmla="*/ 36 h 252"/>
                <a:gd name="T16" fmla="*/ 88 w 605"/>
                <a:gd name="T17" fmla="*/ 120 h 252"/>
                <a:gd name="T18" fmla="*/ 154 w 605"/>
                <a:gd name="T19" fmla="*/ 187 h 252"/>
                <a:gd name="T20" fmla="*/ 296 w 605"/>
                <a:gd name="T21" fmla="*/ 224 h 252"/>
                <a:gd name="T22" fmla="*/ 283 w 605"/>
                <a:gd name="T23" fmla="*/ 227 h 252"/>
                <a:gd name="T24" fmla="*/ 240 w 605"/>
                <a:gd name="T25" fmla="*/ 205 h 252"/>
                <a:gd name="T26" fmla="*/ 175 w 605"/>
                <a:gd name="T27" fmla="*/ 190 h 252"/>
                <a:gd name="T28" fmla="*/ 202 w 605"/>
                <a:gd name="T29" fmla="*/ 214 h 252"/>
                <a:gd name="T30" fmla="*/ 161 w 605"/>
                <a:gd name="T31" fmla="*/ 144 h 252"/>
                <a:gd name="T32" fmla="*/ 200 w 605"/>
                <a:gd name="T33" fmla="*/ 103 h 252"/>
                <a:gd name="T34" fmla="*/ 221 w 605"/>
                <a:gd name="T35" fmla="*/ 147 h 252"/>
                <a:gd name="T36" fmla="*/ 267 w 605"/>
                <a:gd name="T37" fmla="*/ 162 h 252"/>
                <a:gd name="T38" fmla="*/ 297 w 605"/>
                <a:gd name="T39" fmla="*/ 124 h 252"/>
                <a:gd name="T40" fmla="*/ 312 w 605"/>
                <a:gd name="T41" fmla="*/ 74 h 252"/>
                <a:gd name="T42" fmla="*/ 293 w 605"/>
                <a:gd name="T43" fmla="*/ 40 h 252"/>
                <a:gd name="T44" fmla="*/ 240 w 605"/>
                <a:gd name="T45" fmla="*/ 82 h 252"/>
                <a:gd name="T46" fmla="*/ 200 w 605"/>
                <a:gd name="T47" fmla="*/ 103 h 252"/>
                <a:gd name="T48" fmla="*/ 445 w 605"/>
                <a:gd name="T49" fmla="*/ 67 h 252"/>
                <a:gd name="T50" fmla="*/ 450 w 605"/>
                <a:gd name="T51" fmla="*/ 98 h 252"/>
                <a:gd name="T52" fmla="*/ 437 w 605"/>
                <a:gd name="T53" fmla="*/ 92 h 252"/>
                <a:gd name="T54" fmla="*/ 423 w 605"/>
                <a:gd name="T55" fmla="*/ 44 h 252"/>
                <a:gd name="T56" fmla="*/ 472 w 605"/>
                <a:gd name="T57" fmla="*/ 109 h 252"/>
                <a:gd name="T58" fmla="*/ 467 w 605"/>
                <a:gd name="T59" fmla="*/ 133 h 252"/>
                <a:gd name="T60" fmla="*/ 245 w 605"/>
                <a:gd name="T61" fmla="*/ 203 h 252"/>
                <a:gd name="T62" fmla="*/ 202 w 605"/>
                <a:gd name="T63" fmla="*/ 120 h 252"/>
                <a:gd name="T64" fmla="*/ 424 w 605"/>
                <a:gd name="T65" fmla="*/ 40 h 252"/>
                <a:gd name="T66" fmla="*/ 375 w 605"/>
                <a:gd name="T67" fmla="*/ 221 h 252"/>
                <a:gd name="T68" fmla="*/ 440 w 605"/>
                <a:gd name="T69" fmla="*/ 128 h 252"/>
                <a:gd name="T70" fmla="*/ 335 w 605"/>
                <a:gd name="T71" fmla="*/ 98 h 252"/>
                <a:gd name="T72" fmla="*/ 329 w 605"/>
                <a:gd name="T73" fmla="*/ 173 h 252"/>
                <a:gd name="T74" fmla="*/ 356 w 605"/>
                <a:gd name="T75" fmla="*/ 167 h 252"/>
                <a:gd name="T76" fmla="*/ 361 w 605"/>
                <a:gd name="T77" fmla="*/ 138 h 252"/>
                <a:gd name="T78" fmla="*/ 350 w 605"/>
                <a:gd name="T79" fmla="*/ 124 h 252"/>
                <a:gd name="T80" fmla="*/ 404 w 605"/>
                <a:gd name="T81" fmla="*/ 79 h 252"/>
                <a:gd name="T82" fmla="*/ 447 w 605"/>
                <a:gd name="T83" fmla="*/ 152 h 252"/>
                <a:gd name="T84" fmla="*/ 418 w 605"/>
                <a:gd name="T85" fmla="*/ 214 h 252"/>
                <a:gd name="T86" fmla="*/ 434 w 605"/>
                <a:gd name="T87" fmla="*/ 114 h 252"/>
                <a:gd name="T88" fmla="*/ 483 w 605"/>
                <a:gd name="T89" fmla="*/ 211 h 252"/>
                <a:gd name="T90" fmla="*/ 562 w 605"/>
                <a:gd name="T91" fmla="*/ 214 h 252"/>
                <a:gd name="T92" fmla="*/ 559 w 605"/>
                <a:gd name="T93" fmla="*/ 128 h 252"/>
                <a:gd name="T94" fmla="*/ 508 w 605"/>
                <a:gd name="T95" fmla="*/ 114 h 252"/>
                <a:gd name="T96" fmla="*/ 516 w 605"/>
                <a:gd name="T97" fmla="*/ 136 h 252"/>
                <a:gd name="T98" fmla="*/ 508 w 605"/>
                <a:gd name="T99" fmla="*/ 155 h 252"/>
                <a:gd name="T100" fmla="*/ 562 w 605"/>
                <a:gd name="T101" fmla="*/ 179 h 252"/>
                <a:gd name="T102" fmla="*/ 583 w 605"/>
                <a:gd name="T103" fmla="*/ 221 h 252"/>
                <a:gd name="T104" fmla="*/ 521 w 605"/>
                <a:gd name="T105" fmla="*/ 195 h 252"/>
                <a:gd name="T106" fmla="*/ 515 w 605"/>
                <a:gd name="T107" fmla="*/ 190 h 252"/>
                <a:gd name="T108" fmla="*/ 385 w 605"/>
                <a:gd name="T109" fmla="*/ 224 h 252"/>
                <a:gd name="T110" fmla="*/ 383 w 605"/>
                <a:gd name="T111" fmla="*/ 124 h 252"/>
                <a:gd name="T112" fmla="*/ 377 w 605"/>
                <a:gd name="T113" fmla="*/ 179 h 252"/>
                <a:gd name="T114" fmla="*/ 342 w 605"/>
                <a:gd name="T115" fmla="*/ 192 h 252"/>
                <a:gd name="T116" fmla="*/ 375 w 605"/>
                <a:gd name="T117" fmla="*/ 165 h 252"/>
                <a:gd name="T118" fmla="*/ 402 w 605"/>
                <a:gd name="T119" fmla="*/ 128 h 252"/>
                <a:gd name="T120" fmla="*/ 375 w 605"/>
                <a:gd name="T121" fmla="*/ 252 h 252"/>
                <a:gd name="T122" fmla="*/ 378 w 605"/>
                <a:gd name="T123" fmla="*/ 224 h 252"/>
                <a:gd name="T124" fmla="*/ 335 w 605"/>
                <a:gd name="T125" fmla="*/ 2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5" h="252">
                  <a:moveTo>
                    <a:pt x="32" y="65"/>
                  </a:moveTo>
                  <a:lnTo>
                    <a:pt x="32" y="63"/>
                  </a:lnTo>
                  <a:lnTo>
                    <a:pt x="29" y="62"/>
                  </a:lnTo>
                  <a:lnTo>
                    <a:pt x="29" y="62"/>
                  </a:lnTo>
                  <a:lnTo>
                    <a:pt x="29" y="63"/>
                  </a:lnTo>
                  <a:lnTo>
                    <a:pt x="29" y="65"/>
                  </a:lnTo>
                  <a:lnTo>
                    <a:pt x="32" y="67"/>
                  </a:lnTo>
                  <a:lnTo>
                    <a:pt x="35" y="68"/>
                  </a:lnTo>
                  <a:lnTo>
                    <a:pt x="35" y="70"/>
                  </a:lnTo>
                  <a:lnTo>
                    <a:pt x="39" y="70"/>
                  </a:lnTo>
                  <a:lnTo>
                    <a:pt x="39" y="68"/>
                  </a:lnTo>
                  <a:lnTo>
                    <a:pt x="35" y="67"/>
                  </a:lnTo>
                  <a:lnTo>
                    <a:pt x="32" y="65"/>
                  </a:lnTo>
                  <a:lnTo>
                    <a:pt x="32" y="65"/>
                  </a:lnTo>
                  <a:lnTo>
                    <a:pt x="32" y="65"/>
                  </a:lnTo>
                  <a:lnTo>
                    <a:pt x="32" y="65"/>
                  </a:lnTo>
                  <a:lnTo>
                    <a:pt x="32" y="65"/>
                  </a:lnTo>
                  <a:lnTo>
                    <a:pt x="32" y="65"/>
                  </a:lnTo>
                  <a:lnTo>
                    <a:pt x="32" y="65"/>
                  </a:lnTo>
                  <a:lnTo>
                    <a:pt x="32" y="65"/>
                  </a:lnTo>
                  <a:lnTo>
                    <a:pt x="32" y="65"/>
                  </a:lnTo>
                  <a:close/>
                  <a:moveTo>
                    <a:pt x="51" y="82"/>
                  </a:moveTo>
                  <a:lnTo>
                    <a:pt x="48" y="82"/>
                  </a:lnTo>
                  <a:lnTo>
                    <a:pt x="46" y="82"/>
                  </a:lnTo>
                  <a:lnTo>
                    <a:pt x="48" y="86"/>
                  </a:lnTo>
                  <a:lnTo>
                    <a:pt x="50" y="89"/>
                  </a:lnTo>
                  <a:lnTo>
                    <a:pt x="53" y="90"/>
                  </a:lnTo>
                  <a:lnTo>
                    <a:pt x="54" y="95"/>
                  </a:lnTo>
                  <a:lnTo>
                    <a:pt x="56" y="95"/>
                  </a:lnTo>
                  <a:lnTo>
                    <a:pt x="56" y="93"/>
                  </a:lnTo>
                  <a:lnTo>
                    <a:pt x="56" y="89"/>
                  </a:lnTo>
                  <a:lnTo>
                    <a:pt x="54" y="86"/>
                  </a:lnTo>
                  <a:lnTo>
                    <a:pt x="51" y="82"/>
                  </a:lnTo>
                  <a:lnTo>
                    <a:pt x="51" y="82"/>
                  </a:lnTo>
                  <a:lnTo>
                    <a:pt x="51" y="82"/>
                  </a:lnTo>
                  <a:lnTo>
                    <a:pt x="51" y="82"/>
                  </a:lnTo>
                  <a:lnTo>
                    <a:pt x="51" y="82"/>
                  </a:lnTo>
                  <a:lnTo>
                    <a:pt x="51" y="82"/>
                  </a:lnTo>
                  <a:lnTo>
                    <a:pt x="51" y="82"/>
                  </a:lnTo>
                  <a:lnTo>
                    <a:pt x="51" y="82"/>
                  </a:lnTo>
                  <a:lnTo>
                    <a:pt x="51" y="82"/>
                  </a:lnTo>
                  <a:close/>
                  <a:moveTo>
                    <a:pt x="70" y="117"/>
                  </a:moveTo>
                  <a:lnTo>
                    <a:pt x="67" y="117"/>
                  </a:lnTo>
                  <a:lnTo>
                    <a:pt x="64" y="120"/>
                  </a:lnTo>
                  <a:lnTo>
                    <a:pt x="67" y="124"/>
                  </a:lnTo>
                  <a:lnTo>
                    <a:pt x="67" y="127"/>
                  </a:lnTo>
                  <a:lnTo>
                    <a:pt x="70" y="128"/>
                  </a:lnTo>
                  <a:lnTo>
                    <a:pt x="73" y="130"/>
                  </a:lnTo>
                  <a:lnTo>
                    <a:pt x="73" y="128"/>
                  </a:lnTo>
                  <a:lnTo>
                    <a:pt x="73" y="127"/>
                  </a:lnTo>
                  <a:lnTo>
                    <a:pt x="73" y="124"/>
                  </a:lnTo>
                  <a:lnTo>
                    <a:pt x="70" y="117"/>
                  </a:lnTo>
                  <a:lnTo>
                    <a:pt x="70" y="117"/>
                  </a:lnTo>
                  <a:lnTo>
                    <a:pt x="70" y="117"/>
                  </a:lnTo>
                  <a:lnTo>
                    <a:pt x="70" y="117"/>
                  </a:lnTo>
                  <a:lnTo>
                    <a:pt x="70" y="117"/>
                  </a:lnTo>
                  <a:lnTo>
                    <a:pt x="70" y="117"/>
                  </a:lnTo>
                  <a:lnTo>
                    <a:pt x="70" y="117"/>
                  </a:lnTo>
                  <a:lnTo>
                    <a:pt x="70" y="117"/>
                  </a:lnTo>
                  <a:lnTo>
                    <a:pt x="70" y="117"/>
                  </a:lnTo>
                  <a:close/>
                  <a:moveTo>
                    <a:pt x="83" y="144"/>
                  </a:moveTo>
                  <a:lnTo>
                    <a:pt x="85" y="144"/>
                  </a:lnTo>
                  <a:lnTo>
                    <a:pt x="85" y="141"/>
                  </a:lnTo>
                  <a:lnTo>
                    <a:pt x="83" y="138"/>
                  </a:lnTo>
                  <a:lnTo>
                    <a:pt x="83" y="144"/>
                  </a:lnTo>
                  <a:lnTo>
                    <a:pt x="83" y="144"/>
                  </a:lnTo>
                  <a:lnTo>
                    <a:pt x="83" y="144"/>
                  </a:lnTo>
                  <a:lnTo>
                    <a:pt x="83" y="144"/>
                  </a:lnTo>
                  <a:lnTo>
                    <a:pt x="83" y="144"/>
                  </a:lnTo>
                  <a:lnTo>
                    <a:pt x="83" y="144"/>
                  </a:lnTo>
                  <a:lnTo>
                    <a:pt x="83" y="144"/>
                  </a:lnTo>
                  <a:lnTo>
                    <a:pt x="83" y="144"/>
                  </a:lnTo>
                  <a:lnTo>
                    <a:pt x="83" y="144"/>
                  </a:lnTo>
                  <a:close/>
                  <a:moveTo>
                    <a:pt x="0" y="1"/>
                  </a:moveTo>
                  <a:lnTo>
                    <a:pt x="4" y="6"/>
                  </a:lnTo>
                  <a:lnTo>
                    <a:pt x="4" y="3"/>
                  </a:lnTo>
                  <a:lnTo>
                    <a:pt x="4" y="0"/>
                  </a:lnTo>
                  <a:lnTo>
                    <a:pt x="0" y="0"/>
                  </a:lnTo>
                  <a:lnTo>
                    <a:pt x="0" y="1"/>
                  </a:lnTo>
                  <a:lnTo>
                    <a:pt x="0" y="1"/>
                  </a:lnTo>
                  <a:lnTo>
                    <a:pt x="0" y="1"/>
                  </a:lnTo>
                  <a:lnTo>
                    <a:pt x="0" y="1"/>
                  </a:lnTo>
                  <a:lnTo>
                    <a:pt x="0" y="1"/>
                  </a:lnTo>
                  <a:lnTo>
                    <a:pt x="0" y="1"/>
                  </a:lnTo>
                  <a:lnTo>
                    <a:pt x="0" y="1"/>
                  </a:lnTo>
                  <a:lnTo>
                    <a:pt x="0" y="1"/>
                  </a:lnTo>
                  <a:lnTo>
                    <a:pt x="0" y="1"/>
                  </a:lnTo>
                  <a:close/>
                  <a:moveTo>
                    <a:pt x="145" y="108"/>
                  </a:moveTo>
                  <a:lnTo>
                    <a:pt x="147" y="108"/>
                  </a:lnTo>
                  <a:lnTo>
                    <a:pt x="143" y="106"/>
                  </a:lnTo>
                  <a:lnTo>
                    <a:pt x="140" y="103"/>
                  </a:lnTo>
                  <a:lnTo>
                    <a:pt x="140" y="106"/>
                  </a:lnTo>
                  <a:lnTo>
                    <a:pt x="140" y="108"/>
                  </a:lnTo>
                  <a:lnTo>
                    <a:pt x="143" y="108"/>
                  </a:lnTo>
                  <a:lnTo>
                    <a:pt x="145" y="108"/>
                  </a:lnTo>
                  <a:lnTo>
                    <a:pt x="145" y="108"/>
                  </a:lnTo>
                  <a:lnTo>
                    <a:pt x="145" y="108"/>
                  </a:lnTo>
                  <a:lnTo>
                    <a:pt x="145" y="108"/>
                  </a:lnTo>
                  <a:lnTo>
                    <a:pt x="145" y="108"/>
                  </a:lnTo>
                  <a:lnTo>
                    <a:pt x="145" y="108"/>
                  </a:lnTo>
                  <a:lnTo>
                    <a:pt x="145" y="108"/>
                  </a:lnTo>
                  <a:lnTo>
                    <a:pt x="145" y="108"/>
                  </a:lnTo>
                  <a:lnTo>
                    <a:pt x="145" y="108"/>
                  </a:lnTo>
                  <a:close/>
                  <a:moveTo>
                    <a:pt x="139" y="113"/>
                  </a:moveTo>
                  <a:lnTo>
                    <a:pt x="140" y="113"/>
                  </a:lnTo>
                  <a:lnTo>
                    <a:pt x="140" y="111"/>
                  </a:lnTo>
                  <a:lnTo>
                    <a:pt x="140" y="109"/>
                  </a:lnTo>
                  <a:lnTo>
                    <a:pt x="137" y="109"/>
                  </a:lnTo>
                  <a:lnTo>
                    <a:pt x="137" y="111"/>
                  </a:lnTo>
                  <a:lnTo>
                    <a:pt x="137" y="113"/>
                  </a:lnTo>
                  <a:lnTo>
                    <a:pt x="139" y="114"/>
                  </a:lnTo>
                  <a:lnTo>
                    <a:pt x="139" y="113"/>
                  </a:lnTo>
                  <a:lnTo>
                    <a:pt x="139" y="113"/>
                  </a:lnTo>
                  <a:lnTo>
                    <a:pt x="139" y="113"/>
                  </a:lnTo>
                  <a:lnTo>
                    <a:pt x="139" y="113"/>
                  </a:lnTo>
                  <a:lnTo>
                    <a:pt x="139" y="113"/>
                  </a:lnTo>
                  <a:lnTo>
                    <a:pt x="139" y="113"/>
                  </a:lnTo>
                  <a:lnTo>
                    <a:pt x="139" y="113"/>
                  </a:lnTo>
                  <a:lnTo>
                    <a:pt x="139" y="113"/>
                  </a:lnTo>
                  <a:lnTo>
                    <a:pt x="139" y="113"/>
                  </a:lnTo>
                  <a:close/>
                  <a:moveTo>
                    <a:pt x="274" y="221"/>
                  </a:moveTo>
                  <a:lnTo>
                    <a:pt x="274" y="221"/>
                  </a:lnTo>
                  <a:lnTo>
                    <a:pt x="267" y="221"/>
                  </a:lnTo>
                  <a:lnTo>
                    <a:pt x="262" y="221"/>
                  </a:lnTo>
                  <a:lnTo>
                    <a:pt x="262" y="221"/>
                  </a:lnTo>
                  <a:lnTo>
                    <a:pt x="264" y="224"/>
                  </a:lnTo>
                  <a:lnTo>
                    <a:pt x="267" y="224"/>
                  </a:lnTo>
                  <a:lnTo>
                    <a:pt x="270" y="227"/>
                  </a:lnTo>
                  <a:lnTo>
                    <a:pt x="270" y="228"/>
                  </a:lnTo>
                  <a:lnTo>
                    <a:pt x="270" y="230"/>
                  </a:lnTo>
                  <a:lnTo>
                    <a:pt x="274" y="228"/>
                  </a:lnTo>
                  <a:lnTo>
                    <a:pt x="277" y="227"/>
                  </a:lnTo>
                  <a:lnTo>
                    <a:pt x="280" y="224"/>
                  </a:lnTo>
                  <a:lnTo>
                    <a:pt x="280" y="224"/>
                  </a:lnTo>
                  <a:lnTo>
                    <a:pt x="280" y="221"/>
                  </a:lnTo>
                  <a:lnTo>
                    <a:pt x="277" y="221"/>
                  </a:lnTo>
                  <a:lnTo>
                    <a:pt x="274" y="221"/>
                  </a:lnTo>
                  <a:lnTo>
                    <a:pt x="274" y="221"/>
                  </a:lnTo>
                  <a:lnTo>
                    <a:pt x="274" y="221"/>
                  </a:lnTo>
                  <a:lnTo>
                    <a:pt x="274" y="221"/>
                  </a:lnTo>
                  <a:lnTo>
                    <a:pt x="274" y="221"/>
                  </a:lnTo>
                  <a:lnTo>
                    <a:pt x="274" y="221"/>
                  </a:lnTo>
                  <a:lnTo>
                    <a:pt x="274" y="221"/>
                  </a:lnTo>
                  <a:lnTo>
                    <a:pt x="274" y="221"/>
                  </a:lnTo>
                  <a:lnTo>
                    <a:pt x="274" y="221"/>
                  </a:lnTo>
                  <a:close/>
                  <a:moveTo>
                    <a:pt x="154" y="187"/>
                  </a:moveTo>
                  <a:lnTo>
                    <a:pt x="154" y="187"/>
                  </a:lnTo>
                  <a:lnTo>
                    <a:pt x="154" y="186"/>
                  </a:lnTo>
                  <a:lnTo>
                    <a:pt x="154" y="182"/>
                  </a:lnTo>
                  <a:lnTo>
                    <a:pt x="154" y="173"/>
                  </a:lnTo>
                  <a:lnTo>
                    <a:pt x="158" y="170"/>
                  </a:lnTo>
                  <a:lnTo>
                    <a:pt x="158" y="168"/>
                  </a:lnTo>
                  <a:lnTo>
                    <a:pt x="154" y="167"/>
                  </a:lnTo>
                  <a:lnTo>
                    <a:pt x="154" y="163"/>
                  </a:lnTo>
                  <a:lnTo>
                    <a:pt x="158" y="162"/>
                  </a:lnTo>
                  <a:lnTo>
                    <a:pt x="158" y="159"/>
                  </a:lnTo>
                  <a:lnTo>
                    <a:pt x="158" y="157"/>
                  </a:lnTo>
                  <a:lnTo>
                    <a:pt x="158" y="155"/>
                  </a:lnTo>
                  <a:lnTo>
                    <a:pt x="158" y="151"/>
                  </a:lnTo>
                  <a:lnTo>
                    <a:pt x="161" y="149"/>
                  </a:lnTo>
                  <a:lnTo>
                    <a:pt x="161" y="147"/>
                  </a:lnTo>
                  <a:lnTo>
                    <a:pt x="158" y="147"/>
                  </a:lnTo>
                  <a:lnTo>
                    <a:pt x="158" y="144"/>
                  </a:lnTo>
                  <a:lnTo>
                    <a:pt x="154" y="141"/>
                  </a:lnTo>
                  <a:lnTo>
                    <a:pt x="154" y="138"/>
                  </a:lnTo>
                  <a:lnTo>
                    <a:pt x="150" y="138"/>
                  </a:lnTo>
                  <a:lnTo>
                    <a:pt x="147" y="138"/>
                  </a:lnTo>
                  <a:lnTo>
                    <a:pt x="145" y="138"/>
                  </a:lnTo>
                  <a:lnTo>
                    <a:pt x="145" y="136"/>
                  </a:lnTo>
                  <a:lnTo>
                    <a:pt x="143" y="138"/>
                  </a:lnTo>
                  <a:lnTo>
                    <a:pt x="140" y="141"/>
                  </a:lnTo>
                  <a:lnTo>
                    <a:pt x="142" y="138"/>
                  </a:lnTo>
                  <a:lnTo>
                    <a:pt x="143" y="138"/>
                  </a:lnTo>
                  <a:lnTo>
                    <a:pt x="142" y="138"/>
                  </a:lnTo>
                  <a:lnTo>
                    <a:pt x="143" y="136"/>
                  </a:lnTo>
                  <a:lnTo>
                    <a:pt x="145" y="135"/>
                  </a:lnTo>
                  <a:lnTo>
                    <a:pt x="143" y="133"/>
                  </a:lnTo>
                  <a:lnTo>
                    <a:pt x="142" y="133"/>
                  </a:lnTo>
                  <a:lnTo>
                    <a:pt x="140" y="130"/>
                  </a:lnTo>
                  <a:lnTo>
                    <a:pt x="140" y="128"/>
                  </a:lnTo>
                  <a:lnTo>
                    <a:pt x="139" y="120"/>
                  </a:lnTo>
                  <a:lnTo>
                    <a:pt x="137" y="120"/>
                  </a:lnTo>
                  <a:lnTo>
                    <a:pt x="135" y="117"/>
                  </a:lnTo>
                  <a:lnTo>
                    <a:pt x="131" y="117"/>
                  </a:lnTo>
                  <a:lnTo>
                    <a:pt x="129" y="117"/>
                  </a:lnTo>
                  <a:lnTo>
                    <a:pt x="129" y="114"/>
                  </a:lnTo>
                  <a:lnTo>
                    <a:pt x="126" y="114"/>
                  </a:lnTo>
                  <a:lnTo>
                    <a:pt x="126" y="111"/>
                  </a:lnTo>
                  <a:lnTo>
                    <a:pt x="129" y="111"/>
                  </a:lnTo>
                  <a:lnTo>
                    <a:pt x="126" y="109"/>
                  </a:lnTo>
                  <a:lnTo>
                    <a:pt x="126" y="109"/>
                  </a:lnTo>
                  <a:lnTo>
                    <a:pt x="129" y="108"/>
                  </a:lnTo>
                  <a:lnTo>
                    <a:pt x="126" y="108"/>
                  </a:lnTo>
                  <a:lnTo>
                    <a:pt x="129" y="105"/>
                  </a:lnTo>
                  <a:lnTo>
                    <a:pt x="131" y="103"/>
                  </a:lnTo>
                  <a:lnTo>
                    <a:pt x="131" y="101"/>
                  </a:lnTo>
                  <a:lnTo>
                    <a:pt x="129" y="98"/>
                  </a:lnTo>
                  <a:lnTo>
                    <a:pt x="126" y="97"/>
                  </a:lnTo>
                  <a:lnTo>
                    <a:pt x="123" y="98"/>
                  </a:lnTo>
                  <a:lnTo>
                    <a:pt x="120" y="100"/>
                  </a:lnTo>
                  <a:lnTo>
                    <a:pt x="116" y="101"/>
                  </a:lnTo>
                  <a:lnTo>
                    <a:pt x="115" y="100"/>
                  </a:lnTo>
                  <a:lnTo>
                    <a:pt x="118" y="100"/>
                  </a:lnTo>
                  <a:lnTo>
                    <a:pt x="121" y="98"/>
                  </a:lnTo>
                  <a:lnTo>
                    <a:pt x="123" y="95"/>
                  </a:lnTo>
                  <a:lnTo>
                    <a:pt x="121" y="93"/>
                  </a:lnTo>
                  <a:lnTo>
                    <a:pt x="120" y="93"/>
                  </a:lnTo>
                  <a:lnTo>
                    <a:pt x="115" y="92"/>
                  </a:lnTo>
                  <a:lnTo>
                    <a:pt x="112" y="89"/>
                  </a:lnTo>
                  <a:lnTo>
                    <a:pt x="110" y="89"/>
                  </a:lnTo>
                  <a:lnTo>
                    <a:pt x="110" y="86"/>
                  </a:lnTo>
                  <a:lnTo>
                    <a:pt x="110" y="86"/>
                  </a:lnTo>
                  <a:lnTo>
                    <a:pt x="108" y="82"/>
                  </a:lnTo>
                  <a:lnTo>
                    <a:pt x="105" y="79"/>
                  </a:lnTo>
                  <a:lnTo>
                    <a:pt x="102" y="79"/>
                  </a:lnTo>
                  <a:lnTo>
                    <a:pt x="99" y="78"/>
                  </a:lnTo>
                  <a:lnTo>
                    <a:pt x="99" y="74"/>
                  </a:lnTo>
                  <a:lnTo>
                    <a:pt x="96" y="71"/>
                  </a:lnTo>
                  <a:lnTo>
                    <a:pt x="96" y="71"/>
                  </a:lnTo>
                  <a:lnTo>
                    <a:pt x="94" y="71"/>
                  </a:lnTo>
                  <a:lnTo>
                    <a:pt x="94" y="74"/>
                  </a:lnTo>
                  <a:lnTo>
                    <a:pt x="93" y="73"/>
                  </a:lnTo>
                  <a:lnTo>
                    <a:pt x="89" y="71"/>
                  </a:lnTo>
                  <a:lnTo>
                    <a:pt x="88" y="68"/>
                  </a:lnTo>
                  <a:lnTo>
                    <a:pt x="85" y="65"/>
                  </a:lnTo>
                  <a:lnTo>
                    <a:pt x="85" y="67"/>
                  </a:lnTo>
                  <a:lnTo>
                    <a:pt x="83" y="65"/>
                  </a:lnTo>
                  <a:lnTo>
                    <a:pt x="83" y="63"/>
                  </a:lnTo>
                  <a:lnTo>
                    <a:pt x="83" y="62"/>
                  </a:lnTo>
                  <a:lnTo>
                    <a:pt x="81" y="60"/>
                  </a:lnTo>
                  <a:lnTo>
                    <a:pt x="77" y="57"/>
                  </a:lnTo>
                  <a:lnTo>
                    <a:pt x="73" y="54"/>
                  </a:lnTo>
                  <a:lnTo>
                    <a:pt x="70" y="51"/>
                  </a:lnTo>
                  <a:lnTo>
                    <a:pt x="67" y="51"/>
                  </a:lnTo>
                  <a:lnTo>
                    <a:pt x="67" y="47"/>
                  </a:lnTo>
                  <a:lnTo>
                    <a:pt x="64" y="47"/>
                  </a:lnTo>
                  <a:lnTo>
                    <a:pt x="61" y="44"/>
                  </a:lnTo>
                  <a:lnTo>
                    <a:pt x="61" y="43"/>
                  </a:lnTo>
                  <a:lnTo>
                    <a:pt x="61" y="41"/>
                  </a:lnTo>
                  <a:lnTo>
                    <a:pt x="59" y="40"/>
                  </a:lnTo>
                  <a:lnTo>
                    <a:pt x="58" y="38"/>
                  </a:lnTo>
                  <a:lnTo>
                    <a:pt x="56" y="35"/>
                  </a:lnTo>
                  <a:lnTo>
                    <a:pt x="53" y="30"/>
                  </a:lnTo>
                  <a:lnTo>
                    <a:pt x="50" y="27"/>
                  </a:lnTo>
                  <a:lnTo>
                    <a:pt x="48" y="28"/>
                  </a:lnTo>
                  <a:lnTo>
                    <a:pt x="45" y="28"/>
                  </a:lnTo>
                  <a:lnTo>
                    <a:pt x="42" y="27"/>
                  </a:lnTo>
                  <a:lnTo>
                    <a:pt x="35" y="28"/>
                  </a:lnTo>
                  <a:lnTo>
                    <a:pt x="32" y="27"/>
                  </a:lnTo>
                  <a:lnTo>
                    <a:pt x="29" y="25"/>
                  </a:lnTo>
                  <a:lnTo>
                    <a:pt x="26" y="22"/>
                  </a:lnTo>
                  <a:lnTo>
                    <a:pt x="24" y="22"/>
                  </a:lnTo>
                  <a:lnTo>
                    <a:pt x="23" y="22"/>
                  </a:lnTo>
                  <a:lnTo>
                    <a:pt x="19" y="25"/>
                  </a:lnTo>
                  <a:lnTo>
                    <a:pt x="21" y="28"/>
                  </a:lnTo>
                  <a:lnTo>
                    <a:pt x="26" y="36"/>
                  </a:lnTo>
                  <a:lnTo>
                    <a:pt x="35" y="47"/>
                  </a:lnTo>
                  <a:lnTo>
                    <a:pt x="39" y="47"/>
                  </a:lnTo>
                  <a:lnTo>
                    <a:pt x="40" y="51"/>
                  </a:lnTo>
                  <a:lnTo>
                    <a:pt x="42" y="51"/>
                  </a:lnTo>
                  <a:lnTo>
                    <a:pt x="43" y="51"/>
                  </a:lnTo>
                  <a:lnTo>
                    <a:pt x="45" y="57"/>
                  </a:lnTo>
                  <a:lnTo>
                    <a:pt x="48" y="59"/>
                  </a:lnTo>
                  <a:lnTo>
                    <a:pt x="51" y="62"/>
                  </a:lnTo>
                  <a:lnTo>
                    <a:pt x="53" y="63"/>
                  </a:lnTo>
                  <a:lnTo>
                    <a:pt x="53" y="65"/>
                  </a:lnTo>
                  <a:lnTo>
                    <a:pt x="53" y="68"/>
                  </a:lnTo>
                  <a:lnTo>
                    <a:pt x="54" y="70"/>
                  </a:lnTo>
                  <a:lnTo>
                    <a:pt x="56" y="71"/>
                  </a:lnTo>
                  <a:lnTo>
                    <a:pt x="59" y="73"/>
                  </a:lnTo>
                  <a:lnTo>
                    <a:pt x="62" y="74"/>
                  </a:lnTo>
                  <a:lnTo>
                    <a:pt x="67" y="79"/>
                  </a:lnTo>
                  <a:lnTo>
                    <a:pt x="67" y="79"/>
                  </a:lnTo>
                  <a:lnTo>
                    <a:pt x="67" y="82"/>
                  </a:lnTo>
                  <a:lnTo>
                    <a:pt x="70" y="89"/>
                  </a:lnTo>
                  <a:lnTo>
                    <a:pt x="70" y="93"/>
                  </a:lnTo>
                  <a:lnTo>
                    <a:pt x="73" y="98"/>
                  </a:lnTo>
                  <a:lnTo>
                    <a:pt x="73" y="100"/>
                  </a:lnTo>
                  <a:lnTo>
                    <a:pt x="73" y="100"/>
                  </a:lnTo>
                  <a:lnTo>
                    <a:pt x="75" y="101"/>
                  </a:lnTo>
                  <a:lnTo>
                    <a:pt x="78" y="103"/>
                  </a:lnTo>
                  <a:lnTo>
                    <a:pt x="80" y="105"/>
                  </a:lnTo>
                  <a:lnTo>
                    <a:pt x="80" y="106"/>
                  </a:lnTo>
                  <a:lnTo>
                    <a:pt x="81" y="109"/>
                  </a:lnTo>
                  <a:lnTo>
                    <a:pt x="85" y="113"/>
                  </a:lnTo>
                  <a:lnTo>
                    <a:pt x="88" y="114"/>
                  </a:lnTo>
                  <a:lnTo>
                    <a:pt x="89" y="117"/>
                  </a:lnTo>
                  <a:lnTo>
                    <a:pt x="88" y="120"/>
                  </a:lnTo>
                  <a:lnTo>
                    <a:pt x="88" y="120"/>
                  </a:lnTo>
                  <a:lnTo>
                    <a:pt x="91" y="124"/>
                  </a:lnTo>
                  <a:lnTo>
                    <a:pt x="93" y="128"/>
                  </a:lnTo>
                  <a:lnTo>
                    <a:pt x="94" y="133"/>
                  </a:lnTo>
                  <a:lnTo>
                    <a:pt x="94" y="136"/>
                  </a:lnTo>
                  <a:lnTo>
                    <a:pt x="96" y="138"/>
                  </a:lnTo>
                  <a:lnTo>
                    <a:pt x="99" y="144"/>
                  </a:lnTo>
                  <a:lnTo>
                    <a:pt x="102" y="147"/>
                  </a:lnTo>
                  <a:lnTo>
                    <a:pt x="105" y="151"/>
                  </a:lnTo>
                  <a:lnTo>
                    <a:pt x="108" y="154"/>
                  </a:lnTo>
                  <a:lnTo>
                    <a:pt x="110" y="157"/>
                  </a:lnTo>
                  <a:lnTo>
                    <a:pt x="112" y="160"/>
                  </a:lnTo>
                  <a:lnTo>
                    <a:pt x="115" y="163"/>
                  </a:lnTo>
                  <a:lnTo>
                    <a:pt x="121" y="170"/>
                  </a:lnTo>
                  <a:lnTo>
                    <a:pt x="126" y="173"/>
                  </a:lnTo>
                  <a:lnTo>
                    <a:pt x="129" y="176"/>
                  </a:lnTo>
                  <a:lnTo>
                    <a:pt x="131" y="179"/>
                  </a:lnTo>
                  <a:lnTo>
                    <a:pt x="132" y="182"/>
                  </a:lnTo>
                  <a:lnTo>
                    <a:pt x="135" y="184"/>
                  </a:lnTo>
                  <a:lnTo>
                    <a:pt x="139" y="187"/>
                  </a:lnTo>
                  <a:lnTo>
                    <a:pt x="140" y="189"/>
                  </a:lnTo>
                  <a:lnTo>
                    <a:pt x="140" y="187"/>
                  </a:lnTo>
                  <a:lnTo>
                    <a:pt x="139" y="182"/>
                  </a:lnTo>
                  <a:lnTo>
                    <a:pt x="140" y="182"/>
                  </a:lnTo>
                  <a:lnTo>
                    <a:pt x="142" y="184"/>
                  </a:lnTo>
                  <a:lnTo>
                    <a:pt x="145" y="186"/>
                  </a:lnTo>
                  <a:lnTo>
                    <a:pt x="147" y="186"/>
                  </a:lnTo>
                  <a:lnTo>
                    <a:pt x="148" y="184"/>
                  </a:lnTo>
                  <a:lnTo>
                    <a:pt x="148" y="182"/>
                  </a:lnTo>
                  <a:lnTo>
                    <a:pt x="151" y="184"/>
                  </a:lnTo>
                  <a:lnTo>
                    <a:pt x="154" y="187"/>
                  </a:lnTo>
                  <a:lnTo>
                    <a:pt x="154" y="187"/>
                  </a:lnTo>
                  <a:lnTo>
                    <a:pt x="154" y="187"/>
                  </a:lnTo>
                  <a:lnTo>
                    <a:pt x="154" y="187"/>
                  </a:lnTo>
                  <a:lnTo>
                    <a:pt x="154" y="187"/>
                  </a:lnTo>
                  <a:lnTo>
                    <a:pt x="154" y="187"/>
                  </a:lnTo>
                  <a:lnTo>
                    <a:pt x="154" y="187"/>
                  </a:lnTo>
                  <a:lnTo>
                    <a:pt x="154" y="187"/>
                  </a:lnTo>
                  <a:lnTo>
                    <a:pt x="154" y="187"/>
                  </a:lnTo>
                  <a:close/>
                  <a:moveTo>
                    <a:pt x="316" y="228"/>
                  </a:moveTo>
                  <a:lnTo>
                    <a:pt x="321" y="228"/>
                  </a:lnTo>
                  <a:lnTo>
                    <a:pt x="323" y="227"/>
                  </a:lnTo>
                  <a:lnTo>
                    <a:pt x="321" y="227"/>
                  </a:lnTo>
                  <a:lnTo>
                    <a:pt x="321" y="224"/>
                  </a:lnTo>
                  <a:lnTo>
                    <a:pt x="320" y="221"/>
                  </a:lnTo>
                  <a:lnTo>
                    <a:pt x="318" y="224"/>
                  </a:lnTo>
                  <a:lnTo>
                    <a:pt x="318" y="224"/>
                  </a:lnTo>
                  <a:lnTo>
                    <a:pt x="316" y="224"/>
                  </a:lnTo>
                  <a:lnTo>
                    <a:pt x="315" y="221"/>
                  </a:lnTo>
                  <a:lnTo>
                    <a:pt x="313" y="224"/>
                  </a:lnTo>
                  <a:lnTo>
                    <a:pt x="312" y="224"/>
                  </a:lnTo>
                  <a:lnTo>
                    <a:pt x="312" y="221"/>
                  </a:lnTo>
                  <a:lnTo>
                    <a:pt x="312" y="221"/>
                  </a:lnTo>
                  <a:lnTo>
                    <a:pt x="305" y="221"/>
                  </a:lnTo>
                  <a:lnTo>
                    <a:pt x="305" y="221"/>
                  </a:lnTo>
                  <a:lnTo>
                    <a:pt x="308" y="224"/>
                  </a:lnTo>
                  <a:lnTo>
                    <a:pt x="312" y="227"/>
                  </a:lnTo>
                  <a:lnTo>
                    <a:pt x="312" y="227"/>
                  </a:lnTo>
                  <a:lnTo>
                    <a:pt x="308" y="228"/>
                  </a:lnTo>
                  <a:lnTo>
                    <a:pt x="305" y="227"/>
                  </a:lnTo>
                  <a:lnTo>
                    <a:pt x="305" y="227"/>
                  </a:lnTo>
                  <a:lnTo>
                    <a:pt x="302" y="224"/>
                  </a:lnTo>
                  <a:lnTo>
                    <a:pt x="299" y="224"/>
                  </a:lnTo>
                  <a:lnTo>
                    <a:pt x="296" y="224"/>
                  </a:lnTo>
                  <a:lnTo>
                    <a:pt x="294" y="227"/>
                  </a:lnTo>
                  <a:lnTo>
                    <a:pt x="293" y="227"/>
                  </a:lnTo>
                  <a:lnTo>
                    <a:pt x="293" y="230"/>
                  </a:lnTo>
                  <a:lnTo>
                    <a:pt x="293" y="232"/>
                  </a:lnTo>
                  <a:lnTo>
                    <a:pt x="296" y="233"/>
                  </a:lnTo>
                  <a:lnTo>
                    <a:pt x="297" y="233"/>
                  </a:lnTo>
                  <a:lnTo>
                    <a:pt x="299" y="233"/>
                  </a:lnTo>
                  <a:lnTo>
                    <a:pt x="301" y="233"/>
                  </a:lnTo>
                  <a:lnTo>
                    <a:pt x="302" y="232"/>
                  </a:lnTo>
                  <a:lnTo>
                    <a:pt x="305" y="230"/>
                  </a:lnTo>
                  <a:lnTo>
                    <a:pt x="312" y="228"/>
                  </a:lnTo>
                  <a:lnTo>
                    <a:pt x="313" y="227"/>
                  </a:lnTo>
                  <a:lnTo>
                    <a:pt x="313" y="228"/>
                  </a:lnTo>
                  <a:lnTo>
                    <a:pt x="313" y="230"/>
                  </a:lnTo>
                  <a:lnTo>
                    <a:pt x="315" y="230"/>
                  </a:lnTo>
                  <a:lnTo>
                    <a:pt x="316" y="230"/>
                  </a:lnTo>
                  <a:lnTo>
                    <a:pt x="318" y="230"/>
                  </a:lnTo>
                  <a:lnTo>
                    <a:pt x="320" y="230"/>
                  </a:lnTo>
                  <a:lnTo>
                    <a:pt x="316" y="228"/>
                  </a:lnTo>
                  <a:lnTo>
                    <a:pt x="316" y="228"/>
                  </a:lnTo>
                  <a:lnTo>
                    <a:pt x="316" y="228"/>
                  </a:lnTo>
                  <a:lnTo>
                    <a:pt x="316" y="228"/>
                  </a:lnTo>
                  <a:lnTo>
                    <a:pt x="316" y="228"/>
                  </a:lnTo>
                  <a:lnTo>
                    <a:pt x="316" y="228"/>
                  </a:lnTo>
                  <a:lnTo>
                    <a:pt x="316" y="228"/>
                  </a:lnTo>
                  <a:lnTo>
                    <a:pt x="316" y="228"/>
                  </a:lnTo>
                  <a:lnTo>
                    <a:pt x="316" y="228"/>
                  </a:lnTo>
                  <a:close/>
                  <a:moveTo>
                    <a:pt x="293" y="224"/>
                  </a:moveTo>
                  <a:lnTo>
                    <a:pt x="291" y="221"/>
                  </a:lnTo>
                  <a:lnTo>
                    <a:pt x="288" y="221"/>
                  </a:lnTo>
                  <a:lnTo>
                    <a:pt x="285" y="224"/>
                  </a:lnTo>
                  <a:lnTo>
                    <a:pt x="283" y="227"/>
                  </a:lnTo>
                  <a:lnTo>
                    <a:pt x="283" y="228"/>
                  </a:lnTo>
                  <a:lnTo>
                    <a:pt x="281" y="228"/>
                  </a:lnTo>
                  <a:lnTo>
                    <a:pt x="280" y="228"/>
                  </a:lnTo>
                  <a:lnTo>
                    <a:pt x="281" y="230"/>
                  </a:lnTo>
                  <a:lnTo>
                    <a:pt x="285" y="230"/>
                  </a:lnTo>
                  <a:lnTo>
                    <a:pt x="289" y="230"/>
                  </a:lnTo>
                  <a:lnTo>
                    <a:pt x="289" y="227"/>
                  </a:lnTo>
                  <a:lnTo>
                    <a:pt x="293" y="224"/>
                  </a:lnTo>
                  <a:lnTo>
                    <a:pt x="293" y="224"/>
                  </a:lnTo>
                  <a:lnTo>
                    <a:pt x="293" y="224"/>
                  </a:lnTo>
                  <a:lnTo>
                    <a:pt x="293" y="224"/>
                  </a:lnTo>
                  <a:lnTo>
                    <a:pt x="293" y="224"/>
                  </a:lnTo>
                  <a:lnTo>
                    <a:pt x="293" y="224"/>
                  </a:lnTo>
                  <a:lnTo>
                    <a:pt x="293" y="224"/>
                  </a:lnTo>
                  <a:lnTo>
                    <a:pt x="293" y="224"/>
                  </a:lnTo>
                  <a:lnTo>
                    <a:pt x="293" y="224"/>
                  </a:lnTo>
                  <a:lnTo>
                    <a:pt x="293" y="224"/>
                  </a:lnTo>
                  <a:close/>
                  <a:moveTo>
                    <a:pt x="262" y="227"/>
                  </a:moveTo>
                  <a:lnTo>
                    <a:pt x="261" y="224"/>
                  </a:lnTo>
                  <a:lnTo>
                    <a:pt x="261" y="221"/>
                  </a:lnTo>
                  <a:lnTo>
                    <a:pt x="262" y="217"/>
                  </a:lnTo>
                  <a:lnTo>
                    <a:pt x="262" y="214"/>
                  </a:lnTo>
                  <a:lnTo>
                    <a:pt x="259" y="214"/>
                  </a:lnTo>
                  <a:lnTo>
                    <a:pt x="256" y="214"/>
                  </a:lnTo>
                  <a:lnTo>
                    <a:pt x="254" y="214"/>
                  </a:lnTo>
                  <a:lnTo>
                    <a:pt x="251" y="214"/>
                  </a:lnTo>
                  <a:lnTo>
                    <a:pt x="248" y="214"/>
                  </a:lnTo>
                  <a:lnTo>
                    <a:pt x="245" y="214"/>
                  </a:lnTo>
                  <a:lnTo>
                    <a:pt x="242" y="211"/>
                  </a:lnTo>
                  <a:lnTo>
                    <a:pt x="243" y="208"/>
                  </a:lnTo>
                  <a:lnTo>
                    <a:pt x="242" y="208"/>
                  </a:lnTo>
                  <a:lnTo>
                    <a:pt x="240" y="205"/>
                  </a:lnTo>
                  <a:lnTo>
                    <a:pt x="240" y="203"/>
                  </a:lnTo>
                  <a:lnTo>
                    <a:pt x="237" y="203"/>
                  </a:lnTo>
                  <a:lnTo>
                    <a:pt x="234" y="203"/>
                  </a:lnTo>
                  <a:lnTo>
                    <a:pt x="232" y="203"/>
                  </a:lnTo>
                  <a:lnTo>
                    <a:pt x="231" y="201"/>
                  </a:lnTo>
                  <a:lnTo>
                    <a:pt x="231" y="201"/>
                  </a:lnTo>
                  <a:lnTo>
                    <a:pt x="227" y="200"/>
                  </a:lnTo>
                  <a:lnTo>
                    <a:pt x="227" y="200"/>
                  </a:lnTo>
                  <a:lnTo>
                    <a:pt x="224" y="200"/>
                  </a:lnTo>
                  <a:lnTo>
                    <a:pt x="221" y="200"/>
                  </a:lnTo>
                  <a:lnTo>
                    <a:pt x="221" y="197"/>
                  </a:lnTo>
                  <a:lnTo>
                    <a:pt x="220" y="197"/>
                  </a:lnTo>
                  <a:lnTo>
                    <a:pt x="218" y="197"/>
                  </a:lnTo>
                  <a:lnTo>
                    <a:pt x="216" y="200"/>
                  </a:lnTo>
                  <a:lnTo>
                    <a:pt x="215" y="203"/>
                  </a:lnTo>
                  <a:lnTo>
                    <a:pt x="213" y="205"/>
                  </a:lnTo>
                  <a:lnTo>
                    <a:pt x="212" y="205"/>
                  </a:lnTo>
                  <a:lnTo>
                    <a:pt x="208" y="203"/>
                  </a:lnTo>
                  <a:lnTo>
                    <a:pt x="205" y="203"/>
                  </a:lnTo>
                  <a:lnTo>
                    <a:pt x="199" y="203"/>
                  </a:lnTo>
                  <a:lnTo>
                    <a:pt x="196" y="203"/>
                  </a:lnTo>
                  <a:lnTo>
                    <a:pt x="196" y="201"/>
                  </a:lnTo>
                  <a:lnTo>
                    <a:pt x="193" y="203"/>
                  </a:lnTo>
                  <a:lnTo>
                    <a:pt x="189" y="200"/>
                  </a:lnTo>
                  <a:lnTo>
                    <a:pt x="186" y="195"/>
                  </a:lnTo>
                  <a:lnTo>
                    <a:pt x="186" y="194"/>
                  </a:lnTo>
                  <a:lnTo>
                    <a:pt x="185" y="195"/>
                  </a:lnTo>
                  <a:lnTo>
                    <a:pt x="181" y="194"/>
                  </a:lnTo>
                  <a:lnTo>
                    <a:pt x="180" y="194"/>
                  </a:lnTo>
                  <a:lnTo>
                    <a:pt x="178" y="194"/>
                  </a:lnTo>
                  <a:lnTo>
                    <a:pt x="177" y="192"/>
                  </a:lnTo>
                  <a:lnTo>
                    <a:pt x="175" y="190"/>
                  </a:lnTo>
                  <a:lnTo>
                    <a:pt x="172" y="189"/>
                  </a:lnTo>
                  <a:lnTo>
                    <a:pt x="170" y="189"/>
                  </a:lnTo>
                  <a:lnTo>
                    <a:pt x="169" y="190"/>
                  </a:lnTo>
                  <a:lnTo>
                    <a:pt x="167" y="192"/>
                  </a:lnTo>
                  <a:lnTo>
                    <a:pt x="166" y="190"/>
                  </a:lnTo>
                  <a:lnTo>
                    <a:pt x="164" y="189"/>
                  </a:lnTo>
                  <a:lnTo>
                    <a:pt x="158" y="190"/>
                  </a:lnTo>
                  <a:lnTo>
                    <a:pt x="158" y="189"/>
                  </a:lnTo>
                  <a:lnTo>
                    <a:pt x="158" y="189"/>
                  </a:lnTo>
                  <a:lnTo>
                    <a:pt x="154" y="192"/>
                  </a:lnTo>
                  <a:lnTo>
                    <a:pt x="154" y="195"/>
                  </a:lnTo>
                  <a:lnTo>
                    <a:pt x="154" y="197"/>
                  </a:lnTo>
                  <a:lnTo>
                    <a:pt x="153" y="197"/>
                  </a:lnTo>
                  <a:lnTo>
                    <a:pt x="151" y="201"/>
                  </a:lnTo>
                  <a:lnTo>
                    <a:pt x="150" y="201"/>
                  </a:lnTo>
                  <a:lnTo>
                    <a:pt x="153" y="203"/>
                  </a:lnTo>
                  <a:lnTo>
                    <a:pt x="154" y="203"/>
                  </a:lnTo>
                  <a:lnTo>
                    <a:pt x="158" y="203"/>
                  </a:lnTo>
                  <a:lnTo>
                    <a:pt x="164" y="205"/>
                  </a:lnTo>
                  <a:lnTo>
                    <a:pt x="164" y="205"/>
                  </a:lnTo>
                  <a:lnTo>
                    <a:pt x="161" y="208"/>
                  </a:lnTo>
                  <a:lnTo>
                    <a:pt x="164" y="211"/>
                  </a:lnTo>
                  <a:lnTo>
                    <a:pt x="166" y="211"/>
                  </a:lnTo>
                  <a:lnTo>
                    <a:pt x="172" y="211"/>
                  </a:lnTo>
                  <a:lnTo>
                    <a:pt x="178" y="214"/>
                  </a:lnTo>
                  <a:lnTo>
                    <a:pt x="183" y="214"/>
                  </a:lnTo>
                  <a:lnTo>
                    <a:pt x="186" y="214"/>
                  </a:lnTo>
                  <a:lnTo>
                    <a:pt x="186" y="214"/>
                  </a:lnTo>
                  <a:lnTo>
                    <a:pt x="189" y="214"/>
                  </a:lnTo>
                  <a:lnTo>
                    <a:pt x="189" y="214"/>
                  </a:lnTo>
                  <a:lnTo>
                    <a:pt x="196" y="214"/>
                  </a:lnTo>
                  <a:lnTo>
                    <a:pt x="202" y="214"/>
                  </a:lnTo>
                  <a:lnTo>
                    <a:pt x="210" y="217"/>
                  </a:lnTo>
                  <a:lnTo>
                    <a:pt x="218" y="221"/>
                  </a:lnTo>
                  <a:lnTo>
                    <a:pt x="221" y="221"/>
                  </a:lnTo>
                  <a:lnTo>
                    <a:pt x="224" y="221"/>
                  </a:lnTo>
                  <a:lnTo>
                    <a:pt x="227" y="224"/>
                  </a:lnTo>
                  <a:lnTo>
                    <a:pt x="231" y="224"/>
                  </a:lnTo>
                  <a:lnTo>
                    <a:pt x="237" y="224"/>
                  </a:lnTo>
                  <a:lnTo>
                    <a:pt x="242" y="224"/>
                  </a:lnTo>
                  <a:lnTo>
                    <a:pt x="245" y="224"/>
                  </a:lnTo>
                  <a:lnTo>
                    <a:pt x="248" y="221"/>
                  </a:lnTo>
                  <a:lnTo>
                    <a:pt x="250" y="224"/>
                  </a:lnTo>
                  <a:lnTo>
                    <a:pt x="256" y="227"/>
                  </a:lnTo>
                  <a:lnTo>
                    <a:pt x="258" y="227"/>
                  </a:lnTo>
                  <a:lnTo>
                    <a:pt x="261" y="227"/>
                  </a:lnTo>
                  <a:lnTo>
                    <a:pt x="262" y="228"/>
                  </a:lnTo>
                  <a:lnTo>
                    <a:pt x="264" y="228"/>
                  </a:lnTo>
                  <a:lnTo>
                    <a:pt x="262" y="227"/>
                  </a:lnTo>
                  <a:lnTo>
                    <a:pt x="262" y="227"/>
                  </a:lnTo>
                  <a:lnTo>
                    <a:pt x="262" y="227"/>
                  </a:lnTo>
                  <a:lnTo>
                    <a:pt x="262" y="227"/>
                  </a:lnTo>
                  <a:lnTo>
                    <a:pt x="262" y="227"/>
                  </a:lnTo>
                  <a:lnTo>
                    <a:pt x="262" y="227"/>
                  </a:lnTo>
                  <a:lnTo>
                    <a:pt x="262" y="227"/>
                  </a:lnTo>
                  <a:lnTo>
                    <a:pt x="262" y="227"/>
                  </a:lnTo>
                  <a:lnTo>
                    <a:pt x="262" y="227"/>
                  </a:lnTo>
                  <a:lnTo>
                    <a:pt x="262" y="227"/>
                  </a:lnTo>
                  <a:close/>
                  <a:moveTo>
                    <a:pt x="153" y="133"/>
                  </a:moveTo>
                  <a:lnTo>
                    <a:pt x="154" y="135"/>
                  </a:lnTo>
                  <a:lnTo>
                    <a:pt x="158" y="136"/>
                  </a:lnTo>
                  <a:lnTo>
                    <a:pt x="158" y="138"/>
                  </a:lnTo>
                  <a:lnTo>
                    <a:pt x="158" y="141"/>
                  </a:lnTo>
                  <a:lnTo>
                    <a:pt x="161" y="144"/>
                  </a:lnTo>
                  <a:lnTo>
                    <a:pt x="164" y="147"/>
                  </a:lnTo>
                  <a:lnTo>
                    <a:pt x="166" y="147"/>
                  </a:lnTo>
                  <a:lnTo>
                    <a:pt x="167" y="147"/>
                  </a:lnTo>
                  <a:lnTo>
                    <a:pt x="167" y="147"/>
                  </a:lnTo>
                  <a:lnTo>
                    <a:pt x="166" y="144"/>
                  </a:lnTo>
                  <a:lnTo>
                    <a:pt x="167" y="141"/>
                  </a:lnTo>
                  <a:lnTo>
                    <a:pt x="169" y="141"/>
                  </a:lnTo>
                  <a:lnTo>
                    <a:pt x="166" y="141"/>
                  </a:lnTo>
                  <a:lnTo>
                    <a:pt x="164" y="138"/>
                  </a:lnTo>
                  <a:lnTo>
                    <a:pt x="161" y="136"/>
                  </a:lnTo>
                  <a:lnTo>
                    <a:pt x="161" y="132"/>
                  </a:lnTo>
                  <a:lnTo>
                    <a:pt x="161" y="127"/>
                  </a:lnTo>
                  <a:lnTo>
                    <a:pt x="158" y="125"/>
                  </a:lnTo>
                  <a:lnTo>
                    <a:pt x="158" y="125"/>
                  </a:lnTo>
                  <a:lnTo>
                    <a:pt x="154" y="127"/>
                  </a:lnTo>
                  <a:lnTo>
                    <a:pt x="158" y="128"/>
                  </a:lnTo>
                  <a:lnTo>
                    <a:pt x="154" y="127"/>
                  </a:lnTo>
                  <a:lnTo>
                    <a:pt x="153" y="125"/>
                  </a:lnTo>
                  <a:lnTo>
                    <a:pt x="151" y="128"/>
                  </a:lnTo>
                  <a:lnTo>
                    <a:pt x="151" y="130"/>
                  </a:lnTo>
                  <a:lnTo>
                    <a:pt x="148" y="133"/>
                  </a:lnTo>
                  <a:lnTo>
                    <a:pt x="151" y="133"/>
                  </a:lnTo>
                  <a:lnTo>
                    <a:pt x="153" y="133"/>
                  </a:lnTo>
                  <a:lnTo>
                    <a:pt x="153" y="133"/>
                  </a:lnTo>
                  <a:lnTo>
                    <a:pt x="153" y="133"/>
                  </a:lnTo>
                  <a:lnTo>
                    <a:pt x="153" y="133"/>
                  </a:lnTo>
                  <a:lnTo>
                    <a:pt x="153" y="133"/>
                  </a:lnTo>
                  <a:lnTo>
                    <a:pt x="153" y="133"/>
                  </a:lnTo>
                  <a:lnTo>
                    <a:pt x="153" y="133"/>
                  </a:lnTo>
                  <a:lnTo>
                    <a:pt x="153" y="133"/>
                  </a:lnTo>
                  <a:lnTo>
                    <a:pt x="153" y="133"/>
                  </a:lnTo>
                  <a:close/>
                  <a:moveTo>
                    <a:pt x="200" y="103"/>
                  </a:moveTo>
                  <a:lnTo>
                    <a:pt x="199" y="105"/>
                  </a:lnTo>
                  <a:lnTo>
                    <a:pt x="200" y="108"/>
                  </a:lnTo>
                  <a:lnTo>
                    <a:pt x="199" y="108"/>
                  </a:lnTo>
                  <a:lnTo>
                    <a:pt x="199" y="109"/>
                  </a:lnTo>
                  <a:lnTo>
                    <a:pt x="199" y="111"/>
                  </a:lnTo>
                  <a:lnTo>
                    <a:pt x="202" y="113"/>
                  </a:lnTo>
                  <a:lnTo>
                    <a:pt x="204" y="114"/>
                  </a:lnTo>
                  <a:lnTo>
                    <a:pt x="202" y="114"/>
                  </a:lnTo>
                  <a:lnTo>
                    <a:pt x="200" y="114"/>
                  </a:lnTo>
                  <a:lnTo>
                    <a:pt x="200" y="114"/>
                  </a:lnTo>
                  <a:lnTo>
                    <a:pt x="200" y="117"/>
                  </a:lnTo>
                  <a:lnTo>
                    <a:pt x="204" y="117"/>
                  </a:lnTo>
                  <a:lnTo>
                    <a:pt x="205" y="117"/>
                  </a:lnTo>
                  <a:lnTo>
                    <a:pt x="205" y="117"/>
                  </a:lnTo>
                  <a:lnTo>
                    <a:pt x="207" y="117"/>
                  </a:lnTo>
                  <a:lnTo>
                    <a:pt x="208" y="117"/>
                  </a:lnTo>
                  <a:lnTo>
                    <a:pt x="208" y="120"/>
                  </a:lnTo>
                  <a:lnTo>
                    <a:pt x="210" y="124"/>
                  </a:lnTo>
                  <a:lnTo>
                    <a:pt x="212" y="125"/>
                  </a:lnTo>
                  <a:lnTo>
                    <a:pt x="210" y="127"/>
                  </a:lnTo>
                  <a:lnTo>
                    <a:pt x="208" y="130"/>
                  </a:lnTo>
                  <a:lnTo>
                    <a:pt x="210" y="132"/>
                  </a:lnTo>
                  <a:lnTo>
                    <a:pt x="212" y="133"/>
                  </a:lnTo>
                  <a:lnTo>
                    <a:pt x="212" y="138"/>
                  </a:lnTo>
                  <a:lnTo>
                    <a:pt x="213" y="141"/>
                  </a:lnTo>
                  <a:lnTo>
                    <a:pt x="213" y="144"/>
                  </a:lnTo>
                  <a:lnTo>
                    <a:pt x="213" y="147"/>
                  </a:lnTo>
                  <a:lnTo>
                    <a:pt x="216" y="144"/>
                  </a:lnTo>
                  <a:lnTo>
                    <a:pt x="218" y="144"/>
                  </a:lnTo>
                  <a:lnTo>
                    <a:pt x="218" y="147"/>
                  </a:lnTo>
                  <a:lnTo>
                    <a:pt x="220" y="147"/>
                  </a:lnTo>
                  <a:lnTo>
                    <a:pt x="221" y="147"/>
                  </a:lnTo>
                  <a:lnTo>
                    <a:pt x="224" y="147"/>
                  </a:lnTo>
                  <a:lnTo>
                    <a:pt x="227" y="144"/>
                  </a:lnTo>
                  <a:lnTo>
                    <a:pt x="231" y="147"/>
                  </a:lnTo>
                  <a:lnTo>
                    <a:pt x="231" y="144"/>
                  </a:lnTo>
                  <a:lnTo>
                    <a:pt x="232" y="147"/>
                  </a:lnTo>
                  <a:lnTo>
                    <a:pt x="232" y="154"/>
                  </a:lnTo>
                  <a:lnTo>
                    <a:pt x="234" y="154"/>
                  </a:lnTo>
                  <a:lnTo>
                    <a:pt x="235" y="154"/>
                  </a:lnTo>
                  <a:lnTo>
                    <a:pt x="237" y="151"/>
                  </a:lnTo>
                  <a:lnTo>
                    <a:pt x="239" y="151"/>
                  </a:lnTo>
                  <a:lnTo>
                    <a:pt x="240" y="151"/>
                  </a:lnTo>
                  <a:lnTo>
                    <a:pt x="242" y="152"/>
                  </a:lnTo>
                  <a:lnTo>
                    <a:pt x="243" y="152"/>
                  </a:lnTo>
                  <a:lnTo>
                    <a:pt x="247" y="149"/>
                  </a:lnTo>
                  <a:lnTo>
                    <a:pt x="248" y="144"/>
                  </a:lnTo>
                  <a:lnTo>
                    <a:pt x="251" y="149"/>
                  </a:lnTo>
                  <a:lnTo>
                    <a:pt x="253" y="149"/>
                  </a:lnTo>
                  <a:lnTo>
                    <a:pt x="254" y="149"/>
                  </a:lnTo>
                  <a:lnTo>
                    <a:pt x="256" y="149"/>
                  </a:lnTo>
                  <a:lnTo>
                    <a:pt x="256" y="151"/>
                  </a:lnTo>
                  <a:lnTo>
                    <a:pt x="256" y="152"/>
                  </a:lnTo>
                  <a:lnTo>
                    <a:pt x="256" y="154"/>
                  </a:lnTo>
                  <a:lnTo>
                    <a:pt x="259" y="152"/>
                  </a:lnTo>
                  <a:lnTo>
                    <a:pt x="261" y="149"/>
                  </a:lnTo>
                  <a:lnTo>
                    <a:pt x="261" y="151"/>
                  </a:lnTo>
                  <a:lnTo>
                    <a:pt x="262" y="151"/>
                  </a:lnTo>
                  <a:lnTo>
                    <a:pt x="264" y="149"/>
                  </a:lnTo>
                  <a:lnTo>
                    <a:pt x="264" y="152"/>
                  </a:lnTo>
                  <a:lnTo>
                    <a:pt x="267" y="151"/>
                  </a:lnTo>
                  <a:lnTo>
                    <a:pt x="267" y="154"/>
                  </a:lnTo>
                  <a:lnTo>
                    <a:pt x="270" y="157"/>
                  </a:lnTo>
                  <a:lnTo>
                    <a:pt x="267" y="162"/>
                  </a:lnTo>
                  <a:lnTo>
                    <a:pt x="270" y="163"/>
                  </a:lnTo>
                  <a:lnTo>
                    <a:pt x="270" y="162"/>
                  </a:lnTo>
                  <a:lnTo>
                    <a:pt x="277" y="160"/>
                  </a:lnTo>
                  <a:lnTo>
                    <a:pt x="285" y="155"/>
                  </a:lnTo>
                  <a:lnTo>
                    <a:pt x="286" y="154"/>
                  </a:lnTo>
                  <a:lnTo>
                    <a:pt x="288" y="152"/>
                  </a:lnTo>
                  <a:lnTo>
                    <a:pt x="288" y="154"/>
                  </a:lnTo>
                  <a:lnTo>
                    <a:pt x="288" y="162"/>
                  </a:lnTo>
                  <a:lnTo>
                    <a:pt x="289" y="160"/>
                  </a:lnTo>
                  <a:lnTo>
                    <a:pt x="291" y="157"/>
                  </a:lnTo>
                  <a:lnTo>
                    <a:pt x="289" y="154"/>
                  </a:lnTo>
                  <a:lnTo>
                    <a:pt x="291" y="151"/>
                  </a:lnTo>
                  <a:lnTo>
                    <a:pt x="289" y="151"/>
                  </a:lnTo>
                  <a:lnTo>
                    <a:pt x="288" y="151"/>
                  </a:lnTo>
                  <a:lnTo>
                    <a:pt x="288" y="149"/>
                  </a:lnTo>
                  <a:lnTo>
                    <a:pt x="291" y="147"/>
                  </a:lnTo>
                  <a:lnTo>
                    <a:pt x="289" y="147"/>
                  </a:lnTo>
                  <a:lnTo>
                    <a:pt x="291" y="144"/>
                  </a:lnTo>
                  <a:lnTo>
                    <a:pt x="293" y="141"/>
                  </a:lnTo>
                  <a:lnTo>
                    <a:pt x="291" y="141"/>
                  </a:lnTo>
                  <a:lnTo>
                    <a:pt x="294" y="141"/>
                  </a:lnTo>
                  <a:lnTo>
                    <a:pt x="294" y="138"/>
                  </a:lnTo>
                  <a:lnTo>
                    <a:pt x="296" y="135"/>
                  </a:lnTo>
                  <a:lnTo>
                    <a:pt x="293" y="135"/>
                  </a:lnTo>
                  <a:lnTo>
                    <a:pt x="291" y="135"/>
                  </a:lnTo>
                  <a:lnTo>
                    <a:pt x="293" y="132"/>
                  </a:lnTo>
                  <a:lnTo>
                    <a:pt x="293" y="130"/>
                  </a:lnTo>
                  <a:lnTo>
                    <a:pt x="291" y="130"/>
                  </a:lnTo>
                  <a:lnTo>
                    <a:pt x="294" y="127"/>
                  </a:lnTo>
                  <a:lnTo>
                    <a:pt x="294" y="125"/>
                  </a:lnTo>
                  <a:lnTo>
                    <a:pt x="296" y="124"/>
                  </a:lnTo>
                  <a:lnTo>
                    <a:pt x="297" y="124"/>
                  </a:lnTo>
                  <a:lnTo>
                    <a:pt x="297" y="120"/>
                  </a:lnTo>
                  <a:lnTo>
                    <a:pt x="297" y="117"/>
                  </a:lnTo>
                  <a:lnTo>
                    <a:pt x="299" y="120"/>
                  </a:lnTo>
                  <a:lnTo>
                    <a:pt x="301" y="120"/>
                  </a:lnTo>
                  <a:lnTo>
                    <a:pt x="302" y="117"/>
                  </a:lnTo>
                  <a:lnTo>
                    <a:pt x="305" y="114"/>
                  </a:lnTo>
                  <a:lnTo>
                    <a:pt x="305" y="117"/>
                  </a:lnTo>
                  <a:lnTo>
                    <a:pt x="305" y="117"/>
                  </a:lnTo>
                  <a:lnTo>
                    <a:pt x="308" y="114"/>
                  </a:lnTo>
                  <a:lnTo>
                    <a:pt x="308" y="114"/>
                  </a:lnTo>
                  <a:lnTo>
                    <a:pt x="308" y="113"/>
                  </a:lnTo>
                  <a:lnTo>
                    <a:pt x="308" y="111"/>
                  </a:lnTo>
                  <a:lnTo>
                    <a:pt x="305" y="111"/>
                  </a:lnTo>
                  <a:lnTo>
                    <a:pt x="305" y="105"/>
                  </a:lnTo>
                  <a:lnTo>
                    <a:pt x="308" y="97"/>
                  </a:lnTo>
                  <a:lnTo>
                    <a:pt x="308" y="93"/>
                  </a:lnTo>
                  <a:lnTo>
                    <a:pt x="312" y="92"/>
                  </a:lnTo>
                  <a:lnTo>
                    <a:pt x="312" y="92"/>
                  </a:lnTo>
                  <a:lnTo>
                    <a:pt x="313" y="90"/>
                  </a:lnTo>
                  <a:lnTo>
                    <a:pt x="312" y="89"/>
                  </a:lnTo>
                  <a:lnTo>
                    <a:pt x="316" y="90"/>
                  </a:lnTo>
                  <a:lnTo>
                    <a:pt x="318" y="92"/>
                  </a:lnTo>
                  <a:lnTo>
                    <a:pt x="321" y="92"/>
                  </a:lnTo>
                  <a:lnTo>
                    <a:pt x="323" y="90"/>
                  </a:lnTo>
                  <a:lnTo>
                    <a:pt x="326" y="89"/>
                  </a:lnTo>
                  <a:lnTo>
                    <a:pt x="324" y="89"/>
                  </a:lnTo>
                  <a:lnTo>
                    <a:pt x="323" y="86"/>
                  </a:lnTo>
                  <a:lnTo>
                    <a:pt x="320" y="86"/>
                  </a:lnTo>
                  <a:lnTo>
                    <a:pt x="316" y="79"/>
                  </a:lnTo>
                  <a:lnTo>
                    <a:pt x="312" y="78"/>
                  </a:lnTo>
                  <a:lnTo>
                    <a:pt x="312" y="76"/>
                  </a:lnTo>
                  <a:lnTo>
                    <a:pt x="312" y="74"/>
                  </a:lnTo>
                  <a:lnTo>
                    <a:pt x="312" y="73"/>
                  </a:lnTo>
                  <a:lnTo>
                    <a:pt x="313" y="71"/>
                  </a:lnTo>
                  <a:lnTo>
                    <a:pt x="313" y="70"/>
                  </a:lnTo>
                  <a:lnTo>
                    <a:pt x="312" y="65"/>
                  </a:lnTo>
                  <a:lnTo>
                    <a:pt x="308" y="63"/>
                  </a:lnTo>
                  <a:lnTo>
                    <a:pt x="308" y="62"/>
                  </a:lnTo>
                  <a:lnTo>
                    <a:pt x="305" y="62"/>
                  </a:lnTo>
                  <a:lnTo>
                    <a:pt x="308" y="60"/>
                  </a:lnTo>
                  <a:lnTo>
                    <a:pt x="308" y="59"/>
                  </a:lnTo>
                  <a:lnTo>
                    <a:pt x="305" y="59"/>
                  </a:lnTo>
                  <a:lnTo>
                    <a:pt x="302" y="57"/>
                  </a:lnTo>
                  <a:lnTo>
                    <a:pt x="305" y="57"/>
                  </a:lnTo>
                  <a:lnTo>
                    <a:pt x="305" y="54"/>
                  </a:lnTo>
                  <a:lnTo>
                    <a:pt x="302" y="54"/>
                  </a:lnTo>
                  <a:lnTo>
                    <a:pt x="301" y="51"/>
                  </a:lnTo>
                  <a:lnTo>
                    <a:pt x="302" y="51"/>
                  </a:lnTo>
                  <a:lnTo>
                    <a:pt x="305" y="51"/>
                  </a:lnTo>
                  <a:lnTo>
                    <a:pt x="305" y="47"/>
                  </a:lnTo>
                  <a:lnTo>
                    <a:pt x="308" y="51"/>
                  </a:lnTo>
                  <a:lnTo>
                    <a:pt x="308" y="51"/>
                  </a:lnTo>
                  <a:lnTo>
                    <a:pt x="308" y="51"/>
                  </a:lnTo>
                  <a:lnTo>
                    <a:pt x="308" y="47"/>
                  </a:lnTo>
                  <a:lnTo>
                    <a:pt x="305" y="47"/>
                  </a:lnTo>
                  <a:lnTo>
                    <a:pt x="305" y="44"/>
                  </a:lnTo>
                  <a:lnTo>
                    <a:pt x="305" y="44"/>
                  </a:lnTo>
                  <a:lnTo>
                    <a:pt x="302" y="43"/>
                  </a:lnTo>
                  <a:lnTo>
                    <a:pt x="302" y="43"/>
                  </a:lnTo>
                  <a:lnTo>
                    <a:pt x="301" y="41"/>
                  </a:lnTo>
                  <a:lnTo>
                    <a:pt x="299" y="41"/>
                  </a:lnTo>
                  <a:lnTo>
                    <a:pt x="299" y="41"/>
                  </a:lnTo>
                  <a:lnTo>
                    <a:pt x="296" y="41"/>
                  </a:lnTo>
                  <a:lnTo>
                    <a:pt x="293" y="40"/>
                  </a:lnTo>
                  <a:lnTo>
                    <a:pt x="293" y="41"/>
                  </a:lnTo>
                  <a:lnTo>
                    <a:pt x="289" y="41"/>
                  </a:lnTo>
                  <a:lnTo>
                    <a:pt x="286" y="41"/>
                  </a:lnTo>
                  <a:lnTo>
                    <a:pt x="285" y="41"/>
                  </a:lnTo>
                  <a:lnTo>
                    <a:pt x="283" y="43"/>
                  </a:lnTo>
                  <a:lnTo>
                    <a:pt x="281" y="47"/>
                  </a:lnTo>
                  <a:lnTo>
                    <a:pt x="281" y="54"/>
                  </a:lnTo>
                  <a:lnTo>
                    <a:pt x="281" y="54"/>
                  </a:lnTo>
                  <a:lnTo>
                    <a:pt x="280" y="57"/>
                  </a:lnTo>
                  <a:lnTo>
                    <a:pt x="280" y="59"/>
                  </a:lnTo>
                  <a:lnTo>
                    <a:pt x="277" y="60"/>
                  </a:lnTo>
                  <a:lnTo>
                    <a:pt x="277" y="62"/>
                  </a:lnTo>
                  <a:lnTo>
                    <a:pt x="277" y="63"/>
                  </a:lnTo>
                  <a:lnTo>
                    <a:pt x="277" y="67"/>
                  </a:lnTo>
                  <a:lnTo>
                    <a:pt x="274" y="70"/>
                  </a:lnTo>
                  <a:lnTo>
                    <a:pt x="274" y="71"/>
                  </a:lnTo>
                  <a:lnTo>
                    <a:pt x="274" y="74"/>
                  </a:lnTo>
                  <a:lnTo>
                    <a:pt x="274" y="76"/>
                  </a:lnTo>
                  <a:lnTo>
                    <a:pt x="270" y="79"/>
                  </a:lnTo>
                  <a:lnTo>
                    <a:pt x="270" y="79"/>
                  </a:lnTo>
                  <a:lnTo>
                    <a:pt x="270" y="82"/>
                  </a:lnTo>
                  <a:lnTo>
                    <a:pt x="267" y="82"/>
                  </a:lnTo>
                  <a:lnTo>
                    <a:pt x="264" y="82"/>
                  </a:lnTo>
                  <a:lnTo>
                    <a:pt x="262" y="82"/>
                  </a:lnTo>
                  <a:lnTo>
                    <a:pt x="261" y="82"/>
                  </a:lnTo>
                  <a:lnTo>
                    <a:pt x="258" y="86"/>
                  </a:lnTo>
                  <a:lnTo>
                    <a:pt x="256" y="86"/>
                  </a:lnTo>
                  <a:lnTo>
                    <a:pt x="251" y="82"/>
                  </a:lnTo>
                  <a:lnTo>
                    <a:pt x="248" y="82"/>
                  </a:lnTo>
                  <a:lnTo>
                    <a:pt x="247" y="79"/>
                  </a:lnTo>
                  <a:lnTo>
                    <a:pt x="243" y="79"/>
                  </a:lnTo>
                  <a:lnTo>
                    <a:pt x="240" y="82"/>
                  </a:lnTo>
                  <a:lnTo>
                    <a:pt x="239" y="82"/>
                  </a:lnTo>
                  <a:lnTo>
                    <a:pt x="237" y="86"/>
                  </a:lnTo>
                  <a:lnTo>
                    <a:pt x="234" y="89"/>
                  </a:lnTo>
                  <a:lnTo>
                    <a:pt x="231" y="89"/>
                  </a:lnTo>
                  <a:lnTo>
                    <a:pt x="227" y="89"/>
                  </a:lnTo>
                  <a:lnTo>
                    <a:pt x="224" y="89"/>
                  </a:lnTo>
                  <a:lnTo>
                    <a:pt x="221" y="90"/>
                  </a:lnTo>
                  <a:lnTo>
                    <a:pt x="220" y="90"/>
                  </a:lnTo>
                  <a:lnTo>
                    <a:pt x="218" y="90"/>
                  </a:lnTo>
                  <a:lnTo>
                    <a:pt x="215" y="89"/>
                  </a:lnTo>
                  <a:lnTo>
                    <a:pt x="212" y="86"/>
                  </a:lnTo>
                  <a:lnTo>
                    <a:pt x="207" y="82"/>
                  </a:lnTo>
                  <a:lnTo>
                    <a:pt x="205" y="78"/>
                  </a:lnTo>
                  <a:lnTo>
                    <a:pt x="205" y="76"/>
                  </a:lnTo>
                  <a:lnTo>
                    <a:pt x="205" y="74"/>
                  </a:lnTo>
                  <a:lnTo>
                    <a:pt x="204" y="76"/>
                  </a:lnTo>
                  <a:lnTo>
                    <a:pt x="202" y="78"/>
                  </a:lnTo>
                  <a:lnTo>
                    <a:pt x="200" y="79"/>
                  </a:lnTo>
                  <a:lnTo>
                    <a:pt x="199" y="82"/>
                  </a:lnTo>
                  <a:lnTo>
                    <a:pt x="199" y="86"/>
                  </a:lnTo>
                  <a:lnTo>
                    <a:pt x="199" y="86"/>
                  </a:lnTo>
                  <a:lnTo>
                    <a:pt x="200" y="82"/>
                  </a:lnTo>
                  <a:lnTo>
                    <a:pt x="199" y="86"/>
                  </a:lnTo>
                  <a:lnTo>
                    <a:pt x="199" y="89"/>
                  </a:lnTo>
                  <a:lnTo>
                    <a:pt x="199" y="89"/>
                  </a:lnTo>
                  <a:lnTo>
                    <a:pt x="196" y="90"/>
                  </a:lnTo>
                  <a:lnTo>
                    <a:pt x="196" y="93"/>
                  </a:lnTo>
                  <a:lnTo>
                    <a:pt x="196" y="97"/>
                  </a:lnTo>
                  <a:lnTo>
                    <a:pt x="199" y="100"/>
                  </a:lnTo>
                  <a:lnTo>
                    <a:pt x="200" y="103"/>
                  </a:lnTo>
                  <a:lnTo>
                    <a:pt x="200" y="103"/>
                  </a:lnTo>
                  <a:lnTo>
                    <a:pt x="200" y="103"/>
                  </a:lnTo>
                  <a:lnTo>
                    <a:pt x="200" y="103"/>
                  </a:lnTo>
                  <a:lnTo>
                    <a:pt x="200" y="103"/>
                  </a:lnTo>
                  <a:lnTo>
                    <a:pt x="200" y="103"/>
                  </a:lnTo>
                  <a:lnTo>
                    <a:pt x="200" y="103"/>
                  </a:lnTo>
                  <a:lnTo>
                    <a:pt x="200" y="103"/>
                  </a:lnTo>
                  <a:lnTo>
                    <a:pt x="200" y="103"/>
                  </a:lnTo>
                  <a:close/>
                  <a:moveTo>
                    <a:pt x="183" y="147"/>
                  </a:moveTo>
                  <a:lnTo>
                    <a:pt x="185" y="149"/>
                  </a:lnTo>
                  <a:lnTo>
                    <a:pt x="186" y="149"/>
                  </a:lnTo>
                  <a:lnTo>
                    <a:pt x="186" y="147"/>
                  </a:lnTo>
                  <a:lnTo>
                    <a:pt x="186" y="144"/>
                  </a:lnTo>
                  <a:lnTo>
                    <a:pt x="186" y="141"/>
                  </a:lnTo>
                  <a:lnTo>
                    <a:pt x="186" y="141"/>
                  </a:lnTo>
                  <a:lnTo>
                    <a:pt x="181" y="141"/>
                  </a:lnTo>
                  <a:lnTo>
                    <a:pt x="180" y="144"/>
                  </a:lnTo>
                  <a:lnTo>
                    <a:pt x="180" y="147"/>
                  </a:lnTo>
                  <a:lnTo>
                    <a:pt x="180" y="147"/>
                  </a:lnTo>
                  <a:lnTo>
                    <a:pt x="181" y="149"/>
                  </a:lnTo>
                  <a:lnTo>
                    <a:pt x="183" y="147"/>
                  </a:lnTo>
                  <a:lnTo>
                    <a:pt x="183" y="147"/>
                  </a:lnTo>
                  <a:lnTo>
                    <a:pt x="183" y="147"/>
                  </a:lnTo>
                  <a:lnTo>
                    <a:pt x="183" y="147"/>
                  </a:lnTo>
                  <a:lnTo>
                    <a:pt x="183" y="147"/>
                  </a:lnTo>
                  <a:lnTo>
                    <a:pt x="183" y="147"/>
                  </a:lnTo>
                  <a:lnTo>
                    <a:pt x="183" y="147"/>
                  </a:lnTo>
                  <a:lnTo>
                    <a:pt x="183" y="147"/>
                  </a:lnTo>
                  <a:lnTo>
                    <a:pt x="183" y="147"/>
                  </a:lnTo>
                  <a:close/>
                  <a:moveTo>
                    <a:pt x="447" y="73"/>
                  </a:moveTo>
                  <a:lnTo>
                    <a:pt x="448" y="71"/>
                  </a:lnTo>
                  <a:lnTo>
                    <a:pt x="448" y="68"/>
                  </a:lnTo>
                  <a:lnTo>
                    <a:pt x="447" y="65"/>
                  </a:lnTo>
                  <a:lnTo>
                    <a:pt x="445" y="67"/>
                  </a:lnTo>
                  <a:lnTo>
                    <a:pt x="443" y="68"/>
                  </a:lnTo>
                  <a:lnTo>
                    <a:pt x="442" y="71"/>
                  </a:lnTo>
                  <a:lnTo>
                    <a:pt x="443" y="74"/>
                  </a:lnTo>
                  <a:lnTo>
                    <a:pt x="447" y="73"/>
                  </a:lnTo>
                  <a:lnTo>
                    <a:pt x="447" y="73"/>
                  </a:lnTo>
                  <a:lnTo>
                    <a:pt x="447" y="73"/>
                  </a:lnTo>
                  <a:lnTo>
                    <a:pt x="447" y="73"/>
                  </a:lnTo>
                  <a:lnTo>
                    <a:pt x="447" y="73"/>
                  </a:lnTo>
                  <a:lnTo>
                    <a:pt x="447" y="73"/>
                  </a:lnTo>
                  <a:lnTo>
                    <a:pt x="447" y="73"/>
                  </a:lnTo>
                  <a:lnTo>
                    <a:pt x="447" y="73"/>
                  </a:lnTo>
                  <a:lnTo>
                    <a:pt x="447" y="73"/>
                  </a:lnTo>
                  <a:close/>
                  <a:moveTo>
                    <a:pt x="437" y="92"/>
                  </a:moveTo>
                  <a:lnTo>
                    <a:pt x="434" y="95"/>
                  </a:lnTo>
                  <a:lnTo>
                    <a:pt x="437" y="98"/>
                  </a:lnTo>
                  <a:lnTo>
                    <a:pt x="437" y="101"/>
                  </a:lnTo>
                  <a:lnTo>
                    <a:pt x="437" y="103"/>
                  </a:lnTo>
                  <a:lnTo>
                    <a:pt x="437" y="106"/>
                  </a:lnTo>
                  <a:lnTo>
                    <a:pt x="437" y="108"/>
                  </a:lnTo>
                  <a:lnTo>
                    <a:pt x="439" y="113"/>
                  </a:lnTo>
                  <a:lnTo>
                    <a:pt x="442" y="114"/>
                  </a:lnTo>
                  <a:lnTo>
                    <a:pt x="443" y="117"/>
                  </a:lnTo>
                  <a:lnTo>
                    <a:pt x="445" y="117"/>
                  </a:lnTo>
                  <a:lnTo>
                    <a:pt x="442" y="113"/>
                  </a:lnTo>
                  <a:lnTo>
                    <a:pt x="440" y="109"/>
                  </a:lnTo>
                  <a:lnTo>
                    <a:pt x="439" y="100"/>
                  </a:lnTo>
                  <a:lnTo>
                    <a:pt x="439" y="97"/>
                  </a:lnTo>
                  <a:lnTo>
                    <a:pt x="440" y="97"/>
                  </a:lnTo>
                  <a:lnTo>
                    <a:pt x="442" y="97"/>
                  </a:lnTo>
                  <a:lnTo>
                    <a:pt x="447" y="98"/>
                  </a:lnTo>
                  <a:lnTo>
                    <a:pt x="451" y="100"/>
                  </a:lnTo>
                  <a:lnTo>
                    <a:pt x="450" y="98"/>
                  </a:lnTo>
                  <a:lnTo>
                    <a:pt x="448" y="95"/>
                  </a:lnTo>
                  <a:lnTo>
                    <a:pt x="445" y="93"/>
                  </a:lnTo>
                  <a:lnTo>
                    <a:pt x="443" y="93"/>
                  </a:lnTo>
                  <a:lnTo>
                    <a:pt x="443" y="90"/>
                  </a:lnTo>
                  <a:lnTo>
                    <a:pt x="447" y="89"/>
                  </a:lnTo>
                  <a:lnTo>
                    <a:pt x="448" y="89"/>
                  </a:lnTo>
                  <a:lnTo>
                    <a:pt x="450" y="86"/>
                  </a:lnTo>
                  <a:lnTo>
                    <a:pt x="450" y="82"/>
                  </a:lnTo>
                  <a:lnTo>
                    <a:pt x="450" y="82"/>
                  </a:lnTo>
                  <a:lnTo>
                    <a:pt x="447" y="82"/>
                  </a:lnTo>
                  <a:lnTo>
                    <a:pt x="445" y="82"/>
                  </a:lnTo>
                  <a:lnTo>
                    <a:pt x="442" y="86"/>
                  </a:lnTo>
                  <a:lnTo>
                    <a:pt x="440" y="89"/>
                  </a:lnTo>
                  <a:lnTo>
                    <a:pt x="439" y="89"/>
                  </a:lnTo>
                  <a:lnTo>
                    <a:pt x="439" y="90"/>
                  </a:lnTo>
                  <a:lnTo>
                    <a:pt x="437" y="92"/>
                  </a:lnTo>
                  <a:lnTo>
                    <a:pt x="437" y="90"/>
                  </a:lnTo>
                  <a:lnTo>
                    <a:pt x="437" y="89"/>
                  </a:lnTo>
                  <a:lnTo>
                    <a:pt x="437" y="89"/>
                  </a:lnTo>
                  <a:lnTo>
                    <a:pt x="440" y="82"/>
                  </a:lnTo>
                  <a:lnTo>
                    <a:pt x="440" y="79"/>
                  </a:lnTo>
                  <a:lnTo>
                    <a:pt x="439" y="78"/>
                  </a:lnTo>
                  <a:lnTo>
                    <a:pt x="439" y="76"/>
                  </a:lnTo>
                  <a:lnTo>
                    <a:pt x="439" y="74"/>
                  </a:lnTo>
                  <a:lnTo>
                    <a:pt x="440" y="73"/>
                  </a:lnTo>
                  <a:lnTo>
                    <a:pt x="437" y="73"/>
                  </a:lnTo>
                  <a:lnTo>
                    <a:pt x="437" y="74"/>
                  </a:lnTo>
                  <a:lnTo>
                    <a:pt x="434" y="79"/>
                  </a:lnTo>
                  <a:lnTo>
                    <a:pt x="434" y="82"/>
                  </a:lnTo>
                  <a:lnTo>
                    <a:pt x="434" y="89"/>
                  </a:lnTo>
                  <a:lnTo>
                    <a:pt x="434" y="90"/>
                  </a:lnTo>
                  <a:lnTo>
                    <a:pt x="437" y="92"/>
                  </a:lnTo>
                  <a:lnTo>
                    <a:pt x="437" y="92"/>
                  </a:lnTo>
                  <a:lnTo>
                    <a:pt x="437" y="92"/>
                  </a:lnTo>
                  <a:lnTo>
                    <a:pt x="437" y="92"/>
                  </a:lnTo>
                  <a:lnTo>
                    <a:pt x="437" y="92"/>
                  </a:lnTo>
                  <a:lnTo>
                    <a:pt x="437" y="92"/>
                  </a:lnTo>
                  <a:lnTo>
                    <a:pt x="437" y="92"/>
                  </a:lnTo>
                  <a:lnTo>
                    <a:pt x="437" y="92"/>
                  </a:lnTo>
                  <a:lnTo>
                    <a:pt x="437" y="92"/>
                  </a:lnTo>
                  <a:close/>
                  <a:moveTo>
                    <a:pt x="535" y="128"/>
                  </a:moveTo>
                  <a:lnTo>
                    <a:pt x="540" y="128"/>
                  </a:lnTo>
                  <a:lnTo>
                    <a:pt x="543" y="130"/>
                  </a:lnTo>
                  <a:lnTo>
                    <a:pt x="548" y="132"/>
                  </a:lnTo>
                  <a:lnTo>
                    <a:pt x="553" y="130"/>
                  </a:lnTo>
                  <a:lnTo>
                    <a:pt x="550" y="128"/>
                  </a:lnTo>
                  <a:lnTo>
                    <a:pt x="547" y="128"/>
                  </a:lnTo>
                  <a:lnTo>
                    <a:pt x="535" y="127"/>
                  </a:lnTo>
                  <a:lnTo>
                    <a:pt x="535" y="128"/>
                  </a:lnTo>
                  <a:lnTo>
                    <a:pt x="535" y="128"/>
                  </a:lnTo>
                  <a:lnTo>
                    <a:pt x="535" y="128"/>
                  </a:lnTo>
                  <a:lnTo>
                    <a:pt x="535" y="128"/>
                  </a:lnTo>
                  <a:lnTo>
                    <a:pt x="535" y="128"/>
                  </a:lnTo>
                  <a:lnTo>
                    <a:pt x="535" y="128"/>
                  </a:lnTo>
                  <a:lnTo>
                    <a:pt x="535" y="128"/>
                  </a:lnTo>
                  <a:lnTo>
                    <a:pt x="535" y="128"/>
                  </a:lnTo>
                  <a:lnTo>
                    <a:pt x="535" y="128"/>
                  </a:lnTo>
                  <a:close/>
                  <a:moveTo>
                    <a:pt x="423" y="44"/>
                  </a:moveTo>
                  <a:lnTo>
                    <a:pt x="423" y="47"/>
                  </a:lnTo>
                  <a:lnTo>
                    <a:pt x="424" y="44"/>
                  </a:lnTo>
                  <a:lnTo>
                    <a:pt x="423" y="44"/>
                  </a:lnTo>
                  <a:lnTo>
                    <a:pt x="423" y="44"/>
                  </a:lnTo>
                  <a:lnTo>
                    <a:pt x="423" y="44"/>
                  </a:lnTo>
                  <a:lnTo>
                    <a:pt x="423" y="44"/>
                  </a:lnTo>
                  <a:lnTo>
                    <a:pt x="423" y="44"/>
                  </a:lnTo>
                  <a:lnTo>
                    <a:pt x="423" y="44"/>
                  </a:lnTo>
                  <a:lnTo>
                    <a:pt x="423" y="44"/>
                  </a:lnTo>
                  <a:lnTo>
                    <a:pt x="423" y="44"/>
                  </a:lnTo>
                  <a:lnTo>
                    <a:pt x="423" y="44"/>
                  </a:lnTo>
                  <a:close/>
                  <a:moveTo>
                    <a:pt x="472" y="109"/>
                  </a:moveTo>
                  <a:lnTo>
                    <a:pt x="472" y="111"/>
                  </a:lnTo>
                  <a:lnTo>
                    <a:pt x="474" y="108"/>
                  </a:lnTo>
                  <a:lnTo>
                    <a:pt x="475" y="111"/>
                  </a:lnTo>
                  <a:lnTo>
                    <a:pt x="477" y="111"/>
                  </a:lnTo>
                  <a:lnTo>
                    <a:pt x="477" y="109"/>
                  </a:lnTo>
                  <a:lnTo>
                    <a:pt x="474" y="106"/>
                  </a:lnTo>
                  <a:lnTo>
                    <a:pt x="475" y="106"/>
                  </a:lnTo>
                  <a:lnTo>
                    <a:pt x="477" y="108"/>
                  </a:lnTo>
                  <a:lnTo>
                    <a:pt x="478" y="109"/>
                  </a:lnTo>
                  <a:lnTo>
                    <a:pt x="480" y="109"/>
                  </a:lnTo>
                  <a:lnTo>
                    <a:pt x="481" y="109"/>
                  </a:lnTo>
                  <a:lnTo>
                    <a:pt x="483" y="108"/>
                  </a:lnTo>
                  <a:lnTo>
                    <a:pt x="481" y="106"/>
                  </a:lnTo>
                  <a:lnTo>
                    <a:pt x="481" y="105"/>
                  </a:lnTo>
                  <a:lnTo>
                    <a:pt x="475" y="105"/>
                  </a:lnTo>
                  <a:lnTo>
                    <a:pt x="470" y="105"/>
                  </a:lnTo>
                  <a:lnTo>
                    <a:pt x="469" y="106"/>
                  </a:lnTo>
                  <a:lnTo>
                    <a:pt x="472" y="108"/>
                  </a:lnTo>
                  <a:lnTo>
                    <a:pt x="472" y="109"/>
                  </a:lnTo>
                  <a:lnTo>
                    <a:pt x="472" y="109"/>
                  </a:lnTo>
                  <a:lnTo>
                    <a:pt x="472" y="109"/>
                  </a:lnTo>
                  <a:lnTo>
                    <a:pt x="472" y="109"/>
                  </a:lnTo>
                  <a:lnTo>
                    <a:pt x="472" y="109"/>
                  </a:lnTo>
                  <a:lnTo>
                    <a:pt x="472" y="109"/>
                  </a:lnTo>
                  <a:lnTo>
                    <a:pt x="472" y="109"/>
                  </a:lnTo>
                  <a:lnTo>
                    <a:pt x="472" y="109"/>
                  </a:lnTo>
                  <a:lnTo>
                    <a:pt x="472" y="109"/>
                  </a:lnTo>
                  <a:close/>
                  <a:moveTo>
                    <a:pt x="537" y="117"/>
                  </a:moveTo>
                  <a:lnTo>
                    <a:pt x="539" y="114"/>
                  </a:lnTo>
                  <a:lnTo>
                    <a:pt x="539" y="114"/>
                  </a:lnTo>
                  <a:lnTo>
                    <a:pt x="537" y="114"/>
                  </a:lnTo>
                  <a:lnTo>
                    <a:pt x="534" y="114"/>
                  </a:lnTo>
                  <a:lnTo>
                    <a:pt x="535" y="114"/>
                  </a:lnTo>
                  <a:lnTo>
                    <a:pt x="537" y="117"/>
                  </a:lnTo>
                  <a:lnTo>
                    <a:pt x="537" y="117"/>
                  </a:lnTo>
                  <a:lnTo>
                    <a:pt x="537" y="117"/>
                  </a:lnTo>
                  <a:lnTo>
                    <a:pt x="537" y="117"/>
                  </a:lnTo>
                  <a:lnTo>
                    <a:pt x="537" y="117"/>
                  </a:lnTo>
                  <a:lnTo>
                    <a:pt x="537" y="117"/>
                  </a:lnTo>
                  <a:lnTo>
                    <a:pt x="537" y="117"/>
                  </a:lnTo>
                  <a:lnTo>
                    <a:pt x="537" y="117"/>
                  </a:lnTo>
                  <a:lnTo>
                    <a:pt x="537" y="117"/>
                  </a:lnTo>
                  <a:close/>
                  <a:moveTo>
                    <a:pt x="467" y="133"/>
                  </a:moveTo>
                  <a:lnTo>
                    <a:pt x="470" y="133"/>
                  </a:lnTo>
                  <a:lnTo>
                    <a:pt x="470" y="130"/>
                  </a:lnTo>
                  <a:lnTo>
                    <a:pt x="470" y="128"/>
                  </a:lnTo>
                  <a:lnTo>
                    <a:pt x="469" y="128"/>
                  </a:lnTo>
                  <a:lnTo>
                    <a:pt x="466" y="128"/>
                  </a:lnTo>
                  <a:lnTo>
                    <a:pt x="462" y="130"/>
                  </a:lnTo>
                  <a:lnTo>
                    <a:pt x="462" y="132"/>
                  </a:lnTo>
                  <a:lnTo>
                    <a:pt x="464" y="133"/>
                  </a:lnTo>
                  <a:lnTo>
                    <a:pt x="467" y="133"/>
                  </a:lnTo>
                  <a:lnTo>
                    <a:pt x="467" y="133"/>
                  </a:lnTo>
                  <a:lnTo>
                    <a:pt x="467" y="133"/>
                  </a:lnTo>
                  <a:lnTo>
                    <a:pt x="467" y="133"/>
                  </a:lnTo>
                  <a:lnTo>
                    <a:pt x="467" y="133"/>
                  </a:lnTo>
                  <a:lnTo>
                    <a:pt x="467" y="133"/>
                  </a:lnTo>
                  <a:lnTo>
                    <a:pt x="467" y="133"/>
                  </a:lnTo>
                  <a:lnTo>
                    <a:pt x="467" y="133"/>
                  </a:lnTo>
                  <a:lnTo>
                    <a:pt x="467" y="133"/>
                  </a:lnTo>
                  <a:close/>
                  <a:moveTo>
                    <a:pt x="339" y="243"/>
                  </a:moveTo>
                  <a:lnTo>
                    <a:pt x="335" y="241"/>
                  </a:lnTo>
                  <a:lnTo>
                    <a:pt x="332" y="238"/>
                  </a:lnTo>
                  <a:lnTo>
                    <a:pt x="326" y="238"/>
                  </a:lnTo>
                  <a:lnTo>
                    <a:pt x="326" y="238"/>
                  </a:lnTo>
                  <a:lnTo>
                    <a:pt x="323" y="238"/>
                  </a:lnTo>
                  <a:lnTo>
                    <a:pt x="321" y="238"/>
                  </a:lnTo>
                  <a:lnTo>
                    <a:pt x="320" y="240"/>
                  </a:lnTo>
                  <a:lnTo>
                    <a:pt x="320" y="243"/>
                  </a:lnTo>
                  <a:lnTo>
                    <a:pt x="321" y="243"/>
                  </a:lnTo>
                  <a:lnTo>
                    <a:pt x="326" y="243"/>
                  </a:lnTo>
                  <a:lnTo>
                    <a:pt x="329" y="246"/>
                  </a:lnTo>
                  <a:lnTo>
                    <a:pt x="332" y="249"/>
                  </a:lnTo>
                  <a:lnTo>
                    <a:pt x="335" y="249"/>
                  </a:lnTo>
                  <a:lnTo>
                    <a:pt x="340" y="249"/>
                  </a:lnTo>
                  <a:lnTo>
                    <a:pt x="342" y="247"/>
                  </a:lnTo>
                  <a:lnTo>
                    <a:pt x="342" y="246"/>
                  </a:lnTo>
                  <a:lnTo>
                    <a:pt x="340" y="244"/>
                  </a:lnTo>
                  <a:lnTo>
                    <a:pt x="339" y="243"/>
                  </a:lnTo>
                  <a:lnTo>
                    <a:pt x="339" y="243"/>
                  </a:lnTo>
                  <a:lnTo>
                    <a:pt x="339" y="243"/>
                  </a:lnTo>
                  <a:lnTo>
                    <a:pt x="339" y="243"/>
                  </a:lnTo>
                  <a:lnTo>
                    <a:pt x="339" y="243"/>
                  </a:lnTo>
                  <a:lnTo>
                    <a:pt x="339" y="243"/>
                  </a:lnTo>
                  <a:lnTo>
                    <a:pt x="339" y="243"/>
                  </a:lnTo>
                  <a:lnTo>
                    <a:pt x="339" y="243"/>
                  </a:lnTo>
                  <a:lnTo>
                    <a:pt x="339" y="243"/>
                  </a:lnTo>
                  <a:close/>
                  <a:moveTo>
                    <a:pt x="254" y="203"/>
                  </a:moveTo>
                  <a:lnTo>
                    <a:pt x="250" y="203"/>
                  </a:lnTo>
                  <a:lnTo>
                    <a:pt x="245" y="203"/>
                  </a:lnTo>
                  <a:lnTo>
                    <a:pt x="242" y="205"/>
                  </a:lnTo>
                  <a:lnTo>
                    <a:pt x="242" y="205"/>
                  </a:lnTo>
                  <a:lnTo>
                    <a:pt x="245" y="208"/>
                  </a:lnTo>
                  <a:lnTo>
                    <a:pt x="247" y="208"/>
                  </a:lnTo>
                  <a:lnTo>
                    <a:pt x="248" y="208"/>
                  </a:lnTo>
                  <a:lnTo>
                    <a:pt x="250" y="208"/>
                  </a:lnTo>
                  <a:lnTo>
                    <a:pt x="254" y="208"/>
                  </a:lnTo>
                  <a:lnTo>
                    <a:pt x="256" y="205"/>
                  </a:lnTo>
                  <a:lnTo>
                    <a:pt x="256" y="205"/>
                  </a:lnTo>
                  <a:lnTo>
                    <a:pt x="259" y="205"/>
                  </a:lnTo>
                  <a:lnTo>
                    <a:pt x="258" y="203"/>
                  </a:lnTo>
                  <a:lnTo>
                    <a:pt x="256" y="203"/>
                  </a:lnTo>
                  <a:lnTo>
                    <a:pt x="254" y="203"/>
                  </a:lnTo>
                  <a:lnTo>
                    <a:pt x="254" y="203"/>
                  </a:lnTo>
                  <a:lnTo>
                    <a:pt x="254" y="203"/>
                  </a:lnTo>
                  <a:lnTo>
                    <a:pt x="254" y="203"/>
                  </a:lnTo>
                  <a:lnTo>
                    <a:pt x="254" y="203"/>
                  </a:lnTo>
                  <a:lnTo>
                    <a:pt x="254" y="203"/>
                  </a:lnTo>
                  <a:lnTo>
                    <a:pt x="254" y="203"/>
                  </a:lnTo>
                  <a:lnTo>
                    <a:pt x="254" y="203"/>
                  </a:lnTo>
                  <a:lnTo>
                    <a:pt x="254" y="203"/>
                  </a:lnTo>
                  <a:close/>
                  <a:moveTo>
                    <a:pt x="202" y="120"/>
                  </a:moveTo>
                  <a:lnTo>
                    <a:pt x="204" y="124"/>
                  </a:lnTo>
                  <a:lnTo>
                    <a:pt x="207" y="120"/>
                  </a:lnTo>
                  <a:lnTo>
                    <a:pt x="207" y="120"/>
                  </a:lnTo>
                  <a:lnTo>
                    <a:pt x="207" y="117"/>
                  </a:lnTo>
                  <a:lnTo>
                    <a:pt x="205" y="117"/>
                  </a:lnTo>
                  <a:lnTo>
                    <a:pt x="204" y="117"/>
                  </a:lnTo>
                  <a:lnTo>
                    <a:pt x="202" y="120"/>
                  </a:lnTo>
                  <a:lnTo>
                    <a:pt x="202" y="120"/>
                  </a:lnTo>
                  <a:lnTo>
                    <a:pt x="202" y="120"/>
                  </a:lnTo>
                  <a:lnTo>
                    <a:pt x="202" y="120"/>
                  </a:lnTo>
                  <a:lnTo>
                    <a:pt x="202" y="120"/>
                  </a:lnTo>
                  <a:lnTo>
                    <a:pt x="202" y="120"/>
                  </a:lnTo>
                  <a:lnTo>
                    <a:pt x="202" y="120"/>
                  </a:lnTo>
                  <a:lnTo>
                    <a:pt x="202" y="120"/>
                  </a:lnTo>
                  <a:lnTo>
                    <a:pt x="202" y="120"/>
                  </a:lnTo>
                  <a:close/>
                  <a:moveTo>
                    <a:pt x="413" y="132"/>
                  </a:moveTo>
                  <a:lnTo>
                    <a:pt x="415" y="132"/>
                  </a:lnTo>
                  <a:lnTo>
                    <a:pt x="418" y="130"/>
                  </a:lnTo>
                  <a:lnTo>
                    <a:pt x="413" y="130"/>
                  </a:lnTo>
                  <a:lnTo>
                    <a:pt x="407" y="128"/>
                  </a:lnTo>
                  <a:lnTo>
                    <a:pt x="407" y="130"/>
                  </a:lnTo>
                  <a:lnTo>
                    <a:pt x="407" y="132"/>
                  </a:lnTo>
                  <a:lnTo>
                    <a:pt x="410" y="132"/>
                  </a:lnTo>
                  <a:lnTo>
                    <a:pt x="413" y="132"/>
                  </a:lnTo>
                  <a:lnTo>
                    <a:pt x="413" y="132"/>
                  </a:lnTo>
                  <a:lnTo>
                    <a:pt x="413" y="132"/>
                  </a:lnTo>
                  <a:lnTo>
                    <a:pt x="413" y="132"/>
                  </a:lnTo>
                  <a:lnTo>
                    <a:pt x="413" y="132"/>
                  </a:lnTo>
                  <a:lnTo>
                    <a:pt x="413" y="132"/>
                  </a:lnTo>
                  <a:lnTo>
                    <a:pt x="413" y="132"/>
                  </a:lnTo>
                  <a:lnTo>
                    <a:pt x="413" y="132"/>
                  </a:lnTo>
                  <a:lnTo>
                    <a:pt x="413" y="132"/>
                  </a:lnTo>
                  <a:close/>
                  <a:moveTo>
                    <a:pt x="424" y="40"/>
                  </a:moveTo>
                  <a:lnTo>
                    <a:pt x="423" y="40"/>
                  </a:lnTo>
                  <a:lnTo>
                    <a:pt x="423" y="41"/>
                  </a:lnTo>
                  <a:lnTo>
                    <a:pt x="424" y="44"/>
                  </a:lnTo>
                  <a:lnTo>
                    <a:pt x="424" y="41"/>
                  </a:lnTo>
                  <a:lnTo>
                    <a:pt x="424" y="40"/>
                  </a:lnTo>
                  <a:lnTo>
                    <a:pt x="424" y="40"/>
                  </a:lnTo>
                  <a:lnTo>
                    <a:pt x="424" y="40"/>
                  </a:lnTo>
                  <a:lnTo>
                    <a:pt x="424" y="40"/>
                  </a:lnTo>
                  <a:lnTo>
                    <a:pt x="424" y="40"/>
                  </a:lnTo>
                  <a:lnTo>
                    <a:pt x="424" y="40"/>
                  </a:lnTo>
                  <a:lnTo>
                    <a:pt x="424" y="40"/>
                  </a:lnTo>
                  <a:lnTo>
                    <a:pt x="424" y="40"/>
                  </a:lnTo>
                  <a:lnTo>
                    <a:pt x="424" y="40"/>
                  </a:lnTo>
                  <a:close/>
                  <a:moveTo>
                    <a:pt x="413" y="136"/>
                  </a:moveTo>
                  <a:lnTo>
                    <a:pt x="415" y="138"/>
                  </a:lnTo>
                  <a:lnTo>
                    <a:pt x="415" y="136"/>
                  </a:lnTo>
                  <a:lnTo>
                    <a:pt x="413" y="132"/>
                  </a:lnTo>
                  <a:lnTo>
                    <a:pt x="413" y="133"/>
                  </a:lnTo>
                  <a:lnTo>
                    <a:pt x="413" y="136"/>
                  </a:lnTo>
                  <a:lnTo>
                    <a:pt x="413" y="136"/>
                  </a:lnTo>
                  <a:lnTo>
                    <a:pt x="413" y="136"/>
                  </a:lnTo>
                  <a:lnTo>
                    <a:pt x="413" y="136"/>
                  </a:lnTo>
                  <a:lnTo>
                    <a:pt x="413" y="136"/>
                  </a:lnTo>
                  <a:lnTo>
                    <a:pt x="413" y="136"/>
                  </a:lnTo>
                  <a:lnTo>
                    <a:pt x="413" y="136"/>
                  </a:lnTo>
                  <a:lnTo>
                    <a:pt x="413" y="136"/>
                  </a:lnTo>
                  <a:lnTo>
                    <a:pt x="413" y="136"/>
                  </a:lnTo>
                  <a:close/>
                  <a:moveTo>
                    <a:pt x="375" y="221"/>
                  </a:moveTo>
                  <a:lnTo>
                    <a:pt x="372" y="221"/>
                  </a:lnTo>
                  <a:lnTo>
                    <a:pt x="372" y="224"/>
                  </a:lnTo>
                  <a:lnTo>
                    <a:pt x="372" y="224"/>
                  </a:lnTo>
                  <a:lnTo>
                    <a:pt x="374" y="224"/>
                  </a:lnTo>
                  <a:lnTo>
                    <a:pt x="375" y="224"/>
                  </a:lnTo>
                  <a:lnTo>
                    <a:pt x="375" y="221"/>
                  </a:lnTo>
                  <a:lnTo>
                    <a:pt x="375" y="221"/>
                  </a:lnTo>
                  <a:lnTo>
                    <a:pt x="375" y="221"/>
                  </a:lnTo>
                  <a:lnTo>
                    <a:pt x="375" y="221"/>
                  </a:lnTo>
                  <a:lnTo>
                    <a:pt x="375" y="221"/>
                  </a:lnTo>
                  <a:lnTo>
                    <a:pt x="375" y="221"/>
                  </a:lnTo>
                  <a:lnTo>
                    <a:pt x="375" y="221"/>
                  </a:lnTo>
                  <a:lnTo>
                    <a:pt x="375" y="221"/>
                  </a:lnTo>
                  <a:lnTo>
                    <a:pt x="375" y="221"/>
                  </a:lnTo>
                  <a:close/>
                  <a:moveTo>
                    <a:pt x="496" y="187"/>
                  </a:moveTo>
                  <a:lnTo>
                    <a:pt x="497" y="189"/>
                  </a:lnTo>
                  <a:lnTo>
                    <a:pt x="497" y="187"/>
                  </a:lnTo>
                  <a:lnTo>
                    <a:pt x="497" y="186"/>
                  </a:lnTo>
                  <a:lnTo>
                    <a:pt x="496" y="184"/>
                  </a:lnTo>
                  <a:lnTo>
                    <a:pt x="496" y="187"/>
                  </a:lnTo>
                  <a:lnTo>
                    <a:pt x="496" y="187"/>
                  </a:lnTo>
                  <a:lnTo>
                    <a:pt x="496" y="187"/>
                  </a:lnTo>
                  <a:lnTo>
                    <a:pt x="496" y="187"/>
                  </a:lnTo>
                  <a:lnTo>
                    <a:pt x="496" y="187"/>
                  </a:lnTo>
                  <a:lnTo>
                    <a:pt x="496" y="187"/>
                  </a:lnTo>
                  <a:lnTo>
                    <a:pt x="496" y="187"/>
                  </a:lnTo>
                  <a:lnTo>
                    <a:pt x="496" y="187"/>
                  </a:lnTo>
                  <a:lnTo>
                    <a:pt x="496" y="187"/>
                  </a:lnTo>
                  <a:close/>
                  <a:moveTo>
                    <a:pt x="440" y="128"/>
                  </a:moveTo>
                  <a:lnTo>
                    <a:pt x="442" y="128"/>
                  </a:lnTo>
                  <a:lnTo>
                    <a:pt x="442" y="127"/>
                  </a:lnTo>
                  <a:lnTo>
                    <a:pt x="439" y="124"/>
                  </a:lnTo>
                  <a:lnTo>
                    <a:pt x="437" y="124"/>
                  </a:lnTo>
                  <a:lnTo>
                    <a:pt x="434" y="124"/>
                  </a:lnTo>
                  <a:lnTo>
                    <a:pt x="434" y="125"/>
                  </a:lnTo>
                  <a:lnTo>
                    <a:pt x="434" y="127"/>
                  </a:lnTo>
                  <a:lnTo>
                    <a:pt x="434" y="128"/>
                  </a:lnTo>
                  <a:lnTo>
                    <a:pt x="437" y="128"/>
                  </a:lnTo>
                  <a:lnTo>
                    <a:pt x="440" y="128"/>
                  </a:lnTo>
                  <a:lnTo>
                    <a:pt x="440" y="128"/>
                  </a:lnTo>
                  <a:lnTo>
                    <a:pt x="440" y="128"/>
                  </a:lnTo>
                  <a:lnTo>
                    <a:pt x="440" y="128"/>
                  </a:lnTo>
                  <a:lnTo>
                    <a:pt x="440" y="128"/>
                  </a:lnTo>
                  <a:lnTo>
                    <a:pt x="440" y="128"/>
                  </a:lnTo>
                  <a:lnTo>
                    <a:pt x="440" y="128"/>
                  </a:lnTo>
                  <a:lnTo>
                    <a:pt x="440" y="128"/>
                  </a:lnTo>
                  <a:lnTo>
                    <a:pt x="440" y="128"/>
                  </a:lnTo>
                  <a:close/>
                  <a:moveTo>
                    <a:pt x="404" y="79"/>
                  </a:moveTo>
                  <a:lnTo>
                    <a:pt x="402" y="79"/>
                  </a:lnTo>
                  <a:lnTo>
                    <a:pt x="399" y="82"/>
                  </a:lnTo>
                  <a:lnTo>
                    <a:pt x="399" y="82"/>
                  </a:lnTo>
                  <a:lnTo>
                    <a:pt x="396" y="86"/>
                  </a:lnTo>
                  <a:lnTo>
                    <a:pt x="396" y="86"/>
                  </a:lnTo>
                  <a:lnTo>
                    <a:pt x="396" y="86"/>
                  </a:lnTo>
                  <a:lnTo>
                    <a:pt x="393" y="89"/>
                  </a:lnTo>
                  <a:lnTo>
                    <a:pt x="393" y="89"/>
                  </a:lnTo>
                  <a:lnTo>
                    <a:pt x="389" y="90"/>
                  </a:lnTo>
                  <a:lnTo>
                    <a:pt x="385" y="90"/>
                  </a:lnTo>
                  <a:lnTo>
                    <a:pt x="377" y="90"/>
                  </a:lnTo>
                  <a:lnTo>
                    <a:pt x="375" y="90"/>
                  </a:lnTo>
                  <a:lnTo>
                    <a:pt x="374" y="90"/>
                  </a:lnTo>
                  <a:lnTo>
                    <a:pt x="364" y="89"/>
                  </a:lnTo>
                  <a:lnTo>
                    <a:pt x="361" y="89"/>
                  </a:lnTo>
                  <a:lnTo>
                    <a:pt x="358" y="89"/>
                  </a:lnTo>
                  <a:lnTo>
                    <a:pt x="358" y="86"/>
                  </a:lnTo>
                  <a:lnTo>
                    <a:pt x="356" y="86"/>
                  </a:lnTo>
                  <a:lnTo>
                    <a:pt x="351" y="86"/>
                  </a:lnTo>
                  <a:lnTo>
                    <a:pt x="350" y="86"/>
                  </a:lnTo>
                  <a:lnTo>
                    <a:pt x="348" y="86"/>
                  </a:lnTo>
                  <a:lnTo>
                    <a:pt x="348" y="89"/>
                  </a:lnTo>
                  <a:lnTo>
                    <a:pt x="347" y="90"/>
                  </a:lnTo>
                  <a:lnTo>
                    <a:pt x="343" y="90"/>
                  </a:lnTo>
                  <a:lnTo>
                    <a:pt x="342" y="89"/>
                  </a:lnTo>
                  <a:lnTo>
                    <a:pt x="339" y="92"/>
                  </a:lnTo>
                  <a:lnTo>
                    <a:pt x="339" y="95"/>
                  </a:lnTo>
                  <a:lnTo>
                    <a:pt x="337" y="97"/>
                  </a:lnTo>
                  <a:lnTo>
                    <a:pt x="335" y="98"/>
                  </a:lnTo>
                  <a:lnTo>
                    <a:pt x="335" y="101"/>
                  </a:lnTo>
                  <a:lnTo>
                    <a:pt x="335" y="103"/>
                  </a:lnTo>
                  <a:lnTo>
                    <a:pt x="335" y="105"/>
                  </a:lnTo>
                  <a:lnTo>
                    <a:pt x="335" y="105"/>
                  </a:lnTo>
                  <a:lnTo>
                    <a:pt x="332" y="103"/>
                  </a:lnTo>
                  <a:lnTo>
                    <a:pt x="335" y="106"/>
                  </a:lnTo>
                  <a:lnTo>
                    <a:pt x="335" y="109"/>
                  </a:lnTo>
                  <a:lnTo>
                    <a:pt x="335" y="113"/>
                  </a:lnTo>
                  <a:lnTo>
                    <a:pt x="335" y="117"/>
                  </a:lnTo>
                  <a:lnTo>
                    <a:pt x="335" y="114"/>
                  </a:lnTo>
                  <a:lnTo>
                    <a:pt x="332" y="117"/>
                  </a:lnTo>
                  <a:lnTo>
                    <a:pt x="329" y="120"/>
                  </a:lnTo>
                  <a:lnTo>
                    <a:pt x="329" y="124"/>
                  </a:lnTo>
                  <a:lnTo>
                    <a:pt x="329" y="130"/>
                  </a:lnTo>
                  <a:lnTo>
                    <a:pt x="329" y="133"/>
                  </a:lnTo>
                  <a:lnTo>
                    <a:pt x="326" y="136"/>
                  </a:lnTo>
                  <a:lnTo>
                    <a:pt x="326" y="138"/>
                  </a:lnTo>
                  <a:lnTo>
                    <a:pt x="324" y="141"/>
                  </a:lnTo>
                  <a:lnTo>
                    <a:pt x="323" y="141"/>
                  </a:lnTo>
                  <a:lnTo>
                    <a:pt x="323" y="144"/>
                  </a:lnTo>
                  <a:lnTo>
                    <a:pt x="323" y="144"/>
                  </a:lnTo>
                  <a:lnTo>
                    <a:pt x="323" y="147"/>
                  </a:lnTo>
                  <a:lnTo>
                    <a:pt x="323" y="151"/>
                  </a:lnTo>
                  <a:lnTo>
                    <a:pt x="324" y="155"/>
                  </a:lnTo>
                  <a:lnTo>
                    <a:pt x="326" y="154"/>
                  </a:lnTo>
                  <a:lnTo>
                    <a:pt x="329" y="152"/>
                  </a:lnTo>
                  <a:lnTo>
                    <a:pt x="329" y="154"/>
                  </a:lnTo>
                  <a:lnTo>
                    <a:pt x="332" y="155"/>
                  </a:lnTo>
                  <a:lnTo>
                    <a:pt x="332" y="159"/>
                  </a:lnTo>
                  <a:lnTo>
                    <a:pt x="332" y="163"/>
                  </a:lnTo>
                  <a:lnTo>
                    <a:pt x="332" y="168"/>
                  </a:lnTo>
                  <a:lnTo>
                    <a:pt x="329" y="173"/>
                  </a:lnTo>
                  <a:lnTo>
                    <a:pt x="329" y="179"/>
                  </a:lnTo>
                  <a:lnTo>
                    <a:pt x="329" y="182"/>
                  </a:lnTo>
                  <a:lnTo>
                    <a:pt x="329" y="184"/>
                  </a:lnTo>
                  <a:lnTo>
                    <a:pt x="329" y="184"/>
                  </a:lnTo>
                  <a:lnTo>
                    <a:pt x="332" y="184"/>
                  </a:lnTo>
                  <a:lnTo>
                    <a:pt x="332" y="186"/>
                  </a:lnTo>
                  <a:lnTo>
                    <a:pt x="332" y="184"/>
                  </a:lnTo>
                  <a:lnTo>
                    <a:pt x="335" y="184"/>
                  </a:lnTo>
                  <a:lnTo>
                    <a:pt x="337" y="184"/>
                  </a:lnTo>
                  <a:lnTo>
                    <a:pt x="339" y="182"/>
                  </a:lnTo>
                  <a:lnTo>
                    <a:pt x="342" y="182"/>
                  </a:lnTo>
                  <a:lnTo>
                    <a:pt x="340" y="179"/>
                  </a:lnTo>
                  <a:lnTo>
                    <a:pt x="340" y="176"/>
                  </a:lnTo>
                  <a:lnTo>
                    <a:pt x="342" y="170"/>
                  </a:lnTo>
                  <a:lnTo>
                    <a:pt x="342" y="167"/>
                  </a:lnTo>
                  <a:lnTo>
                    <a:pt x="342" y="157"/>
                  </a:lnTo>
                  <a:lnTo>
                    <a:pt x="342" y="152"/>
                  </a:lnTo>
                  <a:lnTo>
                    <a:pt x="342" y="149"/>
                  </a:lnTo>
                  <a:lnTo>
                    <a:pt x="340" y="147"/>
                  </a:lnTo>
                  <a:lnTo>
                    <a:pt x="342" y="144"/>
                  </a:lnTo>
                  <a:lnTo>
                    <a:pt x="343" y="144"/>
                  </a:lnTo>
                  <a:lnTo>
                    <a:pt x="347" y="141"/>
                  </a:lnTo>
                  <a:lnTo>
                    <a:pt x="350" y="141"/>
                  </a:lnTo>
                  <a:lnTo>
                    <a:pt x="351" y="144"/>
                  </a:lnTo>
                  <a:lnTo>
                    <a:pt x="351" y="144"/>
                  </a:lnTo>
                  <a:lnTo>
                    <a:pt x="350" y="149"/>
                  </a:lnTo>
                  <a:lnTo>
                    <a:pt x="350" y="154"/>
                  </a:lnTo>
                  <a:lnTo>
                    <a:pt x="351" y="157"/>
                  </a:lnTo>
                  <a:lnTo>
                    <a:pt x="354" y="160"/>
                  </a:lnTo>
                  <a:lnTo>
                    <a:pt x="358" y="162"/>
                  </a:lnTo>
                  <a:lnTo>
                    <a:pt x="358" y="163"/>
                  </a:lnTo>
                  <a:lnTo>
                    <a:pt x="356" y="167"/>
                  </a:lnTo>
                  <a:lnTo>
                    <a:pt x="356" y="170"/>
                  </a:lnTo>
                  <a:lnTo>
                    <a:pt x="356" y="170"/>
                  </a:lnTo>
                  <a:lnTo>
                    <a:pt x="358" y="173"/>
                  </a:lnTo>
                  <a:lnTo>
                    <a:pt x="361" y="173"/>
                  </a:lnTo>
                  <a:lnTo>
                    <a:pt x="364" y="173"/>
                  </a:lnTo>
                  <a:lnTo>
                    <a:pt x="364" y="170"/>
                  </a:lnTo>
                  <a:lnTo>
                    <a:pt x="364" y="168"/>
                  </a:lnTo>
                  <a:lnTo>
                    <a:pt x="364" y="168"/>
                  </a:lnTo>
                  <a:lnTo>
                    <a:pt x="367" y="168"/>
                  </a:lnTo>
                  <a:lnTo>
                    <a:pt x="370" y="168"/>
                  </a:lnTo>
                  <a:lnTo>
                    <a:pt x="372" y="168"/>
                  </a:lnTo>
                  <a:lnTo>
                    <a:pt x="370" y="167"/>
                  </a:lnTo>
                  <a:lnTo>
                    <a:pt x="372" y="167"/>
                  </a:lnTo>
                  <a:lnTo>
                    <a:pt x="374" y="165"/>
                  </a:lnTo>
                  <a:lnTo>
                    <a:pt x="374" y="163"/>
                  </a:lnTo>
                  <a:lnTo>
                    <a:pt x="372" y="162"/>
                  </a:lnTo>
                  <a:lnTo>
                    <a:pt x="372" y="163"/>
                  </a:lnTo>
                  <a:lnTo>
                    <a:pt x="370" y="162"/>
                  </a:lnTo>
                  <a:lnTo>
                    <a:pt x="370" y="160"/>
                  </a:lnTo>
                  <a:lnTo>
                    <a:pt x="370" y="159"/>
                  </a:lnTo>
                  <a:lnTo>
                    <a:pt x="367" y="159"/>
                  </a:lnTo>
                  <a:lnTo>
                    <a:pt x="367" y="157"/>
                  </a:lnTo>
                  <a:lnTo>
                    <a:pt x="367" y="154"/>
                  </a:lnTo>
                  <a:lnTo>
                    <a:pt x="367" y="152"/>
                  </a:lnTo>
                  <a:lnTo>
                    <a:pt x="367" y="152"/>
                  </a:lnTo>
                  <a:lnTo>
                    <a:pt x="367" y="151"/>
                  </a:lnTo>
                  <a:lnTo>
                    <a:pt x="367" y="149"/>
                  </a:lnTo>
                  <a:lnTo>
                    <a:pt x="367" y="147"/>
                  </a:lnTo>
                  <a:lnTo>
                    <a:pt x="367" y="147"/>
                  </a:lnTo>
                  <a:lnTo>
                    <a:pt x="367" y="144"/>
                  </a:lnTo>
                  <a:lnTo>
                    <a:pt x="364" y="144"/>
                  </a:lnTo>
                  <a:lnTo>
                    <a:pt x="361" y="138"/>
                  </a:lnTo>
                  <a:lnTo>
                    <a:pt x="361" y="138"/>
                  </a:lnTo>
                  <a:lnTo>
                    <a:pt x="358" y="135"/>
                  </a:lnTo>
                  <a:lnTo>
                    <a:pt x="358" y="133"/>
                  </a:lnTo>
                  <a:lnTo>
                    <a:pt x="356" y="132"/>
                  </a:lnTo>
                  <a:lnTo>
                    <a:pt x="356" y="128"/>
                  </a:lnTo>
                  <a:lnTo>
                    <a:pt x="358" y="132"/>
                  </a:lnTo>
                  <a:lnTo>
                    <a:pt x="361" y="130"/>
                  </a:lnTo>
                  <a:lnTo>
                    <a:pt x="364" y="127"/>
                  </a:lnTo>
                  <a:lnTo>
                    <a:pt x="367" y="125"/>
                  </a:lnTo>
                  <a:lnTo>
                    <a:pt x="370" y="124"/>
                  </a:lnTo>
                  <a:lnTo>
                    <a:pt x="372" y="120"/>
                  </a:lnTo>
                  <a:lnTo>
                    <a:pt x="374" y="117"/>
                  </a:lnTo>
                  <a:lnTo>
                    <a:pt x="377" y="117"/>
                  </a:lnTo>
                  <a:lnTo>
                    <a:pt x="378" y="117"/>
                  </a:lnTo>
                  <a:lnTo>
                    <a:pt x="380" y="117"/>
                  </a:lnTo>
                  <a:lnTo>
                    <a:pt x="381" y="117"/>
                  </a:lnTo>
                  <a:lnTo>
                    <a:pt x="383" y="114"/>
                  </a:lnTo>
                  <a:lnTo>
                    <a:pt x="380" y="113"/>
                  </a:lnTo>
                  <a:lnTo>
                    <a:pt x="378" y="113"/>
                  </a:lnTo>
                  <a:lnTo>
                    <a:pt x="372" y="114"/>
                  </a:lnTo>
                  <a:lnTo>
                    <a:pt x="375" y="114"/>
                  </a:lnTo>
                  <a:lnTo>
                    <a:pt x="370" y="114"/>
                  </a:lnTo>
                  <a:lnTo>
                    <a:pt x="367" y="114"/>
                  </a:lnTo>
                  <a:lnTo>
                    <a:pt x="367" y="117"/>
                  </a:lnTo>
                  <a:lnTo>
                    <a:pt x="364" y="117"/>
                  </a:lnTo>
                  <a:lnTo>
                    <a:pt x="361" y="117"/>
                  </a:lnTo>
                  <a:lnTo>
                    <a:pt x="361" y="117"/>
                  </a:lnTo>
                  <a:lnTo>
                    <a:pt x="358" y="114"/>
                  </a:lnTo>
                  <a:lnTo>
                    <a:pt x="356" y="117"/>
                  </a:lnTo>
                  <a:lnTo>
                    <a:pt x="354" y="120"/>
                  </a:lnTo>
                  <a:lnTo>
                    <a:pt x="353" y="124"/>
                  </a:lnTo>
                  <a:lnTo>
                    <a:pt x="350" y="124"/>
                  </a:lnTo>
                  <a:lnTo>
                    <a:pt x="347" y="124"/>
                  </a:lnTo>
                  <a:lnTo>
                    <a:pt x="345" y="120"/>
                  </a:lnTo>
                  <a:lnTo>
                    <a:pt x="345" y="117"/>
                  </a:lnTo>
                  <a:lnTo>
                    <a:pt x="343" y="117"/>
                  </a:lnTo>
                  <a:lnTo>
                    <a:pt x="342" y="117"/>
                  </a:lnTo>
                  <a:lnTo>
                    <a:pt x="339" y="114"/>
                  </a:lnTo>
                  <a:lnTo>
                    <a:pt x="339" y="111"/>
                  </a:lnTo>
                  <a:lnTo>
                    <a:pt x="339" y="106"/>
                  </a:lnTo>
                  <a:lnTo>
                    <a:pt x="339" y="101"/>
                  </a:lnTo>
                  <a:lnTo>
                    <a:pt x="340" y="98"/>
                  </a:lnTo>
                  <a:lnTo>
                    <a:pt x="343" y="97"/>
                  </a:lnTo>
                  <a:lnTo>
                    <a:pt x="348" y="97"/>
                  </a:lnTo>
                  <a:lnTo>
                    <a:pt x="353" y="97"/>
                  </a:lnTo>
                  <a:lnTo>
                    <a:pt x="354" y="97"/>
                  </a:lnTo>
                  <a:lnTo>
                    <a:pt x="358" y="97"/>
                  </a:lnTo>
                  <a:lnTo>
                    <a:pt x="361" y="97"/>
                  </a:lnTo>
                  <a:lnTo>
                    <a:pt x="361" y="97"/>
                  </a:lnTo>
                  <a:lnTo>
                    <a:pt x="367" y="97"/>
                  </a:lnTo>
                  <a:lnTo>
                    <a:pt x="370" y="97"/>
                  </a:lnTo>
                  <a:lnTo>
                    <a:pt x="375" y="97"/>
                  </a:lnTo>
                  <a:lnTo>
                    <a:pt x="380" y="98"/>
                  </a:lnTo>
                  <a:lnTo>
                    <a:pt x="383" y="100"/>
                  </a:lnTo>
                  <a:lnTo>
                    <a:pt x="388" y="100"/>
                  </a:lnTo>
                  <a:lnTo>
                    <a:pt x="393" y="98"/>
                  </a:lnTo>
                  <a:lnTo>
                    <a:pt x="396" y="97"/>
                  </a:lnTo>
                  <a:lnTo>
                    <a:pt x="399" y="92"/>
                  </a:lnTo>
                  <a:lnTo>
                    <a:pt x="399" y="89"/>
                  </a:lnTo>
                  <a:lnTo>
                    <a:pt x="402" y="86"/>
                  </a:lnTo>
                  <a:lnTo>
                    <a:pt x="405" y="82"/>
                  </a:lnTo>
                  <a:lnTo>
                    <a:pt x="404" y="79"/>
                  </a:lnTo>
                  <a:lnTo>
                    <a:pt x="404" y="79"/>
                  </a:lnTo>
                  <a:lnTo>
                    <a:pt x="404" y="79"/>
                  </a:lnTo>
                  <a:lnTo>
                    <a:pt x="404" y="79"/>
                  </a:lnTo>
                  <a:lnTo>
                    <a:pt x="404" y="79"/>
                  </a:lnTo>
                  <a:lnTo>
                    <a:pt x="404" y="79"/>
                  </a:lnTo>
                  <a:lnTo>
                    <a:pt x="404" y="79"/>
                  </a:lnTo>
                  <a:lnTo>
                    <a:pt x="404" y="79"/>
                  </a:lnTo>
                  <a:lnTo>
                    <a:pt x="404" y="79"/>
                  </a:lnTo>
                  <a:lnTo>
                    <a:pt x="404" y="79"/>
                  </a:lnTo>
                  <a:close/>
                  <a:moveTo>
                    <a:pt x="475" y="154"/>
                  </a:moveTo>
                  <a:lnTo>
                    <a:pt x="474" y="152"/>
                  </a:lnTo>
                  <a:lnTo>
                    <a:pt x="472" y="151"/>
                  </a:lnTo>
                  <a:lnTo>
                    <a:pt x="472" y="149"/>
                  </a:lnTo>
                  <a:lnTo>
                    <a:pt x="470" y="147"/>
                  </a:lnTo>
                  <a:lnTo>
                    <a:pt x="469" y="147"/>
                  </a:lnTo>
                  <a:lnTo>
                    <a:pt x="467" y="147"/>
                  </a:lnTo>
                  <a:lnTo>
                    <a:pt x="466" y="147"/>
                  </a:lnTo>
                  <a:lnTo>
                    <a:pt x="462" y="144"/>
                  </a:lnTo>
                  <a:lnTo>
                    <a:pt x="461" y="144"/>
                  </a:lnTo>
                  <a:lnTo>
                    <a:pt x="458" y="144"/>
                  </a:lnTo>
                  <a:lnTo>
                    <a:pt x="458" y="144"/>
                  </a:lnTo>
                  <a:lnTo>
                    <a:pt x="456" y="144"/>
                  </a:lnTo>
                  <a:lnTo>
                    <a:pt x="455" y="144"/>
                  </a:lnTo>
                  <a:lnTo>
                    <a:pt x="453" y="144"/>
                  </a:lnTo>
                  <a:lnTo>
                    <a:pt x="448" y="144"/>
                  </a:lnTo>
                  <a:lnTo>
                    <a:pt x="443" y="144"/>
                  </a:lnTo>
                  <a:lnTo>
                    <a:pt x="440" y="147"/>
                  </a:lnTo>
                  <a:lnTo>
                    <a:pt x="437" y="149"/>
                  </a:lnTo>
                  <a:lnTo>
                    <a:pt x="439" y="154"/>
                  </a:lnTo>
                  <a:lnTo>
                    <a:pt x="439" y="151"/>
                  </a:lnTo>
                  <a:lnTo>
                    <a:pt x="440" y="149"/>
                  </a:lnTo>
                  <a:lnTo>
                    <a:pt x="442" y="147"/>
                  </a:lnTo>
                  <a:lnTo>
                    <a:pt x="443" y="151"/>
                  </a:lnTo>
                  <a:lnTo>
                    <a:pt x="447" y="152"/>
                  </a:lnTo>
                  <a:lnTo>
                    <a:pt x="450" y="151"/>
                  </a:lnTo>
                  <a:lnTo>
                    <a:pt x="451" y="149"/>
                  </a:lnTo>
                  <a:lnTo>
                    <a:pt x="451" y="151"/>
                  </a:lnTo>
                  <a:lnTo>
                    <a:pt x="456" y="152"/>
                  </a:lnTo>
                  <a:lnTo>
                    <a:pt x="458" y="152"/>
                  </a:lnTo>
                  <a:lnTo>
                    <a:pt x="461" y="151"/>
                  </a:lnTo>
                  <a:lnTo>
                    <a:pt x="461" y="151"/>
                  </a:lnTo>
                  <a:lnTo>
                    <a:pt x="462" y="152"/>
                  </a:lnTo>
                  <a:lnTo>
                    <a:pt x="464" y="154"/>
                  </a:lnTo>
                  <a:lnTo>
                    <a:pt x="472" y="159"/>
                  </a:lnTo>
                  <a:lnTo>
                    <a:pt x="474" y="159"/>
                  </a:lnTo>
                  <a:lnTo>
                    <a:pt x="475" y="159"/>
                  </a:lnTo>
                  <a:lnTo>
                    <a:pt x="475" y="154"/>
                  </a:lnTo>
                  <a:lnTo>
                    <a:pt x="475" y="154"/>
                  </a:lnTo>
                  <a:lnTo>
                    <a:pt x="475" y="154"/>
                  </a:lnTo>
                  <a:lnTo>
                    <a:pt x="475" y="154"/>
                  </a:lnTo>
                  <a:lnTo>
                    <a:pt x="475" y="154"/>
                  </a:lnTo>
                  <a:lnTo>
                    <a:pt x="475" y="154"/>
                  </a:lnTo>
                  <a:lnTo>
                    <a:pt x="475" y="154"/>
                  </a:lnTo>
                  <a:lnTo>
                    <a:pt x="475" y="154"/>
                  </a:lnTo>
                  <a:lnTo>
                    <a:pt x="475" y="154"/>
                  </a:lnTo>
                  <a:close/>
                  <a:moveTo>
                    <a:pt x="418" y="214"/>
                  </a:moveTo>
                  <a:lnTo>
                    <a:pt x="413" y="214"/>
                  </a:lnTo>
                  <a:lnTo>
                    <a:pt x="410" y="214"/>
                  </a:lnTo>
                  <a:lnTo>
                    <a:pt x="408" y="214"/>
                  </a:lnTo>
                  <a:lnTo>
                    <a:pt x="407" y="217"/>
                  </a:lnTo>
                  <a:lnTo>
                    <a:pt x="412" y="217"/>
                  </a:lnTo>
                  <a:lnTo>
                    <a:pt x="415" y="217"/>
                  </a:lnTo>
                  <a:lnTo>
                    <a:pt x="418" y="214"/>
                  </a:lnTo>
                  <a:lnTo>
                    <a:pt x="421" y="214"/>
                  </a:lnTo>
                  <a:lnTo>
                    <a:pt x="420" y="214"/>
                  </a:lnTo>
                  <a:lnTo>
                    <a:pt x="418" y="214"/>
                  </a:lnTo>
                  <a:lnTo>
                    <a:pt x="418" y="214"/>
                  </a:lnTo>
                  <a:lnTo>
                    <a:pt x="418" y="214"/>
                  </a:lnTo>
                  <a:lnTo>
                    <a:pt x="418" y="214"/>
                  </a:lnTo>
                  <a:lnTo>
                    <a:pt x="418" y="214"/>
                  </a:lnTo>
                  <a:lnTo>
                    <a:pt x="418" y="214"/>
                  </a:lnTo>
                  <a:lnTo>
                    <a:pt x="418" y="214"/>
                  </a:lnTo>
                  <a:lnTo>
                    <a:pt x="418" y="214"/>
                  </a:lnTo>
                  <a:lnTo>
                    <a:pt x="418" y="214"/>
                  </a:lnTo>
                  <a:close/>
                  <a:moveTo>
                    <a:pt x="428" y="149"/>
                  </a:moveTo>
                  <a:lnTo>
                    <a:pt x="428" y="149"/>
                  </a:lnTo>
                  <a:lnTo>
                    <a:pt x="424" y="147"/>
                  </a:lnTo>
                  <a:lnTo>
                    <a:pt x="421" y="147"/>
                  </a:lnTo>
                  <a:lnTo>
                    <a:pt x="416" y="147"/>
                  </a:lnTo>
                  <a:lnTo>
                    <a:pt x="415" y="149"/>
                  </a:lnTo>
                  <a:lnTo>
                    <a:pt x="415" y="152"/>
                  </a:lnTo>
                  <a:lnTo>
                    <a:pt x="418" y="155"/>
                  </a:lnTo>
                  <a:lnTo>
                    <a:pt x="423" y="159"/>
                  </a:lnTo>
                  <a:lnTo>
                    <a:pt x="426" y="157"/>
                  </a:lnTo>
                  <a:lnTo>
                    <a:pt x="428" y="155"/>
                  </a:lnTo>
                  <a:lnTo>
                    <a:pt x="431" y="152"/>
                  </a:lnTo>
                  <a:lnTo>
                    <a:pt x="428" y="151"/>
                  </a:lnTo>
                  <a:lnTo>
                    <a:pt x="428" y="149"/>
                  </a:lnTo>
                  <a:lnTo>
                    <a:pt x="428" y="149"/>
                  </a:lnTo>
                  <a:lnTo>
                    <a:pt x="428" y="149"/>
                  </a:lnTo>
                  <a:lnTo>
                    <a:pt x="428" y="149"/>
                  </a:lnTo>
                  <a:lnTo>
                    <a:pt x="428" y="149"/>
                  </a:lnTo>
                  <a:lnTo>
                    <a:pt x="428" y="149"/>
                  </a:lnTo>
                  <a:lnTo>
                    <a:pt x="428" y="149"/>
                  </a:lnTo>
                  <a:lnTo>
                    <a:pt x="428" y="149"/>
                  </a:lnTo>
                  <a:lnTo>
                    <a:pt x="428" y="149"/>
                  </a:lnTo>
                  <a:close/>
                  <a:moveTo>
                    <a:pt x="434" y="114"/>
                  </a:moveTo>
                  <a:lnTo>
                    <a:pt x="434" y="114"/>
                  </a:lnTo>
                  <a:lnTo>
                    <a:pt x="437" y="114"/>
                  </a:lnTo>
                  <a:lnTo>
                    <a:pt x="437" y="117"/>
                  </a:lnTo>
                  <a:lnTo>
                    <a:pt x="437" y="114"/>
                  </a:lnTo>
                  <a:lnTo>
                    <a:pt x="439" y="114"/>
                  </a:lnTo>
                  <a:lnTo>
                    <a:pt x="437" y="114"/>
                  </a:lnTo>
                  <a:lnTo>
                    <a:pt x="437" y="113"/>
                  </a:lnTo>
                  <a:lnTo>
                    <a:pt x="437" y="111"/>
                  </a:lnTo>
                  <a:lnTo>
                    <a:pt x="437" y="109"/>
                  </a:lnTo>
                  <a:lnTo>
                    <a:pt x="434" y="108"/>
                  </a:lnTo>
                  <a:lnTo>
                    <a:pt x="434" y="109"/>
                  </a:lnTo>
                  <a:lnTo>
                    <a:pt x="431" y="109"/>
                  </a:lnTo>
                  <a:lnTo>
                    <a:pt x="431" y="111"/>
                  </a:lnTo>
                  <a:lnTo>
                    <a:pt x="434" y="114"/>
                  </a:lnTo>
                  <a:lnTo>
                    <a:pt x="434" y="114"/>
                  </a:lnTo>
                  <a:lnTo>
                    <a:pt x="434" y="114"/>
                  </a:lnTo>
                  <a:lnTo>
                    <a:pt x="434" y="114"/>
                  </a:lnTo>
                  <a:lnTo>
                    <a:pt x="434" y="114"/>
                  </a:lnTo>
                  <a:lnTo>
                    <a:pt x="434" y="114"/>
                  </a:lnTo>
                  <a:lnTo>
                    <a:pt x="434" y="114"/>
                  </a:lnTo>
                  <a:lnTo>
                    <a:pt x="434" y="114"/>
                  </a:lnTo>
                  <a:lnTo>
                    <a:pt x="434" y="114"/>
                  </a:lnTo>
                  <a:lnTo>
                    <a:pt x="434" y="114"/>
                  </a:lnTo>
                  <a:close/>
                  <a:moveTo>
                    <a:pt x="478" y="211"/>
                  </a:moveTo>
                  <a:lnTo>
                    <a:pt x="477" y="214"/>
                  </a:lnTo>
                  <a:lnTo>
                    <a:pt x="477" y="214"/>
                  </a:lnTo>
                  <a:lnTo>
                    <a:pt x="475" y="214"/>
                  </a:lnTo>
                  <a:lnTo>
                    <a:pt x="475" y="217"/>
                  </a:lnTo>
                  <a:lnTo>
                    <a:pt x="477" y="217"/>
                  </a:lnTo>
                  <a:lnTo>
                    <a:pt x="478" y="217"/>
                  </a:lnTo>
                  <a:lnTo>
                    <a:pt x="480" y="214"/>
                  </a:lnTo>
                  <a:lnTo>
                    <a:pt x="481" y="214"/>
                  </a:lnTo>
                  <a:lnTo>
                    <a:pt x="483" y="211"/>
                  </a:lnTo>
                  <a:lnTo>
                    <a:pt x="483" y="208"/>
                  </a:lnTo>
                  <a:lnTo>
                    <a:pt x="483" y="208"/>
                  </a:lnTo>
                  <a:lnTo>
                    <a:pt x="483" y="205"/>
                  </a:lnTo>
                  <a:lnTo>
                    <a:pt x="478" y="211"/>
                  </a:lnTo>
                  <a:lnTo>
                    <a:pt x="478" y="211"/>
                  </a:lnTo>
                  <a:lnTo>
                    <a:pt x="478" y="211"/>
                  </a:lnTo>
                  <a:lnTo>
                    <a:pt x="478" y="211"/>
                  </a:lnTo>
                  <a:lnTo>
                    <a:pt x="478" y="211"/>
                  </a:lnTo>
                  <a:lnTo>
                    <a:pt x="478" y="211"/>
                  </a:lnTo>
                  <a:lnTo>
                    <a:pt x="478" y="211"/>
                  </a:lnTo>
                  <a:lnTo>
                    <a:pt x="478" y="211"/>
                  </a:lnTo>
                  <a:lnTo>
                    <a:pt x="478" y="211"/>
                  </a:lnTo>
                  <a:close/>
                  <a:moveTo>
                    <a:pt x="478" y="117"/>
                  </a:moveTo>
                  <a:lnTo>
                    <a:pt x="477" y="117"/>
                  </a:lnTo>
                  <a:lnTo>
                    <a:pt x="475" y="117"/>
                  </a:lnTo>
                  <a:lnTo>
                    <a:pt x="474" y="120"/>
                  </a:lnTo>
                  <a:lnTo>
                    <a:pt x="477" y="124"/>
                  </a:lnTo>
                  <a:lnTo>
                    <a:pt x="478" y="124"/>
                  </a:lnTo>
                  <a:lnTo>
                    <a:pt x="478" y="120"/>
                  </a:lnTo>
                  <a:lnTo>
                    <a:pt x="478" y="117"/>
                  </a:lnTo>
                  <a:lnTo>
                    <a:pt x="478" y="117"/>
                  </a:lnTo>
                  <a:lnTo>
                    <a:pt x="478" y="117"/>
                  </a:lnTo>
                  <a:lnTo>
                    <a:pt x="478" y="117"/>
                  </a:lnTo>
                  <a:lnTo>
                    <a:pt x="478" y="117"/>
                  </a:lnTo>
                  <a:lnTo>
                    <a:pt x="478" y="117"/>
                  </a:lnTo>
                  <a:lnTo>
                    <a:pt x="478" y="117"/>
                  </a:lnTo>
                  <a:lnTo>
                    <a:pt x="478" y="117"/>
                  </a:lnTo>
                  <a:lnTo>
                    <a:pt x="478" y="117"/>
                  </a:lnTo>
                  <a:close/>
                  <a:moveTo>
                    <a:pt x="572" y="211"/>
                  </a:moveTo>
                  <a:lnTo>
                    <a:pt x="566" y="211"/>
                  </a:lnTo>
                  <a:lnTo>
                    <a:pt x="562" y="214"/>
                  </a:lnTo>
                  <a:lnTo>
                    <a:pt x="562" y="214"/>
                  </a:lnTo>
                  <a:lnTo>
                    <a:pt x="556" y="224"/>
                  </a:lnTo>
                  <a:lnTo>
                    <a:pt x="556" y="224"/>
                  </a:lnTo>
                  <a:lnTo>
                    <a:pt x="562" y="224"/>
                  </a:lnTo>
                  <a:lnTo>
                    <a:pt x="564" y="224"/>
                  </a:lnTo>
                  <a:lnTo>
                    <a:pt x="567" y="224"/>
                  </a:lnTo>
                  <a:lnTo>
                    <a:pt x="570" y="221"/>
                  </a:lnTo>
                  <a:lnTo>
                    <a:pt x="574" y="217"/>
                  </a:lnTo>
                  <a:lnTo>
                    <a:pt x="575" y="214"/>
                  </a:lnTo>
                  <a:lnTo>
                    <a:pt x="577" y="214"/>
                  </a:lnTo>
                  <a:lnTo>
                    <a:pt x="574" y="211"/>
                  </a:lnTo>
                  <a:lnTo>
                    <a:pt x="572" y="211"/>
                  </a:lnTo>
                  <a:lnTo>
                    <a:pt x="572" y="211"/>
                  </a:lnTo>
                  <a:lnTo>
                    <a:pt x="572" y="211"/>
                  </a:lnTo>
                  <a:lnTo>
                    <a:pt x="572" y="211"/>
                  </a:lnTo>
                  <a:lnTo>
                    <a:pt x="572" y="211"/>
                  </a:lnTo>
                  <a:lnTo>
                    <a:pt x="572" y="211"/>
                  </a:lnTo>
                  <a:lnTo>
                    <a:pt x="572" y="211"/>
                  </a:lnTo>
                  <a:lnTo>
                    <a:pt x="572" y="211"/>
                  </a:lnTo>
                  <a:lnTo>
                    <a:pt x="572" y="211"/>
                  </a:lnTo>
                  <a:close/>
                  <a:moveTo>
                    <a:pt x="604" y="141"/>
                  </a:moveTo>
                  <a:lnTo>
                    <a:pt x="602" y="141"/>
                  </a:lnTo>
                  <a:lnTo>
                    <a:pt x="597" y="138"/>
                  </a:lnTo>
                  <a:lnTo>
                    <a:pt x="594" y="138"/>
                  </a:lnTo>
                  <a:lnTo>
                    <a:pt x="591" y="138"/>
                  </a:lnTo>
                  <a:lnTo>
                    <a:pt x="588" y="136"/>
                  </a:lnTo>
                  <a:lnTo>
                    <a:pt x="585" y="135"/>
                  </a:lnTo>
                  <a:lnTo>
                    <a:pt x="577" y="130"/>
                  </a:lnTo>
                  <a:lnTo>
                    <a:pt x="572" y="128"/>
                  </a:lnTo>
                  <a:lnTo>
                    <a:pt x="567" y="125"/>
                  </a:lnTo>
                  <a:lnTo>
                    <a:pt x="564" y="125"/>
                  </a:lnTo>
                  <a:lnTo>
                    <a:pt x="562" y="127"/>
                  </a:lnTo>
                  <a:lnTo>
                    <a:pt x="559" y="128"/>
                  </a:lnTo>
                  <a:lnTo>
                    <a:pt x="556" y="130"/>
                  </a:lnTo>
                  <a:lnTo>
                    <a:pt x="556" y="130"/>
                  </a:lnTo>
                  <a:lnTo>
                    <a:pt x="556" y="133"/>
                  </a:lnTo>
                  <a:lnTo>
                    <a:pt x="556" y="135"/>
                  </a:lnTo>
                  <a:lnTo>
                    <a:pt x="551" y="136"/>
                  </a:lnTo>
                  <a:lnTo>
                    <a:pt x="548" y="136"/>
                  </a:lnTo>
                  <a:lnTo>
                    <a:pt x="547" y="136"/>
                  </a:lnTo>
                  <a:lnTo>
                    <a:pt x="545" y="138"/>
                  </a:lnTo>
                  <a:lnTo>
                    <a:pt x="543" y="141"/>
                  </a:lnTo>
                  <a:lnTo>
                    <a:pt x="542" y="144"/>
                  </a:lnTo>
                  <a:lnTo>
                    <a:pt x="540" y="147"/>
                  </a:lnTo>
                  <a:lnTo>
                    <a:pt x="534" y="151"/>
                  </a:lnTo>
                  <a:lnTo>
                    <a:pt x="532" y="152"/>
                  </a:lnTo>
                  <a:lnTo>
                    <a:pt x="531" y="152"/>
                  </a:lnTo>
                  <a:lnTo>
                    <a:pt x="528" y="149"/>
                  </a:lnTo>
                  <a:lnTo>
                    <a:pt x="524" y="147"/>
                  </a:lnTo>
                  <a:lnTo>
                    <a:pt x="524" y="144"/>
                  </a:lnTo>
                  <a:lnTo>
                    <a:pt x="524" y="141"/>
                  </a:lnTo>
                  <a:lnTo>
                    <a:pt x="524" y="138"/>
                  </a:lnTo>
                  <a:lnTo>
                    <a:pt x="521" y="138"/>
                  </a:lnTo>
                  <a:lnTo>
                    <a:pt x="521" y="141"/>
                  </a:lnTo>
                  <a:lnTo>
                    <a:pt x="521" y="144"/>
                  </a:lnTo>
                  <a:lnTo>
                    <a:pt x="518" y="136"/>
                  </a:lnTo>
                  <a:lnTo>
                    <a:pt x="518" y="132"/>
                  </a:lnTo>
                  <a:lnTo>
                    <a:pt x="518" y="128"/>
                  </a:lnTo>
                  <a:lnTo>
                    <a:pt x="518" y="124"/>
                  </a:lnTo>
                  <a:lnTo>
                    <a:pt x="518" y="120"/>
                  </a:lnTo>
                  <a:lnTo>
                    <a:pt x="518" y="117"/>
                  </a:lnTo>
                  <a:lnTo>
                    <a:pt x="518" y="117"/>
                  </a:lnTo>
                  <a:lnTo>
                    <a:pt x="516" y="114"/>
                  </a:lnTo>
                  <a:lnTo>
                    <a:pt x="513" y="114"/>
                  </a:lnTo>
                  <a:lnTo>
                    <a:pt x="508" y="114"/>
                  </a:lnTo>
                  <a:lnTo>
                    <a:pt x="504" y="113"/>
                  </a:lnTo>
                  <a:lnTo>
                    <a:pt x="499" y="109"/>
                  </a:lnTo>
                  <a:lnTo>
                    <a:pt x="494" y="109"/>
                  </a:lnTo>
                  <a:lnTo>
                    <a:pt x="489" y="113"/>
                  </a:lnTo>
                  <a:lnTo>
                    <a:pt x="486" y="114"/>
                  </a:lnTo>
                  <a:lnTo>
                    <a:pt x="481" y="114"/>
                  </a:lnTo>
                  <a:lnTo>
                    <a:pt x="481" y="117"/>
                  </a:lnTo>
                  <a:lnTo>
                    <a:pt x="480" y="120"/>
                  </a:lnTo>
                  <a:lnTo>
                    <a:pt x="478" y="124"/>
                  </a:lnTo>
                  <a:lnTo>
                    <a:pt x="478" y="124"/>
                  </a:lnTo>
                  <a:lnTo>
                    <a:pt x="481" y="125"/>
                  </a:lnTo>
                  <a:lnTo>
                    <a:pt x="483" y="124"/>
                  </a:lnTo>
                  <a:lnTo>
                    <a:pt x="486" y="125"/>
                  </a:lnTo>
                  <a:lnTo>
                    <a:pt x="486" y="125"/>
                  </a:lnTo>
                  <a:lnTo>
                    <a:pt x="489" y="125"/>
                  </a:lnTo>
                  <a:lnTo>
                    <a:pt x="489" y="127"/>
                  </a:lnTo>
                  <a:lnTo>
                    <a:pt x="489" y="127"/>
                  </a:lnTo>
                  <a:lnTo>
                    <a:pt x="489" y="128"/>
                  </a:lnTo>
                  <a:lnTo>
                    <a:pt x="489" y="130"/>
                  </a:lnTo>
                  <a:lnTo>
                    <a:pt x="489" y="132"/>
                  </a:lnTo>
                  <a:lnTo>
                    <a:pt x="493" y="133"/>
                  </a:lnTo>
                  <a:lnTo>
                    <a:pt x="493" y="135"/>
                  </a:lnTo>
                  <a:lnTo>
                    <a:pt x="494" y="136"/>
                  </a:lnTo>
                  <a:lnTo>
                    <a:pt x="497" y="136"/>
                  </a:lnTo>
                  <a:lnTo>
                    <a:pt x="499" y="136"/>
                  </a:lnTo>
                  <a:lnTo>
                    <a:pt x="502" y="136"/>
                  </a:lnTo>
                  <a:lnTo>
                    <a:pt x="505" y="136"/>
                  </a:lnTo>
                  <a:lnTo>
                    <a:pt x="508" y="136"/>
                  </a:lnTo>
                  <a:lnTo>
                    <a:pt x="512" y="135"/>
                  </a:lnTo>
                  <a:lnTo>
                    <a:pt x="516" y="135"/>
                  </a:lnTo>
                  <a:lnTo>
                    <a:pt x="515" y="136"/>
                  </a:lnTo>
                  <a:lnTo>
                    <a:pt x="516" y="136"/>
                  </a:lnTo>
                  <a:lnTo>
                    <a:pt x="515" y="138"/>
                  </a:lnTo>
                  <a:lnTo>
                    <a:pt x="516" y="138"/>
                  </a:lnTo>
                  <a:lnTo>
                    <a:pt x="513" y="138"/>
                  </a:lnTo>
                  <a:lnTo>
                    <a:pt x="513" y="141"/>
                  </a:lnTo>
                  <a:lnTo>
                    <a:pt x="512" y="141"/>
                  </a:lnTo>
                  <a:lnTo>
                    <a:pt x="512" y="141"/>
                  </a:lnTo>
                  <a:lnTo>
                    <a:pt x="510" y="141"/>
                  </a:lnTo>
                  <a:lnTo>
                    <a:pt x="508" y="138"/>
                  </a:lnTo>
                  <a:lnTo>
                    <a:pt x="507" y="138"/>
                  </a:lnTo>
                  <a:lnTo>
                    <a:pt x="504" y="138"/>
                  </a:lnTo>
                  <a:lnTo>
                    <a:pt x="502" y="141"/>
                  </a:lnTo>
                  <a:lnTo>
                    <a:pt x="501" y="144"/>
                  </a:lnTo>
                  <a:lnTo>
                    <a:pt x="497" y="144"/>
                  </a:lnTo>
                  <a:lnTo>
                    <a:pt x="494" y="141"/>
                  </a:lnTo>
                  <a:lnTo>
                    <a:pt x="493" y="141"/>
                  </a:lnTo>
                  <a:lnTo>
                    <a:pt x="489" y="144"/>
                  </a:lnTo>
                  <a:lnTo>
                    <a:pt x="489" y="144"/>
                  </a:lnTo>
                  <a:lnTo>
                    <a:pt x="493" y="144"/>
                  </a:lnTo>
                  <a:lnTo>
                    <a:pt x="494" y="147"/>
                  </a:lnTo>
                  <a:lnTo>
                    <a:pt x="496" y="149"/>
                  </a:lnTo>
                  <a:lnTo>
                    <a:pt x="499" y="151"/>
                  </a:lnTo>
                  <a:lnTo>
                    <a:pt x="501" y="151"/>
                  </a:lnTo>
                  <a:lnTo>
                    <a:pt x="501" y="154"/>
                  </a:lnTo>
                  <a:lnTo>
                    <a:pt x="501" y="155"/>
                  </a:lnTo>
                  <a:lnTo>
                    <a:pt x="499" y="155"/>
                  </a:lnTo>
                  <a:lnTo>
                    <a:pt x="499" y="157"/>
                  </a:lnTo>
                  <a:lnTo>
                    <a:pt x="499" y="160"/>
                  </a:lnTo>
                  <a:lnTo>
                    <a:pt x="502" y="163"/>
                  </a:lnTo>
                  <a:lnTo>
                    <a:pt x="505" y="162"/>
                  </a:lnTo>
                  <a:lnTo>
                    <a:pt x="507" y="160"/>
                  </a:lnTo>
                  <a:lnTo>
                    <a:pt x="508" y="157"/>
                  </a:lnTo>
                  <a:lnTo>
                    <a:pt x="508" y="155"/>
                  </a:lnTo>
                  <a:lnTo>
                    <a:pt x="510" y="154"/>
                  </a:lnTo>
                  <a:lnTo>
                    <a:pt x="508" y="152"/>
                  </a:lnTo>
                  <a:lnTo>
                    <a:pt x="510" y="152"/>
                  </a:lnTo>
                  <a:lnTo>
                    <a:pt x="512" y="151"/>
                  </a:lnTo>
                  <a:lnTo>
                    <a:pt x="512" y="149"/>
                  </a:lnTo>
                  <a:lnTo>
                    <a:pt x="513" y="147"/>
                  </a:lnTo>
                  <a:lnTo>
                    <a:pt x="515" y="144"/>
                  </a:lnTo>
                  <a:lnTo>
                    <a:pt x="513" y="149"/>
                  </a:lnTo>
                  <a:lnTo>
                    <a:pt x="512" y="152"/>
                  </a:lnTo>
                  <a:lnTo>
                    <a:pt x="512" y="154"/>
                  </a:lnTo>
                  <a:lnTo>
                    <a:pt x="512" y="155"/>
                  </a:lnTo>
                  <a:lnTo>
                    <a:pt x="513" y="155"/>
                  </a:lnTo>
                  <a:lnTo>
                    <a:pt x="515" y="159"/>
                  </a:lnTo>
                  <a:lnTo>
                    <a:pt x="518" y="159"/>
                  </a:lnTo>
                  <a:lnTo>
                    <a:pt x="518" y="160"/>
                  </a:lnTo>
                  <a:lnTo>
                    <a:pt x="518" y="160"/>
                  </a:lnTo>
                  <a:lnTo>
                    <a:pt x="521" y="160"/>
                  </a:lnTo>
                  <a:lnTo>
                    <a:pt x="521" y="162"/>
                  </a:lnTo>
                  <a:lnTo>
                    <a:pt x="524" y="160"/>
                  </a:lnTo>
                  <a:lnTo>
                    <a:pt x="524" y="160"/>
                  </a:lnTo>
                  <a:lnTo>
                    <a:pt x="524" y="162"/>
                  </a:lnTo>
                  <a:lnTo>
                    <a:pt x="524" y="163"/>
                  </a:lnTo>
                  <a:lnTo>
                    <a:pt x="528" y="165"/>
                  </a:lnTo>
                  <a:lnTo>
                    <a:pt x="529" y="168"/>
                  </a:lnTo>
                  <a:lnTo>
                    <a:pt x="534" y="168"/>
                  </a:lnTo>
                  <a:lnTo>
                    <a:pt x="539" y="170"/>
                  </a:lnTo>
                  <a:lnTo>
                    <a:pt x="547" y="173"/>
                  </a:lnTo>
                  <a:lnTo>
                    <a:pt x="551" y="173"/>
                  </a:lnTo>
                  <a:lnTo>
                    <a:pt x="553" y="176"/>
                  </a:lnTo>
                  <a:lnTo>
                    <a:pt x="556" y="176"/>
                  </a:lnTo>
                  <a:lnTo>
                    <a:pt x="559" y="176"/>
                  </a:lnTo>
                  <a:lnTo>
                    <a:pt x="562" y="179"/>
                  </a:lnTo>
                  <a:lnTo>
                    <a:pt x="564" y="182"/>
                  </a:lnTo>
                  <a:lnTo>
                    <a:pt x="564" y="182"/>
                  </a:lnTo>
                  <a:lnTo>
                    <a:pt x="566" y="182"/>
                  </a:lnTo>
                  <a:lnTo>
                    <a:pt x="566" y="182"/>
                  </a:lnTo>
                  <a:lnTo>
                    <a:pt x="566" y="186"/>
                  </a:lnTo>
                  <a:lnTo>
                    <a:pt x="567" y="186"/>
                  </a:lnTo>
                  <a:lnTo>
                    <a:pt x="567" y="187"/>
                  </a:lnTo>
                  <a:lnTo>
                    <a:pt x="569" y="187"/>
                  </a:lnTo>
                  <a:lnTo>
                    <a:pt x="569" y="189"/>
                  </a:lnTo>
                  <a:lnTo>
                    <a:pt x="569" y="190"/>
                  </a:lnTo>
                  <a:lnTo>
                    <a:pt x="569" y="195"/>
                  </a:lnTo>
                  <a:lnTo>
                    <a:pt x="572" y="198"/>
                  </a:lnTo>
                  <a:lnTo>
                    <a:pt x="574" y="200"/>
                  </a:lnTo>
                  <a:lnTo>
                    <a:pt x="572" y="201"/>
                  </a:lnTo>
                  <a:lnTo>
                    <a:pt x="578" y="205"/>
                  </a:lnTo>
                  <a:lnTo>
                    <a:pt x="575" y="203"/>
                  </a:lnTo>
                  <a:lnTo>
                    <a:pt x="572" y="203"/>
                  </a:lnTo>
                  <a:lnTo>
                    <a:pt x="570" y="205"/>
                  </a:lnTo>
                  <a:lnTo>
                    <a:pt x="575" y="208"/>
                  </a:lnTo>
                  <a:lnTo>
                    <a:pt x="572" y="208"/>
                  </a:lnTo>
                  <a:lnTo>
                    <a:pt x="574" y="211"/>
                  </a:lnTo>
                  <a:lnTo>
                    <a:pt x="577" y="211"/>
                  </a:lnTo>
                  <a:lnTo>
                    <a:pt x="577" y="214"/>
                  </a:lnTo>
                  <a:lnTo>
                    <a:pt x="577" y="214"/>
                  </a:lnTo>
                  <a:lnTo>
                    <a:pt x="575" y="217"/>
                  </a:lnTo>
                  <a:lnTo>
                    <a:pt x="574" y="221"/>
                  </a:lnTo>
                  <a:lnTo>
                    <a:pt x="574" y="221"/>
                  </a:lnTo>
                  <a:lnTo>
                    <a:pt x="577" y="221"/>
                  </a:lnTo>
                  <a:lnTo>
                    <a:pt x="578" y="217"/>
                  </a:lnTo>
                  <a:lnTo>
                    <a:pt x="578" y="221"/>
                  </a:lnTo>
                  <a:lnTo>
                    <a:pt x="580" y="221"/>
                  </a:lnTo>
                  <a:lnTo>
                    <a:pt x="583" y="221"/>
                  </a:lnTo>
                  <a:lnTo>
                    <a:pt x="586" y="221"/>
                  </a:lnTo>
                  <a:lnTo>
                    <a:pt x="588" y="217"/>
                  </a:lnTo>
                  <a:lnTo>
                    <a:pt x="588" y="221"/>
                  </a:lnTo>
                  <a:lnTo>
                    <a:pt x="588" y="224"/>
                  </a:lnTo>
                  <a:lnTo>
                    <a:pt x="591" y="227"/>
                  </a:lnTo>
                  <a:lnTo>
                    <a:pt x="594" y="230"/>
                  </a:lnTo>
                  <a:lnTo>
                    <a:pt x="597" y="232"/>
                  </a:lnTo>
                  <a:lnTo>
                    <a:pt x="601" y="235"/>
                  </a:lnTo>
                  <a:lnTo>
                    <a:pt x="599" y="233"/>
                  </a:lnTo>
                  <a:lnTo>
                    <a:pt x="602" y="205"/>
                  </a:lnTo>
                  <a:lnTo>
                    <a:pt x="601" y="203"/>
                  </a:lnTo>
                  <a:lnTo>
                    <a:pt x="601" y="200"/>
                  </a:lnTo>
                  <a:lnTo>
                    <a:pt x="602" y="194"/>
                  </a:lnTo>
                  <a:lnTo>
                    <a:pt x="605" y="141"/>
                  </a:lnTo>
                  <a:lnTo>
                    <a:pt x="605" y="141"/>
                  </a:lnTo>
                  <a:lnTo>
                    <a:pt x="604" y="141"/>
                  </a:lnTo>
                  <a:lnTo>
                    <a:pt x="604" y="141"/>
                  </a:lnTo>
                  <a:lnTo>
                    <a:pt x="604" y="141"/>
                  </a:lnTo>
                  <a:lnTo>
                    <a:pt x="604" y="141"/>
                  </a:lnTo>
                  <a:lnTo>
                    <a:pt x="604" y="141"/>
                  </a:lnTo>
                  <a:lnTo>
                    <a:pt x="604" y="141"/>
                  </a:lnTo>
                  <a:lnTo>
                    <a:pt x="604" y="141"/>
                  </a:lnTo>
                  <a:lnTo>
                    <a:pt x="604" y="141"/>
                  </a:lnTo>
                  <a:lnTo>
                    <a:pt x="604" y="141"/>
                  </a:lnTo>
                  <a:close/>
                  <a:moveTo>
                    <a:pt x="521" y="182"/>
                  </a:moveTo>
                  <a:lnTo>
                    <a:pt x="521" y="182"/>
                  </a:lnTo>
                  <a:lnTo>
                    <a:pt x="518" y="184"/>
                  </a:lnTo>
                  <a:lnTo>
                    <a:pt x="518" y="186"/>
                  </a:lnTo>
                  <a:lnTo>
                    <a:pt x="518" y="187"/>
                  </a:lnTo>
                  <a:lnTo>
                    <a:pt x="518" y="194"/>
                  </a:lnTo>
                  <a:lnTo>
                    <a:pt x="521" y="195"/>
                  </a:lnTo>
                  <a:lnTo>
                    <a:pt x="521" y="195"/>
                  </a:lnTo>
                  <a:lnTo>
                    <a:pt x="521" y="192"/>
                  </a:lnTo>
                  <a:lnTo>
                    <a:pt x="524" y="186"/>
                  </a:lnTo>
                  <a:lnTo>
                    <a:pt x="521" y="182"/>
                  </a:lnTo>
                  <a:lnTo>
                    <a:pt x="521" y="182"/>
                  </a:lnTo>
                  <a:lnTo>
                    <a:pt x="521" y="182"/>
                  </a:lnTo>
                  <a:lnTo>
                    <a:pt x="521" y="182"/>
                  </a:lnTo>
                  <a:lnTo>
                    <a:pt x="521" y="182"/>
                  </a:lnTo>
                  <a:lnTo>
                    <a:pt x="521" y="182"/>
                  </a:lnTo>
                  <a:lnTo>
                    <a:pt x="521" y="182"/>
                  </a:lnTo>
                  <a:lnTo>
                    <a:pt x="521" y="182"/>
                  </a:lnTo>
                  <a:lnTo>
                    <a:pt x="521" y="182"/>
                  </a:lnTo>
                  <a:lnTo>
                    <a:pt x="521" y="182"/>
                  </a:lnTo>
                  <a:close/>
                  <a:moveTo>
                    <a:pt x="515" y="190"/>
                  </a:moveTo>
                  <a:lnTo>
                    <a:pt x="516" y="194"/>
                  </a:lnTo>
                  <a:lnTo>
                    <a:pt x="515" y="192"/>
                  </a:lnTo>
                  <a:lnTo>
                    <a:pt x="515" y="195"/>
                  </a:lnTo>
                  <a:lnTo>
                    <a:pt x="516" y="197"/>
                  </a:lnTo>
                  <a:lnTo>
                    <a:pt x="515" y="198"/>
                  </a:lnTo>
                  <a:lnTo>
                    <a:pt x="513" y="201"/>
                  </a:lnTo>
                  <a:lnTo>
                    <a:pt x="515" y="203"/>
                  </a:lnTo>
                  <a:lnTo>
                    <a:pt x="516" y="203"/>
                  </a:lnTo>
                  <a:lnTo>
                    <a:pt x="518" y="200"/>
                  </a:lnTo>
                  <a:lnTo>
                    <a:pt x="518" y="197"/>
                  </a:lnTo>
                  <a:lnTo>
                    <a:pt x="518" y="195"/>
                  </a:lnTo>
                  <a:lnTo>
                    <a:pt x="516" y="194"/>
                  </a:lnTo>
                  <a:lnTo>
                    <a:pt x="518" y="194"/>
                  </a:lnTo>
                  <a:lnTo>
                    <a:pt x="516" y="190"/>
                  </a:lnTo>
                  <a:lnTo>
                    <a:pt x="515" y="190"/>
                  </a:lnTo>
                  <a:lnTo>
                    <a:pt x="515" y="190"/>
                  </a:lnTo>
                  <a:lnTo>
                    <a:pt x="515" y="190"/>
                  </a:lnTo>
                  <a:lnTo>
                    <a:pt x="515" y="190"/>
                  </a:lnTo>
                  <a:lnTo>
                    <a:pt x="515" y="190"/>
                  </a:lnTo>
                  <a:lnTo>
                    <a:pt x="515" y="190"/>
                  </a:lnTo>
                  <a:lnTo>
                    <a:pt x="515" y="190"/>
                  </a:lnTo>
                  <a:lnTo>
                    <a:pt x="515" y="190"/>
                  </a:lnTo>
                  <a:lnTo>
                    <a:pt x="515" y="190"/>
                  </a:lnTo>
                  <a:close/>
                  <a:moveTo>
                    <a:pt x="501" y="184"/>
                  </a:moveTo>
                  <a:lnTo>
                    <a:pt x="499" y="190"/>
                  </a:lnTo>
                  <a:lnTo>
                    <a:pt x="502" y="186"/>
                  </a:lnTo>
                  <a:lnTo>
                    <a:pt x="504" y="179"/>
                  </a:lnTo>
                  <a:lnTo>
                    <a:pt x="502" y="182"/>
                  </a:lnTo>
                  <a:lnTo>
                    <a:pt x="501" y="184"/>
                  </a:lnTo>
                  <a:lnTo>
                    <a:pt x="501" y="184"/>
                  </a:lnTo>
                  <a:lnTo>
                    <a:pt x="501" y="184"/>
                  </a:lnTo>
                  <a:lnTo>
                    <a:pt x="501" y="184"/>
                  </a:lnTo>
                  <a:lnTo>
                    <a:pt x="501" y="184"/>
                  </a:lnTo>
                  <a:lnTo>
                    <a:pt x="501" y="184"/>
                  </a:lnTo>
                  <a:lnTo>
                    <a:pt x="501" y="184"/>
                  </a:lnTo>
                  <a:lnTo>
                    <a:pt x="501" y="184"/>
                  </a:lnTo>
                  <a:lnTo>
                    <a:pt x="501" y="184"/>
                  </a:lnTo>
                  <a:close/>
                  <a:moveTo>
                    <a:pt x="385" y="224"/>
                  </a:moveTo>
                  <a:lnTo>
                    <a:pt x="386" y="227"/>
                  </a:lnTo>
                  <a:lnTo>
                    <a:pt x="388" y="224"/>
                  </a:lnTo>
                  <a:lnTo>
                    <a:pt x="388" y="221"/>
                  </a:lnTo>
                  <a:lnTo>
                    <a:pt x="386" y="224"/>
                  </a:lnTo>
                  <a:lnTo>
                    <a:pt x="385" y="224"/>
                  </a:lnTo>
                  <a:lnTo>
                    <a:pt x="383" y="224"/>
                  </a:lnTo>
                  <a:lnTo>
                    <a:pt x="385" y="224"/>
                  </a:lnTo>
                  <a:lnTo>
                    <a:pt x="385" y="224"/>
                  </a:lnTo>
                  <a:lnTo>
                    <a:pt x="385" y="224"/>
                  </a:lnTo>
                  <a:lnTo>
                    <a:pt x="385" y="224"/>
                  </a:lnTo>
                  <a:lnTo>
                    <a:pt x="385" y="224"/>
                  </a:lnTo>
                  <a:lnTo>
                    <a:pt x="385" y="224"/>
                  </a:lnTo>
                  <a:lnTo>
                    <a:pt x="385" y="224"/>
                  </a:lnTo>
                  <a:lnTo>
                    <a:pt x="385" y="224"/>
                  </a:lnTo>
                  <a:lnTo>
                    <a:pt x="385" y="224"/>
                  </a:lnTo>
                  <a:close/>
                  <a:moveTo>
                    <a:pt x="370" y="170"/>
                  </a:moveTo>
                  <a:lnTo>
                    <a:pt x="367" y="173"/>
                  </a:lnTo>
                  <a:lnTo>
                    <a:pt x="367" y="173"/>
                  </a:lnTo>
                  <a:lnTo>
                    <a:pt x="367" y="176"/>
                  </a:lnTo>
                  <a:lnTo>
                    <a:pt x="367" y="176"/>
                  </a:lnTo>
                  <a:lnTo>
                    <a:pt x="364" y="179"/>
                  </a:lnTo>
                  <a:lnTo>
                    <a:pt x="364" y="179"/>
                  </a:lnTo>
                  <a:lnTo>
                    <a:pt x="367" y="182"/>
                  </a:lnTo>
                  <a:lnTo>
                    <a:pt x="367" y="179"/>
                  </a:lnTo>
                  <a:lnTo>
                    <a:pt x="367" y="182"/>
                  </a:lnTo>
                  <a:lnTo>
                    <a:pt x="370" y="179"/>
                  </a:lnTo>
                  <a:lnTo>
                    <a:pt x="370" y="179"/>
                  </a:lnTo>
                  <a:lnTo>
                    <a:pt x="370" y="176"/>
                  </a:lnTo>
                  <a:lnTo>
                    <a:pt x="370" y="176"/>
                  </a:lnTo>
                  <a:lnTo>
                    <a:pt x="370" y="173"/>
                  </a:lnTo>
                  <a:lnTo>
                    <a:pt x="370" y="170"/>
                  </a:lnTo>
                  <a:lnTo>
                    <a:pt x="370" y="170"/>
                  </a:lnTo>
                  <a:lnTo>
                    <a:pt x="370" y="170"/>
                  </a:lnTo>
                  <a:lnTo>
                    <a:pt x="370" y="170"/>
                  </a:lnTo>
                  <a:lnTo>
                    <a:pt x="370" y="170"/>
                  </a:lnTo>
                  <a:lnTo>
                    <a:pt x="370" y="170"/>
                  </a:lnTo>
                  <a:lnTo>
                    <a:pt x="370" y="170"/>
                  </a:lnTo>
                  <a:lnTo>
                    <a:pt x="370" y="170"/>
                  </a:lnTo>
                  <a:lnTo>
                    <a:pt x="370" y="170"/>
                  </a:lnTo>
                  <a:close/>
                  <a:moveTo>
                    <a:pt x="383" y="124"/>
                  </a:moveTo>
                  <a:lnTo>
                    <a:pt x="381" y="124"/>
                  </a:lnTo>
                  <a:lnTo>
                    <a:pt x="380" y="124"/>
                  </a:lnTo>
                  <a:lnTo>
                    <a:pt x="381" y="124"/>
                  </a:lnTo>
                  <a:lnTo>
                    <a:pt x="383" y="124"/>
                  </a:lnTo>
                  <a:lnTo>
                    <a:pt x="383" y="124"/>
                  </a:lnTo>
                  <a:lnTo>
                    <a:pt x="383" y="124"/>
                  </a:lnTo>
                  <a:lnTo>
                    <a:pt x="383" y="124"/>
                  </a:lnTo>
                  <a:lnTo>
                    <a:pt x="383" y="124"/>
                  </a:lnTo>
                  <a:lnTo>
                    <a:pt x="383" y="124"/>
                  </a:lnTo>
                  <a:lnTo>
                    <a:pt x="383" y="124"/>
                  </a:lnTo>
                  <a:lnTo>
                    <a:pt x="383" y="124"/>
                  </a:lnTo>
                  <a:lnTo>
                    <a:pt x="383" y="124"/>
                  </a:lnTo>
                  <a:close/>
                  <a:moveTo>
                    <a:pt x="378" y="120"/>
                  </a:moveTo>
                  <a:lnTo>
                    <a:pt x="375" y="120"/>
                  </a:lnTo>
                  <a:lnTo>
                    <a:pt x="374" y="124"/>
                  </a:lnTo>
                  <a:lnTo>
                    <a:pt x="375" y="127"/>
                  </a:lnTo>
                  <a:lnTo>
                    <a:pt x="377" y="124"/>
                  </a:lnTo>
                  <a:lnTo>
                    <a:pt x="378" y="125"/>
                  </a:lnTo>
                  <a:lnTo>
                    <a:pt x="378" y="127"/>
                  </a:lnTo>
                  <a:lnTo>
                    <a:pt x="380" y="127"/>
                  </a:lnTo>
                  <a:lnTo>
                    <a:pt x="380" y="124"/>
                  </a:lnTo>
                  <a:lnTo>
                    <a:pt x="380" y="120"/>
                  </a:lnTo>
                  <a:lnTo>
                    <a:pt x="378" y="120"/>
                  </a:lnTo>
                  <a:lnTo>
                    <a:pt x="378" y="120"/>
                  </a:lnTo>
                  <a:lnTo>
                    <a:pt x="378" y="120"/>
                  </a:lnTo>
                  <a:lnTo>
                    <a:pt x="378" y="120"/>
                  </a:lnTo>
                  <a:lnTo>
                    <a:pt x="378" y="120"/>
                  </a:lnTo>
                  <a:lnTo>
                    <a:pt x="378" y="120"/>
                  </a:lnTo>
                  <a:lnTo>
                    <a:pt x="378" y="120"/>
                  </a:lnTo>
                  <a:lnTo>
                    <a:pt x="378" y="120"/>
                  </a:lnTo>
                  <a:lnTo>
                    <a:pt x="378" y="120"/>
                  </a:lnTo>
                  <a:close/>
                  <a:moveTo>
                    <a:pt x="370" y="182"/>
                  </a:moveTo>
                  <a:lnTo>
                    <a:pt x="370" y="184"/>
                  </a:lnTo>
                  <a:lnTo>
                    <a:pt x="372" y="186"/>
                  </a:lnTo>
                  <a:lnTo>
                    <a:pt x="374" y="182"/>
                  </a:lnTo>
                  <a:lnTo>
                    <a:pt x="377" y="182"/>
                  </a:lnTo>
                  <a:lnTo>
                    <a:pt x="377" y="179"/>
                  </a:lnTo>
                  <a:lnTo>
                    <a:pt x="375" y="179"/>
                  </a:lnTo>
                  <a:lnTo>
                    <a:pt x="374" y="179"/>
                  </a:lnTo>
                  <a:lnTo>
                    <a:pt x="374" y="173"/>
                  </a:lnTo>
                  <a:lnTo>
                    <a:pt x="375" y="173"/>
                  </a:lnTo>
                  <a:lnTo>
                    <a:pt x="377" y="170"/>
                  </a:lnTo>
                  <a:lnTo>
                    <a:pt x="377" y="170"/>
                  </a:lnTo>
                  <a:lnTo>
                    <a:pt x="375" y="167"/>
                  </a:lnTo>
                  <a:lnTo>
                    <a:pt x="374" y="168"/>
                  </a:lnTo>
                  <a:lnTo>
                    <a:pt x="372" y="170"/>
                  </a:lnTo>
                  <a:lnTo>
                    <a:pt x="370" y="176"/>
                  </a:lnTo>
                  <a:lnTo>
                    <a:pt x="370" y="179"/>
                  </a:lnTo>
                  <a:lnTo>
                    <a:pt x="370" y="182"/>
                  </a:lnTo>
                  <a:lnTo>
                    <a:pt x="370" y="182"/>
                  </a:lnTo>
                  <a:lnTo>
                    <a:pt x="370" y="182"/>
                  </a:lnTo>
                  <a:lnTo>
                    <a:pt x="370" y="182"/>
                  </a:lnTo>
                  <a:lnTo>
                    <a:pt x="370" y="182"/>
                  </a:lnTo>
                  <a:lnTo>
                    <a:pt x="370" y="182"/>
                  </a:lnTo>
                  <a:lnTo>
                    <a:pt x="370" y="182"/>
                  </a:lnTo>
                  <a:lnTo>
                    <a:pt x="370" y="182"/>
                  </a:lnTo>
                  <a:lnTo>
                    <a:pt x="370" y="182"/>
                  </a:lnTo>
                  <a:close/>
                  <a:moveTo>
                    <a:pt x="342" y="192"/>
                  </a:moveTo>
                  <a:lnTo>
                    <a:pt x="342" y="187"/>
                  </a:lnTo>
                  <a:lnTo>
                    <a:pt x="340" y="189"/>
                  </a:lnTo>
                  <a:lnTo>
                    <a:pt x="340" y="192"/>
                  </a:lnTo>
                  <a:lnTo>
                    <a:pt x="342" y="197"/>
                  </a:lnTo>
                  <a:lnTo>
                    <a:pt x="342" y="192"/>
                  </a:lnTo>
                  <a:lnTo>
                    <a:pt x="342" y="192"/>
                  </a:lnTo>
                  <a:lnTo>
                    <a:pt x="342" y="192"/>
                  </a:lnTo>
                  <a:lnTo>
                    <a:pt x="342" y="192"/>
                  </a:lnTo>
                  <a:lnTo>
                    <a:pt x="342" y="192"/>
                  </a:lnTo>
                  <a:lnTo>
                    <a:pt x="342" y="192"/>
                  </a:lnTo>
                  <a:lnTo>
                    <a:pt x="342" y="192"/>
                  </a:lnTo>
                  <a:lnTo>
                    <a:pt x="342" y="192"/>
                  </a:lnTo>
                  <a:lnTo>
                    <a:pt x="342" y="192"/>
                  </a:lnTo>
                  <a:close/>
                  <a:moveTo>
                    <a:pt x="361" y="179"/>
                  </a:moveTo>
                  <a:lnTo>
                    <a:pt x="361" y="176"/>
                  </a:lnTo>
                  <a:lnTo>
                    <a:pt x="361" y="179"/>
                  </a:lnTo>
                  <a:lnTo>
                    <a:pt x="361" y="179"/>
                  </a:lnTo>
                  <a:lnTo>
                    <a:pt x="361" y="182"/>
                  </a:lnTo>
                  <a:lnTo>
                    <a:pt x="361" y="179"/>
                  </a:lnTo>
                  <a:lnTo>
                    <a:pt x="361" y="179"/>
                  </a:lnTo>
                  <a:lnTo>
                    <a:pt x="361" y="179"/>
                  </a:lnTo>
                  <a:lnTo>
                    <a:pt x="361" y="179"/>
                  </a:lnTo>
                  <a:lnTo>
                    <a:pt x="361" y="179"/>
                  </a:lnTo>
                  <a:lnTo>
                    <a:pt x="361" y="179"/>
                  </a:lnTo>
                  <a:lnTo>
                    <a:pt x="361" y="179"/>
                  </a:lnTo>
                  <a:lnTo>
                    <a:pt x="361" y="179"/>
                  </a:lnTo>
                  <a:lnTo>
                    <a:pt x="361" y="179"/>
                  </a:lnTo>
                  <a:close/>
                  <a:moveTo>
                    <a:pt x="377" y="221"/>
                  </a:moveTo>
                  <a:lnTo>
                    <a:pt x="378" y="224"/>
                  </a:lnTo>
                  <a:lnTo>
                    <a:pt x="378" y="221"/>
                  </a:lnTo>
                  <a:lnTo>
                    <a:pt x="377" y="221"/>
                  </a:lnTo>
                  <a:lnTo>
                    <a:pt x="377" y="221"/>
                  </a:lnTo>
                  <a:lnTo>
                    <a:pt x="377" y="221"/>
                  </a:lnTo>
                  <a:lnTo>
                    <a:pt x="377" y="221"/>
                  </a:lnTo>
                  <a:lnTo>
                    <a:pt x="377" y="221"/>
                  </a:lnTo>
                  <a:lnTo>
                    <a:pt x="377" y="221"/>
                  </a:lnTo>
                  <a:lnTo>
                    <a:pt x="377" y="221"/>
                  </a:lnTo>
                  <a:lnTo>
                    <a:pt x="377" y="221"/>
                  </a:lnTo>
                  <a:lnTo>
                    <a:pt x="377" y="221"/>
                  </a:lnTo>
                  <a:close/>
                  <a:moveTo>
                    <a:pt x="377" y="162"/>
                  </a:moveTo>
                  <a:lnTo>
                    <a:pt x="375" y="160"/>
                  </a:lnTo>
                  <a:lnTo>
                    <a:pt x="375" y="163"/>
                  </a:lnTo>
                  <a:lnTo>
                    <a:pt x="375" y="165"/>
                  </a:lnTo>
                  <a:lnTo>
                    <a:pt x="377" y="165"/>
                  </a:lnTo>
                  <a:lnTo>
                    <a:pt x="378" y="163"/>
                  </a:lnTo>
                  <a:lnTo>
                    <a:pt x="377" y="162"/>
                  </a:lnTo>
                  <a:lnTo>
                    <a:pt x="377" y="162"/>
                  </a:lnTo>
                  <a:lnTo>
                    <a:pt x="377" y="162"/>
                  </a:lnTo>
                  <a:lnTo>
                    <a:pt x="377" y="162"/>
                  </a:lnTo>
                  <a:lnTo>
                    <a:pt x="377" y="162"/>
                  </a:lnTo>
                  <a:lnTo>
                    <a:pt x="377" y="162"/>
                  </a:lnTo>
                  <a:lnTo>
                    <a:pt x="377" y="162"/>
                  </a:lnTo>
                  <a:lnTo>
                    <a:pt x="377" y="162"/>
                  </a:lnTo>
                  <a:lnTo>
                    <a:pt x="377" y="162"/>
                  </a:lnTo>
                  <a:close/>
                  <a:moveTo>
                    <a:pt x="402" y="128"/>
                  </a:moveTo>
                  <a:lnTo>
                    <a:pt x="399" y="128"/>
                  </a:lnTo>
                  <a:lnTo>
                    <a:pt x="396" y="127"/>
                  </a:lnTo>
                  <a:lnTo>
                    <a:pt x="393" y="130"/>
                  </a:lnTo>
                  <a:lnTo>
                    <a:pt x="393" y="132"/>
                  </a:lnTo>
                  <a:lnTo>
                    <a:pt x="396" y="132"/>
                  </a:lnTo>
                  <a:lnTo>
                    <a:pt x="399" y="132"/>
                  </a:lnTo>
                  <a:lnTo>
                    <a:pt x="399" y="132"/>
                  </a:lnTo>
                  <a:lnTo>
                    <a:pt x="402" y="132"/>
                  </a:lnTo>
                  <a:lnTo>
                    <a:pt x="404" y="130"/>
                  </a:lnTo>
                  <a:lnTo>
                    <a:pt x="405" y="130"/>
                  </a:lnTo>
                  <a:lnTo>
                    <a:pt x="404" y="128"/>
                  </a:lnTo>
                  <a:lnTo>
                    <a:pt x="402" y="128"/>
                  </a:lnTo>
                  <a:lnTo>
                    <a:pt x="402" y="128"/>
                  </a:lnTo>
                  <a:lnTo>
                    <a:pt x="402" y="128"/>
                  </a:lnTo>
                  <a:lnTo>
                    <a:pt x="402" y="128"/>
                  </a:lnTo>
                  <a:lnTo>
                    <a:pt x="402" y="128"/>
                  </a:lnTo>
                  <a:lnTo>
                    <a:pt x="402" y="128"/>
                  </a:lnTo>
                  <a:lnTo>
                    <a:pt x="402" y="128"/>
                  </a:lnTo>
                  <a:lnTo>
                    <a:pt x="402" y="128"/>
                  </a:lnTo>
                  <a:lnTo>
                    <a:pt x="402" y="128"/>
                  </a:lnTo>
                  <a:close/>
                  <a:moveTo>
                    <a:pt x="396" y="221"/>
                  </a:moveTo>
                  <a:lnTo>
                    <a:pt x="391" y="221"/>
                  </a:lnTo>
                  <a:lnTo>
                    <a:pt x="391" y="221"/>
                  </a:lnTo>
                  <a:lnTo>
                    <a:pt x="393" y="221"/>
                  </a:lnTo>
                  <a:lnTo>
                    <a:pt x="389" y="224"/>
                  </a:lnTo>
                  <a:lnTo>
                    <a:pt x="389" y="224"/>
                  </a:lnTo>
                  <a:lnTo>
                    <a:pt x="393" y="224"/>
                  </a:lnTo>
                  <a:lnTo>
                    <a:pt x="399" y="224"/>
                  </a:lnTo>
                  <a:lnTo>
                    <a:pt x="399" y="221"/>
                  </a:lnTo>
                  <a:lnTo>
                    <a:pt x="399" y="221"/>
                  </a:lnTo>
                  <a:lnTo>
                    <a:pt x="396" y="221"/>
                  </a:lnTo>
                  <a:lnTo>
                    <a:pt x="396" y="221"/>
                  </a:lnTo>
                  <a:lnTo>
                    <a:pt x="396" y="221"/>
                  </a:lnTo>
                  <a:lnTo>
                    <a:pt x="396" y="221"/>
                  </a:lnTo>
                  <a:lnTo>
                    <a:pt x="396" y="221"/>
                  </a:lnTo>
                  <a:lnTo>
                    <a:pt x="396" y="221"/>
                  </a:lnTo>
                  <a:lnTo>
                    <a:pt x="396" y="221"/>
                  </a:lnTo>
                  <a:lnTo>
                    <a:pt x="396" y="221"/>
                  </a:lnTo>
                  <a:lnTo>
                    <a:pt x="396" y="221"/>
                  </a:lnTo>
                  <a:close/>
                  <a:moveTo>
                    <a:pt x="396" y="230"/>
                  </a:moveTo>
                  <a:lnTo>
                    <a:pt x="393" y="232"/>
                  </a:lnTo>
                  <a:lnTo>
                    <a:pt x="393" y="233"/>
                  </a:lnTo>
                  <a:lnTo>
                    <a:pt x="393" y="235"/>
                  </a:lnTo>
                  <a:lnTo>
                    <a:pt x="389" y="235"/>
                  </a:lnTo>
                  <a:lnTo>
                    <a:pt x="386" y="236"/>
                  </a:lnTo>
                  <a:lnTo>
                    <a:pt x="383" y="238"/>
                  </a:lnTo>
                  <a:lnTo>
                    <a:pt x="381" y="238"/>
                  </a:lnTo>
                  <a:lnTo>
                    <a:pt x="377" y="247"/>
                  </a:lnTo>
                  <a:lnTo>
                    <a:pt x="378" y="247"/>
                  </a:lnTo>
                  <a:lnTo>
                    <a:pt x="378" y="249"/>
                  </a:lnTo>
                  <a:lnTo>
                    <a:pt x="377" y="249"/>
                  </a:lnTo>
                  <a:lnTo>
                    <a:pt x="375" y="252"/>
                  </a:lnTo>
                  <a:lnTo>
                    <a:pt x="380" y="252"/>
                  </a:lnTo>
                  <a:lnTo>
                    <a:pt x="383" y="249"/>
                  </a:lnTo>
                  <a:lnTo>
                    <a:pt x="385" y="249"/>
                  </a:lnTo>
                  <a:lnTo>
                    <a:pt x="389" y="249"/>
                  </a:lnTo>
                  <a:lnTo>
                    <a:pt x="393" y="246"/>
                  </a:lnTo>
                  <a:lnTo>
                    <a:pt x="393" y="244"/>
                  </a:lnTo>
                  <a:lnTo>
                    <a:pt x="396" y="241"/>
                  </a:lnTo>
                  <a:lnTo>
                    <a:pt x="396" y="240"/>
                  </a:lnTo>
                  <a:lnTo>
                    <a:pt x="396" y="240"/>
                  </a:lnTo>
                  <a:lnTo>
                    <a:pt x="399" y="238"/>
                  </a:lnTo>
                  <a:lnTo>
                    <a:pt x="396" y="235"/>
                  </a:lnTo>
                  <a:lnTo>
                    <a:pt x="399" y="233"/>
                  </a:lnTo>
                  <a:lnTo>
                    <a:pt x="396" y="230"/>
                  </a:lnTo>
                  <a:lnTo>
                    <a:pt x="396" y="230"/>
                  </a:lnTo>
                  <a:lnTo>
                    <a:pt x="396" y="230"/>
                  </a:lnTo>
                  <a:lnTo>
                    <a:pt x="396" y="230"/>
                  </a:lnTo>
                  <a:lnTo>
                    <a:pt x="396" y="230"/>
                  </a:lnTo>
                  <a:lnTo>
                    <a:pt x="396" y="230"/>
                  </a:lnTo>
                  <a:lnTo>
                    <a:pt x="396" y="230"/>
                  </a:lnTo>
                  <a:lnTo>
                    <a:pt x="396" y="230"/>
                  </a:lnTo>
                  <a:lnTo>
                    <a:pt x="396" y="230"/>
                  </a:lnTo>
                  <a:close/>
                  <a:moveTo>
                    <a:pt x="378" y="224"/>
                  </a:moveTo>
                  <a:lnTo>
                    <a:pt x="375" y="224"/>
                  </a:lnTo>
                  <a:lnTo>
                    <a:pt x="375" y="227"/>
                  </a:lnTo>
                  <a:lnTo>
                    <a:pt x="377" y="227"/>
                  </a:lnTo>
                  <a:lnTo>
                    <a:pt x="378" y="227"/>
                  </a:lnTo>
                  <a:lnTo>
                    <a:pt x="378" y="224"/>
                  </a:lnTo>
                  <a:lnTo>
                    <a:pt x="380" y="224"/>
                  </a:lnTo>
                  <a:lnTo>
                    <a:pt x="385" y="221"/>
                  </a:lnTo>
                  <a:lnTo>
                    <a:pt x="381" y="221"/>
                  </a:lnTo>
                  <a:lnTo>
                    <a:pt x="378" y="224"/>
                  </a:lnTo>
                  <a:lnTo>
                    <a:pt x="378" y="224"/>
                  </a:lnTo>
                  <a:lnTo>
                    <a:pt x="378" y="224"/>
                  </a:lnTo>
                  <a:lnTo>
                    <a:pt x="378" y="224"/>
                  </a:lnTo>
                  <a:lnTo>
                    <a:pt x="378" y="224"/>
                  </a:lnTo>
                  <a:lnTo>
                    <a:pt x="378" y="224"/>
                  </a:lnTo>
                  <a:lnTo>
                    <a:pt x="378" y="224"/>
                  </a:lnTo>
                  <a:lnTo>
                    <a:pt x="378" y="224"/>
                  </a:lnTo>
                  <a:lnTo>
                    <a:pt x="378" y="224"/>
                  </a:lnTo>
                  <a:close/>
                  <a:moveTo>
                    <a:pt x="370" y="221"/>
                  </a:moveTo>
                  <a:lnTo>
                    <a:pt x="370" y="221"/>
                  </a:lnTo>
                  <a:lnTo>
                    <a:pt x="370" y="221"/>
                  </a:lnTo>
                  <a:lnTo>
                    <a:pt x="367" y="224"/>
                  </a:lnTo>
                  <a:lnTo>
                    <a:pt x="364" y="227"/>
                  </a:lnTo>
                  <a:lnTo>
                    <a:pt x="364" y="227"/>
                  </a:lnTo>
                  <a:lnTo>
                    <a:pt x="361" y="227"/>
                  </a:lnTo>
                  <a:lnTo>
                    <a:pt x="361" y="224"/>
                  </a:lnTo>
                  <a:lnTo>
                    <a:pt x="358" y="224"/>
                  </a:lnTo>
                  <a:lnTo>
                    <a:pt x="358" y="224"/>
                  </a:lnTo>
                  <a:lnTo>
                    <a:pt x="354" y="224"/>
                  </a:lnTo>
                  <a:lnTo>
                    <a:pt x="354" y="227"/>
                  </a:lnTo>
                  <a:lnTo>
                    <a:pt x="353" y="227"/>
                  </a:lnTo>
                  <a:lnTo>
                    <a:pt x="351" y="227"/>
                  </a:lnTo>
                  <a:lnTo>
                    <a:pt x="350" y="224"/>
                  </a:lnTo>
                  <a:lnTo>
                    <a:pt x="347" y="224"/>
                  </a:lnTo>
                  <a:lnTo>
                    <a:pt x="342" y="221"/>
                  </a:lnTo>
                  <a:lnTo>
                    <a:pt x="337" y="221"/>
                  </a:lnTo>
                  <a:lnTo>
                    <a:pt x="335" y="224"/>
                  </a:lnTo>
                  <a:lnTo>
                    <a:pt x="332" y="224"/>
                  </a:lnTo>
                  <a:lnTo>
                    <a:pt x="332" y="227"/>
                  </a:lnTo>
                  <a:lnTo>
                    <a:pt x="332" y="228"/>
                  </a:lnTo>
                  <a:lnTo>
                    <a:pt x="332" y="230"/>
                  </a:lnTo>
                  <a:lnTo>
                    <a:pt x="332" y="228"/>
                  </a:lnTo>
                  <a:lnTo>
                    <a:pt x="335" y="228"/>
                  </a:lnTo>
                  <a:lnTo>
                    <a:pt x="339" y="228"/>
                  </a:lnTo>
                  <a:lnTo>
                    <a:pt x="343" y="230"/>
                  </a:lnTo>
                  <a:lnTo>
                    <a:pt x="345" y="230"/>
                  </a:lnTo>
                  <a:lnTo>
                    <a:pt x="347" y="230"/>
                  </a:lnTo>
                  <a:lnTo>
                    <a:pt x="350" y="230"/>
                  </a:lnTo>
                  <a:lnTo>
                    <a:pt x="351" y="230"/>
                  </a:lnTo>
                  <a:lnTo>
                    <a:pt x="351" y="228"/>
                  </a:lnTo>
                  <a:lnTo>
                    <a:pt x="356" y="230"/>
                  </a:lnTo>
                  <a:lnTo>
                    <a:pt x="361" y="228"/>
                  </a:lnTo>
                  <a:lnTo>
                    <a:pt x="367" y="227"/>
                  </a:lnTo>
                  <a:lnTo>
                    <a:pt x="367" y="227"/>
                  </a:lnTo>
                  <a:lnTo>
                    <a:pt x="370" y="224"/>
                  </a:lnTo>
                  <a:lnTo>
                    <a:pt x="370" y="224"/>
                  </a:lnTo>
                  <a:lnTo>
                    <a:pt x="372" y="224"/>
                  </a:lnTo>
                  <a:lnTo>
                    <a:pt x="370" y="221"/>
                  </a:lnTo>
                  <a:lnTo>
                    <a:pt x="370" y="221"/>
                  </a:lnTo>
                  <a:lnTo>
                    <a:pt x="370" y="221"/>
                  </a:lnTo>
                  <a:lnTo>
                    <a:pt x="370" y="221"/>
                  </a:lnTo>
                  <a:lnTo>
                    <a:pt x="370" y="221"/>
                  </a:lnTo>
                  <a:lnTo>
                    <a:pt x="370" y="221"/>
                  </a:lnTo>
                  <a:lnTo>
                    <a:pt x="370" y="221"/>
                  </a:lnTo>
                  <a:lnTo>
                    <a:pt x="370" y="221"/>
                  </a:lnTo>
                  <a:lnTo>
                    <a:pt x="370" y="221"/>
                  </a:lnTo>
                  <a:lnTo>
                    <a:pt x="370" y="22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6" name="Freeform 265">
              <a:extLst>
                <a:ext uri="{FF2B5EF4-FFF2-40B4-BE49-F238E27FC236}">
                  <a16:creationId xmlns:a16="http://schemas.microsoft.com/office/drawing/2014/main" id="{79A3BCD2-6248-9853-F520-87AF02F94328}"/>
                </a:ext>
              </a:extLst>
            </p:cNvPr>
            <p:cNvSpPr>
              <a:spLocks noEditPoints="1"/>
            </p:cNvSpPr>
            <p:nvPr/>
          </p:nvSpPr>
          <p:spPr bwMode="auto">
            <a:xfrm>
              <a:off x="10221668" y="4269603"/>
              <a:ext cx="219821" cy="127856"/>
            </a:xfrm>
            <a:custGeom>
              <a:avLst/>
              <a:gdLst>
                <a:gd name="T0" fmla="*/ 38 w 98"/>
                <a:gd name="T1" fmla="*/ 56 h 57"/>
                <a:gd name="T2" fmla="*/ 35 w 98"/>
                <a:gd name="T3" fmla="*/ 56 h 57"/>
                <a:gd name="T4" fmla="*/ 35 w 98"/>
                <a:gd name="T5" fmla="*/ 56 h 57"/>
                <a:gd name="T6" fmla="*/ 9 w 98"/>
                <a:gd name="T7" fmla="*/ 6 h 57"/>
                <a:gd name="T8" fmla="*/ 5 w 98"/>
                <a:gd name="T9" fmla="*/ 3 h 57"/>
                <a:gd name="T10" fmla="*/ 8 w 98"/>
                <a:gd name="T11" fmla="*/ 10 h 57"/>
                <a:gd name="T12" fmla="*/ 11 w 98"/>
                <a:gd name="T13" fmla="*/ 10 h 57"/>
                <a:gd name="T14" fmla="*/ 11 w 98"/>
                <a:gd name="T15" fmla="*/ 10 h 57"/>
                <a:gd name="T16" fmla="*/ 1 w 98"/>
                <a:gd name="T17" fmla="*/ 13 h 57"/>
                <a:gd name="T18" fmla="*/ 1 w 98"/>
                <a:gd name="T19" fmla="*/ 10 h 57"/>
                <a:gd name="T20" fmla="*/ 1 w 98"/>
                <a:gd name="T21" fmla="*/ 10 h 57"/>
                <a:gd name="T22" fmla="*/ 5 w 98"/>
                <a:gd name="T23" fmla="*/ 16 h 57"/>
                <a:gd name="T24" fmla="*/ 6 w 98"/>
                <a:gd name="T25" fmla="*/ 13 h 57"/>
                <a:gd name="T26" fmla="*/ 6 w 98"/>
                <a:gd name="T27" fmla="*/ 13 h 57"/>
                <a:gd name="T28" fmla="*/ 11 w 98"/>
                <a:gd name="T29" fmla="*/ 16 h 57"/>
                <a:gd name="T30" fmla="*/ 8 w 98"/>
                <a:gd name="T31" fmla="*/ 17 h 57"/>
                <a:gd name="T32" fmla="*/ 13 w 98"/>
                <a:gd name="T33" fmla="*/ 17 h 57"/>
                <a:gd name="T34" fmla="*/ 11 w 98"/>
                <a:gd name="T35" fmla="*/ 16 h 57"/>
                <a:gd name="T36" fmla="*/ 11 w 98"/>
                <a:gd name="T37" fmla="*/ 16 h 57"/>
                <a:gd name="T38" fmla="*/ 9 w 98"/>
                <a:gd name="T39" fmla="*/ 22 h 57"/>
                <a:gd name="T40" fmla="*/ 8 w 98"/>
                <a:gd name="T41" fmla="*/ 19 h 57"/>
                <a:gd name="T42" fmla="*/ 8 w 98"/>
                <a:gd name="T43" fmla="*/ 19 h 57"/>
                <a:gd name="T44" fmla="*/ 14 w 98"/>
                <a:gd name="T45" fmla="*/ 22 h 57"/>
                <a:gd name="T46" fmla="*/ 16 w 98"/>
                <a:gd name="T47" fmla="*/ 21 h 57"/>
                <a:gd name="T48" fmla="*/ 16 w 98"/>
                <a:gd name="T49" fmla="*/ 21 h 57"/>
                <a:gd name="T50" fmla="*/ 36 w 98"/>
                <a:gd name="T51" fmla="*/ 21 h 57"/>
                <a:gd name="T52" fmla="*/ 35 w 98"/>
                <a:gd name="T53" fmla="*/ 21 h 57"/>
                <a:gd name="T54" fmla="*/ 36 w 98"/>
                <a:gd name="T55" fmla="*/ 21 h 57"/>
                <a:gd name="T56" fmla="*/ 36 w 98"/>
                <a:gd name="T57" fmla="*/ 21 h 57"/>
                <a:gd name="T58" fmla="*/ 49 w 98"/>
                <a:gd name="T59" fmla="*/ 29 h 57"/>
                <a:gd name="T60" fmla="*/ 46 w 98"/>
                <a:gd name="T61" fmla="*/ 22 h 57"/>
                <a:gd name="T62" fmla="*/ 44 w 98"/>
                <a:gd name="T63" fmla="*/ 19 h 57"/>
                <a:gd name="T64" fmla="*/ 52 w 98"/>
                <a:gd name="T65" fmla="*/ 32 h 57"/>
                <a:gd name="T66" fmla="*/ 52 w 98"/>
                <a:gd name="T67" fmla="*/ 32 h 57"/>
                <a:gd name="T68" fmla="*/ 41 w 98"/>
                <a:gd name="T69" fmla="*/ 29 h 57"/>
                <a:gd name="T70" fmla="*/ 38 w 98"/>
                <a:gd name="T71" fmla="*/ 25 h 57"/>
                <a:gd name="T72" fmla="*/ 41 w 98"/>
                <a:gd name="T73" fmla="*/ 29 h 57"/>
                <a:gd name="T74" fmla="*/ 41 w 98"/>
                <a:gd name="T75" fmla="*/ 29 h 57"/>
                <a:gd name="T76" fmla="*/ 32 w 98"/>
                <a:gd name="T77" fmla="*/ 30 h 57"/>
                <a:gd name="T78" fmla="*/ 44 w 98"/>
                <a:gd name="T79" fmla="*/ 36 h 57"/>
                <a:gd name="T80" fmla="*/ 40 w 98"/>
                <a:gd name="T81" fmla="*/ 30 h 57"/>
                <a:gd name="T82" fmla="*/ 40 w 98"/>
                <a:gd name="T83" fmla="*/ 30 h 57"/>
                <a:gd name="T84" fmla="*/ 59 w 98"/>
                <a:gd name="T85" fmla="*/ 43 h 57"/>
                <a:gd name="T86" fmla="*/ 55 w 98"/>
                <a:gd name="T87" fmla="*/ 41 h 57"/>
                <a:gd name="T88" fmla="*/ 60 w 98"/>
                <a:gd name="T89" fmla="*/ 43 h 57"/>
                <a:gd name="T90" fmla="*/ 60 w 98"/>
                <a:gd name="T91" fmla="*/ 43 h 57"/>
                <a:gd name="T92" fmla="*/ 98 w 98"/>
                <a:gd name="T93" fmla="*/ 44 h 57"/>
                <a:gd name="T94" fmla="*/ 95 w 98"/>
                <a:gd name="T95" fmla="*/ 44 h 57"/>
                <a:gd name="T96" fmla="*/ 98 w 98"/>
                <a:gd name="T97" fmla="*/ 44 h 57"/>
                <a:gd name="T98" fmla="*/ 98 w 98"/>
                <a:gd name="T99" fmla="*/ 44 h 57"/>
                <a:gd name="T100" fmla="*/ 95 w 98"/>
                <a:gd name="T101" fmla="*/ 44 h 57"/>
                <a:gd name="T102" fmla="*/ 95 w 98"/>
                <a:gd name="T103" fmla="*/ 44 h 57"/>
                <a:gd name="T104" fmla="*/ 95 w 98"/>
                <a:gd name="T105"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57">
                  <a:moveTo>
                    <a:pt x="35" y="56"/>
                  </a:moveTo>
                  <a:lnTo>
                    <a:pt x="33" y="56"/>
                  </a:lnTo>
                  <a:lnTo>
                    <a:pt x="35" y="56"/>
                  </a:lnTo>
                  <a:lnTo>
                    <a:pt x="36" y="56"/>
                  </a:lnTo>
                  <a:lnTo>
                    <a:pt x="38" y="56"/>
                  </a:lnTo>
                  <a:lnTo>
                    <a:pt x="40" y="57"/>
                  </a:lnTo>
                  <a:lnTo>
                    <a:pt x="40" y="56"/>
                  </a:lnTo>
                  <a:lnTo>
                    <a:pt x="38" y="56"/>
                  </a:lnTo>
                  <a:lnTo>
                    <a:pt x="35" y="56"/>
                  </a:lnTo>
                  <a:lnTo>
                    <a:pt x="35" y="56"/>
                  </a:lnTo>
                  <a:lnTo>
                    <a:pt x="35" y="56"/>
                  </a:lnTo>
                  <a:lnTo>
                    <a:pt x="35" y="56"/>
                  </a:lnTo>
                  <a:lnTo>
                    <a:pt x="35" y="56"/>
                  </a:lnTo>
                  <a:lnTo>
                    <a:pt x="35" y="56"/>
                  </a:lnTo>
                  <a:lnTo>
                    <a:pt x="35" y="56"/>
                  </a:lnTo>
                  <a:lnTo>
                    <a:pt x="35" y="56"/>
                  </a:lnTo>
                  <a:lnTo>
                    <a:pt x="35" y="56"/>
                  </a:lnTo>
                  <a:lnTo>
                    <a:pt x="35" y="56"/>
                  </a:lnTo>
                  <a:close/>
                  <a:moveTo>
                    <a:pt x="11" y="10"/>
                  </a:moveTo>
                  <a:lnTo>
                    <a:pt x="9" y="6"/>
                  </a:lnTo>
                  <a:lnTo>
                    <a:pt x="8" y="6"/>
                  </a:lnTo>
                  <a:lnTo>
                    <a:pt x="8" y="6"/>
                  </a:lnTo>
                  <a:lnTo>
                    <a:pt x="6" y="5"/>
                  </a:lnTo>
                  <a:lnTo>
                    <a:pt x="5" y="3"/>
                  </a:lnTo>
                  <a:lnTo>
                    <a:pt x="5" y="3"/>
                  </a:lnTo>
                  <a:lnTo>
                    <a:pt x="3" y="3"/>
                  </a:lnTo>
                  <a:lnTo>
                    <a:pt x="1" y="0"/>
                  </a:lnTo>
                  <a:lnTo>
                    <a:pt x="0" y="0"/>
                  </a:lnTo>
                  <a:lnTo>
                    <a:pt x="5" y="6"/>
                  </a:lnTo>
                  <a:lnTo>
                    <a:pt x="8" y="10"/>
                  </a:lnTo>
                  <a:lnTo>
                    <a:pt x="11" y="10"/>
                  </a:lnTo>
                  <a:lnTo>
                    <a:pt x="11" y="10"/>
                  </a:lnTo>
                  <a:lnTo>
                    <a:pt x="11" y="10"/>
                  </a:lnTo>
                  <a:lnTo>
                    <a:pt x="11" y="10"/>
                  </a:lnTo>
                  <a:lnTo>
                    <a:pt x="11" y="10"/>
                  </a:lnTo>
                  <a:lnTo>
                    <a:pt x="11" y="10"/>
                  </a:lnTo>
                  <a:lnTo>
                    <a:pt x="11" y="10"/>
                  </a:lnTo>
                  <a:lnTo>
                    <a:pt x="11" y="10"/>
                  </a:lnTo>
                  <a:lnTo>
                    <a:pt x="11" y="10"/>
                  </a:lnTo>
                  <a:lnTo>
                    <a:pt x="11" y="10"/>
                  </a:lnTo>
                  <a:close/>
                  <a:moveTo>
                    <a:pt x="1" y="10"/>
                  </a:moveTo>
                  <a:lnTo>
                    <a:pt x="0" y="10"/>
                  </a:lnTo>
                  <a:lnTo>
                    <a:pt x="0" y="10"/>
                  </a:lnTo>
                  <a:lnTo>
                    <a:pt x="0" y="13"/>
                  </a:lnTo>
                  <a:lnTo>
                    <a:pt x="1" y="13"/>
                  </a:lnTo>
                  <a:lnTo>
                    <a:pt x="1" y="13"/>
                  </a:lnTo>
                  <a:lnTo>
                    <a:pt x="1" y="11"/>
                  </a:lnTo>
                  <a:lnTo>
                    <a:pt x="1" y="10"/>
                  </a:lnTo>
                  <a:lnTo>
                    <a:pt x="1" y="10"/>
                  </a:lnTo>
                  <a:lnTo>
                    <a:pt x="1" y="10"/>
                  </a:lnTo>
                  <a:lnTo>
                    <a:pt x="1" y="10"/>
                  </a:lnTo>
                  <a:lnTo>
                    <a:pt x="1" y="10"/>
                  </a:lnTo>
                  <a:lnTo>
                    <a:pt x="1" y="10"/>
                  </a:lnTo>
                  <a:lnTo>
                    <a:pt x="1" y="10"/>
                  </a:lnTo>
                  <a:lnTo>
                    <a:pt x="1" y="10"/>
                  </a:lnTo>
                  <a:lnTo>
                    <a:pt x="1" y="10"/>
                  </a:lnTo>
                  <a:lnTo>
                    <a:pt x="1" y="10"/>
                  </a:lnTo>
                  <a:close/>
                  <a:moveTo>
                    <a:pt x="6" y="13"/>
                  </a:moveTo>
                  <a:lnTo>
                    <a:pt x="5" y="13"/>
                  </a:lnTo>
                  <a:lnTo>
                    <a:pt x="5" y="16"/>
                  </a:lnTo>
                  <a:lnTo>
                    <a:pt x="6" y="16"/>
                  </a:lnTo>
                  <a:lnTo>
                    <a:pt x="8" y="16"/>
                  </a:lnTo>
                  <a:lnTo>
                    <a:pt x="8" y="14"/>
                  </a:lnTo>
                  <a:lnTo>
                    <a:pt x="6" y="13"/>
                  </a:lnTo>
                  <a:lnTo>
                    <a:pt x="6" y="13"/>
                  </a:lnTo>
                  <a:lnTo>
                    <a:pt x="6" y="13"/>
                  </a:lnTo>
                  <a:lnTo>
                    <a:pt x="6" y="13"/>
                  </a:lnTo>
                  <a:lnTo>
                    <a:pt x="6" y="13"/>
                  </a:lnTo>
                  <a:lnTo>
                    <a:pt x="6" y="13"/>
                  </a:lnTo>
                  <a:lnTo>
                    <a:pt x="6" y="13"/>
                  </a:lnTo>
                  <a:lnTo>
                    <a:pt x="6" y="13"/>
                  </a:lnTo>
                  <a:lnTo>
                    <a:pt x="6" y="13"/>
                  </a:lnTo>
                  <a:lnTo>
                    <a:pt x="6" y="13"/>
                  </a:lnTo>
                  <a:lnTo>
                    <a:pt x="6" y="13"/>
                  </a:lnTo>
                  <a:close/>
                  <a:moveTo>
                    <a:pt x="11" y="16"/>
                  </a:moveTo>
                  <a:lnTo>
                    <a:pt x="11" y="14"/>
                  </a:lnTo>
                  <a:lnTo>
                    <a:pt x="9" y="14"/>
                  </a:lnTo>
                  <a:lnTo>
                    <a:pt x="8" y="16"/>
                  </a:lnTo>
                  <a:lnTo>
                    <a:pt x="8" y="16"/>
                  </a:lnTo>
                  <a:lnTo>
                    <a:pt x="8" y="17"/>
                  </a:lnTo>
                  <a:lnTo>
                    <a:pt x="9" y="17"/>
                  </a:lnTo>
                  <a:lnTo>
                    <a:pt x="11" y="17"/>
                  </a:lnTo>
                  <a:lnTo>
                    <a:pt x="13" y="21"/>
                  </a:lnTo>
                  <a:lnTo>
                    <a:pt x="14" y="21"/>
                  </a:lnTo>
                  <a:lnTo>
                    <a:pt x="13" y="17"/>
                  </a:lnTo>
                  <a:lnTo>
                    <a:pt x="11" y="16"/>
                  </a:lnTo>
                  <a:lnTo>
                    <a:pt x="11" y="16"/>
                  </a:lnTo>
                  <a:lnTo>
                    <a:pt x="11" y="16"/>
                  </a:lnTo>
                  <a:lnTo>
                    <a:pt x="11" y="16"/>
                  </a:lnTo>
                  <a:lnTo>
                    <a:pt x="11" y="16"/>
                  </a:lnTo>
                  <a:lnTo>
                    <a:pt x="11" y="16"/>
                  </a:lnTo>
                  <a:lnTo>
                    <a:pt x="11" y="16"/>
                  </a:lnTo>
                  <a:lnTo>
                    <a:pt x="11" y="16"/>
                  </a:lnTo>
                  <a:lnTo>
                    <a:pt x="11" y="16"/>
                  </a:lnTo>
                  <a:lnTo>
                    <a:pt x="11" y="16"/>
                  </a:lnTo>
                  <a:close/>
                  <a:moveTo>
                    <a:pt x="8" y="19"/>
                  </a:moveTo>
                  <a:lnTo>
                    <a:pt x="8" y="21"/>
                  </a:lnTo>
                  <a:lnTo>
                    <a:pt x="8" y="22"/>
                  </a:lnTo>
                  <a:lnTo>
                    <a:pt x="8" y="22"/>
                  </a:lnTo>
                  <a:lnTo>
                    <a:pt x="9" y="22"/>
                  </a:lnTo>
                  <a:lnTo>
                    <a:pt x="8" y="19"/>
                  </a:lnTo>
                  <a:lnTo>
                    <a:pt x="8" y="19"/>
                  </a:lnTo>
                  <a:lnTo>
                    <a:pt x="8" y="19"/>
                  </a:lnTo>
                  <a:lnTo>
                    <a:pt x="8" y="19"/>
                  </a:lnTo>
                  <a:lnTo>
                    <a:pt x="8" y="19"/>
                  </a:lnTo>
                  <a:lnTo>
                    <a:pt x="8" y="19"/>
                  </a:lnTo>
                  <a:lnTo>
                    <a:pt x="8" y="19"/>
                  </a:lnTo>
                  <a:lnTo>
                    <a:pt x="8" y="19"/>
                  </a:lnTo>
                  <a:lnTo>
                    <a:pt x="8" y="19"/>
                  </a:lnTo>
                  <a:lnTo>
                    <a:pt x="8" y="19"/>
                  </a:lnTo>
                  <a:lnTo>
                    <a:pt x="8" y="19"/>
                  </a:lnTo>
                  <a:close/>
                  <a:moveTo>
                    <a:pt x="16" y="21"/>
                  </a:moveTo>
                  <a:lnTo>
                    <a:pt x="14" y="21"/>
                  </a:lnTo>
                  <a:lnTo>
                    <a:pt x="14" y="22"/>
                  </a:lnTo>
                  <a:lnTo>
                    <a:pt x="14" y="22"/>
                  </a:lnTo>
                  <a:lnTo>
                    <a:pt x="16" y="22"/>
                  </a:lnTo>
                  <a:lnTo>
                    <a:pt x="16" y="22"/>
                  </a:lnTo>
                  <a:lnTo>
                    <a:pt x="17" y="22"/>
                  </a:lnTo>
                  <a:lnTo>
                    <a:pt x="16" y="21"/>
                  </a:lnTo>
                  <a:lnTo>
                    <a:pt x="16" y="21"/>
                  </a:lnTo>
                  <a:lnTo>
                    <a:pt x="16" y="21"/>
                  </a:lnTo>
                  <a:lnTo>
                    <a:pt x="16" y="21"/>
                  </a:lnTo>
                  <a:lnTo>
                    <a:pt x="16" y="21"/>
                  </a:lnTo>
                  <a:lnTo>
                    <a:pt x="16" y="21"/>
                  </a:lnTo>
                  <a:lnTo>
                    <a:pt x="16" y="21"/>
                  </a:lnTo>
                  <a:lnTo>
                    <a:pt x="16" y="21"/>
                  </a:lnTo>
                  <a:lnTo>
                    <a:pt x="16" y="21"/>
                  </a:lnTo>
                  <a:lnTo>
                    <a:pt x="16" y="21"/>
                  </a:lnTo>
                  <a:lnTo>
                    <a:pt x="16" y="21"/>
                  </a:lnTo>
                  <a:close/>
                  <a:moveTo>
                    <a:pt x="36" y="21"/>
                  </a:moveTo>
                  <a:lnTo>
                    <a:pt x="35" y="19"/>
                  </a:lnTo>
                  <a:lnTo>
                    <a:pt x="20" y="10"/>
                  </a:lnTo>
                  <a:lnTo>
                    <a:pt x="20" y="10"/>
                  </a:lnTo>
                  <a:lnTo>
                    <a:pt x="22" y="13"/>
                  </a:lnTo>
                  <a:lnTo>
                    <a:pt x="35" y="21"/>
                  </a:lnTo>
                  <a:lnTo>
                    <a:pt x="36" y="21"/>
                  </a:lnTo>
                  <a:lnTo>
                    <a:pt x="36" y="21"/>
                  </a:lnTo>
                  <a:lnTo>
                    <a:pt x="36" y="21"/>
                  </a:lnTo>
                  <a:lnTo>
                    <a:pt x="36" y="21"/>
                  </a:lnTo>
                  <a:lnTo>
                    <a:pt x="36" y="21"/>
                  </a:lnTo>
                  <a:lnTo>
                    <a:pt x="36" y="21"/>
                  </a:lnTo>
                  <a:lnTo>
                    <a:pt x="36" y="21"/>
                  </a:lnTo>
                  <a:lnTo>
                    <a:pt x="36" y="21"/>
                  </a:lnTo>
                  <a:lnTo>
                    <a:pt x="36" y="21"/>
                  </a:lnTo>
                  <a:lnTo>
                    <a:pt x="36" y="21"/>
                  </a:lnTo>
                  <a:close/>
                  <a:moveTo>
                    <a:pt x="52" y="32"/>
                  </a:moveTo>
                  <a:lnTo>
                    <a:pt x="52" y="32"/>
                  </a:lnTo>
                  <a:lnTo>
                    <a:pt x="52" y="30"/>
                  </a:lnTo>
                  <a:lnTo>
                    <a:pt x="52" y="29"/>
                  </a:lnTo>
                  <a:lnTo>
                    <a:pt x="49" y="29"/>
                  </a:lnTo>
                  <a:lnTo>
                    <a:pt x="49" y="29"/>
                  </a:lnTo>
                  <a:lnTo>
                    <a:pt x="49" y="29"/>
                  </a:lnTo>
                  <a:lnTo>
                    <a:pt x="47" y="25"/>
                  </a:lnTo>
                  <a:lnTo>
                    <a:pt x="46" y="24"/>
                  </a:lnTo>
                  <a:lnTo>
                    <a:pt x="46" y="22"/>
                  </a:lnTo>
                  <a:lnTo>
                    <a:pt x="46" y="19"/>
                  </a:lnTo>
                  <a:lnTo>
                    <a:pt x="44" y="19"/>
                  </a:lnTo>
                  <a:lnTo>
                    <a:pt x="44" y="19"/>
                  </a:lnTo>
                  <a:lnTo>
                    <a:pt x="44" y="19"/>
                  </a:lnTo>
                  <a:lnTo>
                    <a:pt x="44" y="19"/>
                  </a:lnTo>
                  <a:lnTo>
                    <a:pt x="44" y="21"/>
                  </a:lnTo>
                  <a:lnTo>
                    <a:pt x="47" y="29"/>
                  </a:lnTo>
                  <a:lnTo>
                    <a:pt x="51" y="32"/>
                  </a:lnTo>
                  <a:lnTo>
                    <a:pt x="52" y="32"/>
                  </a:lnTo>
                  <a:lnTo>
                    <a:pt x="52" y="32"/>
                  </a:lnTo>
                  <a:lnTo>
                    <a:pt x="52" y="32"/>
                  </a:lnTo>
                  <a:lnTo>
                    <a:pt x="52" y="32"/>
                  </a:lnTo>
                  <a:lnTo>
                    <a:pt x="52" y="32"/>
                  </a:lnTo>
                  <a:lnTo>
                    <a:pt x="52" y="32"/>
                  </a:lnTo>
                  <a:lnTo>
                    <a:pt x="52" y="32"/>
                  </a:lnTo>
                  <a:lnTo>
                    <a:pt x="52" y="32"/>
                  </a:lnTo>
                  <a:lnTo>
                    <a:pt x="52" y="32"/>
                  </a:lnTo>
                  <a:lnTo>
                    <a:pt x="52" y="32"/>
                  </a:lnTo>
                  <a:lnTo>
                    <a:pt x="52" y="32"/>
                  </a:lnTo>
                  <a:close/>
                  <a:moveTo>
                    <a:pt x="41" y="29"/>
                  </a:moveTo>
                  <a:lnTo>
                    <a:pt x="41" y="27"/>
                  </a:lnTo>
                  <a:lnTo>
                    <a:pt x="40" y="25"/>
                  </a:lnTo>
                  <a:lnTo>
                    <a:pt x="40" y="25"/>
                  </a:lnTo>
                  <a:lnTo>
                    <a:pt x="38" y="25"/>
                  </a:lnTo>
                  <a:lnTo>
                    <a:pt x="38" y="25"/>
                  </a:lnTo>
                  <a:lnTo>
                    <a:pt x="40" y="29"/>
                  </a:lnTo>
                  <a:lnTo>
                    <a:pt x="41" y="29"/>
                  </a:lnTo>
                  <a:lnTo>
                    <a:pt x="41" y="29"/>
                  </a:lnTo>
                  <a:lnTo>
                    <a:pt x="41" y="29"/>
                  </a:lnTo>
                  <a:lnTo>
                    <a:pt x="41" y="29"/>
                  </a:lnTo>
                  <a:lnTo>
                    <a:pt x="41" y="29"/>
                  </a:lnTo>
                  <a:lnTo>
                    <a:pt x="41" y="29"/>
                  </a:lnTo>
                  <a:lnTo>
                    <a:pt x="41" y="29"/>
                  </a:lnTo>
                  <a:lnTo>
                    <a:pt x="41" y="29"/>
                  </a:lnTo>
                  <a:lnTo>
                    <a:pt x="41" y="29"/>
                  </a:lnTo>
                  <a:lnTo>
                    <a:pt x="41" y="29"/>
                  </a:lnTo>
                  <a:close/>
                  <a:moveTo>
                    <a:pt x="40" y="30"/>
                  </a:moveTo>
                  <a:lnTo>
                    <a:pt x="35" y="30"/>
                  </a:lnTo>
                  <a:lnTo>
                    <a:pt x="33" y="29"/>
                  </a:lnTo>
                  <a:lnTo>
                    <a:pt x="32" y="30"/>
                  </a:lnTo>
                  <a:lnTo>
                    <a:pt x="32" y="32"/>
                  </a:lnTo>
                  <a:lnTo>
                    <a:pt x="32" y="32"/>
                  </a:lnTo>
                  <a:lnTo>
                    <a:pt x="33" y="33"/>
                  </a:lnTo>
                  <a:lnTo>
                    <a:pt x="36" y="35"/>
                  </a:lnTo>
                  <a:lnTo>
                    <a:pt x="44" y="36"/>
                  </a:lnTo>
                  <a:lnTo>
                    <a:pt x="46" y="35"/>
                  </a:lnTo>
                  <a:lnTo>
                    <a:pt x="46" y="33"/>
                  </a:lnTo>
                  <a:lnTo>
                    <a:pt x="44" y="33"/>
                  </a:lnTo>
                  <a:lnTo>
                    <a:pt x="40" y="30"/>
                  </a:lnTo>
                  <a:lnTo>
                    <a:pt x="40" y="30"/>
                  </a:lnTo>
                  <a:lnTo>
                    <a:pt x="40" y="30"/>
                  </a:lnTo>
                  <a:lnTo>
                    <a:pt x="40" y="30"/>
                  </a:lnTo>
                  <a:lnTo>
                    <a:pt x="40" y="30"/>
                  </a:lnTo>
                  <a:lnTo>
                    <a:pt x="40" y="30"/>
                  </a:lnTo>
                  <a:lnTo>
                    <a:pt x="40" y="30"/>
                  </a:lnTo>
                  <a:lnTo>
                    <a:pt x="40" y="30"/>
                  </a:lnTo>
                  <a:lnTo>
                    <a:pt x="40" y="30"/>
                  </a:lnTo>
                  <a:lnTo>
                    <a:pt x="40" y="30"/>
                  </a:lnTo>
                  <a:close/>
                  <a:moveTo>
                    <a:pt x="60" y="43"/>
                  </a:moveTo>
                  <a:lnTo>
                    <a:pt x="59" y="43"/>
                  </a:lnTo>
                  <a:lnTo>
                    <a:pt x="59" y="41"/>
                  </a:lnTo>
                  <a:lnTo>
                    <a:pt x="52" y="38"/>
                  </a:lnTo>
                  <a:lnTo>
                    <a:pt x="52" y="38"/>
                  </a:lnTo>
                  <a:lnTo>
                    <a:pt x="52" y="41"/>
                  </a:lnTo>
                  <a:lnTo>
                    <a:pt x="55" y="41"/>
                  </a:lnTo>
                  <a:lnTo>
                    <a:pt x="55" y="43"/>
                  </a:lnTo>
                  <a:lnTo>
                    <a:pt x="60" y="44"/>
                  </a:lnTo>
                  <a:lnTo>
                    <a:pt x="62" y="44"/>
                  </a:lnTo>
                  <a:lnTo>
                    <a:pt x="60" y="43"/>
                  </a:lnTo>
                  <a:lnTo>
                    <a:pt x="60" y="43"/>
                  </a:lnTo>
                  <a:lnTo>
                    <a:pt x="60" y="43"/>
                  </a:lnTo>
                  <a:lnTo>
                    <a:pt x="60" y="43"/>
                  </a:lnTo>
                  <a:lnTo>
                    <a:pt x="60" y="43"/>
                  </a:lnTo>
                  <a:lnTo>
                    <a:pt x="60" y="43"/>
                  </a:lnTo>
                  <a:lnTo>
                    <a:pt x="60" y="43"/>
                  </a:lnTo>
                  <a:lnTo>
                    <a:pt x="60" y="43"/>
                  </a:lnTo>
                  <a:lnTo>
                    <a:pt x="60" y="43"/>
                  </a:lnTo>
                  <a:lnTo>
                    <a:pt x="60" y="43"/>
                  </a:lnTo>
                  <a:lnTo>
                    <a:pt x="60" y="43"/>
                  </a:lnTo>
                  <a:close/>
                  <a:moveTo>
                    <a:pt x="98" y="44"/>
                  </a:moveTo>
                  <a:lnTo>
                    <a:pt x="97" y="43"/>
                  </a:lnTo>
                  <a:lnTo>
                    <a:pt x="97" y="43"/>
                  </a:lnTo>
                  <a:lnTo>
                    <a:pt x="95" y="44"/>
                  </a:lnTo>
                  <a:lnTo>
                    <a:pt x="95" y="44"/>
                  </a:lnTo>
                  <a:lnTo>
                    <a:pt x="95" y="44"/>
                  </a:lnTo>
                  <a:lnTo>
                    <a:pt x="97" y="44"/>
                  </a:lnTo>
                  <a:lnTo>
                    <a:pt x="97" y="44"/>
                  </a:lnTo>
                  <a:lnTo>
                    <a:pt x="97" y="44"/>
                  </a:lnTo>
                  <a:lnTo>
                    <a:pt x="98" y="44"/>
                  </a:lnTo>
                  <a:lnTo>
                    <a:pt x="98" y="44"/>
                  </a:lnTo>
                  <a:lnTo>
                    <a:pt x="98" y="44"/>
                  </a:lnTo>
                  <a:lnTo>
                    <a:pt x="98" y="44"/>
                  </a:lnTo>
                  <a:lnTo>
                    <a:pt x="98" y="44"/>
                  </a:lnTo>
                  <a:lnTo>
                    <a:pt x="98" y="44"/>
                  </a:lnTo>
                  <a:lnTo>
                    <a:pt x="98" y="44"/>
                  </a:lnTo>
                  <a:lnTo>
                    <a:pt x="98" y="44"/>
                  </a:lnTo>
                  <a:lnTo>
                    <a:pt x="98" y="44"/>
                  </a:lnTo>
                  <a:lnTo>
                    <a:pt x="98" y="44"/>
                  </a:lnTo>
                  <a:lnTo>
                    <a:pt x="98" y="44"/>
                  </a:lnTo>
                  <a:close/>
                  <a:moveTo>
                    <a:pt x="95" y="44"/>
                  </a:moveTo>
                  <a:lnTo>
                    <a:pt x="95" y="44"/>
                  </a:lnTo>
                  <a:lnTo>
                    <a:pt x="95" y="44"/>
                  </a:lnTo>
                  <a:lnTo>
                    <a:pt x="95" y="44"/>
                  </a:lnTo>
                  <a:lnTo>
                    <a:pt x="95" y="44"/>
                  </a:lnTo>
                  <a:lnTo>
                    <a:pt x="95" y="44"/>
                  </a:lnTo>
                  <a:lnTo>
                    <a:pt x="95" y="44"/>
                  </a:lnTo>
                  <a:lnTo>
                    <a:pt x="95" y="44"/>
                  </a:lnTo>
                  <a:lnTo>
                    <a:pt x="95" y="44"/>
                  </a:lnTo>
                  <a:lnTo>
                    <a:pt x="95" y="44"/>
                  </a:lnTo>
                  <a:lnTo>
                    <a:pt x="95" y="44"/>
                  </a:lnTo>
                  <a:lnTo>
                    <a:pt x="95" y="44"/>
                  </a:lnTo>
                  <a:lnTo>
                    <a:pt x="95" y="4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7" name="Freeform 269">
              <a:extLst>
                <a:ext uri="{FF2B5EF4-FFF2-40B4-BE49-F238E27FC236}">
                  <a16:creationId xmlns:a16="http://schemas.microsoft.com/office/drawing/2014/main" id="{2441B18F-AD0D-ED35-C136-7B0E081BF9B1}"/>
                </a:ext>
              </a:extLst>
            </p:cNvPr>
            <p:cNvSpPr>
              <a:spLocks noEditPoints="1"/>
            </p:cNvSpPr>
            <p:nvPr/>
          </p:nvSpPr>
          <p:spPr bwMode="auto">
            <a:xfrm>
              <a:off x="10683740" y="4500641"/>
              <a:ext cx="65050" cy="49347"/>
            </a:xfrm>
            <a:custGeom>
              <a:avLst/>
              <a:gdLst>
                <a:gd name="T0" fmla="*/ 15 w 29"/>
                <a:gd name="T1" fmla="*/ 16 h 22"/>
                <a:gd name="T2" fmla="*/ 13 w 29"/>
                <a:gd name="T3" fmla="*/ 16 h 22"/>
                <a:gd name="T4" fmla="*/ 11 w 29"/>
                <a:gd name="T5" fmla="*/ 14 h 22"/>
                <a:gd name="T6" fmla="*/ 11 w 29"/>
                <a:gd name="T7" fmla="*/ 14 h 22"/>
                <a:gd name="T8" fmla="*/ 10 w 29"/>
                <a:gd name="T9" fmla="*/ 14 h 22"/>
                <a:gd name="T10" fmla="*/ 8 w 29"/>
                <a:gd name="T11" fmla="*/ 14 h 22"/>
                <a:gd name="T12" fmla="*/ 8 w 29"/>
                <a:gd name="T13" fmla="*/ 14 h 22"/>
                <a:gd name="T14" fmla="*/ 7 w 29"/>
                <a:gd name="T15" fmla="*/ 14 h 22"/>
                <a:gd name="T16" fmla="*/ 5 w 29"/>
                <a:gd name="T17" fmla="*/ 16 h 22"/>
                <a:gd name="T18" fmla="*/ 2 w 29"/>
                <a:gd name="T19" fmla="*/ 16 h 22"/>
                <a:gd name="T20" fmla="*/ 0 w 29"/>
                <a:gd name="T21" fmla="*/ 19 h 22"/>
                <a:gd name="T22" fmla="*/ 0 w 29"/>
                <a:gd name="T23" fmla="*/ 21 h 22"/>
                <a:gd name="T24" fmla="*/ 2 w 29"/>
                <a:gd name="T25" fmla="*/ 22 h 22"/>
                <a:gd name="T26" fmla="*/ 5 w 29"/>
                <a:gd name="T27" fmla="*/ 22 h 22"/>
                <a:gd name="T28" fmla="*/ 7 w 29"/>
                <a:gd name="T29" fmla="*/ 22 h 22"/>
                <a:gd name="T30" fmla="*/ 11 w 29"/>
                <a:gd name="T31" fmla="*/ 22 h 22"/>
                <a:gd name="T32" fmla="*/ 13 w 29"/>
                <a:gd name="T33" fmla="*/ 22 h 22"/>
                <a:gd name="T34" fmla="*/ 15 w 29"/>
                <a:gd name="T35" fmla="*/ 22 h 22"/>
                <a:gd name="T36" fmla="*/ 15 w 29"/>
                <a:gd name="T37" fmla="*/ 21 h 22"/>
                <a:gd name="T38" fmla="*/ 15 w 29"/>
                <a:gd name="T39" fmla="*/ 16 h 22"/>
                <a:gd name="T40" fmla="*/ 15 w 29"/>
                <a:gd name="T41" fmla="*/ 16 h 22"/>
                <a:gd name="T42" fmla="*/ 15 w 29"/>
                <a:gd name="T43" fmla="*/ 16 h 22"/>
                <a:gd name="T44" fmla="*/ 15 w 29"/>
                <a:gd name="T45" fmla="*/ 16 h 22"/>
                <a:gd name="T46" fmla="*/ 15 w 29"/>
                <a:gd name="T47" fmla="*/ 16 h 22"/>
                <a:gd name="T48" fmla="*/ 15 w 29"/>
                <a:gd name="T49" fmla="*/ 16 h 22"/>
                <a:gd name="T50" fmla="*/ 15 w 29"/>
                <a:gd name="T51" fmla="*/ 16 h 22"/>
                <a:gd name="T52" fmla="*/ 15 w 29"/>
                <a:gd name="T53" fmla="*/ 16 h 22"/>
                <a:gd name="T54" fmla="*/ 15 w 29"/>
                <a:gd name="T55" fmla="*/ 16 h 22"/>
                <a:gd name="T56" fmla="*/ 15 w 29"/>
                <a:gd name="T57" fmla="*/ 16 h 22"/>
                <a:gd name="T58" fmla="*/ 15 w 29"/>
                <a:gd name="T59" fmla="*/ 16 h 22"/>
                <a:gd name="T60" fmla="*/ 29 w 29"/>
                <a:gd name="T61" fmla="*/ 0 h 22"/>
                <a:gd name="T62" fmla="*/ 29 w 29"/>
                <a:gd name="T63" fmla="*/ 0 h 22"/>
                <a:gd name="T64" fmla="*/ 19 w 29"/>
                <a:gd name="T65" fmla="*/ 3 h 22"/>
                <a:gd name="T66" fmla="*/ 19 w 29"/>
                <a:gd name="T67" fmla="*/ 3 h 22"/>
                <a:gd name="T68" fmla="*/ 19 w 29"/>
                <a:gd name="T69" fmla="*/ 3 h 22"/>
                <a:gd name="T70" fmla="*/ 16 w 29"/>
                <a:gd name="T71" fmla="*/ 7 h 22"/>
                <a:gd name="T72" fmla="*/ 15 w 29"/>
                <a:gd name="T73" fmla="*/ 7 h 22"/>
                <a:gd name="T74" fmla="*/ 15 w 29"/>
                <a:gd name="T75" fmla="*/ 7 h 22"/>
                <a:gd name="T76" fmla="*/ 16 w 29"/>
                <a:gd name="T77" fmla="*/ 7 h 22"/>
                <a:gd name="T78" fmla="*/ 18 w 29"/>
                <a:gd name="T79" fmla="*/ 10 h 22"/>
                <a:gd name="T80" fmla="*/ 19 w 29"/>
                <a:gd name="T81" fmla="*/ 8 h 22"/>
                <a:gd name="T82" fmla="*/ 19 w 29"/>
                <a:gd name="T83" fmla="*/ 8 h 22"/>
                <a:gd name="T84" fmla="*/ 21 w 29"/>
                <a:gd name="T85" fmla="*/ 8 h 22"/>
                <a:gd name="T86" fmla="*/ 21 w 29"/>
                <a:gd name="T87" fmla="*/ 7 h 22"/>
                <a:gd name="T88" fmla="*/ 22 w 29"/>
                <a:gd name="T89" fmla="*/ 7 h 22"/>
                <a:gd name="T90" fmla="*/ 22 w 29"/>
                <a:gd name="T91" fmla="*/ 7 h 22"/>
                <a:gd name="T92" fmla="*/ 22 w 29"/>
                <a:gd name="T93" fmla="*/ 7 h 22"/>
                <a:gd name="T94" fmla="*/ 29 w 29"/>
                <a:gd name="T95" fmla="*/ 7 h 22"/>
                <a:gd name="T96" fmla="*/ 29 w 29"/>
                <a:gd name="T97" fmla="*/ 3 h 22"/>
                <a:gd name="T98" fmla="*/ 26 w 29"/>
                <a:gd name="T99" fmla="*/ 7 h 22"/>
                <a:gd name="T100" fmla="*/ 26 w 29"/>
                <a:gd name="T101" fmla="*/ 3 h 22"/>
                <a:gd name="T102" fmla="*/ 29 w 29"/>
                <a:gd name="T103" fmla="*/ 0 h 22"/>
                <a:gd name="T104" fmla="*/ 29 w 29"/>
                <a:gd name="T105" fmla="*/ 0 h 22"/>
                <a:gd name="T106" fmla="*/ 29 w 29"/>
                <a:gd name="T107" fmla="*/ 0 h 22"/>
                <a:gd name="T108" fmla="*/ 29 w 29"/>
                <a:gd name="T109" fmla="*/ 0 h 22"/>
                <a:gd name="T110" fmla="*/ 29 w 29"/>
                <a:gd name="T111" fmla="*/ 0 h 22"/>
                <a:gd name="T112" fmla="*/ 29 w 29"/>
                <a:gd name="T113" fmla="*/ 0 h 22"/>
                <a:gd name="T114" fmla="*/ 29 w 29"/>
                <a:gd name="T115" fmla="*/ 0 h 22"/>
                <a:gd name="T116" fmla="*/ 29 w 29"/>
                <a:gd name="T117" fmla="*/ 0 h 22"/>
                <a:gd name="T118" fmla="*/ 29 w 29"/>
                <a:gd name="T119" fmla="*/ 0 h 22"/>
                <a:gd name="T120" fmla="*/ 29 w 29"/>
                <a:gd name="T1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22">
                  <a:moveTo>
                    <a:pt x="15" y="16"/>
                  </a:moveTo>
                  <a:lnTo>
                    <a:pt x="13" y="16"/>
                  </a:lnTo>
                  <a:lnTo>
                    <a:pt x="11" y="14"/>
                  </a:lnTo>
                  <a:lnTo>
                    <a:pt x="11" y="14"/>
                  </a:lnTo>
                  <a:lnTo>
                    <a:pt x="10" y="14"/>
                  </a:lnTo>
                  <a:lnTo>
                    <a:pt x="8" y="14"/>
                  </a:lnTo>
                  <a:lnTo>
                    <a:pt x="8" y="14"/>
                  </a:lnTo>
                  <a:lnTo>
                    <a:pt x="7" y="14"/>
                  </a:lnTo>
                  <a:lnTo>
                    <a:pt x="5" y="16"/>
                  </a:lnTo>
                  <a:lnTo>
                    <a:pt x="2" y="16"/>
                  </a:lnTo>
                  <a:lnTo>
                    <a:pt x="0" y="19"/>
                  </a:lnTo>
                  <a:lnTo>
                    <a:pt x="0" y="21"/>
                  </a:lnTo>
                  <a:lnTo>
                    <a:pt x="2" y="22"/>
                  </a:lnTo>
                  <a:lnTo>
                    <a:pt x="5" y="22"/>
                  </a:lnTo>
                  <a:lnTo>
                    <a:pt x="7" y="22"/>
                  </a:lnTo>
                  <a:lnTo>
                    <a:pt x="11" y="22"/>
                  </a:lnTo>
                  <a:lnTo>
                    <a:pt x="13" y="22"/>
                  </a:lnTo>
                  <a:lnTo>
                    <a:pt x="15" y="22"/>
                  </a:lnTo>
                  <a:lnTo>
                    <a:pt x="15" y="21"/>
                  </a:lnTo>
                  <a:lnTo>
                    <a:pt x="15" y="16"/>
                  </a:lnTo>
                  <a:lnTo>
                    <a:pt x="15" y="16"/>
                  </a:lnTo>
                  <a:lnTo>
                    <a:pt x="15" y="16"/>
                  </a:lnTo>
                  <a:lnTo>
                    <a:pt x="15" y="16"/>
                  </a:lnTo>
                  <a:lnTo>
                    <a:pt x="15" y="16"/>
                  </a:lnTo>
                  <a:lnTo>
                    <a:pt x="15" y="16"/>
                  </a:lnTo>
                  <a:lnTo>
                    <a:pt x="15" y="16"/>
                  </a:lnTo>
                  <a:lnTo>
                    <a:pt x="15" y="16"/>
                  </a:lnTo>
                  <a:lnTo>
                    <a:pt x="15" y="16"/>
                  </a:lnTo>
                  <a:lnTo>
                    <a:pt x="15" y="16"/>
                  </a:lnTo>
                  <a:lnTo>
                    <a:pt x="15" y="16"/>
                  </a:lnTo>
                  <a:close/>
                  <a:moveTo>
                    <a:pt x="29" y="0"/>
                  </a:moveTo>
                  <a:lnTo>
                    <a:pt x="29" y="0"/>
                  </a:lnTo>
                  <a:lnTo>
                    <a:pt x="19" y="3"/>
                  </a:lnTo>
                  <a:lnTo>
                    <a:pt x="19" y="3"/>
                  </a:lnTo>
                  <a:lnTo>
                    <a:pt x="19" y="3"/>
                  </a:lnTo>
                  <a:lnTo>
                    <a:pt x="16" y="7"/>
                  </a:lnTo>
                  <a:lnTo>
                    <a:pt x="15" y="7"/>
                  </a:lnTo>
                  <a:lnTo>
                    <a:pt x="15" y="7"/>
                  </a:lnTo>
                  <a:lnTo>
                    <a:pt x="16" y="7"/>
                  </a:lnTo>
                  <a:lnTo>
                    <a:pt x="18" y="10"/>
                  </a:lnTo>
                  <a:lnTo>
                    <a:pt x="19" y="8"/>
                  </a:lnTo>
                  <a:lnTo>
                    <a:pt x="19" y="8"/>
                  </a:lnTo>
                  <a:lnTo>
                    <a:pt x="21" y="8"/>
                  </a:lnTo>
                  <a:lnTo>
                    <a:pt x="21" y="7"/>
                  </a:lnTo>
                  <a:lnTo>
                    <a:pt x="22" y="7"/>
                  </a:lnTo>
                  <a:lnTo>
                    <a:pt x="22" y="7"/>
                  </a:lnTo>
                  <a:lnTo>
                    <a:pt x="22" y="7"/>
                  </a:lnTo>
                  <a:lnTo>
                    <a:pt x="29" y="7"/>
                  </a:lnTo>
                  <a:lnTo>
                    <a:pt x="29" y="3"/>
                  </a:lnTo>
                  <a:lnTo>
                    <a:pt x="26" y="7"/>
                  </a:lnTo>
                  <a:lnTo>
                    <a:pt x="26" y="3"/>
                  </a:lnTo>
                  <a:lnTo>
                    <a:pt x="29" y="0"/>
                  </a:lnTo>
                  <a:lnTo>
                    <a:pt x="29" y="0"/>
                  </a:lnTo>
                  <a:lnTo>
                    <a:pt x="29" y="0"/>
                  </a:lnTo>
                  <a:lnTo>
                    <a:pt x="29" y="0"/>
                  </a:lnTo>
                  <a:lnTo>
                    <a:pt x="29" y="0"/>
                  </a:lnTo>
                  <a:lnTo>
                    <a:pt x="29" y="0"/>
                  </a:lnTo>
                  <a:lnTo>
                    <a:pt x="29" y="0"/>
                  </a:lnTo>
                  <a:lnTo>
                    <a:pt x="29" y="0"/>
                  </a:lnTo>
                  <a:lnTo>
                    <a:pt x="29" y="0"/>
                  </a:lnTo>
                  <a:lnTo>
                    <a:pt x="29" y="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8" name="Freeform 271">
              <a:extLst>
                <a:ext uri="{FF2B5EF4-FFF2-40B4-BE49-F238E27FC236}">
                  <a16:creationId xmlns:a16="http://schemas.microsoft.com/office/drawing/2014/main" id="{165C542D-9E5E-1C3C-507D-F984FC244A1D}"/>
                </a:ext>
              </a:extLst>
            </p:cNvPr>
            <p:cNvSpPr>
              <a:spLocks noEditPoints="1"/>
            </p:cNvSpPr>
            <p:nvPr/>
          </p:nvSpPr>
          <p:spPr bwMode="auto">
            <a:xfrm>
              <a:off x="10428030" y="4464752"/>
              <a:ext cx="67292" cy="121125"/>
            </a:xfrm>
            <a:custGeom>
              <a:avLst/>
              <a:gdLst>
                <a:gd name="T0" fmla="*/ 17 w 30"/>
                <a:gd name="T1" fmla="*/ 10 h 54"/>
                <a:gd name="T2" fmla="*/ 17 w 30"/>
                <a:gd name="T3" fmla="*/ 10 h 54"/>
                <a:gd name="T4" fmla="*/ 17 w 30"/>
                <a:gd name="T5" fmla="*/ 13 h 54"/>
                <a:gd name="T6" fmla="*/ 17 w 30"/>
                <a:gd name="T7" fmla="*/ 13 h 54"/>
                <a:gd name="T8" fmla="*/ 17 w 30"/>
                <a:gd name="T9" fmla="*/ 13 h 54"/>
                <a:gd name="T10" fmla="*/ 6 w 30"/>
                <a:gd name="T11" fmla="*/ 3 h 54"/>
                <a:gd name="T12" fmla="*/ 5 w 30"/>
                <a:gd name="T13" fmla="*/ 2 h 54"/>
                <a:gd name="T14" fmla="*/ 3 w 30"/>
                <a:gd name="T15" fmla="*/ 5 h 54"/>
                <a:gd name="T16" fmla="*/ 0 w 30"/>
                <a:gd name="T17" fmla="*/ 0 h 54"/>
                <a:gd name="T18" fmla="*/ 0 w 30"/>
                <a:gd name="T19" fmla="*/ 0 h 54"/>
                <a:gd name="T20" fmla="*/ 5 w 30"/>
                <a:gd name="T21" fmla="*/ 8 h 54"/>
                <a:gd name="T22" fmla="*/ 6 w 30"/>
                <a:gd name="T23" fmla="*/ 3 h 54"/>
                <a:gd name="T24" fmla="*/ 6 w 30"/>
                <a:gd name="T25" fmla="*/ 3 h 54"/>
                <a:gd name="T26" fmla="*/ 6 w 30"/>
                <a:gd name="T27" fmla="*/ 3 h 54"/>
                <a:gd name="T28" fmla="*/ 6 w 30"/>
                <a:gd name="T29" fmla="*/ 3 h 54"/>
                <a:gd name="T30" fmla="*/ 9 w 30"/>
                <a:gd name="T31" fmla="*/ 13 h 54"/>
                <a:gd name="T32" fmla="*/ 6 w 30"/>
                <a:gd name="T33" fmla="*/ 11 h 54"/>
                <a:gd name="T34" fmla="*/ 9 w 30"/>
                <a:gd name="T35" fmla="*/ 15 h 54"/>
                <a:gd name="T36" fmla="*/ 14 w 30"/>
                <a:gd name="T37" fmla="*/ 19 h 54"/>
                <a:gd name="T38" fmla="*/ 13 w 30"/>
                <a:gd name="T39" fmla="*/ 16 h 54"/>
                <a:gd name="T40" fmla="*/ 13 w 30"/>
                <a:gd name="T41" fmla="*/ 16 h 54"/>
                <a:gd name="T42" fmla="*/ 13 w 30"/>
                <a:gd name="T43" fmla="*/ 16 h 54"/>
                <a:gd name="T44" fmla="*/ 17 w 30"/>
                <a:gd name="T45" fmla="*/ 16 h 54"/>
                <a:gd name="T46" fmla="*/ 17 w 30"/>
                <a:gd name="T47" fmla="*/ 15 h 54"/>
                <a:gd name="T48" fmla="*/ 16 w 30"/>
                <a:gd name="T49" fmla="*/ 16 h 54"/>
                <a:gd name="T50" fmla="*/ 17 w 30"/>
                <a:gd name="T51" fmla="*/ 16 h 54"/>
                <a:gd name="T52" fmla="*/ 17 w 30"/>
                <a:gd name="T53" fmla="*/ 16 h 54"/>
                <a:gd name="T54" fmla="*/ 17 w 30"/>
                <a:gd name="T55" fmla="*/ 16 h 54"/>
                <a:gd name="T56" fmla="*/ 17 w 30"/>
                <a:gd name="T57" fmla="*/ 16 h 54"/>
                <a:gd name="T58" fmla="*/ 19 w 30"/>
                <a:gd name="T59" fmla="*/ 32 h 54"/>
                <a:gd name="T60" fmla="*/ 17 w 30"/>
                <a:gd name="T61" fmla="*/ 34 h 54"/>
                <a:gd name="T62" fmla="*/ 21 w 30"/>
                <a:gd name="T63" fmla="*/ 34 h 54"/>
                <a:gd name="T64" fmla="*/ 21 w 30"/>
                <a:gd name="T65" fmla="*/ 32 h 54"/>
                <a:gd name="T66" fmla="*/ 21 w 30"/>
                <a:gd name="T67" fmla="*/ 32 h 54"/>
                <a:gd name="T68" fmla="*/ 21 w 30"/>
                <a:gd name="T69" fmla="*/ 32 h 54"/>
                <a:gd name="T70" fmla="*/ 27 w 30"/>
                <a:gd name="T71" fmla="*/ 45 h 54"/>
                <a:gd name="T72" fmla="*/ 27 w 30"/>
                <a:gd name="T73" fmla="*/ 43 h 54"/>
                <a:gd name="T74" fmla="*/ 27 w 30"/>
                <a:gd name="T75" fmla="*/ 46 h 54"/>
                <a:gd name="T76" fmla="*/ 27 w 30"/>
                <a:gd name="T77" fmla="*/ 45 h 54"/>
                <a:gd name="T78" fmla="*/ 27 w 30"/>
                <a:gd name="T79" fmla="*/ 45 h 54"/>
                <a:gd name="T80" fmla="*/ 27 w 30"/>
                <a:gd name="T81" fmla="*/ 45 h 54"/>
                <a:gd name="T82" fmla="*/ 27 w 30"/>
                <a:gd name="T83" fmla="*/ 45 h 54"/>
                <a:gd name="T84" fmla="*/ 29 w 30"/>
                <a:gd name="T85" fmla="*/ 53 h 54"/>
                <a:gd name="T86" fmla="*/ 30 w 30"/>
                <a:gd name="T87" fmla="*/ 54 h 54"/>
                <a:gd name="T88" fmla="*/ 30 w 30"/>
                <a:gd name="T89" fmla="*/ 51 h 54"/>
                <a:gd name="T90" fmla="*/ 30 w 30"/>
                <a:gd name="T91" fmla="*/ 51 h 54"/>
                <a:gd name="T92" fmla="*/ 30 w 30"/>
                <a:gd name="T93"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 h="54">
                  <a:moveTo>
                    <a:pt x="17" y="13"/>
                  </a:moveTo>
                  <a:lnTo>
                    <a:pt x="17" y="11"/>
                  </a:lnTo>
                  <a:lnTo>
                    <a:pt x="17" y="10"/>
                  </a:lnTo>
                  <a:lnTo>
                    <a:pt x="17" y="8"/>
                  </a:lnTo>
                  <a:lnTo>
                    <a:pt x="17" y="8"/>
                  </a:lnTo>
                  <a:lnTo>
                    <a:pt x="17" y="10"/>
                  </a:lnTo>
                  <a:lnTo>
                    <a:pt x="17" y="13"/>
                  </a:lnTo>
                  <a:lnTo>
                    <a:pt x="17" y="13"/>
                  </a:lnTo>
                  <a:lnTo>
                    <a:pt x="17" y="13"/>
                  </a:lnTo>
                  <a:lnTo>
                    <a:pt x="17" y="13"/>
                  </a:lnTo>
                  <a:lnTo>
                    <a:pt x="17" y="13"/>
                  </a:lnTo>
                  <a:lnTo>
                    <a:pt x="17" y="13"/>
                  </a:lnTo>
                  <a:lnTo>
                    <a:pt x="17" y="13"/>
                  </a:lnTo>
                  <a:lnTo>
                    <a:pt x="17" y="13"/>
                  </a:lnTo>
                  <a:lnTo>
                    <a:pt x="17" y="13"/>
                  </a:lnTo>
                  <a:lnTo>
                    <a:pt x="17" y="13"/>
                  </a:lnTo>
                  <a:lnTo>
                    <a:pt x="17" y="13"/>
                  </a:lnTo>
                  <a:close/>
                  <a:moveTo>
                    <a:pt x="6" y="3"/>
                  </a:moveTo>
                  <a:lnTo>
                    <a:pt x="6" y="3"/>
                  </a:lnTo>
                  <a:lnTo>
                    <a:pt x="6" y="3"/>
                  </a:lnTo>
                  <a:lnTo>
                    <a:pt x="5" y="2"/>
                  </a:lnTo>
                  <a:lnTo>
                    <a:pt x="5" y="3"/>
                  </a:lnTo>
                  <a:lnTo>
                    <a:pt x="3" y="3"/>
                  </a:lnTo>
                  <a:lnTo>
                    <a:pt x="3" y="5"/>
                  </a:lnTo>
                  <a:lnTo>
                    <a:pt x="3" y="3"/>
                  </a:lnTo>
                  <a:lnTo>
                    <a:pt x="2" y="2"/>
                  </a:lnTo>
                  <a:lnTo>
                    <a:pt x="0" y="0"/>
                  </a:lnTo>
                  <a:lnTo>
                    <a:pt x="0" y="0"/>
                  </a:lnTo>
                  <a:lnTo>
                    <a:pt x="0" y="0"/>
                  </a:lnTo>
                  <a:lnTo>
                    <a:pt x="0" y="0"/>
                  </a:lnTo>
                  <a:lnTo>
                    <a:pt x="3" y="8"/>
                  </a:lnTo>
                  <a:lnTo>
                    <a:pt x="3" y="8"/>
                  </a:lnTo>
                  <a:lnTo>
                    <a:pt x="5" y="8"/>
                  </a:lnTo>
                  <a:lnTo>
                    <a:pt x="6" y="8"/>
                  </a:lnTo>
                  <a:lnTo>
                    <a:pt x="6" y="7"/>
                  </a:lnTo>
                  <a:lnTo>
                    <a:pt x="6" y="3"/>
                  </a:lnTo>
                  <a:lnTo>
                    <a:pt x="6" y="3"/>
                  </a:lnTo>
                  <a:lnTo>
                    <a:pt x="6" y="3"/>
                  </a:lnTo>
                  <a:lnTo>
                    <a:pt x="6" y="3"/>
                  </a:lnTo>
                  <a:lnTo>
                    <a:pt x="6" y="3"/>
                  </a:lnTo>
                  <a:lnTo>
                    <a:pt x="6" y="3"/>
                  </a:lnTo>
                  <a:lnTo>
                    <a:pt x="6" y="3"/>
                  </a:lnTo>
                  <a:lnTo>
                    <a:pt x="6" y="3"/>
                  </a:lnTo>
                  <a:lnTo>
                    <a:pt x="6" y="3"/>
                  </a:lnTo>
                  <a:lnTo>
                    <a:pt x="6" y="3"/>
                  </a:lnTo>
                  <a:close/>
                  <a:moveTo>
                    <a:pt x="13" y="16"/>
                  </a:moveTo>
                  <a:lnTo>
                    <a:pt x="9" y="15"/>
                  </a:lnTo>
                  <a:lnTo>
                    <a:pt x="9" y="13"/>
                  </a:lnTo>
                  <a:lnTo>
                    <a:pt x="9" y="13"/>
                  </a:lnTo>
                  <a:lnTo>
                    <a:pt x="8" y="11"/>
                  </a:lnTo>
                  <a:lnTo>
                    <a:pt x="6" y="11"/>
                  </a:lnTo>
                  <a:lnTo>
                    <a:pt x="6" y="13"/>
                  </a:lnTo>
                  <a:lnTo>
                    <a:pt x="8" y="15"/>
                  </a:lnTo>
                  <a:lnTo>
                    <a:pt x="9" y="15"/>
                  </a:lnTo>
                  <a:lnTo>
                    <a:pt x="9" y="21"/>
                  </a:lnTo>
                  <a:lnTo>
                    <a:pt x="14" y="21"/>
                  </a:lnTo>
                  <a:lnTo>
                    <a:pt x="14" y="19"/>
                  </a:lnTo>
                  <a:lnTo>
                    <a:pt x="13" y="18"/>
                  </a:lnTo>
                  <a:lnTo>
                    <a:pt x="13" y="16"/>
                  </a:lnTo>
                  <a:lnTo>
                    <a:pt x="13" y="16"/>
                  </a:lnTo>
                  <a:lnTo>
                    <a:pt x="13" y="16"/>
                  </a:lnTo>
                  <a:lnTo>
                    <a:pt x="13" y="16"/>
                  </a:lnTo>
                  <a:lnTo>
                    <a:pt x="13" y="16"/>
                  </a:lnTo>
                  <a:lnTo>
                    <a:pt x="13" y="16"/>
                  </a:lnTo>
                  <a:lnTo>
                    <a:pt x="13" y="16"/>
                  </a:lnTo>
                  <a:lnTo>
                    <a:pt x="13" y="16"/>
                  </a:lnTo>
                  <a:lnTo>
                    <a:pt x="13" y="16"/>
                  </a:lnTo>
                  <a:lnTo>
                    <a:pt x="13" y="16"/>
                  </a:lnTo>
                  <a:close/>
                  <a:moveTo>
                    <a:pt x="17" y="16"/>
                  </a:moveTo>
                  <a:lnTo>
                    <a:pt x="17" y="13"/>
                  </a:lnTo>
                  <a:lnTo>
                    <a:pt x="17" y="15"/>
                  </a:lnTo>
                  <a:lnTo>
                    <a:pt x="17" y="15"/>
                  </a:lnTo>
                  <a:lnTo>
                    <a:pt x="16" y="15"/>
                  </a:lnTo>
                  <a:lnTo>
                    <a:pt x="16" y="16"/>
                  </a:lnTo>
                  <a:lnTo>
                    <a:pt x="16" y="16"/>
                  </a:lnTo>
                  <a:lnTo>
                    <a:pt x="16" y="16"/>
                  </a:lnTo>
                  <a:lnTo>
                    <a:pt x="17" y="18"/>
                  </a:lnTo>
                  <a:lnTo>
                    <a:pt x="17" y="16"/>
                  </a:lnTo>
                  <a:lnTo>
                    <a:pt x="17" y="16"/>
                  </a:lnTo>
                  <a:lnTo>
                    <a:pt x="17" y="16"/>
                  </a:lnTo>
                  <a:lnTo>
                    <a:pt x="17" y="16"/>
                  </a:lnTo>
                  <a:lnTo>
                    <a:pt x="17" y="16"/>
                  </a:lnTo>
                  <a:lnTo>
                    <a:pt x="17" y="16"/>
                  </a:lnTo>
                  <a:lnTo>
                    <a:pt x="17" y="16"/>
                  </a:lnTo>
                  <a:lnTo>
                    <a:pt x="17" y="16"/>
                  </a:lnTo>
                  <a:lnTo>
                    <a:pt x="17" y="16"/>
                  </a:lnTo>
                  <a:lnTo>
                    <a:pt x="17" y="16"/>
                  </a:lnTo>
                  <a:lnTo>
                    <a:pt x="17" y="16"/>
                  </a:lnTo>
                  <a:close/>
                  <a:moveTo>
                    <a:pt x="21" y="32"/>
                  </a:moveTo>
                  <a:lnTo>
                    <a:pt x="19" y="32"/>
                  </a:lnTo>
                  <a:lnTo>
                    <a:pt x="19" y="32"/>
                  </a:lnTo>
                  <a:lnTo>
                    <a:pt x="17" y="34"/>
                  </a:lnTo>
                  <a:lnTo>
                    <a:pt x="17" y="34"/>
                  </a:lnTo>
                  <a:lnTo>
                    <a:pt x="19" y="34"/>
                  </a:lnTo>
                  <a:lnTo>
                    <a:pt x="21" y="35"/>
                  </a:lnTo>
                  <a:lnTo>
                    <a:pt x="21" y="34"/>
                  </a:lnTo>
                  <a:lnTo>
                    <a:pt x="21" y="32"/>
                  </a:lnTo>
                  <a:lnTo>
                    <a:pt x="21" y="32"/>
                  </a:lnTo>
                  <a:lnTo>
                    <a:pt x="21" y="32"/>
                  </a:lnTo>
                  <a:lnTo>
                    <a:pt x="21" y="32"/>
                  </a:lnTo>
                  <a:lnTo>
                    <a:pt x="21" y="32"/>
                  </a:lnTo>
                  <a:lnTo>
                    <a:pt x="21" y="32"/>
                  </a:lnTo>
                  <a:lnTo>
                    <a:pt x="21" y="32"/>
                  </a:lnTo>
                  <a:lnTo>
                    <a:pt x="21" y="32"/>
                  </a:lnTo>
                  <a:lnTo>
                    <a:pt x="21" y="32"/>
                  </a:lnTo>
                  <a:lnTo>
                    <a:pt x="21" y="32"/>
                  </a:lnTo>
                  <a:lnTo>
                    <a:pt x="21" y="32"/>
                  </a:lnTo>
                  <a:close/>
                  <a:moveTo>
                    <a:pt x="27" y="45"/>
                  </a:moveTo>
                  <a:lnTo>
                    <a:pt x="27" y="43"/>
                  </a:lnTo>
                  <a:lnTo>
                    <a:pt x="27" y="43"/>
                  </a:lnTo>
                  <a:lnTo>
                    <a:pt x="27" y="43"/>
                  </a:lnTo>
                  <a:lnTo>
                    <a:pt x="27" y="43"/>
                  </a:lnTo>
                  <a:lnTo>
                    <a:pt x="27" y="45"/>
                  </a:lnTo>
                  <a:lnTo>
                    <a:pt x="27" y="46"/>
                  </a:lnTo>
                  <a:lnTo>
                    <a:pt x="29" y="46"/>
                  </a:lnTo>
                  <a:lnTo>
                    <a:pt x="27" y="45"/>
                  </a:lnTo>
                  <a:lnTo>
                    <a:pt x="27" y="45"/>
                  </a:lnTo>
                  <a:lnTo>
                    <a:pt x="27" y="45"/>
                  </a:lnTo>
                  <a:lnTo>
                    <a:pt x="27" y="45"/>
                  </a:lnTo>
                  <a:lnTo>
                    <a:pt x="27" y="45"/>
                  </a:lnTo>
                  <a:lnTo>
                    <a:pt x="27" y="45"/>
                  </a:lnTo>
                  <a:lnTo>
                    <a:pt x="27" y="45"/>
                  </a:lnTo>
                  <a:lnTo>
                    <a:pt x="27" y="45"/>
                  </a:lnTo>
                  <a:lnTo>
                    <a:pt x="27" y="45"/>
                  </a:lnTo>
                  <a:lnTo>
                    <a:pt x="27" y="45"/>
                  </a:lnTo>
                  <a:lnTo>
                    <a:pt x="27" y="45"/>
                  </a:lnTo>
                  <a:close/>
                  <a:moveTo>
                    <a:pt x="30" y="51"/>
                  </a:moveTo>
                  <a:lnTo>
                    <a:pt x="29" y="51"/>
                  </a:lnTo>
                  <a:lnTo>
                    <a:pt x="29" y="53"/>
                  </a:lnTo>
                  <a:lnTo>
                    <a:pt x="29" y="54"/>
                  </a:lnTo>
                  <a:lnTo>
                    <a:pt x="29" y="54"/>
                  </a:lnTo>
                  <a:lnTo>
                    <a:pt x="30" y="54"/>
                  </a:lnTo>
                  <a:lnTo>
                    <a:pt x="30" y="53"/>
                  </a:lnTo>
                  <a:lnTo>
                    <a:pt x="30" y="51"/>
                  </a:lnTo>
                  <a:lnTo>
                    <a:pt x="30" y="51"/>
                  </a:lnTo>
                  <a:lnTo>
                    <a:pt x="30" y="51"/>
                  </a:lnTo>
                  <a:lnTo>
                    <a:pt x="30" y="51"/>
                  </a:lnTo>
                  <a:lnTo>
                    <a:pt x="30" y="51"/>
                  </a:lnTo>
                  <a:lnTo>
                    <a:pt x="30" y="51"/>
                  </a:lnTo>
                  <a:lnTo>
                    <a:pt x="30" y="51"/>
                  </a:lnTo>
                  <a:lnTo>
                    <a:pt x="30" y="51"/>
                  </a:lnTo>
                  <a:lnTo>
                    <a:pt x="30" y="51"/>
                  </a:lnTo>
                  <a:lnTo>
                    <a:pt x="30" y="5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09" name="Freeform 273">
              <a:extLst>
                <a:ext uri="{FF2B5EF4-FFF2-40B4-BE49-F238E27FC236}">
                  <a16:creationId xmlns:a16="http://schemas.microsoft.com/office/drawing/2014/main" id="{01AB42EB-400D-DB8F-B6B9-8700F11D4B05}"/>
                </a:ext>
              </a:extLst>
            </p:cNvPr>
            <p:cNvSpPr>
              <a:spLocks noEditPoints="1"/>
            </p:cNvSpPr>
            <p:nvPr/>
          </p:nvSpPr>
          <p:spPr bwMode="auto">
            <a:xfrm>
              <a:off x="10367468" y="4601578"/>
              <a:ext cx="96453" cy="56078"/>
            </a:xfrm>
            <a:custGeom>
              <a:avLst/>
              <a:gdLst>
                <a:gd name="T0" fmla="*/ 29 w 43"/>
                <a:gd name="T1" fmla="*/ 20 h 25"/>
                <a:gd name="T2" fmla="*/ 24 w 43"/>
                <a:gd name="T3" fmla="*/ 17 h 25"/>
                <a:gd name="T4" fmla="*/ 19 w 43"/>
                <a:gd name="T5" fmla="*/ 16 h 25"/>
                <a:gd name="T6" fmla="*/ 19 w 43"/>
                <a:gd name="T7" fmla="*/ 14 h 25"/>
                <a:gd name="T8" fmla="*/ 16 w 43"/>
                <a:gd name="T9" fmla="*/ 12 h 25"/>
                <a:gd name="T10" fmla="*/ 14 w 43"/>
                <a:gd name="T11" fmla="*/ 11 h 25"/>
                <a:gd name="T12" fmla="*/ 13 w 43"/>
                <a:gd name="T13" fmla="*/ 8 h 25"/>
                <a:gd name="T14" fmla="*/ 9 w 43"/>
                <a:gd name="T15" fmla="*/ 4 h 25"/>
                <a:gd name="T16" fmla="*/ 8 w 43"/>
                <a:gd name="T17" fmla="*/ 3 h 25"/>
                <a:gd name="T18" fmla="*/ 3 w 43"/>
                <a:gd name="T19" fmla="*/ 1 h 25"/>
                <a:gd name="T20" fmla="*/ 0 w 43"/>
                <a:gd name="T21" fmla="*/ 0 h 25"/>
                <a:gd name="T22" fmla="*/ 0 w 43"/>
                <a:gd name="T23" fmla="*/ 1 h 25"/>
                <a:gd name="T24" fmla="*/ 3 w 43"/>
                <a:gd name="T25" fmla="*/ 4 h 25"/>
                <a:gd name="T26" fmla="*/ 5 w 43"/>
                <a:gd name="T27" fmla="*/ 8 h 25"/>
                <a:gd name="T28" fmla="*/ 11 w 43"/>
                <a:gd name="T29" fmla="*/ 14 h 25"/>
                <a:gd name="T30" fmla="*/ 13 w 43"/>
                <a:gd name="T31" fmla="*/ 17 h 25"/>
                <a:gd name="T32" fmla="*/ 16 w 43"/>
                <a:gd name="T33" fmla="*/ 17 h 25"/>
                <a:gd name="T34" fmla="*/ 17 w 43"/>
                <a:gd name="T35" fmla="*/ 19 h 25"/>
                <a:gd name="T36" fmla="*/ 19 w 43"/>
                <a:gd name="T37" fmla="*/ 19 h 25"/>
                <a:gd name="T38" fmla="*/ 21 w 43"/>
                <a:gd name="T39" fmla="*/ 20 h 25"/>
                <a:gd name="T40" fmla="*/ 22 w 43"/>
                <a:gd name="T41" fmla="*/ 20 h 25"/>
                <a:gd name="T42" fmla="*/ 22 w 43"/>
                <a:gd name="T43" fmla="*/ 22 h 25"/>
                <a:gd name="T44" fmla="*/ 25 w 43"/>
                <a:gd name="T45" fmla="*/ 23 h 25"/>
                <a:gd name="T46" fmla="*/ 27 w 43"/>
                <a:gd name="T47" fmla="*/ 23 h 25"/>
                <a:gd name="T48" fmla="*/ 29 w 43"/>
                <a:gd name="T49" fmla="*/ 25 h 25"/>
                <a:gd name="T50" fmla="*/ 30 w 43"/>
                <a:gd name="T51" fmla="*/ 23 h 25"/>
                <a:gd name="T52" fmla="*/ 32 w 43"/>
                <a:gd name="T53" fmla="*/ 23 h 25"/>
                <a:gd name="T54" fmla="*/ 29 w 43"/>
                <a:gd name="T55" fmla="*/ 20 h 25"/>
                <a:gd name="T56" fmla="*/ 29 w 43"/>
                <a:gd name="T57" fmla="*/ 20 h 25"/>
                <a:gd name="T58" fmla="*/ 29 w 43"/>
                <a:gd name="T59" fmla="*/ 20 h 25"/>
                <a:gd name="T60" fmla="*/ 29 w 43"/>
                <a:gd name="T61" fmla="*/ 20 h 25"/>
                <a:gd name="T62" fmla="*/ 29 w 43"/>
                <a:gd name="T63" fmla="*/ 20 h 25"/>
                <a:gd name="T64" fmla="*/ 35 w 43"/>
                <a:gd name="T65" fmla="*/ 8 h 25"/>
                <a:gd name="T66" fmla="*/ 33 w 43"/>
                <a:gd name="T67" fmla="*/ 8 h 25"/>
                <a:gd name="T68" fmla="*/ 32 w 43"/>
                <a:gd name="T69" fmla="*/ 8 h 25"/>
                <a:gd name="T70" fmla="*/ 32 w 43"/>
                <a:gd name="T71" fmla="*/ 8 h 25"/>
                <a:gd name="T72" fmla="*/ 35 w 43"/>
                <a:gd name="T73" fmla="*/ 12 h 25"/>
                <a:gd name="T74" fmla="*/ 35 w 43"/>
                <a:gd name="T75" fmla="*/ 11 h 25"/>
                <a:gd name="T76" fmla="*/ 35 w 43"/>
                <a:gd name="T77" fmla="*/ 8 h 25"/>
                <a:gd name="T78" fmla="*/ 35 w 43"/>
                <a:gd name="T79" fmla="*/ 8 h 25"/>
                <a:gd name="T80" fmla="*/ 35 w 43"/>
                <a:gd name="T81" fmla="*/ 8 h 25"/>
                <a:gd name="T82" fmla="*/ 35 w 43"/>
                <a:gd name="T83" fmla="*/ 8 h 25"/>
                <a:gd name="T84" fmla="*/ 35 w 43"/>
                <a:gd name="T85" fmla="*/ 8 h 25"/>
                <a:gd name="T86" fmla="*/ 35 w 43"/>
                <a:gd name="T87" fmla="*/ 8 h 25"/>
                <a:gd name="T88" fmla="*/ 43 w 43"/>
                <a:gd name="T89" fmla="*/ 14 h 25"/>
                <a:gd name="T90" fmla="*/ 41 w 43"/>
                <a:gd name="T91" fmla="*/ 14 h 25"/>
                <a:gd name="T92" fmla="*/ 41 w 43"/>
                <a:gd name="T93" fmla="*/ 16 h 25"/>
                <a:gd name="T94" fmla="*/ 43 w 43"/>
                <a:gd name="T95" fmla="*/ 17 h 25"/>
                <a:gd name="T96" fmla="*/ 43 w 43"/>
                <a:gd name="T97" fmla="*/ 14 h 25"/>
                <a:gd name="T98" fmla="*/ 43 w 43"/>
                <a:gd name="T99" fmla="*/ 14 h 25"/>
                <a:gd name="T100" fmla="*/ 43 w 43"/>
                <a:gd name="T101" fmla="*/ 14 h 25"/>
                <a:gd name="T102" fmla="*/ 43 w 43"/>
                <a:gd name="T103" fmla="*/ 14 h 25"/>
                <a:gd name="T104" fmla="*/ 43 w 43"/>
                <a:gd name="T10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25">
                  <a:moveTo>
                    <a:pt x="29" y="20"/>
                  </a:moveTo>
                  <a:lnTo>
                    <a:pt x="29" y="20"/>
                  </a:lnTo>
                  <a:lnTo>
                    <a:pt x="27" y="20"/>
                  </a:lnTo>
                  <a:lnTo>
                    <a:pt x="24" y="17"/>
                  </a:lnTo>
                  <a:lnTo>
                    <a:pt x="22" y="17"/>
                  </a:lnTo>
                  <a:lnTo>
                    <a:pt x="19" y="16"/>
                  </a:lnTo>
                  <a:lnTo>
                    <a:pt x="19" y="14"/>
                  </a:lnTo>
                  <a:lnTo>
                    <a:pt x="19" y="14"/>
                  </a:lnTo>
                  <a:lnTo>
                    <a:pt x="17" y="14"/>
                  </a:lnTo>
                  <a:lnTo>
                    <a:pt x="16" y="12"/>
                  </a:lnTo>
                  <a:lnTo>
                    <a:pt x="16" y="12"/>
                  </a:lnTo>
                  <a:lnTo>
                    <a:pt x="14" y="11"/>
                  </a:lnTo>
                  <a:lnTo>
                    <a:pt x="14" y="8"/>
                  </a:lnTo>
                  <a:lnTo>
                    <a:pt x="13" y="8"/>
                  </a:lnTo>
                  <a:lnTo>
                    <a:pt x="11" y="4"/>
                  </a:lnTo>
                  <a:lnTo>
                    <a:pt x="9" y="4"/>
                  </a:lnTo>
                  <a:lnTo>
                    <a:pt x="8" y="4"/>
                  </a:lnTo>
                  <a:lnTo>
                    <a:pt x="8" y="3"/>
                  </a:lnTo>
                  <a:lnTo>
                    <a:pt x="6" y="3"/>
                  </a:lnTo>
                  <a:lnTo>
                    <a:pt x="3" y="1"/>
                  </a:lnTo>
                  <a:lnTo>
                    <a:pt x="3" y="1"/>
                  </a:lnTo>
                  <a:lnTo>
                    <a:pt x="0" y="0"/>
                  </a:lnTo>
                  <a:lnTo>
                    <a:pt x="0" y="0"/>
                  </a:lnTo>
                  <a:lnTo>
                    <a:pt x="0" y="1"/>
                  </a:lnTo>
                  <a:lnTo>
                    <a:pt x="0" y="3"/>
                  </a:lnTo>
                  <a:lnTo>
                    <a:pt x="3" y="4"/>
                  </a:lnTo>
                  <a:lnTo>
                    <a:pt x="3" y="8"/>
                  </a:lnTo>
                  <a:lnTo>
                    <a:pt x="5" y="8"/>
                  </a:lnTo>
                  <a:lnTo>
                    <a:pt x="8" y="12"/>
                  </a:lnTo>
                  <a:lnTo>
                    <a:pt x="11" y="14"/>
                  </a:lnTo>
                  <a:lnTo>
                    <a:pt x="13" y="16"/>
                  </a:lnTo>
                  <a:lnTo>
                    <a:pt x="13" y="17"/>
                  </a:lnTo>
                  <a:lnTo>
                    <a:pt x="13" y="17"/>
                  </a:lnTo>
                  <a:lnTo>
                    <a:pt x="16" y="17"/>
                  </a:lnTo>
                  <a:lnTo>
                    <a:pt x="16" y="19"/>
                  </a:lnTo>
                  <a:lnTo>
                    <a:pt x="17" y="19"/>
                  </a:lnTo>
                  <a:lnTo>
                    <a:pt x="19" y="19"/>
                  </a:lnTo>
                  <a:lnTo>
                    <a:pt x="19" y="19"/>
                  </a:lnTo>
                  <a:lnTo>
                    <a:pt x="19" y="20"/>
                  </a:lnTo>
                  <a:lnTo>
                    <a:pt x="21" y="20"/>
                  </a:lnTo>
                  <a:lnTo>
                    <a:pt x="21" y="20"/>
                  </a:lnTo>
                  <a:lnTo>
                    <a:pt x="22" y="20"/>
                  </a:lnTo>
                  <a:lnTo>
                    <a:pt x="22" y="22"/>
                  </a:lnTo>
                  <a:lnTo>
                    <a:pt x="22" y="22"/>
                  </a:lnTo>
                  <a:lnTo>
                    <a:pt x="24" y="22"/>
                  </a:lnTo>
                  <a:lnTo>
                    <a:pt x="25" y="23"/>
                  </a:lnTo>
                  <a:lnTo>
                    <a:pt x="27" y="23"/>
                  </a:lnTo>
                  <a:lnTo>
                    <a:pt x="27" y="23"/>
                  </a:lnTo>
                  <a:lnTo>
                    <a:pt x="29" y="23"/>
                  </a:lnTo>
                  <a:lnTo>
                    <a:pt x="29" y="25"/>
                  </a:lnTo>
                  <a:lnTo>
                    <a:pt x="30" y="25"/>
                  </a:lnTo>
                  <a:lnTo>
                    <a:pt x="30" y="23"/>
                  </a:lnTo>
                  <a:lnTo>
                    <a:pt x="32" y="23"/>
                  </a:lnTo>
                  <a:lnTo>
                    <a:pt x="32" y="23"/>
                  </a:lnTo>
                  <a:lnTo>
                    <a:pt x="32" y="22"/>
                  </a:lnTo>
                  <a:lnTo>
                    <a:pt x="29" y="20"/>
                  </a:lnTo>
                  <a:lnTo>
                    <a:pt x="29" y="20"/>
                  </a:lnTo>
                  <a:lnTo>
                    <a:pt x="29" y="20"/>
                  </a:lnTo>
                  <a:lnTo>
                    <a:pt x="29" y="20"/>
                  </a:lnTo>
                  <a:lnTo>
                    <a:pt x="29" y="20"/>
                  </a:lnTo>
                  <a:lnTo>
                    <a:pt x="29" y="20"/>
                  </a:lnTo>
                  <a:lnTo>
                    <a:pt x="29" y="20"/>
                  </a:lnTo>
                  <a:lnTo>
                    <a:pt x="29" y="20"/>
                  </a:lnTo>
                  <a:lnTo>
                    <a:pt x="29" y="20"/>
                  </a:lnTo>
                  <a:lnTo>
                    <a:pt x="29" y="20"/>
                  </a:lnTo>
                  <a:close/>
                  <a:moveTo>
                    <a:pt x="35" y="8"/>
                  </a:moveTo>
                  <a:lnTo>
                    <a:pt x="35" y="8"/>
                  </a:lnTo>
                  <a:lnTo>
                    <a:pt x="33" y="8"/>
                  </a:lnTo>
                  <a:lnTo>
                    <a:pt x="32" y="8"/>
                  </a:lnTo>
                  <a:lnTo>
                    <a:pt x="32" y="8"/>
                  </a:lnTo>
                  <a:lnTo>
                    <a:pt x="32" y="8"/>
                  </a:lnTo>
                  <a:lnTo>
                    <a:pt x="32" y="8"/>
                  </a:lnTo>
                  <a:lnTo>
                    <a:pt x="32" y="9"/>
                  </a:lnTo>
                  <a:lnTo>
                    <a:pt x="35" y="12"/>
                  </a:lnTo>
                  <a:lnTo>
                    <a:pt x="35" y="11"/>
                  </a:lnTo>
                  <a:lnTo>
                    <a:pt x="35" y="11"/>
                  </a:lnTo>
                  <a:lnTo>
                    <a:pt x="35" y="9"/>
                  </a:lnTo>
                  <a:lnTo>
                    <a:pt x="35" y="8"/>
                  </a:lnTo>
                  <a:lnTo>
                    <a:pt x="35" y="8"/>
                  </a:lnTo>
                  <a:lnTo>
                    <a:pt x="35" y="8"/>
                  </a:lnTo>
                  <a:lnTo>
                    <a:pt x="35" y="8"/>
                  </a:lnTo>
                  <a:lnTo>
                    <a:pt x="35" y="8"/>
                  </a:lnTo>
                  <a:lnTo>
                    <a:pt x="35" y="8"/>
                  </a:lnTo>
                  <a:lnTo>
                    <a:pt x="35" y="8"/>
                  </a:lnTo>
                  <a:lnTo>
                    <a:pt x="35" y="8"/>
                  </a:lnTo>
                  <a:lnTo>
                    <a:pt x="35" y="8"/>
                  </a:lnTo>
                  <a:lnTo>
                    <a:pt x="35" y="8"/>
                  </a:lnTo>
                  <a:lnTo>
                    <a:pt x="35" y="8"/>
                  </a:lnTo>
                  <a:close/>
                  <a:moveTo>
                    <a:pt x="43" y="14"/>
                  </a:moveTo>
                  <a:lnTo>
                    <a:pt x="43" y="14"/>
                  </a:lnTo>
                  <a:lnTo>
                    <a:pt x="41" y="14"/>
                  </a:lnTo>
                  <a:lnTo>
                    <a:pt x="41" y="14"/>
                  </a:lnTo>
                  <a:lnTo>
                    <a:pt x="41" y="14"/>
                  </a:lnTo>
                  <a:lnTo>
                    <a:pt x="41" y="16"/>
                  </a:lnTo>
                  <a:lnTo>
                    <a:pt x="41" y="17"/>
                  </a:lnTo>
                  <a:lnTo>
                    <a:pt x="43" y="17"/>
                  </a:lnTo>
                  <a:lnTo>
                    <a:pt x="43" y="16"/>
                  </a:lnTo>
                  <a:lnTo>
                    <a:pt x="43" y="14"/>
                  </a:lnTo>
                  <a:lnTo>
                    <a:pt x="43" y="14"/>
                  </a:lnTo>
                  <a:lnTo>
                    <a:pt x="43" y="14"/>
                  </a:lnTo>
                  <a:lnTo>
                    <a:pt x="43" y="14"/>
                  </a:lnTo>
                  <a:lnTo>
                    <a:pt x="43" y="14"/>
                  </a:lnTo>
                  <a:lnTo>
                    <a:pt x="43" y="14"/>
                  </a:lnTo>
                  <a:lnTo>
                    <a:pt x="43" y="14"/>
                  </a:lnTo>
                  <a:lnTo>
                    <a:pt x="43" y="14"/>
                  </a:lnTo>
                  <a:lnTo>
                    <a:pt x="43" y="14"/>
                  </a:lnTo>
                  <a:lnTo>
                    <a:pt x="43" y="1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0" name="Freeform 276">
              <a:extLst>
                <a:ext uri="{FF2B5EF4-FFF2-40B4-BE49-F238E27FC236}">
                  <a16:creationId xmlns:a16="http://schemas.microsoft.com/office/drawing/2014/main" id="{FF2063E3-2894-1A95-7640-4B6B4EE228F2}"/>
                </a:ext>
              </a:extLst>
            </p:cNvPr>
            <p:cNvSpPr>
              <a:spLocks/>
            </p:cNvSpPr>
            <p:nvPr/>
          </p:nvSpPr>
          <p:spPr bwMode="auto">
            <a:xfrm>
              <a:off x="8900499" y="3803045"/>
              <a:ext cx="266926" cy="195148"/>
            </a:xfrm>
            <a:custGeom>
              <a:avLst/>
              <a:gdLst>
                <a:gd name="T0" fmla="*/ 114 w 119"/>
                <a:gd name="T1" fmla="*/ 22 h 87"/>
                <a:gd name="T2" fmla="*/ 111 w 119"/>
                <a:gd name="T3" fmla="*/ 21 h 87"/>
                <a:gd name="T4" fmla="*/ 105 w 119"/>
                <a:gd name="T5" fmla="*/ 16 h 87"/>
                <a:gd name="T6" fmla="*/ 105 w 119"/>
                <a:gd name="T7" fmla="*/ 16 h 87"/>
                <a:gd name="T8" fmla="*/ 100 w 119"/>
                <a:gd name="T9" fmla="*/ 16 h 87"/>
                <a:gd name="T10" fmla="*/ 98 w 119"/>
                <a:gd name="T11" fmla="*/ 13 h 87"/>
                <a:gd name="T12" fmla="*/ 98 w 119"/>
                <a:gd name="T13" fmla="*/ 8 h 87"/>
                <a:gd name="T14" fmla="*/ 94 w 119"/>
                <a:gd name="T15" fmla="*/ 5 h 87"/>
                <a:gd name="T16" fmla="*/ 87 w 119"/>
                <a:gd name="T17" fmla="*/ 6 h 87"/>
                <a:gd name="T18" fmla="*/ 86 w 119"/>
                <a:gd name="T19" fmla="*/ 0 h 87"/>
                <a:gd name="T20" fmla="*/ 79 w 119"/>
                <a:gd name="T21" fmla="*/ 10 h 87"/>
                <a:gd name="T22" fmla="*/ 73 w 119"/>
                <a:gd name="T23" fmla="*/ 21 h 87"/>
                <a:gd name="T24" fmla="*/ 71 w 119"/>
                <a:gd name="T25" fmla="*/ 22 h 87"/>
                <a:gd name="T26" fmla="*/ 73 w 119"/>
                <a:gd name="T27" fmla="*/ 25 h 87"/>
                <a:gd name="T28" fmla="*/ 68 w 119"/>
                <a:gd name="T29" fmla="*/ 29 h 87"/>
                <a:gd name="T30" fmla="*/ 67 w 119"/>
                <a:gd name="T31" fmla="*/ 32 h 87"/>
                <a:gd name="T32" fmla="*/ 70 w 119"/>
                <a:gd name="T33" fmla="*/ 35 h 87"/>
                <a:gd name="T34" fmla="*/ 65 w 119"/>
                <a:gd name="T35" fmla="*/ 32 h 87"/>
                <a:gd name="T36" fmla="*/ 63 w 119"/>
                <a:gd name="T37" fmla="*/ 32 h 87"/>
                <a:gd name="T38" fmla="*/ 63 w 119"/>
                <a:gd name="T39" fmla="*/ 40 h 87"/>
                <a:gd name="T40" fmla="*/ 59 w 119"/>
                <a:gd name="T41" fmla="*/ 41 h 87"/>
                <a:gd name="T42" fmla="*/ 55 w 119"/>
                <a:gd name="T43" fmla="*/ 37 h 87"/>
                <a:gd name="T44" fmla="*/ 52 w 119"/>
                <a:gd name="T45" fmla="*/ 35 h 87"/>
                <a:gd name="T46" fmla="*/ 44 w 119"/>
                <a:gd name="T47" fmla="*/ 51 h 87"/>
                <a:gd name="T48" fmla="*/ 35 w 119"/>
                <a:gd name="T49" fmla="*/ 57 h 87"/>
                <a:gd name="T50" fmla="*/ 22 w 119"/>
                <a:gd name="T51" fmla="*/ 64 h 87"/>
                <a:gd name="T52" fmla="*/ 19 w 119"/>
                <a:gd name="T53" fmla="*/ 68 h 87"/>
                <a:gd name="T54" fmla="*/ 19 w 119"/>
                <a:gd name="T55" fmla="*/ 71 h 87"/>
                <a:gd name="T56" fmla="*/ 19 w 119"/>
                <a:gd name="T57" fmla="*/ 76 h 87"/>
                <a:gd name="T58" fmla="*/ 17 w 119"/>
                <a:gd name="T59" fmla="*/ 79 h 87"/>
                <a:gd name="T60" fmla="*/ 11 w 119"/>
                <a:gd name="T61" fmla="*/ 76 h 87"/>
                <a:gd name="T62" fmla="*/ 8 w 119"/>
                <a:gd name="T63" fmla="*/ 76 h 87"/>
                <a:gd name="T64" fmla="*/ 0 w 119"/>
                <a:gd name="T65" fmla="*/ 75 h 87"/>
                <a:gd name="T66" fmla="*/ 0 w 119"/>
                <a:gd name="T67" fmla="*/ 75 h 87"/>
                <a:gd name="T68" fmla="*/ 8 w 119"/>
                <a:gd name="T69" fmla="*/ 86 h 87"/>
                <a:gd name="T70" fmla="*/ 14 w 119"/>
                <a:gd name="T71" fmla="*/ 87 h 87"/>
                <a:gd name="T72" fmla="*/ 24 w 119"/>
                <a:gd name="T73" fmla="*/ 86 h 87"/>
                <a:gd name="T74" fmla="*/ 32 w 119"/>
                <a:gd name="T75" fmla="*/ 79 h 87"/>
                <a:gd name="T76" fmla="*/ 40 w 119"/>
                <a:gd name="T77" fmla="*/ 76 h 87"/>
                <a:gd name="T78" fmla="*/ 49 w 119"/>
                <a:gd name="T79" fmla="*/ 83 h 87"/>
                <a:gd name="T80" fmla="*/ 55 w 119"/>
                <a:gd name="T81" fmla="*/ 79 h 87"/>
                <a:gd name="T82" fmla="*/ 62 w 119"/>
                <a:gd name="T83" fmla="*/ 79 h 87"/>
                <a:gd name="T84" fmla="*/ 65 w 119"/>
                <a:gd name="T85" fmla="*/ 73 h 87"/>
                <a:gd name="T86" fmla="*/ 65 w 119"/>
                <a:gd name="T87" fmla="*/ 67 h 87"/>
                <a:gd name="T88" fmla="*/ 68 w 119"/>
                <a:gd name="T89" fmla="*/ 59 h 87"/>
                <a:gd name="T90" fmla="*/ 73 w 119"/>
                <a:gd name="T91" fmla="*/ 54 h 87"/>
                <a:gd name="T92" fmla="*/ 73 w 119"/>
                <a:gd name="T93" fmla="*/ 44 h 87"/>
                <a:gd name="T94" fmla="*/ 79 w 119"/>
                <a:gd name="T95" fmla="*/ 38 h 87"/>
                <a:gd name="T96" fmla="*/ 84 w 119"/>
                <a:gd name="T97" fmla="*/ 37 h 87"/>
                <a:gd name="T98" fmla="*/ 92 w 119"/>
                <a:gd name="T99" fmla="*/ 38 h 87"/>
                <a:gd name="T100" fmla="*/ 95 w 119"/>
                <a:gd name="T101" fmla="*/ 40 h 87"/>
                <a:gd name="T102" fmla="*/ 100 w 119"/>
                <a:gd name="T103" fmla="*/ 40 h 87"/>
                <a:gd name="T104" fmla="*/ 108 w 119"/>
                <a:gd name="T105" fmla="*/ 38 h 87"/>
                <a:gd name="T106" fmla="*/ 111 w 119"/>
                <a:gd name="T107" fmla="*/ 37 h 87"/>
                <a:gd name="T108" fmla="*/ 108 w 119"/>
                <a:gd name="T109" fmla="*/ 33 h 87"/>
                <a:gd name="T110" fmla="*/ 108 w 119"/>
                <a:gd name="T111" fmla="*/ 29 h 87"/>
                <a:gd name="T112" fmla="*/ 117 w 119"/>
                <a:gd name="T113" fmla="*/ 25 h 87"/>
                <a:gd name="T114" fmla="*/ 117 w 119"/>
                <a:gd name="T115" fmla="*/ 22 h 87"/>
                <a:gd name="T116" fmla="*/ 117 w 119"/>
                <a:gd name="T117" fmla="*/ 22 h 87"/>
                <a:gd name="T118" fmla="*/ 117 w 119"/>
                <a:gd name="T119" fmla="*/ 2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 h="87">
                  <a:moveTo>
                    <a:pt x="117" y="22"/>
                  </a:moveTo>
                  <a:lnTo>
                    <a:pt x="117" y="22"/>
                  </a:lnTo>
                  <a:lnTo>
                    <a:pt x="114" y="22"/>
                  </a:lnTo>
                  <a:lnTo>
                    <a:pt x="114" y="21"/>
                  </a:lnTo>
                  <a:lnTo>
                    <a:pt x="111" y="19"/>
                  </a:lnTo>
                  <a:lnTo>
                    <a:pt x="111" y="21"/>
                  </a:lnTo>
                  <a:lnTo>
                    <a:pt x="108" y="19"/>
                  </a:lnTo>
                  <a:lnTo>
                    <a:pt x="108" y="16"/>
                  </a:lnTo>
                  <a:lnTo>
                    <a:pt x="105" y="16"/>
                  </a:lnTo>
                  <a:lnTo>
                    <a:pt x="103" y="19"/>
                  </a:lnTo>
                  <a:lnTo>
                    <a:pt x="101" y="16"/>
                  </a:lnTo>
                  <a:lnTo>
                    <a:pt x="105" y="16"/>
                  </a:lnTo>
                  <a:lnTo>
                    <a:pt x="103" y="13"/>
                  </a:lnTo>
                  <a:lnTo>
                    <a:pt x="101" y="13"/>
                  </a:lnTo>
                  <a:lnTo>
                    <a:pt x="100" y="16"/>
                  </a:lnTo>
                  <a:lnTo>
                    <a:pt x="95" y="16"/>
                  </a:lnTo>
                  <a:lnTo>
                    <a:pt x="98" y="16"/>
                  </a:lnTo>
                  <a:lnTo>
                    <a:pt x="98" y="13"/>
                  </a:lnTo>
                  <a:lnTo>
                    <a:pt x="98" y="10"/>
                  </a:lnTo>
                  <a:lnTo>
                    <a:pt x="100" y="10"/>
                  </a:lnTo>
                  <a:lnTo>
                    <a:pt x="98" y="8"/>
                  </a:lnTo>
                  <a:lnTo>
                    <a:pt x="97" y="5"/>
                  </a:lnTo>
                  <a:lnTo>
                    <a:pt x="95" y="6"/>
                  </a:lnTo>
                  <a:lnTo>
                    <a:pt x="94" y="5"/>
                  </a:lnTo>
                  <a:lnTo>
                    <a:pt x="90" y="0"/>
                  </a:lnTo>
                  <a:lnTo>
                    <a:pt x="89" y="3"/>
                  </a:lnTo>
                  <a:lnTo>
                    <a:pt x="87" y="6"/>
                  </a:lnTo>
                  <a:lnTo>
                    <a:pt x="87" y="3"/>
                  </a:lnTo>
                  <a:lnTo>
                    <a:pt x="87" y="2"/>
                  </a:lnTo>
                  <a:lnTo>
                    <a:pt x="86" y="0"/>
                  </a:lnTo>
                  <a:lnTo>
                    <a:pt x="84" y="3"/>
                  </a:lnTo>
                  <a:lnTo>
                    <a:pt x="82" y="8"/>
                  </a:lnTo>
                  <a:lnTo>
                    <a:pt x="79" y="10"/>
                  </a:lnTo>
                  <a:lnTo>
                    <a:pt x="79" y="13"/>
                  </a:lnTo>
                  <a:lnTo>
                    <a:pt x="76" y="19"/>
                  </a:lnTo>
                  <a:lnTo>
                    <a:pt x="73" y="21"/>
                  </a:lnTo>
                  <a:lnTo>
                    <a:pt x="73" y="21"/>
                  </a:lnTo>
                  <a:lnTo>
                    <a:pt x="73" y="19"/>
                  </a:lnTo>
                  <a:lnTo>
                    <a:pt x="71" y="22"/>
                  </a:lnTo>
                  <a:lnTo>
                    <a:pt x="70" y="24"/>
                  </a:lnTo>
                  <a:lnTo>
                    <a:pt x="71" y="25"/>
                  </a:lnTo>
                  <a:lnTo>
                    <a:pt x="73" y="25"/>
                  </a:lnTo>
                  <a:lnTo>
                    <a:pt x="73" y="27"/>
                  </a:lnTo>
                  <a:lnTo>
                    <a:pt x="70" y="29"/>
                  </a:lnTo>
                  <a:lnTo>
                    <a:pt x="68" y="29"/>
                  </a:lnTo>
                  <a:lnTo>
                    <a:pt x="67" y="30"/>
                  </a:lnTo>
                  <a:lnTo>
                    <a:pt x="67" y="32"/>
                  </a:lnTo>
                  <a:lnTo>
                    <a:pt x="67" y="32"/>
                  </a:lnTo>
                  <a:lnTo>
                    <a:pt x="68" y="32"/>
                  </a:lnTo>
                  <a:lnTo>
                    <a:pt x="70" y="33"/>
                  </a:lnTo>
                  <a:lnTo>
                    <a:pt x="70" y="35"/>
                  </a:lnTo>
                  <a:lnTo>
                    <a:pt x="70" y="38"/>
                  </a:lnTo>
                  <a:lnTo>
                    <a:pt x="67" y="37"/>
                  </a:lnTo>
                  <a:lnTo>
                    <a:pt x="65" y="32"/>
                  </a:lnTo>
                  <a:lnTo>
                    <a:pt x="65" y="32"/>
                  </a:lnTo>
                  <a:lnTo>
                    <a:pt x="63" y="32"/>
                  </a:lnTo>
                  <a:lnTo>
                    <a:pt x="63" y="32"/>
                  </a:lnTo>
                  <a:lnTo>
                    <a:pt x="63" y="35"/>
                  </a:lnTo>
                  <a:lnTo>
                    <a:pt x="63" y="35"/>
                  </a:lnTo>
                  <a:lnTo>
                    <a:pt x="63" y="40"/>
                  </a:lnTo>
                  <a:lnTo>
                    <a:pt x="63" y="41"/>
                  </a:lnTo>
                  <a:lnTo>
                    <a:pt x="62" y="41"/>
                  </a:lnTo>
                  <a:lnTo>
                    <a:pt x="59" y="41"/>
                  </a:lnTo>
                  <a:lnTo>
                    <a:pt x="57" y="40"/>
                  </a:lnTo>
                  <a:lnTo>
                    <a:pt x="55" y="38"/>
                  </a:lnTo>
                  <a:lnTo>
                    <a:pt x="55" y="37"/>
                  </a:lnTo>
                  <a:lnTo>
                    <a:pt x="54" y="35"/>
                  </a:lnTo>
                  <a:lnTo>
                    <a:pt x="54" y="35"/>
                  </a:lnTo>
                  <a:lnTo>
                    <a:pt x="52" y="35"/>
                  </a:lnTo>
                  <a:lnTo>
                    <a:pt x="51" y="41"/>
                  </a:lnTo>
                  <a:lnTo>
                    <a:pt x="47" y="44"/>
                  </a:lnTo>
                  <a:lnTo>
                    <a:pt x="44" y="51"/>
                  </a:lnTo>
                  <a:lnTo>
                    <a:pt x="43" y="54"/>
                  </a:lnTo>
                  <a:lnTo>
                    <a:pt x="41" y="54"/>
                  </a:lnTo>
                  <a:lnTo>
                    <a:pt x="35" y="57"/>
                  </a:lnTo>
                  <a:lnTo>
                    <a:pt x="28" y="59"/>
                  </a:lnTo>
                  <a:lnTo>
                    <a:pt x="22" y="62"/>
                  </a:lnTo>
                  <a:lnTo>
                    <a:pt x="22" y="64"/>
                  </a:lnTo>
                  <a:lnTo>
                    <a:pt x="24" y="67"/>
                  </a:lnTo>
                  <a:lnTo>
                    <a:pt x="19" y="67"/>
                  </a:lnTo>
                  <a:lnTo>
                    <a:pt x="19" y="68"/>
                  </a:lnTo>
                  <a:lnTo>
                    <a:pt x="19" y="70"/>
                  </a:lnTo>
                  <a:lnTo>
                    <a:pt x="20" y="70"/>
                  </a:lnTo>
                  <a:lnTo>
                    <a:pt x="19" y="71"/>
                  </a:lnTo>
                  <a:lnTo>
                    <a:pt x="19" y="75"/>
                  </a:lnTo>
                  <a:lnTo>
                    <a:pt x="19" y="76"/>
                  </a:lnTo>
                  <a:lnTo>
                    <a:pt x="19" y="76"/>
                  </a:lnTo>
                  <a:lnTo>
                    <a:pt x="17" y="76"/>
                  </a:lnTo>
                  <a:lnTo>
                    <a:pt x="17" y="79"/>
                  </a:lnTo>
                  <a:lnTo>
                    <a:pt x="17" y="79"/>
                  </a:lnTo>
                  <a:lnTo>
                    <a:pt x="16" y="79"/>
                  </a:lnTo>
                  <a:lnTo>
                    <a:pt x="13" y="79"/>
                  </a:lnTo>
                  <a:lnTo>
                    <a:pt x="11" y="76"/>
                  </a:lnTo>
                  <a:lnTo>
                    <a:pt x="9" y="76"/>
                  </a:lnTo>
                  <a:lnTo>
                    <a:pt x="8" y="75"/>
                  </a:lnTo>
                  <a:lnTo>
                    <a:pt x="8" y="76"/>
                  </a:lnTo>
                  <a:lnTo>
                    <a:pt x="6" y="76"/>
                  </a:lnTo>
                  <a:lnTo>
                    <a:pt x="3" y="76"/>
                  </a:lnTo>
                  <a:lnTo>
                    <a:pt x="0" y="75"/>
                  </a:lnTo>
                  <a:lnTo>
                    <a:pt x="0" y="71"/>
                  </a:lnTo>
                  <a:lnTo>
                    <a:pt x="0" y="73"/>
                  </a:lnTo>
                  <a:lnTo>
                    <a:pt x="0" y="75"/>
                  </a:lnTo>
                  <a:lnTo>
                    <a:pt x="0" y="79"/>
                  </a:lnTo>
                  <a:lnTo>
                    <a:pt x="5" y="83"/>
                  </a:lnTo>
                  <a:lnTo>
                    <a:pt x="8" y="86"/>
                  </a:lnTo>
                  <a:lnTo>
                    <a:pt x="11" y="87"/>
                  </a:lnTo>
                  <a:lnTo>
                    <a:pt x="13" y="87"/>
                  </a:lnTo>
                  <a:lnTo>
                    <a:pt x="14" y="87"/>
                  </a:lnTo>
                  <a:lnTo>
                    <a:pt x="17" y="86"/>
                  </a:lnTo>
                  <a:lnTo>
                    <a:pt x="20" y="86"/>
                  </a:lnTo>
                  <a:lnTo>
                    <a:pt x="24" y="86"/>
                  </a:lnTo>
                  <a:lnTo>
                    <a:pt x="28" y="86"/>
                  </a:lnTo>
                  <a:lnTo>
                    <a:pt x="32" y="83"/>
                  </a:lnTo>
                  <a:lnTo>
                    <a:pt x="32" y="79"/>
                  </a:lnTo>
                  <a:lnTo>
                    <a:pt x="33" y="79"/>
                  </a:lnTo>
                  <a:lnTo>
                    <a:pt x="36" y="76"/>
                  </a:lnTo>
                  <a:lnTo>
                    <a:pt x="40" y="76"/>
                  </a:lnTo>
                  <a:lnTo>
                    <a:pt x="41" y="79"/>
                  </a:lnTo>
                  <a:lnTo>
                    <a:pt x="44" y="79"/>
                  </a:lnTo>
                  <a:lnTo>
                    <a:pt x="49" y="83"/>
                  </a:lnTo>
                  <a:lnTo>
                    <a:pt x="51" y="83"/>
                  </a:lnTo>
                  <a:lnTo>
                    <a:pt x="54" y="79"/>
                  </a:lnTo>
                  <a:lnTo>
                    <a:pt x="55" y="79"/>
                  </a:lnTo>
                  <a:lnTo>
                    <a:pt x="57" y="79"/>
                  </a:lnTo>
                  <a:lnTo>
                    <a:pt x="60" y="79"/>
                  </a:lnTo>
                  <a:lnTo>
                    <a:pt x="62" y="79"/>
                  </a:lnTo>
                  <a:lnTo>
                    <a:pt x="62" y="76"/>
                  </a:lnTo>
                  <a:lnTo>
                    <a:pt x="63" y="76"/>
                  </a:lnTo>
                  <a:lnTo>
                    <a:pt x="65" y="73"/>
                  </a:lnTo>
                  <a:lnTo>
                    <a:pt x="65" y="71"/>
                  </a:lnTo>
                  <a:lnTo>
                    <a:pt x="65" y="68"/>
                  </a:lnTo>
                  <a:lnTo>
                    <a:pt x="65" y="67"/>
                  </a:lnTo>
                  <a:lnTo>
                    <a:pt x="70" y="64"/>
                  </a:lnTo>
                  <a:lnTo>
                    <a:pt x="68" y="60"/>
                  </a:lnTo>
                  <a:lnTo>
                    <a:pt x="68" y="59"/>
                  </a:lnTo>
                  <a:lnTo>
                    <a:pt x="70" y="57"/>
                  </a:lnTo>
                  <a:lnTo>
                    <a:pt x="73" y="56"/>
                  </a:lnTo>
                  <a:lnTo>
                    <a:pt x="73" y="54"/>
                  </a:lnTo>
                  <a:lnTo>
                    <a:pt x="73" y="51"/>
                  </a:lnTo>
                  <a:lnTo>
                    <a:pt x="73" y="51"/>
                  </a:lnTo>
                  <a:lnTo>
                    <a:pt x="73" y="44"/>
                  </a:lnTo>
                  <a:lnTo>
                    <a:pt x="76" y="40"/>
                  </a:lnTo>
                  <a:lnTo>
                    <a:pt x="76" y="38"/>
                  </a:lnTo>
                  <a:lnTo>
                    <a:pt x="79" y="38"/>
                  </a:lnTo>
                  <a:lnTo>
                    <a:pt x="82" y="38"/>
                  </a:lnTo>
                  <a:lnTo>
                    <a:pt x="84" y="38"/>
                  </a:lnTo>
                  <a:lnTo>
                    <a:pt x="84" y="37"/>
                  </a:lnTo>
                  <a:lnTo>
                    <a:pt x="87" y="38"/>
                  </a:lnTo>
                  <a:lnTo>
                    <a:pt x="90" y="38"/>
                  </a:lnTo>
                  <a:lnTo>
                    <a:pt x="92" y="38"/>
                  </a:lnTo>
                  <a:lnTo>
                    <a:pt x="92" y="38"/>
                  </a:lnTo>
                  <a:lnTo>
                    <a:pt x="94" y="40"/>
                  </a:lnTo>
                  <a:lnTo>
                    <a:pt x="95" y="40"/>
                  </a:lnTo>
                  <a:lnTo>
                    <a:pt x="97" y="40"/>
                  </a:lnTo>
                  <a:lnTo>
                    <a:pt x="100" y="41"/>
                  </a:lnTo>
                  <a:lnTo>
                    <a:pt x="100" y="40"/>
                  </a:lnTo>
                  <a:lnTo>
                    <a:pt x="100" y="37"/>
                  </a:lnTo>
                  <a:lnTo>
                    <a:pt x="103" y="40"/>
                  </a:lnTo>
                  <a:lnTo>
                    <a:pt x="108" y="38"/>
                  </a:lnTo>
                  <a:lnTo>
                    <a:pt x="111" y="38"/>
                  </a:lnTo>
                  <a:lnTo>
                    <a:pt x="111" y="38"/>
                  </a:lnTo>
                  <a:lnTo>
                    <a:pt x="111" y="37"/>
                  </a:lnTo>
                  <a:lnTo>
                    <a:pt x="111" y="37"/>
                  </a:lnTo>
                  <a:lnTo>
                    <a:pt x="111" y="35"/>
                  </a:lnTo>
                  <a:lnTo>
                    <a:pt x="108" y="33"/>
                  </a:lnTo>
                  <a:lnTo>
                    <a:pt x="105" y="32"/>
                  </a:lnTo>
                  <a:lnTo>
                    <a:pt x="105" y="29"/>
                  </a:lnTo>
                  <a:lnTo>
                    <a:pt x="108" y="29"/>
                  </a:lnTo>
                  <a:lnTo>
                    <a:pt x="111" y="29"/>
                  </a:lnTo>
                  <a:lnTo>
                    <a:pt x="117" y="27"/>
                  </a:lnTo>
                  <a:lnTo>
                    <a:pt x="117" y="25"/>
                  </a:lnTo>
                  <a:lnTo>
                    <a:pt x="119" y="24"/>
                  </a:lnTo>
                  <a:lnTo>
                    <a:pt x="119" y="22"/>
                  </a:lnTo>
                  <a:lnTo>
                    <a:pt x="117" y="22"/>
                  </a:lnTo>
                  <a:lnTo>
                    <a:pt x="117" y="22"/>
                  </a:lnTo>
                  <a:lnTo>
                    <a:pt x="117" y="22"/>
                  </a:lnTo>
                  <a:lnTo>
                    <a:pt x="117" y="22"/>
                  </a:lnTo>
                  <a:lnTo>
                    <a:pt x="117" y="22"/>
                  </a:lnTo>
                  <a:lnTo>
                    <a:pt x="117" y="22"/>
                  </a:lnTo>
                  <a:lnTo>
                    <a:pt x="117" y="22"/>
                  </a:lnTo>
                  <a:lnTo>
                    <a:pt x="117" y="22"/>
                  </a:lnTo>
                  <a:lnTo>
                    <a:pt x="117" y="2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1" name="Freeform 278">
              <a:extLst>
                <a:ext uri="{FF2B5EF4-FFF2-40B4-BE49-F238E27FC236}">
                  <a16:creationId xmlns:a16="http://schemas.microsoft.com/office/drawing/2014/main" id="{5A95295E-C305-81D4-1946-51F7EF4E48EC}"/>
                </a:ext>
              </a:extLst>
            </p:cNvPr>
            <p:cNvSpPr>
              <a:spLocks/>
            </p:cNvSpPr>
            <p:nvPr/>
          </p:nvSpPr>
          <p:spPr bwMode="auto">
            <a:xfrm>
              <a:off x="9023867" y="3868095"/>
              <a:ext cx="33647" cy="26917"/>
            </a:xfrm>
            <a:custGeom>
              <a:avLst/>
              <a:gdLst>
                <a:gd name="T0" fmla="*/ 2 w 15"/>
                <a:gd name="T1" fmla="*/ 8 h 12"/>
                <a:gd name="T2" fmla="*/ 2 w 15"/>
                <a:gd name="T3" fmla="*/ 9 h 12"/>
                <a:gd name="T4" fmla="*/ 4 w 15"/>
                <a:gd name="T5" fmla="*/ 11 h 12"/>
                <a:gd name="T6" fmla="*/ 5 w 15"/>
                <a:gd name="T7" fmla="*/ 12 h 12"/>
                <a:gd name="T8" fmla="*/ 8 w 15"/>
                <a:gd name="T9" fmla="*/ 12 h 12"/>
                <a:gd name="T10" fmla="*/ 8 w 15"/>
                <a:gd name="T11" fmla="*/ 12 h 12"/>
                <a:gd name="T12" fmla="*/ 8 w 15"/>
                <a:gd name="T13" fmla="*/ 11 h 12"/>
                <a:gd name="T14" fmla="*/ 8 w 15"/>
                <a:gd name="T15" fmla="*/ 6 h 12"/>
                <a:gd name="T16" fmla="*/ 8 w 15"/>
                <a:gd name="T17" fmla="*/ 6 h 12"/>
                <a:gd name="T18" fmla="*/ 8 w 15"/>
                <a:gd name="T19" fmla="*/ 3 h 12"/>
                <a:gd name="T20" fmla="*/ 10 w 15"/>
                <a:gd name="T21" fmla="*/ 3 h 12"/>
                <a:gd name="T22" fmla="*/ 12 w 15"/>
                <a:gd name="T23" fmla="*/ 3 h 12"/>
                <a:gd name="T24" fmla="*/ 12 w 15"/>
                <a:gd name="T25" fmla="*/ 3 h 12"/>
                <a:gd name="T26" fmla="*/ 12 w 15"/>
                <a:gd name="T27" fmla="*/ 3 h 12"/>
                <a:gd name="T28" fmla="*/ 12 w 15"/>
                <a:gd name="T29" fmla="*/ 8 h 12"/>
                <a:gd name="T30" fmla="*/ 15 w 15"/>
                <a:gd name="T31" fmla="*/ 9 h 12"/>
                <a:gd name="T32" fmla="*/ 15 w 15"/>
                <a:gd name="T33" fmla="*/ 6 h 12"/>
                <a:gd name="T34" fmla="*/ 15 w 15"/>
                <a:gd name="T35" fmla="*/ 4 h 12"/>
                <a:gd name="T36" fmla="*/ 15 w 15"/>
                <a:gd name="T37" fmla="*/ 3 h 12"/>
                <a:gd name="T38" fmla="*/ 13 w 15"/>
                <a:gd name="T39" fmla="*/ 3 h 12"/>
                <a:gd name="T40" fmla="*/ 13 w 15"/>
                <a:gd name="T41" fmla="*/ 3 h 12"/>
                <a:gd name="T42" fmla="*/ 12 w 15"/>
                <a:gd name="T43" fmla="*/ 1 h 12"/>
                <a:gd name="T44" fmla="*/ 12 w 15"/>
                <a:gd name="T45" fmla="*/ 1 h 12"/>
                <a:gd name="T46" fmla="*/ 12 w 15"/>
                <a:gd name="T47" fmla="*/ 0 h 12"/>
                <a:gd name="T48" fmla="*/ 5 w 15"/>
                <a:gd name="T49" fmla="*/ 3 h 12"/>
                <a:gd name="T50" fmla="*/ 4 w 15"/>
                <a:gd name="T51" fmla="*/ 4 h 12"/>
                <a:gd name="T52" fmla="*/ 0 w 15"/>
                <a:gd name="T53" fmla="*/ 6 h 12"/>
                <a:gd name="T54" fmla="*/ 0 w 15"/>
                <a:gd name="T55" fmla="*/ 6 h 12"/>
                <a:gd name="T56" fmla="*/ 2 w 15"/>
                <a:gd name="T57" fmla="*/ 8 h 12"/>
                <a:gd name="T58" fmla="*/ 2 w 15"/>
                <a:gd name="T59" fmla="*/ 8 h 12"/>
                <a:gd name="T60" fmla="*/ 2 w 15"/>
                <a:gd name="T61" fmla="*/ 8 h 12"/>
                <a:gd name="T62" fmla="*/ 2 w 15"/>
                <a:gd name="T63" fmla="*/ 8 h 12"/>
                <a:gd name="T64" fmla="*/ 2 w 15"/>
                <a:gd name="T65" fmla="*/ 8 h 12"/>
                <a:gd name="T66" fmla="*/ 2 w 15"/>
                <a:gd name="T67" fmla="*/ 8 h 12"/>
                <a:gd name="T68" fmla="*/ 2 w 15"/>
                <a:gd name="T69" fmla="*/ 8 h 12"/>
                <a:gd name="T70" fmla="*/ 2 w 15"/>
                <a:gd name="T71" fmla="*/ 8 h 12"/>
                <a:gd name="T72" fmla="*/ 2 w 15"/>
                <a:gd name="T73"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 h="12">
                  <a:moveTo>
                    <a:pt x="2" y="8"/>
                  </a:moveTo>
                  <a:lnTo>
                    <a:pt x="2" y="9"/>
                  </a:lnTo>
                  <a:lnTo>
                    <a:pt x="4" y="11"/>
                  </a:lnTo>
                  <a:lnTo>
                    <a:pt x="5" y="12"/>
                  </a:lnTo>
                  <a:lnTo>
                    <a:pt x="8" y="12"/>
                  </a:lnTo>
                  <a:lnTo>
                    <a:pt x="8" y="12"/>
                  </a:lnTo>
                  <a:lnTo>
                    <a:pt x="8" y="11"/>
                  </a:lnTo>
                  <a:lnTo>
                    <a:pt x="8" y="6"/>
                  </a:lnTo>
                  <a:lnTo>
                    <a:pt x="8" y="6"/>
                  </a:lnTo>
                  <a:lnTo>
                    <a:pt x="8" y="3"/>
                  </a:lnTo>
                  <a:lnTo>
                    <a:pt x="10" y="3"/>
                  </a:lnTo>
                  <a:lnTo>
                    <a:pt x="12" y="3"/>
                  </a:lnTo>
                  <a:lnTo>
                    <a:pt x="12" y="3"/>
                  </a:lnTo>
                  <a:lnTo>
                    <a:pt x="12" y="3"/>
                  </a:lnTo>
                  <a:lnTo>
                    <a:pt x="12" y="8"/>
                  </a:lnTo>
                  <a:lnTo>
                    <a:pt x="15" y="9"/>
                  </a:lnTo>
                  <a:lnTo>
                    <a:pt x="15" y="6"/>
                  </a:lnTo>
                  <a:lnTo>
                    <a:pt x="15" y="4"/>
                  </a:lnTo>
                  <a:lnTo>
                    <a:pt x="15" y="3"/>
                  </a:lnTo>
                  <a:lnTo>
                    <a:pt x="13" y="3"/>
                  </a:lnTo>
                  <a:lnTo>
                    <a:pt x="13" y="3"/>
                  </a:lnTo>
                  <a:lnTo>
                    <a:pt x="12" y="1"/>
                  </a:lnTo>
                  <a:lnTo>
                    <a:pt x="12" y="1"/>
                  </a:lnTo>
                  <a:lnTo>
                    <a:pt x="12" y="0"/>
                  </a:lnTo>
                  <a:lnTo>
                    <a:pt x="5" y="3"/>
                  </a:lnTo>
                  <a:lnTo>
                    <a:pt x="4" y="4"/>
                  </a:lnTo>
                  <a:lnTo>
                    <a:pt x="0" y="6"/>
                  </a:lnTo>
                  <a:lnTo>
                    <a:pt x="0" y="6"/>
                  </a:lnTo>
                  <a:lnTo>
                    <a:pt x="2" y="8"/>
                  </a:lnTo>
                  <a:lnTo>
                    <a:pt x="2" y="8"/>
                  </a:lnTo>
                  <a:lnTo>
                    <a:pt x="2" y="8"/>
                  </a:lnTo>
                  <a:lnTo>
                    <a:pt x="2" y="8"/>
                  </a:lnTo>
                  <a:lnTo>
                    <a:pt x="2" y="8"/>
                  </a:lnTo>
                  <a:lnTo>
                    <a:pt x="2" y="8"/>
                  </a:lnTo>
                  <a:lnTo>
                    <a:pt x="2" y="8"/>
                  </a:lnTo>
                  <a:lnTo>
                    <a:pt x="2" y="8"/>
                  </a:lnTo>
                  <a:lnTo>
                    <a:pt x="2" y="8"/>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2" name="Freeform 279">
              <a:extLst>
                <a:ext uri="{FF2B5EF4-FFF2-40B4-BE49-F238E27FC236}">
                  <a16:creationId xmlns:a16="http://schemas.microsoft.com/office/drawing/2014/main" id="{46EB660F-2B0D-7C7F-F644-053912CFE33B}"/>
                </a:ext>
              </a:extLst>
            </p:cNvPr>
            <p:cNvSpPr>
              <a:spLocks/>
            </p:cNvSpPr>
            <p:nvPr/>
          </p:nvSpPr>
          <p:spPr bwMode="auto">
            <a:xfrm>
              <a:off x="8664976" y="3554064"/>
              <a:ext cx="152529" cy="139071"/>
            </a:xfrm>
            <a:custGeom>
              <a:avLst/>
              <a:gdLst>
                <a:gd name="T0" fmla="*/ 38 w 68"/>
                <a:gd name="T1" fmla="*/ 57 h 62"/>
                <a:gd name="T2" fmla="*/ 40 w 68"/>
                <a:gd name="T3" fmla="*/ 54 h 62"/>
                <a:gd name="T4" fmla="*/ 43 w 68"/>
                <a:gd name="T5" fmla="*/ 55 h 62"/>
                <a:gd name="T6" fmla="*/ 49 w 68"/>
                <a:gd name="T7" fmla="*/ 54 h 62"/>
                <a:gd name="T8" fmla="*/ 52 w 68"/>
                <a:gd name="T9" fmla="*/ 57 h 62"/>
                <a:gd name="T10" fmla="*/ 52 w 68"/>
                <a:gd name="T11" fmla="*/ 54 h 62"/>
                <a:gd name="T12" fmla="*/ 49 w 68"/>
                <a:gd name="T13" fmla="*/ 49 h 62"/>
                <a:gd name="T14" fmla="*/ 49 w 68"/>
                <a:gd name="T15" fmla="*/ 43 h 62"/>
                <a:gd name="T16" fmla="*/ 51 w 68"/>
                <a:gd name="T17" fmla="*/ 41 h 62"/>
                <a:gd name="T18" fmla="*/ 56 w 68"/>
                <a:gd name="T19" fmla="*/ 43 h 62"/>
                <a:gd name="T20" fmla="*/ 56 w 68"/>
                <a:gd name="T21" fmla="*/ 40 h 62"/>
                <a:gd name="T22" fmla="*/ 62 w 68"/>
                <a:gd name="T23" fmla="*/ 36 h 62"/>
                <a:gd name="T24" fmla="*/ 68 w 68"/>
                <a:gd name="T25" fmla="*/ 33 h 62"/>
                <a:gd name="T26" fmla="*/ 68 w 68"/>
                <a:gd name="T27" fmla="*/ 28 h 62"/>
                <a:gd name="T28" fmla="*/ 68 w 68"/>
                <a:gd name="T29" fmla="*/ 19 h 62"/>
                <a:gd name="T30" fmla="*/ 65 w 68"/>
                <a:gd name="T31" fmla="*/ 14 h 62"/>
                <a:gd name="T32" fmla="*/ 64 w 68"/>
                <a:gd name="T33" fmla="*/ 9 h 62"/>
                <a:gd name="T34" fmla="*/ 64 w 68"/>
                <a:gd name="T35" fmla="*/ 5 h 62"/>
                <a:gd name="T36" fmla="*/ 65 w 68"/>
                <a:gd name="T37" fmla="*/ 0 h 62"/>
                <a:gd name="T38" fmla="*/ 59 w 68"/>
                <a:gd name="T39" fmla="*/ 5 h 62"/>
                <a:gd name="T40" fmla="*/ 56 w 68"/>
                <a:gd name="T41" fmla="*/ 5 h 62"/>
                <a:gd name="T42" fmla="*/ 52 w 68"/>
                <a:gd name="T43" fmla="*/ 1 h 62"/>
                <a:gd name="T44" fmla="*/ 51 w 68"/>
                <a:gd name="T45" fmla="*/ 5 h 62"/>
                <a:gd name="T46" fmla="*/ 48 w 68"/>
                <a:gd name="T47" fmla="*/ 5 h 62"/>
                <a:gd name="T48" fmla="*/ 46 w 68"/>
                <a:gd name="T49" fmla="*/ 5 h 62"/>
                <a:gd name="T50" fmla="*/ 49 w 68"/>
                <a:gd name="T51" fmla="*/ 8 h 62"/>
                <a:gd name="T52" fmla="*/ 48 w 68"/>
                <a:gd name="T53" fmla="*/ 9 h 62"/>
                <a:gd name="T54" fmla="*/ 45 w 68"/>
                <a:gd name="T55" fmla="*/ 9 h 62"/>
                <a:gd name="T56" fmla="*/ 40 w 68"/>
                <a:gd name="T57" fmla="*/ 8 h 62"/>
                <a:gd name="T58" fmla="*/ 37 w 68"/>
                <a:gd name="T59" fmla="*/ 5 h 62"/>
                <a:gd name="T60" fmla="*/ 33 w 68"/>
                <a:gd name="T61" fmla="*/ 5 h 62"/>
                <a:gd name="T62" fmla="*/ 29 w 68"/>
                <a:gd name="T63" fmla="*/ 5 h 62"/>
                <a:gd name="T64" fmla="*/ 24 w 68"/>
                <a:gd name="T65" fmla="*/ 5 h 62"/>
                <a:gd name="T66" fmla="*/ 19 w 68"/>
                <a:gd name="T67" fmla="*/ 5 h 62"/>
                <a:gd name="T68" fmla="*/ 13 w 68"/>
                <a:gd name="T69" fmla="*/ 5 h 62"/>
                <a:gd name="T70" fmla="*/ 8 w 68"/>
                <a:gd name="T71" fmla="*/ 8 h 62"/>
                <a:gd name="T72" fmla="*/ 3 w 68"/>
                <a:gd name="T73" fmla="*/ 16 h 62"/>
                <a:gd name="T74" fmla="*/ 3 w 68"/>
                <a:gd name="T75" fmla="*/ 21 h 62"/>
                <a:gd name="T76" fmla="*/ 8 w 68"/>
                <a:gd name="T77" fmla="*/ 33 h 62"/>
                <a:gd name="T78" fmla="*/ 8 w 68"/>
                <a:gd name="T79" fmla="*/ 38 h 62"/>
                <a:gd name="T80" fmla="*/ 10 w 68"/>
                <a:gd name="T81" fmla="*/ 41 h 62"/>
                <a:gd name="T82" fmla="*/ 13 w 68"/>
                <a:gd name="T83" fmla="*/ 46 h 62"/>
                <a:gd name="T84" fmla="*/ 14 w 68"/>
                <a:gd name="T85" fmla="*/ 51 h 62"/>
                <a:gd name="T86" fmla="*/ 14 w 68"/>
                <a:gd name="T87" fmla="*/ 55 h 62"/>
                <a:gd name="T88" fmla="*/ 18 w 68"/>
                <a:gd name="T89" fmla="*/ 55 h 62"/>
                <a:gd name="T90" fmla="*/ 19 w 68"/>
                <a:gd name="T91" fmla="*/ 51 h 62"/>
                <a:gd name="T92" fmla="*/ 22 w 68"/>
                <a:gd name="T93" fmla="*/ 54 h 62"/>
                <a:gd name="T94" fmla="*/ 21 w 68"/>
                <a:gd name="T95" fmla="*/ 59 h 62"/>
                <a:gd name="T96" fmla="*/ 24 w 68"/>
                <a:gd name="T97" fmla="*/ 60 h 62"/>
                <a:gd name="T98" fmla="*/ 27 w 68"/>
                <a:gd name="T99" fmla="*/ 60 h 62"/>
                <a:gd name="T100" fmla="*/ 30 w 68"/>
                <a:gd name="T101" fmla="*/ 62 h 62"/>
                <a:gd name="T102" fmla="*/ 37 w 68"/>
                <a:gd name="T103" fmla="*/ 59 h 62"/>
                <a:gd name="T104" fmla="*/ 37 w 68"/>
                <a:gd name="T105" fmla="*/ 59 h 62"/>
                <a:gd name="T106" fmla="*/ 37 w 68"/>
                <a:gd name="T107" fmla="*/ 59 h 62"/>
                <a:gd name="T108" fmla="*/ 37 w 68"/>
                <a:gd name="T109" fmla="*/ 59 h 62"/>
                <a:gd name="T110" fmla="*/ 37 w 68"/>
                <a:gd name="T11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62">
                  <a:moveTo>
                    <a:pt x="37" y="59"/>
                  </a:moveTo>
                  <a:lnTo>
                    <a:pt x="38" y="57"/>
                  </a:lnTo>
                  <a:lnTo>
                    <a:pt x="38" y="55"/>
                  </a:lnTo>
                  <a:lnTo>
                    <a:pt x="40" y="54"/>
                  </a:lnTo>
                  <a:lnTo>
                    <a:pt x="41" y="55"/>
                  </a:lnTo>
                  <a:lnTo>
                    <a:pt x="43" y="55"/>
                  </a:lnTo>
                  <a:lnTo>
                    <a:pt x="48" y="54"/>
                  </a:lnTo>
                  <a:lnTo>
                    <a:pt x="49" y="54"/>
                  </a:lnTo>
                  <a:lnTo>
                    <a:pt x="51" y="55"/>
                  </a:lnTo>
                  <a:lnTo>
                    <a:pt x="52" y="57"/>
                  </a:lnTo>
                  <a:lnTo>
                    <a:pt x="52" y="55"/>
                  </a:lnTo>
                  <a:lnTo>
                    <a:pt x="52" y="54"/>
                  </a:lnTo>
                  <a:lnTo>
                    <a:pt x="52" y="51"/>
                  </a:lnTo>
                  <a:lnTo>
                    <a:pt x="49" y="49"/>
                  </a:lnTo>
                  <a:lnTo>
                    <a:pt x="48" y="44"/>
                  </a:lnTo>
                  <a:lnTo>
                    <a:pt x="49" y="43"/>
                  </a:lnTo>
                  <a:lnTo>
                    <a:pt x="51" y="43"/>
                  </a:lnTo>
                  <a:lnTo>
                    <a:pt x="51" y="41"/>
                  </a:lnTo>
                  <a:lnTo>
                    <a:pt x="52" y="43"/>
                  </a:lnTo>
                  <a:lnTo>
                    <a:pt x="56" y="43"/>
                  </a:lnTo>
                  <a:lnTo>
                    <a:pt x="56" y="41"/>
                  </a:lnTo>
                  <a:lnTo>
                    <a:pt x="56" y="40"/>
                  </a:lnTo>
                  <a:lnTo>
                    <a:pt x="59" y="40"/>
                  </a:lnTo>
                  <a:lnTo>
                    <a:pt x="62" y="36"/>
                  </a:lnTo>
                  <a:lnTo>
                    <a:pt x="65" y="33"/>
                  </a:lnTo>
                  <a:lnTo>
                    <a:pt x="68" y="33"/>
                  </a:lnTo>
                  <a:lnTo>
                    <a:pt x="68" y="30"/>
                  </a:lnTo>
                  <a:lnTo>
                    <a:pt x="68" y="28"/>
                  </a:lnTo>
                  <a:lnTo>
                    <a:pt x="67" y="22"/>
                  </a:lnTo>
                  <a:lnTo>
                    <a:pt x="68" y="19"/>
                  </a:lnTo>
                  <a:lnTo>
                    <a:pt x="67" y="16"/>
                  </a:lnTo>
                  <a:lnTo>
                    <a:pt x="65" y="14"/>
                  </a:lnTo>
                  <a:lnTo>
                    <a:pt x="65" y="11"/>
                  </a:lnTo>
                  <a:lnTo>
                    <a:pt x="64" y="9"/>
                  </a:lnTo>
                  <a:lnTo>
                    <a:pt x="64" y="6"/>
                  </a:lnTo>
                  <a:lnTo>
                    <a:pt x="64" y="5"/>
                  </a:lnTo>
                  <a:lnTo>
                    <a:pt x="65" y="1"/>
                  </a:lnTo>
                  <a:lnTo>
                    <a:pt x="65" y="0"/>
                  </a:lnTo>
                  <a:lnTo>
                    <a:pt x="62" y="3"/>
                  </a:lnTo>
                  <a:lnTo>
                    <a:pt x="59" y="5"/>
                  </a:lnTo>
                  <a:lnTo>
                    <a:pt x="59" y="5"/>
                  </a:lnTo>
                  <a:lnTo>
                    <a:pt x="56" y="5"/>
                  </a:lnTo>
                  <a:lnTo>
                    <a:pt x="56" y="5"/>
                  </a:lnTo>
                  <a:lnTo>
                    <a:pt x="52" y="1"/>
                  </a:lnTo>
                  <a:lnTo>
                    <a:pt x="52" y="1"/>
                  </a:lnTo>
                  <a:lnTo>
                    <a:pt x="51" y="5"/>
                  </a:lnTo>
                  <a:lnTo>
                    <a:pt x="49" y="5"/>
                  </a:lnTo>
                  <a:lnTo>
                    <a:pt x="48" y="5"/>
                  </a:lnTo>
                  <a:lnTo>
                    <a:pt x="48" y="5"/>
                  </a:lnTo>
                  <a:lnTo>
                    <a:pt x="46" y="5"/>
                  </a:lnTo>
                  <a:lnTo>
                    <a:pt x="48" y="6"/>
                  </a:lnTo>
                  <a:lnTo>
                    <a:pt x="49" y="8"/>
                  </a:lnTo>
                  <a:lnTo>
                    <a:pt x="49" y="9"/>
                  </a:lnTo>
                  <a:lnTo>
                    <a:pt x="48" y="9"/>
                  </a:lnTo>
                  <a:lnTo>
                    <a:pt x="46" y="11"/>
                  </a:lnTo>
                  <a:lnTo>
                    <a:pt x="45" y="9"/>
                  </a:lnTo>
                  <a:lnTo>
                    <a:pt x="43" y="8"/>
                  </a:lnTo>
                  <a:lnTo>
                    <a:pt x="40" y="8"/>
                  </a:lnTo>
                  <a:lnTo>
                    <a:pt x="38" y="6"/>
                  </a:lnTo>
                  <a:lnTo>
                    <a:pt x="37" y="5"/>
                  </a:lnTo>
                  <a:lnTo>
                    <a:pt x="35" y="6"/>
                  </a:lnTo>
                  <a:lnTo>
                    <a:pt x="33" y="5"/>
                  </a:lnTo>
                  <a:lnTo>
                    <a:pt x="32" y="5"/>
                  </a:lnTo>
                  <a:lnTo>
                    <a:pt x="29" y="5"/>
                  </a:lnTo>
                  <a:lnTo>
                    <a:pt x="24" y="5"/>
                  </a:lnTo>
                  <a:lnTo>
                    <a:pt x="24" y="5"/>
                  </a:lnTo>
                  <a:lnTo>
                    <a:pt x="21" y="5"/>
                  </a:lnTo>
                  <a:lnTo>
                    <a:pt x="19" y="5"/>
                  </a:lnTo>
                  <a:lnTo>
                    <a:pt x="16" y="5"/>
                  </a:lnTo>
                  <a:lnTo>
                    <a:pt x="13" y="5"/>
                  </a:lnTo>
                  <a:lnTo>
                    <a:pt x="10" y="5"/>
                  </a:lnTo>
                  <a:lnTo>
                    <a:pt x="8" y="8"/>
                  </a:lnTo>
                  <a:lnTo>
                    <a:pt x="6" y="13"/>
                  </a:lnTo>
                  <a:lnTo>
                    <a:pt x="3" y="16"/>
                  </a:lnTo>
                  <a:lnTo>
                    <a:pt x="0" y="16"/>
                  </a:lnTo>
                  <a:lnTo>
                    <a:pt x="3" y="21"/>
                  </a:lnTo>
                  <a:lnTo>
                    <a:pt x="3" y="27"/>
                  </a:lnTo>
                  <a:lnTo>
                    <a:pt x="8" y="33"/>
                  </a:lnTo>
                  <a:lnTo>
                    <a:pt x="8" y="36"/>
                  </a:lnTo>
                  <a:lnTo>
                    <a:pt x="8" y="38"/>
                  </a:lnTo>
                  <a:lnTo>
                    <a:pt x="8" y="40"/>
                  </a:lnTo>
                  <a:lnTo>
                    <a:pt x="10" y="41"/>
                  </a:lnTo>
                  <a:lnTo>
                    <a:pt x="11" y="44"/>
                  </a:lnTo>
                  <a:lnTo>
                    <a:pt x="13" y="46"/>
                  </a:lnTo>
                  <a:lnTo>
                    <a:pt x="14" y="48"/>
                  </a:lnTo>
                  <a:lnTo>
                    <a:pt x="14" y="51"/>
                  </a:lnTo>
                  <a:lnTo>
                    <a:pt x="14" y="52"/>
                  </a:lnTo>
                  <a:lnTo>
                    <a:pt x="14" y="55"/>
                  </a:lnTo>
                  <a:lnTo>
                    <a:pt x="16" y="55"/>
                  </a:lnTo>
                  <a:lnTo>
                    <a:pt x="18" y="55"/>
                  </a:lnTo>
                  <a:lnTo>
                    <a:pt x="19" y="52"/>
                  </a:lnTo>
                  <a:lnTo>
                    <a:pt x="19" y="51"/>
                  </a:lnTo>
                  <a:lnTo>
                    <a:pt x="21" y="51"/>
                  </a:lnTo>
                  <a:lnTo>
                    <a:pt x="22" y="54"/>
                  </a:lnTo>
                  <a:lnTo>
                    <a:pt x="22" y="57"/>
                  </a:lnTo>
                  <a:lnTo>
                    <a:pt x="21" y="59"/>
                  </a:lnTo>
                  <a:lnTo>
                    <a:pt x="21" y="60"/>
                  </a:lnTo>
                  <a:lnTo>
                    <a:pt x="24" y="60"/>
                  </a:lnTo>
                  <a:lnTo>
                    <a:pt x="24" y="59"/>
                  </a:lnTo>
                  <a:lnTo>
                    <a:pt x="27" y="60"/>
                  </a:lnTo>
                  <a:lnTo>
                    <a:pt x="29" y="62"/>
                  </a:lnTo>
                  <a:lnTo>
                    <a:pt x="30" y="62"/>
                  </a:lnTo>
                  <a:lnTo>
                    <a:pt x="33" y="60"/>
                  </a:lnTo>
                  <a:lnTo>
                    <a:pt x="37" y="59"/>
                  </a:lnTo>
                  <a:lnTo>
                    <a:pt x="37" y="59"/>
                  </a:lnTo>
                  <a:lnTo>
                    <a:pt x="37" y="59"/>
                  </a:lnTo>
                  <a:lnTo>
                    <a:pt x="37" y="59"/>
                  </a:lnTo>
                  <a:lnTo>
                    <a:pt x="37" y="59"/>
                  </a:lnTo>
                  <a:lnTo>
                    <a:pt x="37" y="59"/>
                  </a:lnTo>
                  <a:lnTo>
                    <a:pt x="37" y="59"/>
                  </a:lnTo>
                  <a:lnTo>
                    <a:pt x="37" y="59"/>
                  </a:lnTo>
                  <a:lnTo>
                    <a:pt x="37" y="5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3" name="Freeform 281">
              <a:extLst>
                <a:ext uri="{FF2B5EF4-FFF2-40B4-BE49-F238E27FC236}">
                  <a16:creationId xmlns:a16="http://schemas.microsoft.com/office/drawing/2014/main" id="{4898BF0F-20E1-94B9-3164-306FB0CF03BB}"/>
                </a:ext>
              </a:extLst>
            </p:cNvPr>
            <p:cNvSpPr>
              <a:spLocks/>
            </p:cNvSpPr>
            <p:nvPr/>
          </p:nvSpPr>
          <p:spPr bwMode="auto">
            <a:xfrm>
              <a:off x="8626844" y="3275923"/>
              <a:ext cx="242252" cy="477775"/>
            </a:xfrm>
            <a:custGeom>
              <a:avLst/>
              <a:gdLst>
                <a:gd name="T0" fmla="*/ 68 w 108"/>
                <a:gd name="T1" fmla="*/ 24 h 213"/>
                <a:gd name="T2" fmla="*/ 60 w 108"/>
                <a:gd name="T3" fmla="*/ 19 h 213"/>
                <a:gd name="T4" fmla="*/ 55 w 108"/>
                <a:gd name="T5" fmla="*/ 8 h 213"/>
                <a:gd name="T6" fmla="*/ 46 w 108"/>
                <a:gd name="T7" fmla="*/ 5 h 213"/>
                <a:gd name="T8" fmla="*/ 33 w 108"/>
                <a:gd name="T9" fmla="*/ 3 h 213"/>
                <a:gd name="T10" fmla="*/ 25 w 108"/>
                <a:gd name="T11" fmla="*/ 8 h 213"/>
                <a:gd name="T12" fmla="*/ 17 w 108"/>
                <a:gd name="T13" fmla="*/ 8 h 213"/>
                <a:gd name="T14" fmla="*/ 11 w 108"/>
                <a:gd name="T15" fmla="*/ 11 h 213"/>
                <a:gd name="T16" fmla="*/ 3 w 108"/>
                <a:gd name="T17" fmla="*/ 8 h 213"/>
                <a:gd name="T18" fmla="*/ 6 w 108"/>
                <a:gd name="T19" fmla="*/ 19 h 213"/>
                <a:gd name="T20" fmla="*/ 11 w 108"/>
                <a:gd name="T21" fmla="*/ 22 h 213"/>
                <a:gd name="T22" fmla="*/ 17 w 108"/>
                <a:gd name="T23" fmla="*/ 35 h 213"/>
                <a:gd name="T24" fmla="*/ 27 w 108"/>
                <a:gd name="T25" fmla="*/ 35 h 213"/>
                <a:gd name="T26" fmla="*/ 35 w 108"/>
                <a:gd name="T27" fmla="*/ 38 h 213"/>
                <a:gd name="T28" fmla="*/ 36 w 108"/>
                <a:gd name="T29" fmla="*/ 44 h 213"/>
                <a:gd name="T30" fmla="*/ 39 w 108"/>
                <a:gd name="T31" fmla="*/ 48 h 213"/>
                <a:gd name="T32" fmla="*/ 31 w 108"/>
                <a:gd name="T33" fmla="*/ 52 h 213"/>
                <a:gd name="T34" fmla="*/ 28 w 108"/>
                <a:gd name="T35" fmla="*/ 57 h 213"/>
                <a:gd name="T36" fmla="*/ 39 w 108"/>
                <a:gd name="T37" fmla="*/ 64 h 213"/>
                <a:gd name="T38" fmla="*/ 44 w 108"/>
                <a:gd name="T39" fmla="*/ 70 h 213"/>
                <a:gd name="T40" fmla="*/ 54 w 108"/>
                <a:gd name="T41" fmla="*/ 79 h 213"/>
                <a:gd name="T42" fmla="*/ 65 w 108"/>
                <a:gd name="T43" fmla="*/ 89 h 213"/>
                <a:gd name="T44" fmla="*/ 73 w 108"/>
                <a:gd name="T45" fmla="*/ 98 h 213"/>
                <a:gd name="T46" fmla="*/ 76 w 108"/>
                <a:gd name="T47" fmla="*/ 110 h 213"/>
                <a:gd name="T48" fmla="*/ 82 w 108"/>
                <a:gd name="T49" fmla="*/ 118 h 213"/>
                <a:gd name="T50" fmla="*/ 81 w 108"/>
                <a:gd name="T51" fmla="*/ 129 h 213"/>
                <a:gd name="T52" fmla="*/ 82 w 108"/>
                <a:gd name="T53" fmla="*/ 138 h 213"/>
                <a:gd name="T54" fmla="*/ 85 w 108"/>
                <a:gd name="T55" fmla="*/ 154 h 213"/>
                <a:gd name="T56" fmla="*/ 73 w 108"/>
                <a:gd name="T57" fmla="*/ 164 h 213"/>
                <a:gd name="T58" fmla="*/ 68 w 108"/>
                <a:gd name="T59" fmla="*/ 167 h 213"/>
                <a:gd name="T60" fmla="*/ 69 w 108"/>
                <a:gd name="T61" fmla="*/ 178 h 213"/>
                <a:gd name="T62" fmla="*/ 65 w 108"/>
                <a:gd name="T63" fmla="*/ 178 h 213"/>
                <a:gd name="T64" fmla="*/ 55 w 108"/>
                <a:gd name="T65" fmla="*/ 181 h 213"/>
                <a:gd name="T66" fmla="*/ 50 w 108"/>
                <a:gd name="T67" fmla="*/ 187 h 213"/>
                <a:gd name="T68" fmla="*/ 57 w 108"/>
                <a:gd name="T69" fmla="*/ 192 h 213"/>
                <a:gd name="T70" fmla="*/ 55 w 108"/>
                <a:gd name="T71" fmla="*/ 210 h 213"/>
                <a:gd name="T72" fmla="*/ 58 w 108"/>
                <a:gd name="T73" fmla="*/ 213 h 213"/>
                <a:gd name="T74" fmla="*/ 69 w 108"/>
                <a:gd name="T75" fmla="*/ 200 h 213"/>
                <a:gd name="T76" fmla="*/ 76 w 108"/>
                <a:gd name="T77" fmla="*/ 198 h 213"/>
                <a:gd name="T78" fmla="*/ 76 w 108"/>
                <a:gd name="T79" fmla="*/ 192 h 213"/>
                <a:gd name="T80" fmla="*/ 73 w 108"/>
                <a:gd name="T81" fmla="*/ 186 h 213"/>
                <a:gd name="T82" fmla="*/ 76 w 108"/>
                <a:gd name="T83" fmla="*/ 186 h 213"/>
                <a:gd name="T84" fmla="*/ 81 w 108"/>
                <a:gd name="T85" fmla="*/ 183 h 213"/>
                <a:gd name="T86" fmla="*/ 93 w 108"/>
                <a:gd name="T87" fmla="*/ 181 h 213"/>
                <a:gd name="T88" fmla="*/ 104 w 108"/>
                <a:gd name="T89" fmla="*/ 172 h 213"/>
                <a:gd name="T90" fmla="*/ 108 w 108"/>
                <a:gd name="T91" fmla="*/ 160 h 213"/>
                <a:gd name="T92" fmla="*/ 108 w 108"/>
                <a:gd name="T93" fmla="*/ 154 h 213"/>
                <a:gd name="T94" fmla="*/ 108 w 108"/>
                <a:gd name="T95" fmla="*/ 141 h 213"/>
                <a:gd name="T96" fmla="*/ 101 w 108"/>
                <a:gd name="T97" fmla="*/ 124 h 213"/>
                <a:gd name="T98" fmla="*/ 96 w 108"/>
                <a:gd name="T99" fmla="*/ 114 h 213"/>
                <a:gd name="T100" fmla="*/ 90 w 108"/>
                <a:gd name="T101" fmla="*/ 105 h 213"/>
                <a:gd name="T102" fmla="*/ 81 w 108"/>
                <a:gd name="T103" fmla="*/ 98 h 213"/>
                <a:gd name="T104" fmla="*/ 73 w 108"/>
                <a:gd name="T105" fmla="*/ 94 h 213"/>
                <a:gd name="T106" fmla="*/ 63 w 108"/>
                <a:gd name="T107" fmla="*/ 81 h 213"/>
                <a:gd name="T108" fmla="*/ 54 w 108"/>
                <a:gd name="T109" fmla="*/ 67 h 213"/>
                <a:gd name="T110" fmla="*/ 50 w 108"/>
                <a:gd name="T111" fmla="*/ 60 h 213"/>
                <a:gd name="T112" fmla="*/ 55 w 108"/>
                <a:gd name="T113" fmla="*/ 48 h 213"/>
                <a:gd name="T114" fmla="*/ 60 w 108"/>
                <a:gd name="T115" fmla="*/ 38 h 213"/>
                <a:gd name="T116" fmla="*/ 63 w 108"/>
                <a:gd name="T117" fmla="*/ 35 h 213"/>
                <a:gd name="T118" fmla="*/ 68 w 108"/>
                <a:gd name="T119" fmla="*/ 29 h 213"/>
                <a:gd name="T120" fmla="*/ 76 w 108"/>
                <a:gd name="T121" fmla="*/ 27 h 213"/>
                <a:gd name="T122" fmla="*/ 73 w 108"/>
                <a:gd name="T123" fmla="*/ 24 h 213"/>
                <a:gd name="T124" fmla="*/ 73 w 108"/>
                <a:gd name="T125" fmla="*/ 2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 h="213">
                  <a:moveTo>
                    <a:pt x="73" y="24"/>
                  </a:moveTo>
                  <a:lnTo>
                    <a:pt x="69" y="24"/>
                  </a:lnTo>
                  <a:lnTo>
                    <a:pt x="69" y="25"/>
                  </a:lnTo>
                  <a:lnTo>
                    <a:pt x="68" y="25"/>
                  </a:lnTo>
                  <a:lnTo>
                    <a:pt x="68" y="24"/>
                  </a:lnTo>
                  <a:lnTo>
                    <a:pt x="66" y="25"/>
                  </a:lnTo>
                  <a:lnTo>
                    <a:pt x="65" y="24"/>
                  </a:lnTo>
                  <a:lnTo>
                    <a:pt x="62" y="22"/>
                  </a:lnTo>
                  <a:lnTo>
                    <a:pt x="62" y="21"/>
                  </a:lnTo>
                  <a:lnTo>
                    <a:pt x="60" y="19"/>
                  </a:lnTo>
                  <a:lnTo>
                    <a:pt x="57" y="19"/>
                  </a:lnTo>
                  <a:lnTo>
                    <a:pt x="55" y="14"/>
                  </a:lnTo>
                  <a:lnTo>
                    <a:pt x="54" y="10"/>
                  </a:lnTo>
                  <a:lnTo>
                    <a:pt x="55" y="10"/>
                  </a:lnTo>
                  <a:lnTo>
                    <a:pt x="55" y="8"/>
                  </a:lnTo>
                  <a:lnTo>
                    <a:pt x="54" y="5"/>
                  </a:lnTo>
                  <a:lnTo>
                    <a:pt x="52" y="5"/>
                  </a:lnTo>
                  <a:lnTo>
                    <a:pt x="49" y="5"/>
                  </a:lnTo>
                  <a:lnTo>
                    <a:pt x="47" y="5"/>
                  </a:lnTo>
                  <a:lnTo>
                    <a:pt x="46" y="5"/>
                  </a:lnTo>
                  <a:lnTo>
                    <a:pt x="44" y="5"/>
                  </a:lnTo>
                  <a:lnTo>
                    <a:pt x="41" y="3"/>
                  </a:lnTo>
                  <a:lnTo>
                    <a:pt x="38" y="0"/>
                  </a:lnTo>
                  <a:lnTo>
                    <a:pt x="35" y="2"/>
                  </a:lnTo>
                  <a:lnTo>
                    <a:pt x="33" y="3"/>
                  </a:lnTo>
                  <a:lnTo>
                    <a:pt x="33" y="5"/>
                  </a:lnTo>
                  <a:lnTo>
                    <a:pt x="31" y="5"/>
                  </a:lnTo>
                  <a:lnTo>
                    <a:pt x="28" y="8"/>
                  </a:lnTo>
                  <a:lnTo>
                    <a:pt x="25" y="8"/>
                  </a:lnTo>
                  <a:lnTo>
                    <a:pt x="25" y="8"/>
                  </a:lnTo>
                  <a:lnTo>
                    <a:pt x="23" y="8"/>
                  </a:lnTo>
                  <a:lnTo>
                    <a:pt x="23" y="10"/>
                  </a:lnTo>
                  <a:lnTo>
                    <a:pt x="23" y="11"/>
                  </a:lnTo>
                  <a:lnTo>
                    <a:pt x="20" y="8"/>
                  </a:lnTo>
                  <a:lnTo>
                    <a:pt x="17" y="8"/>
                  </a:lnTo>
                  <a:lnTo>
                    <a:pt x="17" y="10"/>
                  </a:lnTo>
                  <a:lnTo>
                    <a:pt x="14" y="8"/>
                  </a:lnTo>
                  <a:lnTo>
                    <a:pt x="14" y="10"/>
                  </a:lnTo>
                  <a:lnTo>
                    <a:pt x="11" y="10"/>
                  </a:lnTo>
                  <a:lnTo>
                    <a:pt x="11" y="11"/>
                  </a:lnTo>
                  <a:lnTo>
                    <a:pt x="9" y="11"/>
                  </a:lnTo>
                  <a:lnTo>
                    <a:pt x="8" y="8"/>
                  </a:lnTo>
                  <a:lnTo>
                    <a:pt x="6" y="8"/>
                  </a:lnTo>
                  <a:lnTo>
                    <a:pt x="4" y="8"/>
                  </a:lnTo>
                  <a:lnTo>
                    <a:pt x="3" y="8"/>
                  </a:lnTo>
                  <a:lnTo>
                    <a:pt x="1" y="13"/>
                  </a:lnTo>
                  <a:lnTo>
                    <a:pt x="0" y="13"/>
                  </a:lnTo>
                  <a:lnTo>
                    <a:pt x="1" y="14"/>
                  </a:lnTo>
                  <a:lnTo>
                    <a:pt x="3" y="16"/>
                  </a:lnTo>
                  <a:lnTo>
                    <a:pt x="6" y="19"/>
                  </a:lnTo>
                  <a:lnTo>
                    <a:pt x="8" y="22"/>
                  </a:lnTo>
                  <a:lnTo>
                    <a:pt x="9" y="24"/>
                  </a:lnTo>
                  <a:lnTo>
                    <a:pt x="9" y="21"/>
                  </a:lnTo>
                  <a:lnTo>
                    <a:pt x="11" y="22"/>
                  </a:lnTo>
                  <a:lnTo>
                    <a:pt x="11" y="22"/>
                  </a:lnTo>
                  <a:lnTo>
                    <a:pt x="11" y="24"/>
                  </a:lnTo>
                  <a:lnTo>
                    <a:pt x="11" y="25"/>
                  </a:lnTo>
                  <a:lnTo>
                    <a:pt x="11" y="29"/>
                  </a:lnTo>
                  <a:lnTo>
                    <a:pt x="14" y="35"/>
                  </a:lnTo>
                  <a:lnTo>
                    <a:pt x="17" y="35"/>
                  </a:lnTo>
                  <a:lnTo>
                    <a:pt x="20" y="35"/>
                  </a:lnTo>
                  <a:lnTo>
                    <a:pt x="23" y="38"/>
                  </a:lnTo>
                  <a:lnTo>
                    <a:pt x="23" y="35"/>
                  </a:lnTo>
                  <a:lnTo>
                    <a:pt x="25" y="35"/>
                  </a:lnTo>
                  <a:lnTo>
                    <a:pt x="27" y="35"/>
                  </a:lnTo>
                  <a:lnTo>
                    <a:pt x="28" y="35"/>
                  </a:lnTo>
                  <a:lnTo>
                    <a:pt x="30" y="35"/>
                  </a:lnTo>
                  <a:lnTo>
                    <a:pt x="31" y="35"/>
                  </a:lnTo>
                  <a:lnTo>
                    <a:pt x="33" y="38"/>
                  </a:lnTo>
                  <a:lnTo>
                    <a:pt x="35" y="38"/>
                  </a:lnTo>
                  <a:lnTo>
                    <a:pt x="33" y="40"/>
                  </a:lnTo>
                  <a:lnTo>
                    <a:pt x="31" y="41"/>
                  </a:lnTo>
                  <a:lnTo>
                    <a:pt x="35" y="41"/>
                  </a:lnTo>
                  <a:lnTo>
                    <a:pt x="36" y="43"/>
                  </a:lnTo>
                  <a:lnTo>
                    <a:pt x="36" y="44"/>
                  </a:lnTo>
                  <a:lnTo>
                    <a:pt x="38" y="44"/>
                  </a:lnTo>
                  <a:lnTo>
                    <a:pt x="39" y="44"/>
                  </a:lnTo>
                  <a:lnTo>
                    <a:pt x="41" y="44"/>
                  </a:lnTo>
                  <a:lnTo>
                    <a:pt x="41" y="46"/>
                  </a:lnTo>
                  <a:lnTo>
                    <a:pt x="39" y="48"/>
                  </a:lnTo>
                  <a:lnTo>
                    <a:pt x="38" y="49"/>
                  </a:lnTo>
                  <a:lnTo>
                    <a:pt x="39" y="51"/>
                  </a:lnTo>
                  <a:lnTo>
                    <a:pt x="38" y="51"/>
                  </a:lnTo>
                  <a:lnTo>
                    <a:pt x="35" y="52"/>
                  </a:lnTo>
                  <a:lnTo>
                    <a:pt x="31" y="52"/>
                  </a:lnTo>
                  <a:lnTo>
                    <a:pt x="28" y="52"/>
                  </a:lnTo>
                  <a:lnTo>
                    <a:pt x="30" y="54"/>
                  </a:lnTo>
                  <a:lnTo>
                    <a:pt x="30" y="56"/>
                  </a:lnTo>
                  <a:lnTo>
                    <a:pt x="30" y="57"/>
                  </a:lnTo>
                  <a:lnTo>
                    <a:pt x="28" y="57"/>
                  </a:lnTo>
                  <a:lnTo>
                    <a:pt x="30" y="59"/>
                  </a:lnTo>
                  <a:lnTo>
                    <a:pt x="31" y="59"/>
                  </a:lnTo>
                  <a:lnTo>
                    <a:pt x="36" y="60"/>
                  </a:lnTo>
                  <a:lnTo>
                    <a:pt x="36" y="64"/>
                  </a:lnTo>
                  <a:lnTo>
                    <a:pt x="39" y="64"/>
                  </a:lnTo>
                  <a:lnTo>
                    <a:pt x="41" y="64"/>
                  </a:lnTo>
                  <a:lnTo>
                    <a:pt x="44" y="67"/>
                  </a:lnTo>
                  <a:lnTo>
                    <a:pt x="44" y="67"/>
                  </a:lnTo>
                  <a:lnTo>
                    <a:pt x="44" y="67"/>
                  </a:lnTo>
                  <a:lnTo>
                    <a:pt x="44" y="70"/>
                  </a:lnTo>
                  <a:lnTo>
                    <a:pt x="46" y="70"/>
                  </a:lnTo>
                  <a:lnTo>
                    <a:pt x="49" y="73"/>
                  </a:lnTo>
                  <a:lnTo>
                    <a:pt x="50" y="75"/>
                  </a:lnTo>
                  <a:lnTo>
                    <a:pt x="52" y="76"/>
                  </a:lnTo>
                  <a:lnTo>
                    <a:pt x="54" y="79"/>
                  </a:lnTo>
                  <a:lnTo>
                    <a:pt x="57" y="84"/>
                  </a:lnTo>
                  <a:lnTo>
                    <a:pt x="60" y="86"/>
                  </a:lnTo>
                  <a:lnTo>
                    <a:pt x="63" y="87"/>
                  </a:lnTo>
                  <a:lnTo>
                    <a:pt x="63" y="89"/>
                  </a:lnTo>
                  <a:lnTo>
                    <a:pt x="65" y="89"/>
                  </a:lnTo>
                  <a:lnTo>
                    <a:pt x="66" y="92"/>
                  </a:lnTo>
                  <a:lnTo>
                    <a:pt x="68" y="95"/>
                  </a:lnTo>
                  <a:lnTo>
                    <a:pt x="69" y="98"/>
                  </a:lnTo>
                  <a:lnTo>
                    <a:pt x="69" y="98"/>
                  </a:lnTo>
                  <a:lnTo>
                    <a:pt x="73" y="98"/>
                  </a:lnTo>
                  <a:lnTo>
                    <a:pt x="73" y="102"/>
                  </a:lnTo>
                  <a:lnTo>
                    <a:pt x="79" y="105"/>
                  </a:lnTo>
                  <a:lnTo>
                    <a:pt x="79" y="108"/>
                  </a:lnTo>
                  <a:lnTo>
                    <a:pt x="76" y="108"/>
                  </a:lnTo>
                  <a:lnTo>
                    <a:pt x="76" y="110"/>
                  </a:lnTo>
                  <a:lnTo>
                    <a:pt x="79" y="111"/>
                  </a:lnTo>
                  <a:lnTo>
                    <a:pt x="81" y="113"/>
                  </a:lnTo>
                  <a:lnTo>
                    <a:pt x="82" y="114"/>
                  </a:lnTo>
                  <a:lnTo>
                    <a:pt x="82" y="116"/>
                  </a:lnTo>
                  <a:lnTo>
                    <a:pt x="82" y="118"/>
                  </a:lnTo>
                  <a:lnTo>
                    <a:pt x="81" y="121"/>
                  </a:lnTo>
                  <a:lnTo>
                    <a:pt x="82" y="122"/>
                  </a:lnTo>
                  <a:lnTo>
                    <a:pt x="82" y="124"/>
                  </a:lnTo>
                  <a:lnTo>
                    <a:pt x="82" y="125"/>
                  </a:lnTo>
                  <a:lnTo>
                    <a:pt x="81" y="129"/>
                  </a:lnTo>
                  <a:lnTo>
                    <a:pt x="81" y="129"/>
                  </a:lnTo>
                  <a:lnTo>
                    <a:pt x="81" y="130"/>
                  </a:lnTo>
                  <a:lnTo>
                    <a:pt x="81" y="133"/>
                  </a:lnTo>
                  <a:lnTo>
                    <a:pt x="82" y="135"/>
                  </a:lnTo>
                  <a:lnTo>
                    <a:pt x="82" y="138"/>
                  </a:lnTo>
                  <a:lnTo>
                    <a:pt x="84" y="140"/>
                  </a:lnTo>
                  <a:lnTo>
                    <a:pt x="85" y="143"/>
                  </a:lnTo>
                  <a:lnTo>
                    <a:pt x="84" y="146"/>
                  </a:lnTo>
                  <a:lnTo>
                    <a:pt x="85" y="152"/>
                  </a:lnTo>
                  <a:lnTo>
                    <a:pt x="85" y="154"/>
                  </a:lnTo>
                  <a:lnTo>
                    <a:pt x="85" y="157"/>
                  </a:lnTo>
                  <a:lnTo>
                    <a:pt x="82" y="157"/>
                  </a:lnTo>
                  <a:lnTo>
                    <a:pt x="79" y="160"/>
                  </a:lnTo>
                  <a:lnTo>
                    <a:pt x="76" y="164"/>
                  </a:lnTo>
                  <a:lnTo>
                    <a:pt x="73" y="164"/>
                  </a:lnTo>
                  <a:lnTo>
                    <a:pt x="73" y="165"/>
                  </a:lnTo>
                  <a:lnTo>
                    <a:pt x="73" y="167"/>
                  </a:lnTo>
                  <a:lnTo>
                    <a:pt x="69" y="167"/>
                  </a:lnTo>
                  <a:lnTo>
                    <a:pt x="68" y="165"/>
                  </a:lnTo>
                  <a:lnTo>
                    <a:pt x="68" y="167"/>
                  </a:lnTo>
                  <a:lnTo>
                    <a:pt x="66" y="167"/>
                  </a:lnTo>
                  <a:lnTo>
                    <a:pt x="65" y="168"/>
                  </a:lnTo>
                  <a:lnTo>
                    <a:pt x="66" y="173"/>
                  </a:lnTo>
                  <a:lnTo>
                    <a:pt x="69" y="175"/>
                  </a:lnTo>
                  <a:lnTo>
                    <a:pt x="69" y="178"/>
                  </a:lnTo>
                  <a:lnTo>
                    <a:pt x="69" y="179"/>
                  </a:lnTo>
                  <a:lnTo>
                    <a:pt x="69" y="181"/>
                  </a:lnTo>
                  <a:lnTo>
                    <a:pt x="68" y="179"/>
                  </a:lnTo>
                  <a:lnTo>
                    <a:pt x="66" y="178"/>
                  </a:lnTo>
                  <a:lnTo>
                    <a:pt x="65" y="178"/>
                  </a:lnTo>
                  <a:lnTo>
                    <a:pt x="60" y="179"/>
                  </a:lnTo>
                  <a:lnTo>
                    <a:pt x="58" y="179"/>
                  </a:lnTo>
                  <a:lnTo>
                    <a:pt x="57" y="178"/>
                  </a:lnTo>
                  <a:lnTo>
                    <a:pt x="55" y="179"/>
                  </a:lnTo>
                  <a:lnTo>
                    <a:pt x="55" y="181"/>
                  </a:lnTo>
                  <a:lnTo>
                    <a:pt x="54" y="183"/>
                  </a:lnTo>
                  <a:lnTo>
                    <a:pt x="50" y="184"/>
                  </a:lnTo>
                  <a:lnTo>
                    <a:pt x="47" y="186"/>
                  </a:lnTo>
                  <a:lnTo>
                    <a:pt x="49" y="186"/>
                  </a:lnTo>
                  <a:lnTo>
                    <a:pt x="50" y="187"/>
                  </a:lnTo>
                  <a:lnTo>
                    <a:pt x="50" y="189"/>
                  </a:lnTo>
                  <a:lnTo>
                    <a:pt x="52" y="189"/>
                  </a:lnTo>
                  <a:lnTo>
                    <a:pt x="52" y="189"/>
                  </a:lnTo>
                  <a:lnTo>
                    <a:pt x="54" y="189"/>
                  </a:lnTo>
                  <a:lnTo>
                    <a:pt x="57" y="192"/>
                  </a:lnTo>
                  <a:lnTo>
                    <a:pt x="58" y="195"/>
                  </a:lnTo>
                  <a:lnTo>
                    <a:pt x="57" y="192"/>
                  </a:lnTo>
                  <a:lnTo>
                    <a:pt x="55" y="195"/>
                  </a:lnTo>
                  <a:lnTo>
                    <a:pt x="54" y="200"/>
                  </a:lnTo>
                  <a:lnTo>
                    <a:pt x="55" y="210"/>
                  </a:lnTo>
                  <a:lnTo>
                    <a:pt x="57" y="208"/>
                  </a:lnTo>
                  <a:lnTo>
                    <a:pt x="57" y="210"/>
                  </a:lnTo>
                  <a:lnTo>
                    <a:pt x="54" y="211"/>
                  </a:lnTo>
                  <a:lnTo>
                    <a:pt x="57" y="213"/>
                  </a:lnTo>
                  <a:lnTo>
                    <a:pt x="58" y="213"/>
                  </a:lnTo>
                  <a:lnTo>
                    <a:pt x="62" y="210"/>
                  </a:lnTo>
                  <a:lnTo>
                    <a:pt x="63" y="206"/>
                  </a:lnTo>
                  <a:lnTo>
                    <a:pt x="66" y="203"/>
                  </a:lnTo>
                  <a:lnTo>
                    <a:pt x="69" y="202"/>
                  </a:lnTo>
                  <a:lnTo>
                    <a:pt x="69" y="200"/>
                  </a:lnTo>
                  <a:lnTo>
                    <a:pt x="73" y="198"/>
                  </a:lnTo>
                  <a:lnTo>
                    <a:pt x="73" y="198"/>
                  </a:lnTo>
                  <a:lnTo>
                    <a:pt x="69" y="195"/>
                  </a:lnTo>
                  <a:lnTo>
                    <a:pt x="73" y="198"/>
                  </a:lnTo>
                  <a:lnTo>
                    <a:pt x="76" y="198"/>
                  </a:lnTo>
                  <a:lnTo>
                    <a:pt x="76" y="198"/>
                  </a:lnTo>
                  <a:lnTo>
                    <a:pt x="76" y="195"/>
                  </a:lnTo>
                  <a:lnTo>
                    <a:pt x="76" y="192"/>
                  </a:lnTo>
                  <a:lnTo>
                    <a:pt x="76" y="195"/>
                  </a:lnTo>
                  <a:lnTo>
                    <a:pt x="76" y="192"/>
                  </a:lnTo>
                  <a:lnTo>
                    <a:pt x="76" y="192"/>
                  </a:lnTo>
                  <a:lnTo>
                    <a:pt x="76" y="192"/>
                  </a:lnTo>
                  <a:lnTo>
                    <a:pt x="79" y="189"/>
                  </a:lnTo>
                  <a:lnTo>
                    <a:pt x="76" y="189"/>
                  </a:lnTo>
                  <a:lnTo>
                    <a:pt x="73" y="186"/>
                  </a:lnTo>
                  <a:lnTo>
                    <a:pt x="76" y="186"/>
                  </a:lnTo>
                  <a:lnTo>
                    <a:pt x="79" y="186"/>
                  </a:lnTo>
                  <a:lnTo>
                    <a:pt x="79" y="186"/>
                  </a:lnTo>
                  <a:lnTo>
                    <a:pt x="76" y="186"/>
                  </a:lnTo>
                  <a:lnTo>
                    <a:pt x="76" y="186"/>
                  </a:lnTo>
                  <a:lnTo>
                    <a:pt x="79" y="184"/>
                  </a:lnTo>
                  <a:lnTo>
                    <a:pt x="79" y="183"/>
                  </a:lnTo>
                  <a:lnTo>
                    <a:pt x="79" y="183"/>
                  </a:lnTo>
                  <a:lnTo>
                    <a:pt x="81" y="186"/>
                  </a:lnTo>
                  <a:lnTo>
                    <a:pt x="81" y="183"/>
                  </a:lnTo>
                  <a:lnTo>
                    <a:pt x="82" y="184"/>
                  </a:lnTo>
                  <a:lnTo>
                    <a:pt x="84" y="186"/>
                  </a:lnTo>
                  <a:lnTo>
                    <a:pt x="88" y="184"/>
                  </a:lnTo>
                  <a:lnTo>
                    <a:pt x="90" y="183"/>
                  </a:lnTo>
                  <a:lnTo>
                    <a:pt x="93" y="181"/>
                  </a:lnTo>
                  <a:lnTo>
                    <a:pt x="95" y="178"/>
                  </a:lnTo>
                  <a:lnTo>
                    <a:pt x="100" y="176"/>
                  </a:lnTo>
                  <a:lnTo>
                    <a:pt x="101" y="175"/>
                  </a:lnTo>
                  <a:lnTo>
                    <a:pt x="104" y="173"/>
                  </a:lnTo>
                  <a:lnTo>
                    <a:pt x="104" y="172"/>
                  </a:lnTo>
                  <a:lnTo>
                    <a:pt x="104" y="168"/>
                  </a:lnTo>
                  <a:lnTo>
                    <a:pt x="108" y="167"/>
                  </a:lnTo>
                  <a:lnTo>
                    <a:pt x="108" y="165"/>
                  </a:lnTo>
                  <a:lnTo>
                    <a:pt x="108" y="164"/>
                  </a:lnTo>
                  <a:lnTo>
                    <a:pt x="108" y="160"/>
                  </a:lnTo>
                  <a:lnTo>
                    <a:pt x="108" y="160"/>
                  </a:lnTo>
                  <a:lnTo>
                    <a:pt x="104" y="157"/>
                  </a:lnTo>
                  <a:lnTo>
                    <a:pt x="108" y="157"/>
                  </a:lnTo>
                  <a:lnTo>
                    <a:pt x="108" y="154"/>
                  </a:lnTo>
                  <a:lnTo>
                    <a:pt x="108" y="154"/>
                  </a:lnTo>
                  <a:lnTo>
                    <a:pt x="108" y="152"/>
                  </a:lnTo>
                  <a:lnTo>
                    <a:pt x="108" y="149"/>
                  </a:lnTo>
                  <a:lnTo>
                    <a:pt x="108" y="145"/>
                  </a:lnTo>
                  <a:lnTo>
                    <a:pt x="104" y="143"/>
                  </a:lnTo>
                  <a:lnTo>
                    <a:pt x="108" y="141"/>
                  </a:lnTo>
                  <a:lnTo>
                    <a:pt x="104" y="140"/>
                  </a:lnTo>
                  <a:lnTo>
                    <a:pt x="104" y="137"/>
                  </a:lnTo>
                  <a:lnTo>
                    <a:pt x="104" y="135"/>
                  </a:lnTo>
                  <a:lnTo>
                    <a:pt x="104" y="132"/>
                  </a:lnTo>
                  <a:lnTo>
                    <a:pt x="101" y="124"/>
                  </a:lnTo>
                  <a:lnTo>
                    <a:pt x="98" y="118"/>
                  </a:lnTo>
                  <a:lnTo>
                    <a:pt x="100" y="118"/>
                  </a:lnTo>
                  <a:lnTo>
                    <a:pt x="100" y="116"/>
                  </a:lnTo>
                  <a:lnTo>
                    <a:pt x="98" y="114"/>
                  </a:lnTo>
                  <a:lnTo>
                    <a:pt x="96" y="114"/>
                  </a:lnTo>
                  <a:lnTo>
                    <a:pt x="95" y="113"/>
                  </a:lnTo>
                  <a:lnTo>
                    <a:pt x="92" y="110"/>
                  </a:lnTo>
                  <a:lnTo>
                    <a:pt x="90" y="105"/>
                  </a:lnTo>
                  <a:lnTo>
                    <a:pt x="88" y="105"/>
                  </a:lnTo>
                  <a:lnTo>
                    <a:pt x="90" y="105"/>
                  </a:lnTo>
                  <a:lnTo>
                    <a:pt x="88" y="105"/>
                  </a:lnTo>
                  <a:lnTo>
                    <a:pt x="87" y="102"/>
                  </a:lnTo>
                  <a:lnTo>
                    <a:pt x="85" y="102"/>
                  </a:lnTo>
                  <a:lnTo>
                    <a:pt x="84" y="102"/>
                  </a:lnTo>
                  <a:lnTo>
                    <a:pt x="81" y="98"/>
                  </a:lnTo>
                  <a:lnTo>
                    <a:pt x="79" y="95"/>
                  </a:lnTo>
                  <a:lnTo>
                    <a:pt x="79" y="95"/>
                  </a:lnTo>
                  <a:lnTo>
                    <a:pt x="76" y="94"/>
                  </a:lnTo>
                  <a:lnTo>
                    <a:pt x="76" y="94"/>
                  </a:lnTo>
                  <a:lnTo>
                    <a:pt x="73" y="94"/>
                  </a:lnTo>
                  <a:lnTo>
                    <a:pt x="73" y="91"/>
                  </a:lnTo>
                  <a:lnTo>
                    <a:pt x="73" y="89"/>
                  </a:lnTo>
                  <a:lnTo>
                    <a:pt x="68" y="86"/>
                  </a:lnTo>
                  <a:lnTo>
                    <a:pt x="65" y="83"/>
                  </a:lnTo>
                  <a:lnTo>
                    <a:pt x="63" y="81"/>
                  </a:lnTo>
                  <a:lnTo>
                    <a:pt x="63" y="78"/>
                  </a:lnTo>
                  <a:lnTo>
                    <a:pt x="62" y="75"/>
                  </a:lnTo>
                  <a:lnTo>
                    <a:pt x="58" y="73"/>
                  </a:lnTo>
                  <a:lnTo>
                    <a:pt x="54" y="70"/>
                  </a:lnTo>
                  <a:lnTo>
                    <a:pt x="54" y="67"/>
                  </a:lnTo>
                  <a:lnTo>
                    <a:pt x="52" y="67"/>
                  </a:lnTo>
                  <a:lnTo>
                    <a:pt x="52" y="67"/>
                  </a:lnTo>
                  <a:lnTo>
                    <a:pt x="50" y="64"/>
                  </a:lnTo>
                  <a:lnTo>
                    <a:pt x="50" y="64"/>
                  </a:lnTo>
                  <a:lnTo>
                    <a:pt x="50" y="60"/>
                  </a:lnTo>
                  <a:lnTo>
                    <a:pt x="50" y="57"/>
                  </a:lnTo>
                  <a:lnTo>
                    <a:pt x="50" y="54"/>
                  </a:lnTo>
                  <a:lnTo>
                    <a:pt x="52" y="49"/>
                  </a:lnTo>
                  <a:lnTo>
                    <a:pt x="54" y="48"/>
                  </a:lnTo>
                  <a:lnTo>
                    <a:pt x="55" y="48"/>
                  </a:lnTo>
                  <a:lnTo>
                    <a:pt x="57" y="46"/>
                  </a:lnTo>
                  <a:lnTo>
                    <a:pt x="58" y="43"/>
                  </a:lnTo>
                  <a:lnTo>
                    <a:pt x="58" y="40"/>
                  </a:lnTo>
                  <a:lnTo>
                    <a:pt x="58" y="38"/>
                  </a:lnTo>
                  <a:lnTo>
                    <a:pt x="60" y="38"/>
                  </a:lnTo>
                  <a:lnTo>
                    <a:pt x="62" y="38"/>
                  </a:lnTo>
                  <a:lnTo>
                    <a:pt x="60" y="35"/>
                  </a:lnTo>
                  <a:lnTo>
                    <a:pt x="60" y="35"/>
                  </a:lnTo>
                  <a:lnTo>
                    <a:pt x="62" y="35"/>
                  </a:lnTo>
                  <a:lnTo>
                    <a:pt x="63" y="35"/>
                  </a:lnTo>
                  <a:lnTo>
                    <a:pt x="65" y="32"/>
                  </a:lnTo>
                  <a:lnTo>
                    <a:pt x="65" y="35"/>
                  </a:lnTo>
                  <a:lnTo>
                    <a:pt x="68" y="32"/>
                  </a:lnTo>
                  <a:lnTo>
                    <a:pt x="68" y="32"/>
                  </a:lnTo>
                  <a:lnTo>
                    <a:pt x="68" y="29"/>
                  </a:lnTo>
                  <a:lnTo>
                    <a:pt x="69" y="29"/>
                  </a:lnTo>
                  <a:lnTo>
                    <a:pt x="69" y="29"/>
                  </a:lnTo>
                  <a:lnTo>
                    <a:pt x="73" y="27"/>
                  </a:lnTo>
                  <a:lnTo>
                    <a:pt x="73" y="27"/>
                  </a:lnTo>
                  <a:lnTo>
                    <a:pt x="76" y="27"/>
                  </a:lnTo>
                  <a:lnTo>
                    <a:pt x="76" y="27"/>
                  </a:lnTo>
                  <a:lnTo>
                    <a:pt x="76" y="25"/>
                  </a:lnTo>
                  <a:lnTo>
                    <a:pt x="73" y="24"/>
                  </a:lnTo>
                  <a:lnTo>
                    <a:pt x="73" y="24"/>
                  </a:lnTo>
                  <a:lnTo>
                    <a:pt x="73" y="24"/>
                  </a:lnTo>
                  <a:lnTo>
                    <a:pt x="73" y="24"/>
                  </a:lnTo>
                  <a:lnTo>
                    <a:pt x="73" y="24"/>
                  </a:lnTo>
                  <a:lnTo>
                    <a:pt x="73" y="24"/>
                  </a:lnTo>
                  <a:lnTo>
                    <a:pt x="73" y="24"/>
                  </a:lnTo>
                  <a:lnTo>
                    <a:pt x="73" y="24"/>
                  </a:lnTo>
                  <a:lnTo>
                    <a:pt x="73" y="2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4" name="Freeform 286">
              <a:extLst>
                <a:ext uri="{FF2B5EF4-FFF2-40B4-BE49-F238E27FC236}">
                  <a16:creationId xmlns:a16="http://schemas.microsoft.com/office/drawing/2014/main" id="{C7E941E2-947F-E1F9-67D8-31399D3ECAF6}"/>
                </a:ext>
              </a:extLst>
            </p:cNvPr>
            <p:cNvSpPr>
              <a:spLocks noEditPoints="1"/>
            </p:cNvSpPr>
            <p:nvPr/>
          </p:nvSpPr>
          <p:spPr bwMode="auto">
            <a:xfrm>
              <a:off x="8355432" y="3105451"/>
              <a:ext cx="244495" cy="601143"/>
            </a:xfrm>
            <a:custGeom>
              <a:avLst/>
              <a:gdLst>
                <a:gd name="T0" fmla="*/ 25 w 109"/>
                <a:gd name="T1" fmla="*/ 136 h 268"/>
                <a:gd name="T2" fmla="*/ 21 w 109"/>
                <a:gd name="T3" fmla="*/ 133 h 268"/>
                <a:gd name="T4" fmla="*/ 40 w 109"/>
                <a:gd name="T5" fmla="*/ 184 h 268"/>
                <a:gd name="T6" fmla="*/ 40 w 109"/>
                <a:gd name="T7" fmla="*/ 184 h 268"/>
                <a:gd name="T8" fmla="*/ 19 w 109"/>
                <a:gd name="T9" fmla="*/ 259 h 268"/>
                <a:gd name="T10" fmla="*/ 16 w 109"/>
                <a:gd name="T11" fmla="*/ 257 h 268"/>
                <a:gd name="T12" fmla="*/ 19 w 109"/>
                <a:gd name="T13" fmla="*/ 228 h 268"/>
                <a:gd name="T14" fmla="*/ 21 w 109"/>
                <a:gd name="T15" fmla="*/ 225 h 268"/>
                <a:gd name="T16" fmla="*/ 19 w 109"/>
                <a:gd name="T17" fmla="*/ 221 h 268"/>
                <a:gd name="T18" fmla="*/ 19 w 109"/>
                <a:gd name="T19" fmla="*/ 221 h 268"/>
                <a:gd name="T20" fmla="*/ 21 w 109"/>
                <a:gd name="T21" fmla="*/ 240 h 268"/>
                <a:gd name="T22" fmla="*/ 19 w 109"/>
                <a:gd name="T23" fmla="*/ 240 h 268"/>
                <a:gd name="T24" fmla="*/ 103 w 109"/>
                <a:gd name="T25" fmla="*/ 103 h 268"/>
                <a:gd name="T26" fmla="*/ 95 w 109"/>
                <a:gd name="T27" fmla="*/ 98 h 268"/>
                <a:gd name="T28" fmla="*/ 84 w 109"/>
                <a:gd name="T29" fmla="*/ 92 h 268"/>
                <a:gd name="T30" fmla="*/ 79 w 109"/>
                <a:gd name="T31" fmla="*/ 79 h 268"/>
                <a:gd name="T32" fmla="*/ 76 w 109"/>
                <a:gd name="T33" fmla="*/ 63 h 268"/>
                <a:gd name="T34" fmla="*/ 62 w 109"/>
                <a:gd name="T35" fmla="*/ 67 h 268"/>
                <a:gd name="T36" fmla="*/ 62 w 109"/>
                <a:gd name="T37" fmla="*/ 55 h 268"/>
                <a:gd name="T38" fmla="*/ 65 w 109"/>
                <a:gd name="T39" fmla="*/ 43 h 268"/>
                <a:gd name="T40" fmla="*/ 68 w 109"/>
                <a:gd name="T41" fmla="*/ 36 h 268"/>
                <a:gd name="T42" fmla="*/ 60 w 109"/>
                <a:gd name="T43" fmla="*/ 14 h 268"/>
                <a:gd name="T44" fmla="*/ 46 w 109"/>
                <a:gd name="T45" fmla="*/ 6 h 268"/>
                <a:gd name="T46" fmla="*/ 48 w 109"/>
                <a:gd name="T47" fmla="*/ 20 h 268"/>
                <a:gd name="T48" fmla="*/ 30 w 109"/>
                <a:gd name="T49" fmla="*/ 24 h 268"/>
                <a:gd name="T50" fmla="*/ 24 w 109"/>
                <a:gd name="T51" fmla="*/ 32 h 268"/>
                <a:gd name="T52" fmla="*/ 21 w 109"/>
                <a:gd name="T53" fmla="*/ 49 h 268"/>
                <a:gd name="T54" fmla="*/ 6 w 109"/>
                <a:gd name="T55" fmla="*/ 67 h 268"/>
                <a:gd name="T56" fmla="*/ 9 w 109"/>
                <a:gd name="T57" fmla="*/ 90 h 268"/>
                <a:gd name="T58" fmla="*/ 0 w 109"/>
                <a:gd name="T59" fmla="*/ 103 h 268"/>
                <a:gd name="T60" fmla="*/ 6 w 109"/>
                <a:gd name="T61" fmla="*/ 116 h 268"/>
                <a:gd name="T62" fmla="*/ 9 w 109"/>
                <a:gd name="T63" fmla="*/ 122 h 268"/>
                <a:gd name="T64" fmla="*/ 13 w 109"/>
                <a:gd name="T65" fmla="*/ 122 h 268"/>
                <a:gd name="T66" fmla="*/ 22 w 109"/>
                <a:gd name="T67" fmla="*/ 130 h 268"/>
                <a:gd name="T68" fmla="*/ 28 w 109"/>
                <a:gd name="T69" fmla="*/ 143 h 268"/>
                <a:gd name="T70" fmla="*/ 36 w 109"/>
                <a:gd name="T71" fmla="*/ 163 h 268"/>
                <a:gd name="T72" fmla="*/ 40 w 109"/>
                <a:gd name="T73" fmla="*/ 174 h 268"/>
                <a:gd name="T74" fmla="*/ 41 w 109"/>
                <a:gd name="T75" fmla="*/ 181 h 268"/>
                <a:gd name="T76" fmla="*/ 46 w 109"/>
                <a:gd name="T77" fmla="*/ 184 h 268"/>
                <a:gd name="T78" fmla="*/ 51 w 109"/>
                <a:gd name="T79" fmla="*/ 184 h 268"/>
                <a:gd name="T80" fmla="*/ 59 w 109"/>
                <a:gd name="T81" fmla="*/ 178 h 268"/>
                <a:gd name="T82" fmla="*/ 65 w 109"/>
                <a:gd name="T83" fmla="*/ 171 h 268"/>
                <a:gd name="T84" fmla="*/ 71 w 109"/>
                <a:gd name="T85" fmla="*/ 170 h 268"/>
                <a:gd name="T86" fmla="*/ 79 w 109"/>
                <a:gd name="T87" fmla="*/ 192 h 268"/>
                <a:gd name="T88" fmla="*/ 86 w 109"/>
                <a:gd name="T89" fmla="*/ 214 h 268"/>
                <a:gd name="T90" fmla="*/ 95 w 109"/>
                <a:gd name="T91" fmla="*/ 230 h 268"/>
                <a:gd name="T92" fmla="*/ 95 w 109"/>
                <a:gd name="T93" fmla="*/ 240 h 268"/>
                <a:gd name="T94" fmla="*/ 97 w 109"/>
                <a:gd name="T95" fmla="*/ 244 h 268"/>
                <a:gd name="T96" fmla="*/ 95 w 109"/>
                <a:gd name="T97" fmla="*/ 265 h 268"/>
                <a:gd name="T98" fmla="*/ 106 w 109"/>
                <a:gd name="T99" fmla="*/ 243 h 268"/>
                <a:gd name="T100" fmla="*/ 100 w 109"/>
                <a:gd name="T101" fmla="*/ 214 h 268"/>
                <a:gd name="T102" fmla="*/ 87 w 109"/>
                <a:gd name="T103" fmla="*/ 192 h 268"/>
                <a:gd name="T104" fmla="*/ 90 w 109"/>
                <a:gd name="T105" fmla="*/ 181 h 268"/>
                <a:gd name="T106" fmla="*/ 81 w 109"/>
                <a:gd name="T107" fmla="*/ 162 h 268"/>
                <a:gd name="T108" fmla="*/ 71 w 109"/>
                <a:gd name="T109" fmla="*/ 149 h 268"/>
                <a:gd name="T110" fmla="*/ 75 w 109"/>
                <a:gd name="T111" fmla="*/ 135 h 268"/>
                <a:gd name="T112" fmla="*/ 87 w 109"/>
                <a:gd name="T113" fmla="*/ 125 h 268"/>
                <a:gd name="T114" fmla="*/ 97 w 109"/>
                <a:gd name="T115" fmla="*/ 117 h 268"/>
                <a:gd name="T116" fmla="*/ 103 w 109"/>
                <a:gd name="T117" fmla="*/ 111 h 268"/>
                <a:gd name="T118" fmla="*/ 109 w 109"/>
                <a:gd name="T119" fmla="*/ 98 h 268"/>
                <a:gd name="T120" fmla="*/ 106 w 109"/>
                <a:gd name="T121" fmla="*/ 101 h 268"/>
                <a:gd name="T122" fmla="*/ 13 w 109"/>
                <a:gd name="T123" fmla="*/ 117 h 268"/>
                <a:gd name="T124" fmla="*/ 13 w 109"/>
                <a:gd name="T125" fmla="*/ 11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268">
                  <a:moveTo>
                    <a:pt x="21" y="133"/>
                  </a:moveTo>
                  <a:lnTo>
                    <a:pt x="19" y="133"/>
                  </a:lnTo>
                  <a:lnTo>
                    <a:pt x="22" y="136"/>
                  </a:lnTo>
                  <a:lnTo>
                    <a:pt x="25" y="140"/>
                  </a:lnTo>
                  <a:lnTo>
                    <a:pt x="25" y="136"/>
                  </a:lnTo>
                  <a:lnTo>
                    <a:pt x="24" y="136"/>
                  </a:lnTo>
                  <a:lnTo>
                    <a:pt x="25" y="136"/>
                  </a:lnTo>
                  <a:lnTo>
                    <a:pt x="25" y="135"/>
                  </a:lnTo>
                  <a:lnTo>
                    <a:pt x="22" y="135"/>
                  </a:lnTo>
                  <a:lnTo>
                    <a:pt x="21" y="133"/>
                  </a:lnTo>
                  <a:lnTo>
                    <a:pt x="21" y="133"/>
                  </a:lnTo>
                  <a:lnTo>
                    <a:pt x="21" y="133"/>
                  </a:lnTo>
                  <a:lnTo>
                    <a:pt x="21" y="133"/>
                  </a:lnTo>
                  <a:lnTo>
                    <a:pt x="21" y="133"/>
                  </a:lnTo>
                  <a:lnTo>
                    <a:pt x="21" y="133"/>
                  </a:lnTo>
                  <a:lnTo>
                    <a:pt x="21" y="133"/>
                  </a:lnTo>
                  <a:lnTo>
                    <a:pt x="21" y="133"/>
                  </a:lnTo>
                  <a:lnTo>
                    <a:pt x="21" y="133"/>
                  </a:lnTo>
                  <a:close/>
                  <a:moveTo>
                    <a:pt x="40" y="184"/>
                  </a:moveTo>
                  <a:lnTo>
                    <a:pt x="40" y="181"/>
                  </a:lnTo>
                  <a:lnTo>
                    <a:pt x="40" y="184"/>
                  </a:lnTo>
                  <a:lnTo>
                    <a:pt x="40" y="184"/>
                  </a:lnTo>
                  <a:lnTo>
                    <a:pt x="40" y="184"/>
                  </a:lnTo>
                  <a:lnTo>
                    <a:pt x="40" y="184"/>
                  </a:lnTo>
                  <a:lnTo>
                    <a:pt x="40" y="184"/>
                  </a:lnTo>
                  <a:lnTo>
                    <a:pt x="40" y="184"/>
                  </a:lnTo>
                  <a:lnTo>
                    <a:pt x="40" y="184"/>
                  </a:lnTo>
                  <a:lnTo>
                    <a:pt x="40" y="184"/>
                  </a:lnTo>
                  <a:lnTo>
                    <a:pt x="40" y="184"/>
                  </a:lnTo>
                  <a:lnTo>
                    <a:pt x="40" y="184"/>
                  </a:lnTo>
                  <a:close/>
                  <a:moveTo>
                    <a:pt x="16" y="257"/>
                  </a:moveTo>
                  <a:lnTo>
                    <a:pt x="16" y="259"/>
                  </a:lnTo>
                  <a:lnTo>
                    <a:pt x="19" y="260"/>
                  </a:lnTo>
                  <a:lnTo>
                    <a:pt x="19" y="260"/>
                  </a:lnTo>
                  <a:lnTo>
                    <a:pt x="19" y="259"/>
                  </a:lnTo>
                  <a:lnTo>
                    <a:pt x="19" y="257"/>
                  </a:lnTo>
                  <a:lnTo>
                    <a:pt x="19" y="255"/>
                  </a:lnTo>
                  <a:lnTo>
                    <a:pt x="16" y="257"/>
                  </a:lnTo>
                  <a:lnTo>
                    <a:pt x="16" y="257"/>
                  </a:lnTo>
                  <a:lnTo>
                    <a:pt x="16" y="257"/>
                  </a:lnTo>
                  <a:lnTo>
                    <a:pt x="16" y="257"/>
                  </a:lnTo>
                  <a:lnTo>
                    <a:pt x="16" y="257"/>
                  </a:lnTo>
                  <a:lnTo>
                    <a:pt x="16" y="257"/>
                  </a:lnTo>
                  <a:lnTo>
                    <a:pt x="16" y="257"/>
                  </a:lnTo>
                  <a:lnTo>
                    <a:pt x="16" y="257"/>
                  </a:lnTo>
                  <a:lnTo>
                    <a:pt x="16" y="257"/>
                  </a:lnTo>
                  <a:close/>
                  <a:moveTo>
                    <a:pt x="19" y="221"/>
                  </a:moveTo>
                  <a:lnTo>
                    <a:pt x="19" y="227"/>
                  </a:lnTo>
                  <a:lnTo>
                    <a:pt x="19" y="228"/>
                  </a:lnTo>
                  <a:lnTo>
                    <a:pt x="19" y="230"/>
                  </a:lnTo>
                  <a:lnTo>
                    <a:pt x="21" y="236"/>
                  </a:lnTo>
                  <a:lnTo>
                    <a:pt x="21" y="233"/>
                  </a:lnTo>
                  <a:lnTo>
                    <a:pt x="22" y="233"/>
                  </a:lnTo>
                  <a:lnTo>
                    <a:pt x="22" y="230"/>
                  </a:lnTo>
                  <a:lnTo>
                    <a:pt x="22" y="228"/>
                  </a:lnTo>
                  <a:lnTo>
                    <a:pt x="21" y="225"/>
                  </a:lnTo>
                  <a:lnTo>
                    <a:pt x="22" y="222"/>
                  </a:lnTo>
                  <a:lnTo>
                    <a:pt x="22" y="221"/>
                  </a:lnTo>
                  <a:lnTo>
                    <a:pt x="21" y="221"/>
                  </a:lnTo>
                  <a:lnTo>
                    <a:pt x="22" y="217"/>
                  </a:lnTo>
                  <a:lnTo>
                    <a:pt x="22" y="216"/>
                  </a:lnTo>
                  <a:lnTo>
                    <a:pt x="21" y="219"/>
                  </a:lnTo>
                  <a:lnTo>
                    <a:pt x="19" y="221"/>
                  </a:lnTo>
                  <a:lnTo>
                    <a:pt x="19" y="221"/>
                  </a:lnTo>
                  <a:lnTo>
                    <a:pt x="19" y="221"/>
                  </a:lnTo>
                  <a:lnTo>
                    <a:pt x="19" y="221"/>
                  </a:lnTo>
                  <a:lnTo>
                    <a:pt x="19" y="221"/>
                  </a:lnTo>
                  <a:lnTo>
                    <a:pt x="19" y="221"/>
                  </a:lnTo>
                  <a:lnTo>
                    <a:pt x="19" y="221"/>
                  </a:lnTo>
                  <a:lnTo>
                    <a:pt x="19" y="221"/>
                  </a:lnTo>
                  <a:lnTo>
                    <a:pt x="19" y="221"/>
                  </a:lnTo>
                  <a:close/>
                  <a:moveTo>
                    <a:pt x="19" y="240"/>
                  </a:moveTo>
                  <a:lnTo>
                    <a:pt x="19" y="243"/>
                  </a:lnTo>
                  <a:lnTo>
                    <a:pt x="21" y="244"/>
                  </a:lnTo>
                  <a:lnTo>
                    <a:pt x="19" y="243"/>
                  </a:lnTo>
                  <a:lnTo>
                    <a:pt x="21" y="243"/>
                  </a:lnTo>
                  <a:lnTo>
                    <a:pt x="21" y="240"/>
                  </a:lnTo>
                  <a:lnTo>
                    <a:pt x="21" y="236"/>
                  </a:lnTo>
                  <a:lnTo>
                    <a:pt x="21" y="236"/>
                  </a:lnTo>
                  <a:lnTo>
                    <a:pt x="19" y="236"/>
                  </a:lnTo>
                  <a:lnTo>
                    <a:pt x="19" y="240"/>
                  </a:lnTo>
                  <a:lnTo>
                    <a:pt x="19" y="240"/>
                  </a:lnTo>
                  <a:lnTo>
                    <a:pt x="19" y="240"/>
                  </a:lnTo>
                  <a:lnTo>
                    <a:pt x="19" y="240"/>
                  </a:lnTo>
                  <a:lnTo>
                    <a:pt x="19" y="240"/>
                  </a:lnTo>
                  <a:lnTo>
                    <a:pt x="19" y="240"/>
                  </a:lnTo>
                  <a:lnTo>
                    <a:pt x="19" y="240"/>
                  </a:lnTo>
                  <a:lnTo>
                    <a:pt x="19" y="240"/>
                  </a:lnTo>
                  <a:lnTo>
                    <a:pt x="19" y="240"/>
                  </a:lnTo>
                  <a:close/>
                  <a:moveTo>
                    <a:pt x="106" y="101"/>
                  </a:moveTo>
                  <a:lnTo>
                    <a:pt x="103" y="103"/>
                  </a:lnTo>
                  <a:lnTo>
                    <a:pt x="100" y="103"/>
                  </a:lnTo>
                  <a:lnTo>
                    <a:pt x="100" y="103"/>
                  </a:lnTo>
                  <a:lnTo>
                    <a:pt x="98" y="103"/>
                  </a:lnTo>
                  <a:lnTo>
                    <a:pt x="98" y="101"/>
                  </a:lnTo>
                  <a:lnTo>
                    <a:pt x="98" y="100"/>
                  </a:lnTo>
                  <a:lnTo>
                    <a:pt x="97" y="98"/>
                  </a:lnTo>
                  <a:lnTo>
                    <a:pt x="95" y="98"/>
                  </a:lnTo>
                  <a:lnTo>
                    <a:pt x="95" y="97"/>
                  </a:lnTo>
                  <a:lnTo>
                    <a:pt x="95" y="95"/>
                  </a:lnTo>
                  <a:lnTo>
                    <a:pt x="95" y="94"/>
                  </a:lnTo>
                  <a:lnTo>
                    <a:pt x="90" y="94"/>
                  </a:lnTo>
                  <a:lnTo>
                    <a:pt x="86" y="94"/>
                  </a:lnTo>
                  <a:lnTo>
                    <a:pt x="84" y="94"/>
                  </a:lnTo>
                  <a:lnTo>
                    <a:pt x="84" y="92"/>
                  </a:lnTo>
                  <a:lnTo>
                    <a:pt x="86" y="87"/>
                  </a:lnTo>
                  <a:lnTo>
                    <a:pt x="86" y="84"/>
                  </a:lnTo>
                  <a:lnTo>
                    <a:pt x="86" y="84"/>
                  </a:lnTo>
                  <a:lnTo>
                    <a:pt x="87" y="81"/>
                  </a:lnTo>
                  <a:lnTo>
                    <a:pt x="86" y="81"/>
                  </a:lnTo>
                  <a:lnTo>
                    <a:pt x="82" y="79"/>
                  </a:lnTo>
                  <a:lnTo>
                    <a:pt x="79" y="79"/>
                  </a:lnTo>
                  <a:lnTo>
                    <a:pt x="79" y="78"/>
                  </a:lnTo>
                  <a:lnTo>
                    <a:pt x="78" y="74"/>
                  </a:lnTo>
                  <a:lnTo>
                    <a:pt x="76" y="73"/>
                  </a:lnTo>
                  <a:lnTo>
                    <a:pt x="76" y="71"/>
                  </a:lnTo>
                  <a:lnTo>
                    <a:pt x="75" y="68"/>
                  </a:lnTo>
                  <a:lnTo>
                    <a:pt x="75" y="67"/>
                  </a:lnTo>
                  <a:lnTo>
                    <a:pt x="76" y="63"/>
                  </a:lnTo>
                  <a:lnTo>
                    <a:pt x="75" y="65"/>
                  </a:lnTo>
                  <a:lnTo>
                    <a:pt x="71" y="65"/>
                  </a:lnTo>
                  <a:lnTo>
                    <a:pt x="68" y="65"/>
                  </a:lnTo>
                  <a:lnTo>
                    <a:pt x="68" y="65"/>
                  </a:lnTo>
                  <a:lnTo>
                    <a:pt x="65" y="67"/>
                  </a:lnTo>
                  <a:lnTo>
                    <a:pt x="62" y="68"/>
                  </a:lnTo>
                  <a:lnTo>
                    <a:pt x="62" y="67"/>
                  </a:lnTo>
                  <a:lnTo>
                    <a:pt x="62" y="65"/>
                  </a:lnTo>
                  <a:lnTo>
                    <a:pt x="62" y="62"/>
                  </a:lnTo>
                  <a:lnTo>
                    <a:pt x="62" y="60"/>
                  </a:lnTo>
                  <a:lnTo>
                    <a:pt x="60" y="59"/>
                  </a:lnTo>
                  <a:lnTo>
                    <a:pt x="59" y="59"/>
                  </a:lnTo>
                  <a:lnTo>
                    <a:pt x="59" y="55"/>
                  </a:lnTo>
                  <a:lnTo>
                    <a:pt x="62" y="55"/>
                  </a:lnTo>
                  <a:lnTo>
                    <a:pt x="60" y="52"/>
                  </a:lnTo>
                  <a:lnTo>
                    <a:pt x="62" y="49"/>
                  </a:lnTo>
                  <a:lnTo>
                    <a:pt x="63" y="49"/>
                  </a:lnTo>
                  <a:lnTo>
                    <a:pt x="63" y="46"/>
                  </a:lnTo>
                  <a:lnTo>
                    <a:pt x="65" y="44"/>
                  </a:lnTo>
                  <a:lnTo>
                    <a:pt x="65" y="44"/>
                  </a:lnTo>
                  <a:lnTo>
                    <a:pt x="65" y="43"/>
                  </a:lnTo>
                  <a:lnTo>
                    <a:pt x="65" y="41"/>
                  </a:lnTo>
                  <a:lnTo>
                    <a:pt x="68" y="40"/>
                  </a:lnTo>
                  <a:lnTo>
                    <a:pt x="68" y="40"/>
                  </a:lnTo>
                  <a:lnTo>
                    <a:pt x="71" y="40"/>
                  </a:lnTo>
                  <a:lnTo>
                    <a:pt x="68" y="38"/>
                  </a:lnTo>
                  <a:lnTo>
                    <a:pt x="68" y="36"/>
                  </a:lnTo>
                  <a:lnTo>
                    <a:pt x="68" y="36"/>
                  </a:lnTo>
                  <a:lnTo>
                    <a:pt x="68" y="35"/>
                  </a:lnTo>
                  <a:lnTo>
                    <a:pt x="68" y="32"/>
                  </a:lnTo>
                  <a:lnTo>
                    <a:pt x="68" y="24"/>
                  </a:lnTo>
                  <a:lnTo>
                    <a:pt x="65" y="17"/>
                  </a:lnTo>
                  <a:lnTo>
                    <a:pt x="65" y="14"/>
                  </a:lnTo>
                  <a:lnTo>
                    <a:pt x="62" y="14"/>
                  </a:lnTo>
                  <a:lnTo>
                    <a:pt x="60" y="14"/>
                  </a:lnTo>
                  <a:lnTo>
                    <a:pt x="57" y="9"/>
                  </a:lnTo>
                  <a:lnTo>
                    <a:pt x="57" y="8"/>
                  </a:lnTo>
                  <a:lnTo>
                    <a:pt x="55" y="6"/>
                  </a:lnTo>
                  <a:lnTo>
                    <a:pt x="52" y="3"/>
                  </a:lnTo>
                  <a:lnTo>
                    <a:pt x="48" y="0"/>
                  </a:lnTo>
                  <a:lnTo>
                    <a:pt x="48" y="5"/>
                  </a:lnTo>
                  <a:lnTo>
                    <a:pt x="46" y="6"/>
                  </a:lnTo>
                  <a:lnTo>
                    <a:pt x="46" y="8"/>
                  </a:lnTo>
                  <a:lnTo>
                    <a:pt x="48" y="9"/>
                  </a:lnTo>
                  <a:lnTo>
                    <a:pt x="44" y="13"/>
                  </a:lnTo>
                  <a:lnTo>
                    <a:pt x="43" y="14"/>
                  </a:lnTo>
                  <a:lnTo>
                    <a:pt x="44" y="17"/>
                  </a:lnTo>
                  <a:lnTo>
                    <a:pt x="46" y="20"/>
                  </a:lnTo>
                  <a:lnTo>
                    <a:pt x="48" y="20"/>
                  </a:lnTo>
                  <a:lnTo>
                    <a:pt x="44" y="20"/>
                  </a:lnTo>
                  <a:lnTo>
                    <a:pt x="43" y="20"/>
                  </a:lnTo>
                  <a:lnTo>
                    <a:pt x="43" y="17"/>
                  </a:lnTo>
                  <a:lnTo>
                    <a:pt x="41" y="17"/>
                  </a:lnTo>
                  <a:lnTo>
                    <a:pt x="36" y="20"/>
                  </a:lnTo>
                  <a:lnTo>
                    <a:pt x="33" y="20"/>
                  </a:lnTo>
                  <a:lnTo>
                    <a:pt x="30" y="24"/>
                  </a:lnTo>
                  <a:lnTo>
                    <a:pt x="30" y="24"/>
                  </a:lnTo>
                  <a:lnTo>
                    <a:pt x="28" y="25"/>
                  </a:lnTo>
                  <a:lnTo>
                    <a:pt x="28" y="27"/>
                  </a:lnTo>
                  <a:lnTo>
                    <a:pt x="27" y="27"/>
                  </a:lnTo>
                  <a:lnTo>
                    <a:pt x="25" y="27"/>
                  </a:lnTo>
                  <a:lnTo>
                    <a:pt x="24" y="28"/>
                  </a:lnTo>
                  <a:lnTo>
                    <a:pt x="24" y="32"/>
                  </a:lnTo>
                  <a:lnTo>
                    <a:pt x="24" y="33"/>
                  </a:lnTo>
                  <a:lnTo>
                    <a:pt x="25" y="36"/>
                  </a:lnTo>
                  <a:lnTo>
                    <a:pt x="25" y="40"/>
                  </a:lnTo>
                  <a:lnTo>
                    <a:pt x="24" y="43"/>
                  </a:lnTo>
                  <a:lnTo>
                    <a:pt x="22" y="44"/>
                  </a:lnTo>
                  <a:lnTo>
                    <a:pt x="21" y="46"/>
                  </a:lnTo>
                  <a:lnTo>
                    <a:pt x="21" y="49"/>
                  </a:lnTo>
                  <a:lnTo>
                    <a:pt x="22" y="52"/>
                  </a:lnTo>
                  <a:lnTo>
                    <a:pt x="21" y="60"/>
                  </a:lnTo>
                  <a:lnTo>
                    <a:pt x="19" y="68"/>
                  </a:lnTo>
                  <a:lnTo>
                    <a:pt x="13" y="67"/>
                  </a:lnTo>
                  <a:lnTo>
                    <a:pt x="9" y="67"/>
                  </a:lnTo>
                  <a:lnTo>
                    <a:pt x="9" y="67"/>
                  </a:lnTo>
                  <a:lnTo>
                    <a:pt x="6" y="67"/>
                  </a:lnTo>
                  <a:lnTo>
                    <a:pt x="9" y="76"/>
                  </a:lnTo>
                  <a:lnTo>
                    <a:pt x="9" y="79"/>
                  </a:lnTo>
                  <a:lnTo>
                    <a:pt x="9" y="81"/>
                  </a:lnTo>
                  <a:lnTo>
                    <a:pt x="6" y="81"/>
                  </a:lnTo>
                  <a:lnTo>
                    <a:pt x="6" y="84"/>
                  </a:lnTo>
                  <a:lnTo>
                    <a:pt x="9" y="89"/>
                  </a:lnTo>
                  <a:lnTo>
                    <a:pt x="9" y="90"/>
                  </a:lnTo>
                  <a:lnTo>
                    <a:pt x="9" y="92"/>
                  </a:lnTo>
                  <a:lnTo>
                    <a:pt x="6" y="92"/>
                  </a:lnTo>
                  <a:lnTo>
                    <a:pt x="6" y="95"/>
                  </a:lnTo>
                  <a:lnTo>
                    <a:pt x="5" y="92"/>
                  </a:lnTo>
                  <a:lnTo>
                    <a:pt x="3" y="95"/>
                  </a:lnTo>
                  <a:lnTo>
                    <a:pt x="2" y="90"/>
                  </a:lnTo>
                  <a:lnTo>
                    <a:pt x="0" y="103"/>
                  </a:lnTo>
                  <a:lnTo>
                    <a:pt x="0" y="103"/>
                  </a:lnTo>
                  <a:lnTo>
                    <a:pt x="0" y="103"/>
                  </a:lnTo>
                  <a:lnTo>
                    <a:pt x="0" y="108"/>
                  </a:lnTo>
                  <a:lnTo>
                    <a:pt x="0" y="111"/>
                  </a:lnTo>
                  <a:lnTo>
                    <a:pt x="2" y="111"/>
                  </a:lnTo>
                  <a:lnTo>
                    <a:pt x="3" y="114"/>
                  </a:lnTo>
                  <a:lnTo>
                    <a:pt x="6" y="116"/>
                  </a:lnTo>
                  <a:lnTo>
                    <a:pt x="6" y="119"/>
                  </a:lnTo>
                  <a:lnTo>
                    <a:pt x="6" y="117"/>
                  </a:lnTo>
                  <a:lnTo>
                    <a:pt x="6" y="114"/>
                  </a:lnTo>
                  <a:lnTo>
                    <a:pt x="9" y="117"/>
                  </a:lnTo>
                  <a:lnTo>
                    <a:pt x="9" y="119"/>
                  </a:lnTo>
                  <a:lnTo>
                    <a:pt x="9" y="120"/>
                  </a:lnTo>
                  <a:lnTo>
                    <a:pt x="9" y="122"/>
                  </a:lnTo>
                  <a:lnTo>
                    <a:pt x="11" y="120"/>
                  </a:lnTo>
                  <a:lnTo>
                    <a:pt x="13" y="120"/>
                  </a:lnTo>
                  <a:lnTo>
                    <a:pt x="13" y="124"/>
                  </a:lnTo>
                  <a:lnTo>
                    <a:pt x="13" y="125"/>
                  </a:lnTo>
                  <a:lnTo>
                    <a:pt x="13" y="124"/>
                  </a:lnTo>
                  <a:lnTo>
                    <a:pt x="16" y="127"/>
                  </a:lnTo>
                  <a:lnTo>
                    <a:pt x="13" y="122"/>
                  </a:lnTo>
                  <a:lnTo>
                    <a:pt x="16" y="122"/>
                  </a:lnTo>
                  <a:lnTo>
                    <a:pt x="16" y="124"/>
                  </a:lnTo>
                  <a:lnTo>
                    <a:pt x="19" y="125"/>
                  </a:lnTo>
                  <a:lnTo>
                    <a:pt x="19" y="125"/>
                  </a:lnTo>
                  <a:lnTo>
                    <a:pt x="19" y="127"/>
                  </a:lnTo>
                  <a:lnTo>
                    <a:pt x="22" y="128"/>
                  </a:lnTo>
                  <a:lnTo>
                    <a:pt x="22" y="130"/>
                  </a:lnTo>
                  <a:lnTo>
                    <a:pt x="24" y="132"/>
                  </a:lnTo>
                  <a:lnTo>
                    <a:pt x="25" y="133"/>
                  </a:lnTo>
                  <a:lnTo>
                    <a:pt x="27" y="136"/>
                  </a:lnTo>
                  <a:lnTo>
                    <a:pt x="27" y="140"/>
                  </a:lnTo>
                  <a:lnTo>
                    <a:pt x="27" y="140"/>
                  </a:lnTo>
                  <a:lnTo>
                    <a:pt x="30" y="143"/>
                  </a:lnTo>
                  <a:lnTo>
                    <a:pt x="28" y="143"/>
                  </a:lnTo>
                  <a:lnTo>
                    <a:pt x="30" y="146"/>
                  </a:lnTo>
                  <a:lnTo>
                    <a:pt x="30" y="149"/>
                  </a:lnTo>
                  <a:lnTo>
                    <a:pt x="33" y="151"/>
                  </a:lnTo>
                  <a:lnTo>
                    <a:pt x="33" y="155"/>
                  </a:lnTo>
                  <a:lnTo>
                    <a:pt x="36" y="160"/>
                  </a:lnTo>
                  <a:lnTo>
                    <a:pt x="36" y="162"/>
                  </a:lnTo>
                  <a:lnTo>
                    <a:pt x="36" y="163"/>
                  </a:lnTo>
                  <a:lnTo>
                    <a:pt x="33" y="167"/>
                  </a:lnTo>
                  <a:lnTo>
                    <a:pt x="33" y="170"/>
                  </a:lnTo>
                  <a:lnTo>
                    <a:pt x="33" y="178"/>
                  </a:lnTo>
                  <a:lnTo>
                    <a:pt x="33" y="181"/>
                  </a:lnTo>
                  <a:lnTo>
                    <a:pt x="33" y="181"/>
                  </a:lnTo>
                  <a:lnTo>
                    <a:pt x="36" y="178"/>
                  </a:lnTo>
                  <a:lnTo>
                    <a:pt x="40" y="174"/>
                  </a:lnTo>
                  <a:lnTo>
                    <a:pt x="40" y="178"/>
                  </a:lnTo>
                  <a:lnTo>
                    <a:pt x="36" y="181"/>
                  </a:lnTo>
                  <a:lnTo>
                    <a:pt x="40" y="181"/>
                  </a:lnTo>
                  <a:lnTo>
                    <a:pt x="40" y="178"/>
                  </a:lnTo>
                  <a:lnTo>
                    <a:pt x="40" y="181"/>
                  </a:lnTo>
                  <a:lnTo>
                    <a:pt x="43" y="178"/>
                  </a:lnTo>
                  <a:lnTo>
                    <a:pt x="41" y="181"/>
                  </a:lnTo>
                  <a:lnTo>
                    <a:pt x="41" y="184"/>
                  </a:lnTo>
                  <a:lnTo>
                    <a:pt x="43" y="184"/>
                  </a:lnTo>
                  <a:lnTo>
                    <a:pt x="43" y="184"/>
                  </a:lnTo>
                  <a:lnTo>
                    <a:pt x="44" y="181"/>
                  </a:lnTo>
                  <a:lnTo>
                    <a:pt x="44" y="181"/>
                  </a:lnTo>
                  <a:lnTo>
                    <a:pt x="46" y="184"/>
                  </a:lnTo>
                  <a:lnTo>
                    <a:pt x="46" y="184"/>
                  </a:lnTo>
                  <a:lnTo>
                    <a:pt x="46" y="181"/>
                  </a:lnTo>
                  <a:lnTo>
                    <a:pt x="48" y="181"/>
                  </a:lnTo>
                  <a:lnTo>
                    <a:pt x="48" y="184"/>
                  </a:lnTo>
                  <a:lnTo>
                    <a:pt x="48" y="184"/>
                  </a:lnTo>
                  <a:lnTo>
                    <a:pt x="48" y="186"/>
                  </a:lnTo>
                  <a:lnTo>
                    <a:pt x="49" y="184"/>
                  </a:lnTo>
                  <a:lnTo>
                    <a:pt x="51" y="184"/>
                  </a:lnTo>
                  <a:lnTo>
                    <a:pt x="52" y="178"/>
                  </a:lnTo>
                  <a:lnTo>
                    <a:pt x="54" y="178"/>
                  </a:lnTo>
                  <a:lnTo>
                    <a:pt x="55" y="178"/>
                  </a:lnTo>
                  <a:lnTo>
                    <a:pt x="55" y="178"/>
                  </a:lnTo>
                  <a:lnTo>
                    <a:pt x="55" y="174"/>
                  </a:lnTo>
                  <a:lnTo>
                    <a:pt x="57" y="178"/>
                  </a:lnTo>
                  <a:lnTo>
                    <a:pt x="59" y="178"/>
                  </a:lnTo>
                  <a:lnTo>
                    <a:pt x="59" y="174"/>
                  </a:lnTo>
                  <a:lnTo>
                    <a:pt x="59" y="174"/>
                  </a:lnTo>
                  <a:lnTo>
                    <a:pt x="57" y="171"/>
                  </a:lnTo>
                  <a:lnTo>
                    <a:pt x="59" y="171"/>
                  </a:lnTo>
                  <a:lnTo>
                    <a:pt x="62" y="174"/>
                  </a:lnTo>
                  <a:lnTo>
                    <a:pt x="63" y="171"/>
                  </a:lnTo>
                  <a:lnTo>
                    <a:pt x="65" y="171"/>
                  </a:lnTo>
                  <a:lnTo>
                    <a:pt x="65" y="168"/>
                  </a:lnTo>
                  <a:lnTo>
                    <a:pt x="65" y="165"/>
                  </a:lnTo>
                  <a:lnTo>
                    <a:pt x="65" y="160"/>
                  </a:lnTo>
                  <a:lnTo>
                    <a:pt x="68" y="163"/>
                  </a:lnTo>
                  <a:lnTo>
                    <a:pt x="68" y="165"/>
                  </a:lnTo>
                  <a:lnTo>
                    <a:pt x="68" y="165"/>
                  </a:lnTo>
                  <a:lnTo>
                    <a:pt x="71" y="170"/>
                  </a:lnTo>
                  <a:lnTo>
                    <a:pt x="71" y="174"/>
                  </a:lnTo>
                  <a:lnTo>
                    <a:pt x="75" y="174"/>
                  </a:lnTo>
                  <a:lnTo>
                    <a:pt x="75" y="174"/>
                  </a:lnTo>
                  <a:lnTo>
                    <a:pt x="76" y="178"/>
                  </a:lnTo>
                  <a:lnTo>
                    <a:pt x="76" y="181"/>
                  </a:lnTo>
                  <a:lnTo>
                    <a:pt x="78" y="184"/>
                  </a:lnTo>
                  <a:lnTo>
                    <a:pt x="79" y="192"/>
                  </a:lnTo>
                  <a:lnTo>
                    <a:pt x="81" y="200"/>
                  </a:lnTo>
                  <a:lnTo>
                    <a:pt x="82" y="200"/>
                  </a:lnTo>
                  <a:lnTo>
                    <a:pt x="82" y="201"/>
                  </a:lnTo>
                  <a:lnTo>
                    <a:pt x="82" y="201"/>
                  </a:lnTo>
                  <a:lnTo>
                    <a:pt x="86" y="208"/>
                  </a:lnTo>
                  <a:lnTo>
                    <a:pt x="86" y="213"/>
                  </a:lnTo>
                  <a:lnTo>
                    <a:pt x="86" y="214"/>
                  </a:lnTo>
                  <a:lnTo>
                    <a:pt x="86" y="216"/>
                  </a:lnTo>
                  <a:lnTo>
                    <a:pt x="87" y="213"/>
                  </a:lnTo>
                  <a:lnTo>
                    <a:pt x="89" y="216"/>
                  </a:lnTo>
                  <a:lnTo>
                    <a:pt x="92" y="222"/>
                  </a:lnTo>
                  <a:lnTo>
                    <a:pt x="94" y="228"/>
                  </a:lnTo>
                  <a:lnTo>
                    <a:pt x="94" y="230"/>
                  </a:lnTo>
                  <a:lnTo>
                    <a:pt x="95" y="230"/>
                  </a:lnTo>
                  <a:lnTo>
                    <a:pt x="94" y="233"/>
                  </a:lnTo>
                  <a:lnTo>
                    <a:pt x="95" y="233"/>
                  </a:lnTo>
                  <a:lnTo>
                    <a:pt x="94" y="233"/>
                  </a:lnTo>
                  <a:lnTo>
                    <a:pt x="94" y="236"/>
                  </a:lnTo>
                  <a:lnTo>
                    <a:pt x="95" y="236"/>
                  </a:lnTo>
                  <a:lnTo>
                    <a:pt x="95" y="236"/>
                  </a:lnTo>
                  <a:lnTo>
                    <a:pt x="95" y="240"/>
                  </a:lnTo>
                  <a:lnTo>
                    <a:pt x="95" y="240"/>
                  </a:lnTo>
                  <a:lnTo>
                    <a:pt x="95" y="241"/>
                  </a:lnTo>
                  <a:lnTo>
                    <a:pt x="95" y="243"/>
                  </a:lnTo>
                  <a:lnTo>
                    <a:pt x="98" y="241"/>
                  </a:lnTo>
                  <a:lnTo>
                    <a:pt x="98" y="243"/>
                  </a:lnTo>
                  <a:lnTo>
                    <a:pt x="97" y="243"/>
                  </a:lnTo>
                  <a:lnTo>
                    <a:pt x="97" y="244"/>
                  </a:lnTo>
                  <a:lnTo>
                    <a:pt x="97" y="248"/>
                  </a:lnTo>
                  <a:lnTo>
                    <a:pt x="97" y="252"/>
                  </a:lnTo>
                  <a:lnTo>
                    <a:pt x="95" y="255"/>
                  </a:lnTo>
                  <a:lnTo>
                    <a:pt x="95" y="257"/>
                  </a:lnTo>
                  <a:lnTo>
                    <a:pt x="94" y="259"/>
                  </a:lnTo>
                  <a:lnTo>
                    <a:pt x="95" y="260"/>
                  </a:lnTo>
                  <a:lnTo>
                    <a:pt x="95" y="265"/>
                  </a:lnTo>
                  <a:lnTo>
                    <a:pt x="97" y="268"/>
                  </a:lnTo>
                  <a:lnTo>
                    <a:pt x="98" y="262"/>
                  </a:lnTo>
                  <a:lnTo>
                    <a:pt x="100" y="260"/>
                  </a:lnTo>
                  <a:lnTo>
                    <a:pt x="100" y="257"/>
                  </a:lnTo>
                  <a:lnTo>
                    <a:pt x="103" y="249"/>
                  </a:lnTo>
                  <a:lnTo>
                    <a:pt x="106" y="244"/>
                  </a:lnTo>
                  <a:lnTo>
                    <a:pt x="106" y="243"/>
                  </a:lnTo>
                  <a:lnTo>
                    <a:pt x="106" y="241"/>
                  </a:lnTo>
                  <a:lnTo>
                    <a:pt x="106" y="233"/>
                  </a:lnTo>
                  <a:lnTo>
                    <a:pt x="103" y="230"/>
                  </a:lnTo>
                  <a:lnTo>
                    <a:pt x="100" y="225"/>
                  </a:lnTo>
                  <a:lnTo>
                    <a:pt x="100" y="222"/>
                  </a:lnTo>
                  <a:lnTo>
                    <a:pt x="100" y="221"/>
                  </a:lnTo>
                  <a:lnTo>
                    <a:pt x="100" y="214"/>
                  </a:lnTo>
                  <a:lnTo>
                    <a:pt x="97" y="209"/>
                  </a:lnTo>
                  <a:lnTo>
                    <a:pt x="92" y="205"/>
                  </a:lnTo>
                  <a:lnTo>
                    <a:pt x="87" y="200"/>
                  </a:lnTo>
                  <a:lnTo>
                    <a:pt x="86" y="197"/>
                  </a:lnTo>
                  <a:lnTo>
                    <a:pt x="86" y="194"/>
                  </a:lnTo>
                  <a:lnTo>
                    <a:pt x="86" y="192"/>
                  </a:lnTo>
                  <a:lnTo>
                    <a:pt x="87" y="192"/>
                  </a:lnTo>
                  <a:lnTo>
                    <a:pt x="87" y="190"/>
                  </a:lnTo>
                  <a:lnTo>
                    <a:pt x="89" y="190"/>
                  </a:lnTo>
                  <a:lnTo>
                    <a:pt x="89" y="189"/>
                  </a:lnTo>
                  <a:lnTo>
                    <a:pt x="89" y="184"/>
                  </a:lnTo>
                  <a:lnTo>
                    <a:pt x="89" y="181"/>
                  </a:lnTo>
                  <a:lnTo>
                    <a:pt x="89" y="181"/>
                  </a:lnTo>
                  <a:lnTo>
                    <a:pt x="90" y="181"/>
                  </a:lnTo>
                  <a:lnTo>
                    <a:pt x="92" y="178"/>
                  </a:lnTo>
                  <a:lnTo>
                    <a:pt x="92" y="174"/>
                  </a:lnTo>
                  <a:lnTo>
                    <a:pt x="90" y="178"/>
                  </a:lnTo>
                  <a:lnTo>
                    <a:pt x="87" y="174"/>
                  </a:lnTo>
                  <a:lnTo>
                    <a:pt x="86" y="170"/>
                  </a:lnTo>
                  <a:lnTo>
                    <a:pt x="84" y="165"/>
                  </a:lnTo>
                  <a:lnTo>
                    <a:pt x="81" y="162"/>
                  </a:lnTo>
                  <a:lnTo>
                    <a:pt x="76" y="159"/>
                  </a:lnTo>
                  <a:lnTo>
                    <a:pt x="75" y="155"/>
                  </a:lnTo>
                  <a:lnTo>
                    <a:pt x="75" y="152"/>
                  </a:lnTo>
                  <a:lnTo>
                    <a:pt x="75" y="151"/>
                  </a:lnTo>
                  <a:lnTo>
                    <a:pt x="75" y="149"/>
                  </a:lnTo>
                  <a:lnTo>
                    <a:pt x="71" y="149"/>
                  </a:lnTo>
                  <a:lnTo>
                    <a:pt x="71" y="149"/>
                  </a:lnTo>
                  <a:lnTo>
                    <a:pt x="71" y="146"/>
                  </a:lnTo>
                  <a:lnTo>
                    <a:pt x="68" y="143"/>
                  </a:lnTo>
                  <a:lnTo>
                    <a:pt x="71" y="146"/>
                  </a:lnTo>
                  <a:lnTo>
                    <a:pt x="75" y="143"/>
                  </a:lnTo>
                  <a:lnTo>
                    <a:pt x="75" y="143"/>
                  </a:lnTo>
                  <a:lnTo>
                    <a:pt x="71" y="140"/>
                  </a:lnTo>
                  <a:lnTo>
                    <a:pt x="75" y="135"/>
                  </a:lnTo>
                  <a:lnTo>
                    <a:pt x="71" y="133"/>
                  </a:lnTo>
                  <a:lnTo>
                    <a:pt x="75" y="128"/>
                  </a:lnTo>
                  <a:lnTo>
                    <a:pt x="75" y="127"/>
                  </a:lnTo>
                  <a:lnTo>
                    <a:pt x="81" y="128"/>
                  </a:lnTo>
                  <a:lnTo>
                    <a:pt x="82" y="127"/>
                  </a:lnTo>
                  <a:lnTo>
                    <a:pt x="86" y="127"/>
                  </a:lnTo>
                  <a:lnTo>
                    <a:pt x="87" y="125"/>
                  </a:lnTo>
                  <a:lnTo>
                    <a:pt x="87" y="124"/>
                  </a:lnTo>
                  <a:lnTo>
                    <a:pt x="87" y="122"/>
                  </a:lnTo>
                  <a:lnTo>
                    <a:pt x="89" y="122"/>
                  </a:lnTo>
                  <a:lnTo>
                    <a:pt x="92" y="122"/>
                  </a:lnTo>
                  <a:lnTo>
                    <a:pt x="94" y="120"/>
                  </a:lnTo>
                  <a:lnTo>
                    <a:pt x="92" y="119"/>
                  </a:lnTo>
                  <a:lnTo>
                    <a:pt x="97" y="117"/>
                  </a:lnTo>
                  <a:lnTo>
                    <a:pt x="97" y="117"/>
                  </a:lnTo>
                  <a:lnTo>
                    <a:pt x="98" y="117"/>
                  </a:lnTo>
                  <a:lnTo>
                    <a:pt x="100" y="119"/>
                  </a:lnTo>
                  <a:lnTo>
                    <a:pt x="100" y="116"/>
                  </a:lnTo>
                  <a:lnTo>
                    <a:pt x="100" y="114"/>
                  </a:lnTo>
                  <a:lnTo>
                    <a:pt x="100" y="114"/>
                  </a:lnTo>
                  <a:lnTo>
                    <a:pt x="103" y="111"/>
                  </a:lnTo>
                  <a:lnTo>
                    <a:pt x="106" y="111"/>
                  </a:lnTo>
                  <a:lnTo>
                    <a:pt x="103" y="111"/>
                  </a:lnTo>
                  <a:lnTo>
                    <a:pt x="103" y="108"/>
                  </a:lnTo>
                  <a:lnTo>
                    <a:pt x="106" y="105"/>
                  </a:lnTo>
                  <a:lnTo>
                    <a:pt x="109" y="103"/>
                  </a:lnTo>
                  <a:lnTo>
                    <a:pt x="109" y="101"/>
                  </a:lnTo>
                  <a:lnTo>
                    <a:pt x="109" y="98"/>
                  </a:lnTo>
                  <a:lnTo>
                    <a:pt x="106" y="101"/>
                  </a:lnTo>
                  <a:lnTo>
                    <a:pt x="106" y="101"/>
                  </a:lnTo>
                  <a:lnTo>
                    <a:pt x="106" y="101"/>
                  </a:lnTo>
                  <a:lnTo>
                    <a:pt x="106" y="101"/>
                  </a:lnTo>
                  <a:lnTo>
                    <a:pt x="106" y="101"/>
                  </a:lnTo>
                  <a:lnTo>
                    <a:pt x="106" y="101"/>
                  </a:lnTo>
                  <a:lnTo>
                    <a:pt x="106" y="101"/>
                  </a:lnTo>
                  <a:lnTo>
                    <a:pt x="106" y="101"/>
                  </a:lnTo>
                  <a:lnTo>
                    <a:pt x="106" y="101"/>
                  </a:lnTo>
                  <a:close/>
                  <a:moveTo>
                    <a:pt x="13" y="117"/>
                  </a:moveTo>
                  <a:lnTo>
                    <a:pt x="11" y="119"/>
                  </a:lnTo>
                  <a:lnTo>
                    <a:pt x="13" y="116"/>
                  </a:lnTo>
                  <a:lnTo>
                    <a:pt x="13" y="117"/>
                  </a:lnTo>
                  <a:lnTo>
                    <a:pt x="13" y="117"/>
                  </a:lnTo>
                  <a:lnTo>
                    <a:pt x="13" y="117"/>
                  </a:lnTo>
                  <a:lnTo>
                    <a:pt x="13" y="117"/>
                  </a:lnTo>
                  <a:lnTo>
                    <a:pt x="13" y="117"/>
                  </a:lnTo>
                  <a:lnTo>
                    <a:pt x="13" y="117"/>
                  </a:lnTo>
                  <a:lnTo>
                    <a:pt x="13" y="117"/>
                  </a:lnTo>
                  <a:lnTo>
                    <a:pt x="13" y="117"/>
                  </a:lnTo>
                  <a:lnTo>
                    <a:pt x="13" y="117"/>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5" name="Freeform 307">
              <a:extLst>
                <a:ext uri="{FF2B5EF4-FFF2-40B4-BE49-F238E27FC236}">
                  <a16:creationId xmlns:a16="http://schemas.microsoft.com/office/drawing/2014/main" id="{87DDD78D-5FA1-96AE-079D-D08EFA44D3CA}"/>
                </a:ext>
              </a:extLst>
            </p:cNvPr>
            <p:cNvSpPr>
              <a:spLocks/>
            </p:cNvSpPr>
            <p:nvPr/>
          </p:nvSpPr>
          <p:spPr bwMode="auto">
            <a:xfrm>
              <a:off x="8220848" y="3168256"/>
              <a:ext cx="139071" cy="179446"/>
            </a:xfrm>
            <a:custGeom>
              <a:avLst/>
              <a:gdLst>
                <a:gd name="T0" fmla="*/ 60 w 62"/>
                <a:gd name="T1" fmla="*/ 75 h 80"/>
                <a:gd name="T2" fmla="*/ 55 w 62"/>
                <a:gd name="T3" fmla="*/ 42 h 80"/>
                <a:gd name="T4" fmla="*/ 50 w 62"/>
                <a:gd name="T5" fmla="*/ 43 h 80"/>
                <a:gd name="T6" fmla="*/ 50 w 62"/>
                <a:gd name="T7" fmla="*/ 50 h 80"/>
                <a:gd name="T8" fmla="*/ 47 w 62"/>
                <a:gd name="T9" fmla="*/ 53 h 80"/>
                <a:gd name="T10" fmla="*/ 41 w 62"/>
                <a:gd name="T11" fmla="*/ 45 h 80"/>
                <a:gd name="T12" fmla="*/ 46 w 62"/>
                <a:gd name="T13" fmla="*/ 37 h 80"/>
                <a:gd name="T14" fmla="*/ 49 w 62"/>
                <a:gd name="T15" fmla="*/ 35 h 80"/>
                <a:gd name="T16" fmla="*/ 52 w 62"/>
                <a:gd name="T17" fmla="*/ 24 h 80"/>
                <a:gd name="T18" fmla="*/ 47 w 62"/>
                <a:gd name="T19" fmla="*/ 21 h 80"/>
                <a:gd name="T20" fmla="*/ 27 w 62"/>
                <a:gd name="T21" fmla="*/ 21 h 80"/>
                <a:gd name="T22" fmla="*/ 20 w 62"/>
                <a:gd name="T23" fmla="*/ 12 h 80"/>
                <a:gd name="T24" fmla="*/ 17 w 62"/>
                <a:gd name="T25" fmla="*/ 8 h 80"/>
                <a:gd name="T26" fmla="*/ 11 w 62"/>
                <a:gd name="T27" fmla="*/ 7 h 80"/>
                <a:gd name="T28" fmla="*/ 6 w 62"/>
                <a:gd name="T29" fmla="*/ 5 h 80"/>
                <a:gd name="T30" fmla="*/ 0 w 62"/>
                <a:gd name="T31" fmla="*/ 2 h 80"/>
                <a:gd name="T32" fmla="*/ 0 w 62"/>
                <a:gd name="T33" fmla="*/ 5 h 80"/>
                <a:gd name="T34" fmla="*/ 3 w 62"/>
                <a:gd name="T35" fmla="*/ 13 h 80"/>
                <a:gd name="T36" fmla="*/ 9 w 62"/>
                <a:gd name="T37" fmla="*/ 16 h 80"/>
                <a:gd name="T38" fmla="*/ 9 w 62"/>
                <a:gd name="T39" fmla="*/ 18 h 80"/>
                <a:gd name="T40" fmla="*/ 11 w 62"/>
                <a:gd name="T41" fmla="*/ 21 h 80"/>
                <a:gd name="T42" fmla="*/ 6 w 62"/>
                <a:gd name="T43" fmla="*/ 24 h 80"/>
                <a:gd name="T44" fmla="*/ 0 w 62"/>
                <a:gd name="T45" fmla="*/ 27 h 80"/>
                <a:gd name="T46" fmla="*/ 6 w 62"/>
                <a:gd name="T47" fmla="*/ 32 h 80"/>
                <a:gd name="T48" fmla="*/ 11 w 62"/>
                <a:gd name="T49" fmla="*/ 39 h 80"/>
                <a:gd name="T50" fmla="*/ 9 w 62"/>
                <a:gd name="T51" fmla="*/ 43 h 80"/>
                <a:gd name="T52" fmla="*/ 14 w 62"/>
                <a:gd name="T53" fmla="*/ 50 h 80"/>
                <a:gd name="T54" fmla="*/ 15 w 62"/>
                <a:gd name="T55" fmla="*/ 56 h 80"/>
                <a:gd name="T56" fmla="*/ 19 w 62"/>
                <a:gd name="T57" fmla="*/ 66 h 80"/>
                <a:gd name="T58" fmla="*/ 22 w 62"/>
                <a:gd name="T59" fmla="*/ 70 h 80"/>
                <a:gd name="T60" fmla="*/ 25 w 62"/>
                <a:gd name="T61" fmla="*/ 69 h 80"/>
                <a:gd name="T62" fmla="*/ 28 w 62"/>
                <a:gd name="T63" fmla="*/ 69 h 80"/>
                <a:gd name="T64" fmla="*/ 28 w 62"/>
                <a:gd name="T65" fmla="*/ 62 h 80"/>
                <a:gd name="T66" fmla="*/ 30 w 62"/>
                <a:gd name="T67" fmla="*/ 64 h 80"/>
                <a:gd name="T68" fmla="*/ 31 w 62"/>
                <a:gd name="T69" fmla="*/ 67 h 80"/>
                <a:gd name="T70" fmla="*/ 33 w 62"/>
                <a:gd name="T71" fmla="*/ 69 h 80"/>
                <a:gd name="T72" fmla="*/ 35 w 62"/>
                <a:gd name="T73" fmla="*/ 69 h 80"/>
                <a:gd name="T74" fmla="*/ 38 w 62"/>
                <a:gd name="T75" fmla="*/ 64 h 80"/>
                <a:gd name="T76" fmla="*/ 35 w 62"/>
                <a:gd name="T77" fmla="*/ 56 h 80"/>
                <a:gd name="T78" fmla="*/ 35 w 62"/>
                <a:gd name="T79" fmla="*/ 51 h 80"/>
                <a:gd name="T80" fmla="*/ 35 w 62"/>
                <a:gd name="T81" fmla="*/ 46 h 80"/>
                <a:gd name="T82" fmla="*/ 35 w 62"/>
                <a:gd name="T83" fmla="*/ 45 h 80"/>
                <a:gd name="T84" fmla="*/ 38 w 62"/>
                <a:gd name="T85" fmla="*/ 51 h 80"/>
                <a:gd name="T86" fmla="*/ 41 w 62"/>
                <a:gd name="T87" fmla="*/ 58 h 80"/>
                <a:gd name="T88" fmla="*/ 44 w 62"/>
                <a:gd name="T89" fmla="*/ 58 h 80"/>
                <a:gd name="T90" fmla="*/ 46 w 62"/>
                <a:gd name="T91" fmla="*/ 56 h 80"/>
                <a:gd name="T92" fmla="*/ 49 w 62"/>
                <a:gd name="T93" fmla="*/ 59 h 80"/>
                <a:gd name="T94" fmla="*/ 57 w 62"/>
                <a:gd name="T95" fmla="*/ 73 h 80"/>
                <a:gd name="T96" fmla="*/ 60 w 62"/>
                <a:gd name="T97" fmla="*/ 80 h 80"/>
                <a:gd name="T98" fmla="*/ 60 w 62"/>
                <a:gd name="T99" fmla="*/ 75 h 80"/>
                <a:gd name="T100" fmla="*/ 60 w 62"/>
                <a:gd name="T101" fmla="*/ 75 h 80"/>
                <a:gd name="T102" fmla="*/ 60 w 62"/>
                <a:gd name="T103"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 h="80">
                  <a:moveTo>
                    <a:pt x="60" y="75"/>
                  </a:moveTo>
                  <a:lnTo>
                    <a:pt x="60" y="75"/>
                  </a:lnTo>
                  <a:lnTo>
                    <a:pt x="60" y="75"/>
                  </a:lnTo>
                  <a:lnTo>
                    <a:pt x="62" y="62"/>
                  </a:lnTo>
                  <a:lnTo>
                    <a:pt x="55" y="43"/>
                  </a:lnTo>
                  <a:lnTo>
                    <a:pt x="55" y="42"/>
                  </a:lnTo>
                  <a:lnTo>
                    <a:pt x="54" y="43"/>
                  </a:lnTo>
                  <a:lnTo>
                    <a:pt x="52" y="43"/>
                  </a:lnTo>
                  <a:lnTo>
                    <a:pt x="50" y="43"/>
                  </a:lnTo>
                  <a:lnTo>
                    <a:pt x="52" y="45"/>
                  </a:lnTo>
                  <a:lnTo>
                    <a:pt x="50" y="46"/>
                  </a:lnTo>
                  <a:lnTo>
                    <a:pt x="50" y="50"/>
                  </a:lnTo>
                  <a:lnTo>
                    <a:pt x="50" y="51"/>
                  </a:lnTo>
                  <a:lnTo>
                    <a:pt x="50" y="53"/>
                  </a:lnTo>
                  <a:lnTo>
                    <a:pt x="47" y="53"/>
                  </a:lnTo>
                  <a:lnTo>
                    <a:pt x="44" y="50"/>
                  </a:lnTo>
                  <a:lnTo>
                    <a:pt x="44" y="51"/>
                  </a:lnTo>
                  <a:lnTo>
                    <a:pt x="41" y="45"/>
                  </a:lnTo>
                  <a:lnTo>
                    <a:pt x="44" y="40"/>
                  </a:lnTo>
                  <a:lnTo>
                    <a:pt x="44" y="37"/>
                  </a:lnTo>
                  <a:lnTo>
                    <a:pt x="46" y="37"/>
                  </a:lnTo>
                  <a:lnTo>
                    <a:pt x="46" y="35"/>
                  </a:lnTo>
                  <a:lnTo>
                    <a:pt x="47" y="35"/>
                  </a:lnTo>
                  <a:lnTo>
                    <a:pt x="49" y="35"/>
                  </a:lnTo>
                  <a:lnTo>
                    <a:pt x="52" y="31"/>
                  </a:lnTo>
                  <a:lnTo>
                    <a:pt x="54" y="27"/>
                  </a:lnTo>
                  <a:lnTo>
                    <a:pt x="52" y="24"/>
                  </a:lnTo>
                  <a:lnTo>
                    <a:pt x="55" y="24"/>
                  </a:lnTo>
                  <a:lnTo>
                    <a:pt x="52" y="21"/>
                  </a:lnTo>
                  <a:lnTo>
                    <a:pt x="47" y="21"/>
                  </a:lnTo>
                  <a:lnTo>
                    <a:pt x="41" y="21"/>
                  </a:lnTo>
                  <a:lnTo>
                    <a:pt x="35" y="21"/>
                  </a:lnTo>
                  <a:lnTo>
                    <a:pt x="27" y="21"/>
                  </a:lnTo>
                  <a:lnTo>
                    <a:pt x="22" y="18"/>
                  </a:lnTo>
                  <a:lnTo>
                    <a:pt x="22" y="16"/>
                  </a:lnTo>
                  <a:lnTo>
                    <a:pt x="20" y="12"/>
                  </a:lnTo>
                  <a:lnTo>
                    <a:pt x="19" y="8"/>
                  </a:lnTo>
                  <a:lnTo>
                    <a:pt x="17" y="7"/>
                  </a:lnTo>
                  <a:lnTo>
                    <a:pt x="17" y="8"/>
                  </a:lnTo>
                  <a:lnTo>
                    <a:pt x="17" y="10"/>
                  </a:lnTo>
                  <a:lnTo>
                    <a:pt x="14" y="8"/>
                  </a:lnTo>
                  <a:lnTo>
                    <a:pt x="11" y="7"/>
                  </a:lnTo>
                  <a:lnTo>
                    <a:pt x="9" y="5"/>
                  </a:lnTo>
                  <a:lnTo>
                    <a:pt x="6" y="5"/>
                  </a:lnTo>
                  <a:lnTo>
                    <a:pt x="6" y="5"/>
                  </a:lnTo>
                  <a:lnTo>
                    <a:pt x="3" y="2"/>
                  </a:lnTo>
                  <a:lnTo>
                    <a:pt x="0" y="0"/>
                  </a:lnTo>
                  <a:lnTo>
                    <a:pt x="0" y="2"/>
                  </a:lnTo>
                  <a:lnTo>
                    <a:pt x="3" y="2"/>
                  </a:lnTo>
                  <a:lnTo>
                    <a:pt x="3" y="4"/>
                  </a:lnTo>
                  <a:lnTo>
                    <a:pt x="0" y="5"/>
                  </a:lnTo>
                  <a:lnTo>
                    <a:pt x="0" y="8"/>
                  </a:lnTo>
                  <a:lnTo>
                    <a:pt x="0" y="12"/>
                  </a:lnTo>
                  <a:lnTo>
                    <a:pt x="3" y="13"/>
                  </a:lnTo>
                  <a:lnTo>
                    <a:pt x="3" y="15"/>
                  </a:lnTo>
                  <a:lnTo>
                    <a:pt x="6" y="16"/>
                  </a:lnTo>
                  <a:lnTo>
                    <a:pt x="9" y="16"/>
                  </a:lnTo>
                  <a:lnTo>
                    <a:pt x="9" y="18"/>
                  </a:lnTo>
                  <a:lnTo>
                    <a:pt x="9" y="18"/>
                  </a:lnTo>
                  <a:lnTo>
                    <a:pt x="9" y="18"/>
                  </a:lnTo>
                  <a:lnTo>
                    <a:pt x="11" y="18"/>
                  </a:lnTo>
                  <a:lnTo>
                    <a:pt x="11" y="21"/>
                  </a:lnTo>
                  <a:lnTo>
                    <a:pt x="11" y="21"/>
                  </a:lnTo>
                  <a:lnTo>
                    <a:pt x="6" y="21"/>
                  </a:lnTo>
                  <a:lnTo>
                    <a:pt x="6" y="21"/>
                  </a:lnTo>
                  <a:lnTo>
                    <a:pt x="6" y="24"/>
                  </a:lnTo>
                  <a:lnTo>
                    <a:pt x="3" y="24"/>
                  </a:lnTo>
                  <a:lnTo>
                    <a:pt x="3" y="24"/>
                  </a:lnTo>
                  <a:lnTo>
                    <a:pt x="0" y="27"/>
                  </a:lnTo>
                  <a:lnTo>
                    <a:pt x="0" y="31"/>
                  </a:lnTo>
                  <a:lnTo>
                    <a:pt x="3" y="31"/>
                  </a:lnTo>
                  <a:lnTo>
                    <a:pt x="6" y="32"/>
                  </a:lnTo>
                  <a:lnTo>
                    <a:pt x="9" y="34"/>
                  </a:lnTo>
                  <a:lnTo>
                    <a:pt x="11" y="37"/>
                  </a:lnTo>
                  <a:lnTo>
                    <a:pt x="11" y="39"/>
                  </a:lnTo>
                  <a:lnTo>
                    <a:pt x="9" y="40"/>
                  </a:lnTo>
                  <a:lnTo>
                    <a:pt x="9" y="42"/>
                  </a:lnTo>
                  <a:lnTo>
                    <a:pt x="9" y="43"/>
                  </a:lnTo>
                  <a:lnTo>
                    <a:pt x="12" y="45"/>
                  </a:lnTo>
                  <a:lnTo>
                    <a:pt x="12" y="50"/>
                  </a:lnTo>
                  <a:lnTo>
                    <a:pt x="14" y="50"/>
                  </a:lnTo>
                  <a:lnTo>
                    <a:pt x="15" y="51"/>
                  </a:lnTo>
                  <a:lnTo>
                    <a:pt x="15" y="53"/>
                  </a:lnTo>
                  <a:lnTo>
                    <a:pt x="15" y="56"/>
                  </a:lnTo>
                  <a:lnTo>
                    <a:pt x="17" y="61"/>
                  </a:lnTo>
                  <a:lnTo>
                    <a:pt x="19" y="64"/>
                  </a:lnTo>
                  <a:lnTo>
                    <a:pt x="19" y="66"/>
                  </a:lnTo>
                  <a:lnTo>
                    <a:pt x="20" y="69"/>
                  </a:lnTo>
                  <a:lnTo>
                    <a:pt x="22" y="72"/>
                  </a:lnTo>
                  <a:lnTo>
                    <a:pt x="22" y="70"/>
                  </a:lnTo>
                  <a:lnTo>
                    <a:pt x="22" y="67"/>
                  </a:lnTo>
                  <a:lnTo>
                    <a:pt x="23" y="72"/>
                  </a:lnTo>
                  <a:lnTo>
                    <a:pt x="25" y="69"/>
                  </a:lnTo>
                  <a:lnTo>
                    <a:pt x="27" y="70"/>
                  </a:lnTo>
                  <a:lnTo>
                    <a:pt x="27" y="69"/>
                  </a:lnTo>
                  <a:lnTo>
                    <a:pt x="28" y="69"/>
                  </a:lnTo>
                  <a:lnTo>
                    <a:pt x="28" y="67"/>
                  </a:lnTo>
                  <a:lnTo>
                    <a:pt x="28" y="66"/>
                  </a:lnTo>
                  <a:lnTo>
                    <a:pt x="28" y="62"/>
                  </a:lnTo>
                  <a:lnTo>
                    <a:pt x="28" y="61"/>
                  </a:lnTo>
                  <a:lnTo>
                    <a:pt x="30" y="59"/>
                  </a:lnTo>
                  <a:lnTo>
                    <a:pt x="30" y="64"/>
                  </a:lnTo>
                  <a:lnTo>
                    <a:pt x="30" y="67"/>
                  </a:lnTo>
                  <a:lnTo>
                    <a:pt x="31" y="64"/>
                  </a:lnTo>
                  <a:lnTo>
                    <a:pt x="31" y="67"/>
                  </a:lnTo>
                  <a:lnTo>
                    <a:pt x="31" y="69"/>
                  </a:lnTo>
                  <a:lnTo>
                    <a:pt x="33" y="67"/>
                  </a:lnTo>
                  <a:lnTo>
                    <a:pt x="33" y="69"/>
                  </a:lnTo>
                  <a:lnTo>
                    <a:pt x="33" y="70"/>
                  </a:lnTo>
                  <a:lnTo>
                    <a:pt x="35" y="70"/>
                  </a:lnTo>
                  <a:lnTo>
                    <a:pt x="35" y="69"/>
                  </a:lnTo>
                  <a:lnTo>
                    <a:pt x="35" y="62"/>
                  </a:lnTo>
                  <a:lnTo>
                    <a:pt x="35" y="66"/>
                  </a:lnTo>
                  <a:lnTo>
                    <a:pt x="38" y="64"/>
                  </a:lnTo>
                  <a:lnTo>
                    <a:pt x="38" y="62"/>
                  </a:lnTo>
                  <a:lnTo>
                    <a:pt x="35" y="58"/>
                  </a:lnTo>
                  <a:lnTo>
                    <a:pt x="35" y="56"/>
                  </a:lnTo>
                  <a:lnTo>
                    <a:pt x="35" y="53"/>
                  </a:lnTo>
                  <a:lnTo>
                    <a:pt x="35" y="53"/>
                  </a:lnTo>
                  <a:lnTo>
                    <a:pt x="35" y="51"/>
                  </a:lnTo>
                  <a:lnTo>
                    <a:pt x="35" y="50"/>
                  </a:lnTo>
                  <a:lnTo>
                    <a:pt x="35" y="48"/>
                  </a:lnTo>
                  <a:lnTo>
                    <a:pt x="35" y="46"/>
                  </a:lnTo>
                  <a:lnTo>
                    <a:pt x="35" y="46"/>
                  </a:lnTo>
                  <a:lnTo>
                    <a:pt x="35" y="45"/>
                  </a:lnTo>
                  <a:lnTo>
                    <a:pt x="35" y="45"/>
                  </a:lnTo>
                  <a:lnTo>
                    <a:pt x="35" y="46"/>
                  </a:lnTo>
                  <a:lnTo>
                    <a:pt x="35" y="48"/>
                  </a:lnTo>
                  <a:lnTo>
                    <a:pt x="38" y="51"/>
                  </a:lnTo>
                  <a:lnTo>
                    <a:pt x="38" y="53"/>
                  </a:lnTo>
                  <a:lnTo>
                    <a:pt x="38" y="56"/>
                  </a:lnTo>
                  <a:lnTo>
                    <a:pt x="41" y="58"/>
                  </a:lnTo>
                  <a:lnTo>
                    <a:pt x="41" y="58"/>
                  </a:lnTo>
                  <a:lnTo>
                    <a:pt x="41" y="56"/>
                  </a:lnTo>
                  <a:lnTo>
                    <a:pt x="44" y="58"/>
                  </a:lnTo>
                  <a:lnTo>
                    <a:pt x="44" y="58"/>
                  </a:lnTo>
                  <a:lnTo>
                    <a:pt x="44" y="56"/>
                  </a:lnTo>
                  <a:lnTo>
                    <a:pt x="46" y="56"/>
                  </a:lnTo>
                  <a:lnTo>
                    <a:pt x="47" y="53"/>
                  </a:lnTo>
                  <a:lnTo>
                    <a:pt x="47" y="56"/>
                  </a:lnTo>
                  <a:lnTo>
                    <a:pt x="49" y="59"/>
                  </a:lnTo>
                  <a:lnTo>
                    <a:pt x="52" y="64"/>
                  </a:lnTo>
                  <a:lnTo>
                    <a:pt x="54" y="67"/>
                  </a:lnTo>
                  <a:lnTo>
                    <a:pt x="57" y="73"/>
                  </a:lnTo>
                  <a:lnTo>
                    <a:pt x="57" y="77"/>
                  </a:lnTo>
                  <a:lnTo>
                    <a:pt x="60" y="80"/>
                  </a:lnTo>
                  <a:lnTo>
                    <a:pt x="60" y="80"/>
                  </a:lnTo>
                  <a:lnTo>
                    <a:pt x="60" y="75"/>
                  </a:lnTo>
                  <a:lnTo>
                    <a:pt x="60" y="75"/>
                  </a:lnTo>
                  <a:lnTo>
                    <a:pt x="60" y="75"/>
                  </a:lnTo>
                  <a:lnTo>
                    <a:pt x="60" y="75"/>
                  </a:lnTo>
                  <a:lnTo>
                    <a:pt x="60" y="75"/>
                  </a:lnTo>
                  <a:lnTo>
                    <a:pt x="60" y="75"/>
                  </a:lnTo>
                  <a:lnTo>
                    <a:pt x="60" y="75"/>
                  </a:lnTo>
                  <a:lnTo>
                    <a:pt x="60" y="75"/>
                  </a:lnTo>
                  <a:lnTo>
                    <a:pt x="60" y="7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6" name="Freeform 336">
              <a:extLst>
                <a:ext uri="{FF2B5EF4-FFF2-40B4-BE49-F238E27FC236}">
                  <a16:creationId xmlns:a16="http://schemas.microsoft.com/office/drawing/2014/main" id="{16BA35FE-EA40-1BBB-9B63-31D7792D1248}"/>
                </a:ext>
              </a:extLst>
            </p:cNvPr>
            <p:cNvSpPr>
              <a:spLocks/>
            </p:cNvSpPr>
            <p:nvPr/>
          </p:nvSpPr>
          <p:spPr bwMode="auto">
            <a:xfrm>
              <a:off x="8579740" y="3300597"/>
              <a:ext cx="235523" cy="278141"/>
            </a:xfrm>
            <a:custGeom>
              <a:avLst/>
              <a:gdLst>
                <a:gd name="T0" fmla="*/ 98 w 105"/>
                <a:gd name="T1" fmla="*/ 97 h 124"/>
                <a:gd name="T2" fmla="*/ 94 w 105"/>
                <a:gd name="T3" fmla="*/ 87 h 124"/>
                <a:gd name="T4" fmla="*/ 87 w 105"/>
                <a:gd name="T5" fmla="*/ 81 h 124"/>
                <a:gd name="T6" fmla="*/ 81 w 105"/>
                <a:gd name="T7" fmla="*/ 75 h 124"/>
                <a:gd name="T8" fmla="*/ 71 w 105"/>
                <a:gd name="T9" fmla="*/ 64 h 124"/>
                <a:gd name="T10" fmla="*/ 65 w 105"/>
                <a:gd name="T11" fmla="*/ 56 h 124"/>
                <a:gd name="T12" fmla="*/ 60 w 105"/>
                <a:gd name="T13" fmla="*/ 53 h 124"/>
                <a:gd name="T14" fmla="*/ 51 w 105"/>
                <a:gd name="T15" fmla="*/ 48 h 124"/>
                <a:gd name="T16" fmla="*/ 51 w 105"/>
                <a:gd name="T17" fmla="*/ 43 h 124"/>
                <a:gd name="T18" fmla="*/ 59 w 105"/>
                <a:gd name="T19" fmla="*/ 40 h 124"/>
                <a:gd name="T20" fmla="*/ 62 w 105"/>
                <a:gd name="T21" fmla="*/ 35 h 124"/>
                <a:gd name="T22" fmla="*/ 57 w 105"/>
                <a:gd name="T23" fmla="*/ 33 h 124"/>
                <a:gd name="T24" fmla="*/ 54 w 105"/>
                <a:gd name="T25" fmla="*/ 29 h 124"/>
                <a:gd name="T26" fmla="*/ 51 w 105"/>
                <a:gd name="T27" fmla="*/ 24 h 124"/>
                <a:gd name="T28" fmla="*/ 44 w 105"/>
                <a:gd name="T29" fmla="*/ 24 h 124"/>
                <a:gd name="T30" fmla="*/ 35 w 105"/>
                <a:gd name="T31" fmla="*/ 24 h 124"/>
                <a:gd name="T32" fmla="*/ 32 w 105"/>
                <a:gd name="T33" fmla="*/ 11 h 124"/>
                <a:gd name="T34" fmla="*/ 29 w 105"/>
                <a:gd name="T35" fmla="*/ 11 h 124"/>
                <a:gd name="T36" fmla="*/ 21 w 105"/>
                <a:gd name="T37" fmla="*/ 2 h 124"/>
                <a:gd name="T38" fmla="*/ 16 w 105"/>
                <a:gd name="T39" fmla="*/ 0 h 124"/>
                <a:gd name="T40" fmla="*/ 17 w 105"/>
                <a:gd name="T41" fmla="*/ 13 h 124"/>
                <a:gd name="T42" fmla="*/ 19 w 105"/>
                <a:gd name="T43" fmla="*/ 21 h 124"/>
                <a:gd name="T44" fmla="*/ 11 w 105"/>
                <a:gd name="T45" fmla="*/ 18 h 124"/>
                <a:gd name="T46" fmla="*/ 6 w 105"/>
                <a:gd name="T47" fmla="*/ 18 h 124"/>
                <a:gd name="T48" fmla="*/ 3 w 105"/>
                <a:gd name="T49" fmla="*/ 24 h 124"/>
                <a:gd name="T50" fmla="*/ 0 w 105"/>
                <a:gd name="T51" fmla="*/ 32 h 124"/>
                <a:gd name="T52" fmla="*/ 6 w 105"/>
                <a:gd name="T53" fmla="*/ 37 h 124"/>
                <a:gd name="T54" fmla="*/ 6 w 105"/>
                <a:gd name="T55" fmla="*/ 41 h 124"/>
                <a:gd name="T56" fmla="*/ 9 w 105"/>
                <a:gd name="T57" fmla="*/ 43 h 124"/>
                <a:gd name="T58" fmla="*/ 16 w 105"/>
                <a:gd name="T59" fmla="*/ 45 h 124"/>
                <a:gd name="T60" fmla="*/ 17 w 105"/>
                <a:gd name="T61" fmla="*/ 56 h 124"/>
                <a:gd name="T62" fmla="*/ 16 w 105"/>
                <a:gd name="T63" fmla="*/ 67 h 124"/>
                <a:gd name="T64" fmla="*/ 19 w 105"/>
                <a:gd name="T65" fmla="*/ 73 h 124"/>
                <a:gd name="T66" fmla="*/ 27 w 105"/>
                <a:gd name="T67" fmla="*/ 64 h 124"/>
                <a:gd name="T68" fmla="*/ 35 w 105"/>
                <a:gd name="T69" fmla="*/ 65 h 124"/>
                <a:gd name="T70" fmla="*/ 41 w 105"/>
                <a:gd name="T71" fmla="*/ 65 h 124"/>
                <a:gd name="T72" fmla="*/ 44 w 105"/>
                <a:gd name="T73" fmla="*/ 59 h 124"/>
                <a:gd name="T74" fmla="*/ 56 w 105"/>
                <a:gd name="T75" fmla="*/ 65 h 124"/>
                <a:gd name="T76" fmla="*/ 65 w 105"/>
                <a:gd name="T77" fmla="*/ 76 h 124"/>
                <a:gd name="T78" fmla="*/ 75 w 105"/>
                <a:gd name="T79" fmla="*/ 94 h 124"/>
                <a:gd name="T80" fmla="*/ 78 w 105"/>
                <a:gd name="T81" fmla="*/ 100 h 124"/>
                <a:gd name="T82" fmla="*/ 78 w 105"/>
                <a:gd name="T83" fmla="*/ 103 h 124"/>
                <a:gd name="T84" fmla="*/ 78 w 105"/>
                <a:gd name="T85" fmla="*/ 110 h 124"/>
                <a:gd name="T86" fmla="*/ 76 w 105"/>
                <a:gd name="T87" fmla="*/ 119 h 124"/>
                <a:gd name="T88" fmla="*/ 84 w 105"/>
                <a:gd name="T89" fmla="*/ 124 h 124"/>
                <a:gd name="T90" fmla="*/ 86 w 105"/>
                <a:gd name="T91" fmla="*/ 119 h 124"/>
                <a:gd name="T92" fmla="*/ 87 w 105"/>
                <a:gd name="T93" fmla="*/ 118 h 124"/>
                <a:gd name="T94" fmla="*/ 94 w 105"/>
                <a:gd name="T95" fmla="*/ 118 h 124"/>
                <a:gd name="T96" fmla="*/ 100 w 105"/>
                <a:gd name="T97" fmla="*/ 116 h 124"/>
                <a:gd name="T98" fmla="*/ 105 w 105"/>
                <a:gd name="T99" fmla="*/ 113 h 124"/>
                <a:gd name="T100" fmla="*/ 105 w 105"/>
                <a:gd name="T101" fmla="*/ 105 h 124"/>
                <a:gd name="T102" fmla="*/ 103 w 105"/>
                <a:gd name="T103" fmla="*/ 102 h 124"/>
                <a:gd name="T104" fmla="*/ 103 w 105"/>
                <a:gd name="T105"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124">
                  <a:moveTo>
                    <a:pt x="103" y="102"/>
                  </a:moveTo>
                  <a:lnTo>
                    <a:pt x="102" y="100"/>
                  </a:lnTo>
                  <a:lnTo>
                    <a:pt x="98" y="99"/>
                  </a:lnTo>
                  <a:lnTo>
                    <a:pt x="98" y="97"/>
                  </a:lnTo>
                  <a:lnTo>
                    <a:pt x="100" y="97"/>
                  </a:lnTo>
                  <a:lnTo>
                    <a:pt x="102" y="94"/>
                  </a:lnTo>
                  <a:lnTo>
                    <a:pt x="95" y="91"/>
                  </a:lnTo>
                  <a:lnTo>
                    <a:pt x="94" y="87"/>
                  </a:lnTo>
                  <a:lnTo>
                    <a:pt x="92" y="87"/>
                  </a:lnTo>
                  <a:lnTo>
                    <a:pt x="90" y="87"/>
                  </a:lnTo>
                  <a:lnTo>
                    <a:pt x="90" y="84"/>
                  </a:lnTo>
                  <a:lnTo>
                    <a:pt x="87" y="81"/>
                  </a:lnTo>
                  <a:lnTo>
                    <a:pt x="86" y="78"/>
                  </a:lnTo>
                  <a:lnTo>
                    <a:pt x="84" y="78"/>
                  </a:lnTo>
                  <a:lnTo>
                    <a:pt x="84" y="76"/>
                  </a:lnTo>
                  <a:lnTo>
                    <a:pt x="81" y="75"/>
                  </a:lnTo>
                  <a:lnTo>
                    <a:pt x="78" y="73"/>
                  </a:lnTo>
                  <a:lnTo>
                    <a:pt x="75" y="68"/>
                  </a:lnTo>
                  <a:lnTo>
                    <a:pt x="73" y="65"/>
                  </a:lnTo>
                  <a:lnTo>
                    <a:pt x="71" y="64"/>
                  </a:lnTo>
                  <a:lnTo>
                    <a:pt x="70" y="62"/>
                  </a:lnTo>
                  <a:lnTo>
                    <a:pt x="67" y="59"/>
                  </a:lnTo>
                  <a:lnTo>
                    <a:pt x="65" y="59"/>
                  </a:lnTo>
                  <a:lnTo>
                    <a:pt x="65" y="56"/>
                  </a:lnTo>
                  <a:lnTo>
                    <a:pt x="65" y="56"/>
                  </a:lnTo>
                  <a:lnTo>
                    <a:pt x="65" y="56"/>
                  </a:lnTo>
                  <a:lnTo>
                    <a:pt x="62" y="53"/>
                  </a:lnTo>
                  <a:lnTo>
                    <a:pt x="60" y="53"/>
                  </a:lnTo>
                  <a:lnTo>
                    <a:pt x="57" y="53"/>
                  </a:lnTo>
                  <a:lnTo>
                    <a:pt x="57" y="49"/>
                  </a:lnTo>
                  <a:lnTo>
                    <a:pt x="52" y="48"/>
                  </a:lnTo>
                  <a:lnTo>
                    <a:pt x="51" y="48"/>
                  </a:lnTo>
                  <a:lnTo>
                    <a:pt x="49" y="46"/>
                  </a:lnTo>
                  <a:lnTo>
                    <a:pt x="51" y="46"/>
                  </a:lnTo>
                  <a:lnTo>
                    <a:pt x="51" y="45"/>
                  </a:lnTo>
                  <a:lnTo>
                    <a:pt x="51" y="43"/>
                  </a:lnTo>
                  <a:lnTo>
                    <a:pt x="49" y="41"/>
                  </a:lnTo>
                  <a:lnTo>
                    <a:pt x="52" y="41"/>
                  </a:lnTo>
                  <a:lnTo>
                    <a:pt x="56" y="41"/>
                  </a:lnTo>
                  <a:lnTo>
                    <a:pt x="59" y="40"/>
                  </a:lnTo>
                  <a:lnTo>
                    <a:pt x="60" y="40"/>
                  </a:lnTo>
                  <a:lnTo>
                    <a:pt x="59" y="38"/>
                  </a:lnTo>
                  <a:lnTo>
                    <a:pt x="60" y="37"/>
                  </a:lnTo>
                  <a:lnTo>
                    <a:pt x="62" y="35"/>
                  </a:lnTo>
                  <a:lnTo>
                    <a:pt x="62" y="33"/>
                  </a:lnTo>
                  <a:lnTo>
                    <a:pt x="60" y="33"/>
                  </a:lnTo>
                  <a:lnTo>
                    <a:pt x="59" y="33"/>
                  </a:lnTo>
                  <a:lnTo>
                    <a:pt x="57" y="33"/>
                  </a:lnTo>
                  <a:lnTo>
                    <a:pt x="57" y="32"/>
                  </a:lnTo>
                  <a:lnTo>
                    <a:pt x="56" y="30"/>
                  </a:lnTo>
                  <a:lnTo>
                    <a:pt x="52" y="30"/>
                  </a:lnTo>
                  <a:lnTo>
                    <a:pt x="54" y="29"/>
                  </a:lnTo>
                  <a:lnTo>
                    <a:pt x="56" y="27"/>
                  </a:lnTo>
                  <a:lnTo>
                    <a:pt x="54" y="27"/>
                  </a:lnTo>
                  <a:lnTo>
                    <a:pt x="52" y="24"/>
                  </a:lnTo>
                  <a:lnTo>
                    <a:pt x="51" y="24"/>
                  </a:lnTo>
                  <a:lnTo>
                    <a:pt x="49" y="24"/>
                  </a:lnTo>
                  <a:lnTo>
                    <a:pt x="48" y="24"/>
                  </a:lnTo>
                  <a:lnTo>
                    <a:pt x="46" y="24"/>
                  </a:lnTo>
                  <a:lnTo>
                    <a:pt x="44" y="24"/>
                  </a:lnTo>
                  <a:lnTo>
                    <a:pt x="44" y="27"/>
                  </a:lnTo>
                  <a:lnTo>
                    <a:pt x="41" y="24"/>
                  </a:lnTo>
                  <a:lnTo>
                    <a:pt x="38" y="24"/>
                  </a:lnTo>
                  <a:lnTo>
                    <a:pt x="35" y="24"/>
                  </a:lnTo>
                  <a:lnTo>
                    <a:pt x="32" y="18"/>
                  </a:lnTo>
                  <a:lnTo>
                    <a:pt x="32" y="14"/>
                  </a:lnTo>
                  <a:lnTo>
                    <a:pt x="32" y="13"/>
                  </a:lnTo>
                  <a:lnTo>
                    <a:pt x="32" y="11"/>
                  </a:lnTo>
                  <a:lnTo>
                    <a:pt x="32" y="11"/>
                  </a:lnTo>
                  <a:lnTo>
                    <a:pt x="30" y="10"/>
                  </a:lnTo>
                  <a:lnTo>
                    <a:pt x="30" y="13"/>
                  </a:lnTo>
                  <a:lnTo>
                    <a:pt x="29" y="11"/>
                  </a:lnTo>
                  <a:lnTo>
                    <a:pt x="27" y="8"/>
                  </a:lnTo>
                  <a:lnTo>
                    <a:pt x="24" y="5"/>
                  </a:lnTo>
                  <a:lnTo>
                    <a:pt x="22" y="3"/>
                  </a:lnTo>
                  <a:lnTo>
                    <a:pt x="21" y="2"/>
                  </a:lnTo>
                  <a:lnTo>
                    <a:pt x="19" y="2"/>
                  </a:lnTo>
                  <a:lnTo>
                    <a:pt x="17" y="2"/>
                  </a:lnTo>
                  <a:lnTo>
                    <a:pt x="16" y="2"/>
                  </a:lnTo>
                  <a:lnTo>
                    <a:pt x="16" y="0"/>
                  </a:lnTo>
                  <a:lnTo>
                    <a:pt x="14" y="2"/>
                  </a:lnTo>
                  <a:lnTo>
                    <a:pt x="14" y="3"/>
                  </a:lnTo>
                  <a:lnTo>
                    <a:pt x="14" y="8"/>
                  </a:lnTo>
                  <a:lnTo>
                    <a:pt x="17" y="13"/>
                  </a:lnTo>
                  <a:lnTo>
                    <a:pt x="19" y="14"/>
                  </a:lnTo>
                  <a:lnTo>
                    <a:pt x="17" y="16"/>
                  </a:lnTo>
                  <a:lnTo>
                    <a:pt x="19" y="18"/>
                  </a:lnTo>
                  <a:lnTo>
                    <a:pt x="19" y="21"/>
                  </a:lnTo>
                  <a:lnTo>
                    <a:pt x="17" y="21"/>
                  </a:lnTo>
                  <a:lnTo>
                    <a:pt x="14" y="18"/>
                  </a:lnTo>
                  <a:lnTo>
                    <a:pt x="13" y="18"/>
                  </a:lnTo>
                  <a:lnTo>
                    <a:pt x="11" y="18"/>
                  </a:lnTo>
                  <a:lnTo>
                    <a:pt x="9" y="11"/>
                  </a:lnTo>
                  <a:lnTo>
                    <a:pt x="9" y="14"/>
                  </a:lnTo>
                  <a:lnTo>
                    <a:pt x="9" y="16"/>
                  </a:lnTo>
                  <a:lnTo>
                    <a:pt x="6" y="18"/>
                  </a:lnTo>
                  <a:lnTo>
                    <a:pt x="3" y="21"/>
                  </a:lnTo>
                  <a:lnTo>
                    <a:pt x="3" y="24"/>
                  </a:lnTo>
                  <a:lnTo>
                    <a:pt x="6" y="24"/>
                  </a:lnTo>
                  <a:lnTo>
                    <a:pt x="3" y="24"/>
                  </a:lnTo>
                  <a:lnTo>
                    <a:pt x="0" y="27"/>
                  </a:lnTo>
                  <a:lnTo>
                    <a:pt x="0" y="27"/>
                  </a:lnTo>
                  <a:lnTo>
                    <a:pt x="0" y="29"/>
                  </a:lnTo>
                  <a:lnTo>
                    <a:pt x="0" y="32"/>
                  </a:lnTo>
                  <a:lnTo>
                    <a:pt x="0" y="32"/>
                  </a:lnTo>
                  <a:lnTo>
                    <a:pt x="3" y="30"/>
                  </a:lnTo>
                  <a:lnTo>
                    <a:pt x="6" y="35"/>
                  </a:lnTo>
                  <a:lnTo>
                    <a:pt x="6" y="37"/>
                  </a:lnTo>
                  <a:lnTo>
                    <a:pt x="6" y="38"/>
                  </a:lnTo>
                  <a:lnTo>
                    <a:pt x="5" y="40"/>
                  </a:lnTo>
                  <a:lnTo>
                    <a:pt x="3" y="40"/>
                  </a:lnTo>
                  <a:lnTo>
                    <a:pt x="6" y="41"/>
                  </a:lnTo>
                  <a:lnTo>
                    <a:pt x="6" y="43"/>
                  </a:lnTo>
                  <a:lnTo>
                    <a:pt x="9" y="45"/>
                  </a:lnTo>
                  <a:lnTo>
                    <a:pt x="9" y="45"/>
                  </a:lnTo>
                  <a:lnTo>
                    <a:pt x="9" y="43"/>
                  </a:lnTo>
                  <a:lnTo>
                    <a:pt x="9" y="43"/>
                  </a:lnTo>
                  <a:lnTo>
                    <a:pt x="11" y="43"/>
                  </a:lnTo>
                  <a:lnTo>
                    <a:pt x="14" y="43"/>
                  </a:lnTo>
                  <a:lnTo>
                    <a:pt x="16" y="45"/>
                  </a:lnTo>
                  <a:lnTo>
                    <a:pt x="16" y="49"/>
                  </a:lnTo>
                  <a:lnTo>
                    <a:pt x="16" y="49"/>
                  </a:lnTo>
                  <a:lnTo>
                    <a:pt x="17" y="53"/>
                  </a:lnTo>
                  <a:lnTo>
                    <a:pt x="17" y="56"/>
                  </a:lnTo>
                  <a:lnTo>
                    <a:pt x="16" y="56"/>
                  </a:lnTo>
                  <a:lnTo>
                    <a:pt x="16" y="59"/>
                  </a:lnTo>
                  <a:lnTo>
                    <a:pt x="17" y="62"/>
                  </a:lnTo>
                  <a:lnTo>
                    <a:pt x="16" y="67"/>
                  </a:lnTo>
                  <a:lnTo>
                    <a:pt x="16" y="70"/>
                  </a:lnTo>
                  <a:lnTo>
                    <a:pt x="16" y="72"/>
                  </a:lnTo>
                  <a:lnTo>
                    <a:pt x="17" y="73"/>
                  </a:lnTo>
                  <a:lnTo>
                    <a:pt x="19" y="73"/>
                  </a:lnTo>
                  <a:lnTo>
                    <a:pt x="22" y="68"/>
                  </a:lnTo>
                  <a:lnTo>
                    <a:pt x="24" y="67"/>
                  </a:lnTo>
                  <a:lnTo>
                    <a:pt x="25" y="64"/>
                  </a:lnTo>
                  <a:lnTo>
                    <a:pt x="27" y="64"/>
                  </a:lnTo>
                  <a:lnTo>
                    <a:pt x="29" y="62"/>
                  </a:lnTo>
                  <a:lnTo>
                    <a:pt x="30" y="62"/>
                  </a:lnTo>
                  <a:lnTo>
                    <a:pt x="32" y="64"/>
                  </a:lnTo>
                  <a:lnTo>
                    <a:pt x="35" y="65"/>
                  </a:lnTo>
                  <a:lnTo>
                    <a:pt x="35" y="67"/>
                  </a:lnTo>
                  <a:lnTo>
                    <a:pt x="36" y="67"/>
                  </a:lnTo>
                  <a:lnTo>
                    <a:pt x="38" y="67"/>
                  </a:lnTo>
                  <a:lnTo>
                    <a:pt x="41" y="65"/>
                  </a:lnTo>
                  <a:lnTo>
                    <a:pt x="41" y="64"/>
                  </a:lnTo>
                  <a:lnTo>
                    <a:pt x="44" y="62"/>
                  </a:lnTo>
                  <a:lnTo>
                    <a:pt x="44" y="60"/>
                  </a:lnTo>
                  <a:lnTo>
                    <a:pt x="44" y="59"/>
                  </a:lnTo>
                  <a:lnTo>
                    <a:pt x="44" y="59"/>
                  </a:lnTo>
                  <a:lnTo>
                    <a:pt x="49" y="62"/>
                  </a:lnTo>
                  <a:lnTo>
                    <a:pt x="54" y="62"/>
                  </a:lnTo>
                  <a:lnTo>
                    <a:pt x="56" y="65"/>
                  </a:lnTo>
                  <a:lnTo>
                    <a:pt x="59" y="68"/>
                  </a:lnTo>
                  <a:lnTo>
                    <a:pt x="62" y="72"/>
                  </a:lnTo>
                  <a:lnTo>
                    <a:pt x="62" y="73"/>
                  </a:lnTo>
                  <a:lnTo>
                    <a:pt x="65" y="76"/>
                  </a:lnTo>
                  <a:lnTo>
                    <a:pt x="65" y="84"/>
                  </a:lnTo>
                  <a:lnTo>
                    <a:pt x="65" y="87"/>
                  </a:lnTo>
                  <a:lnTo>
                    <a:pt x="67" y="91"/>
                  </a:lnTo>
                  <a:lnTo>
                    <a:pt x="75" y="94"/>
                  </a:lnTo>
                  <a:lnTo>
                    <a:pt x="73" y="97"/>
                  </a:lnTo>
                  <a:lnTo>
                    <a:pt x="75" y="97"/>
                  </a:lnTo>
                  <a:lnTo>
                    <a:pt x="78" y="99"/>
                  </a:lnTo>
                  <a:lnTo>
                    <a:pt x="78" y="100"/>
                  </a:lnTo>
                  <a:lnTo>
                    <a:pt x="78" y="102"/>
                  </a:lnTo>
                  <a:lnTo>
                    <a:pt x="76" y="103"/>
                  </a:lnTo>
                  <a:lnTo>
                    <a:pt x="78" y="103"/>
                  </a:lnTo>
                  <a:lnTo>
                    <a:pt x="78" y="103"/>
                  </a:lnTo>
                  <a:lnTo>
                    <a:pt x="78" y="103"/>
                  </a:lnTo>
                  <a:lnTo>
                    <a:pt x="76" y="107"/>
                  </a:lnTo>
                  <a:lnTo>
                    <a:pt x="76" y="108"/>
                  </a:lnTo>
                  <a:lnTo>
                    <a:pt x="78" y="110"/>
                  </a:lnTo>
                  <a:lnTo>
                    <a:pt x="78" y="114"/>
                  </a:lnTo>
                  <a:lnTo>
                    <a:pt x="76" y="114"/>
                  </a:lnTo>
                  <a:lnTo>
                    <a:pt x="75" y="118"/>
                  </a:lnTo>
                  <a:lnTo>
                    <a:pt x="76" y="119"/>
                  </a:lnTo>
                  <a:lnTo>
                    <a:pt x="78" y="121"/>
                  </a:lnTo>
                  <a:lnTo>
                    <a:pt x="81" y="121"/>
                  </a:lnTo>
                  <a:lnTo>
                    <a:pt x="83" y="122"/>
                  </a:lnTo>
                  <a:lnTo>
                    <a:pt x="84" y="124"/>
                  </a:lnTo>
                  <a:lnTo>
                    <a:pt x="86" y="122"/>
                  </a:lnTo>
                  <a:lnTo>
                    <a:pt x="87" y="122"/>
                  </a:lnTo>
                  <a:lnTo>
                    <a:pt x="87" y="121"/>
                  </a:lnTo>
                  <a:lnTo>
                    <a:pt x="86" y="119"/>
                  </a:lnTo>
                  <a:lnTo>
                    <a:pt x="84" y="118"/>
                  </a:lnTo>
                  <a:lnTo>
                    <a:pt x="86" y="118"/>
                  </a:lnTo>
                  <a:lnTo>
                    <a:pt x="86" y="118"/>
                  </a:lnTo>
                  <a:lnTo>
                    <a:pt x="87" y="118"/>
                  </a:lnTo>
                  <a:lnTo>
                    <a:pt x="90" y="118"/>
                  </a:lnTo>
                  <a:lnTo>
                    <a:pt x="90" y="114"/>
                  </a:lnTo>
                  <a:lnTo>
                    <a:pt x="92" y="114"/>
                  </a:lnTo>
                  <a:lnTo>
                    <a:pt x="94" y="118"/>
                  </a:lnTo>
                  <a:lnTo>
                    <a:pt x="95" y="118"/>
                  </a:lnTo>
                  <a:lnTo>
                    <a:pt x="97" y="118"/>
                  </a:lnTo>
                  <a:lnTo>
                    <a:pt x="98" y="118"/>
                  </a:lnTo>
                  <a:lnTo>
                    <a:pt x="100" y="116"/>
                  </a:lnTo>
                  <a:lnTo>
                    <a:pt x="103" y="118"/>
                  </a:lnTo>
                  <a:lnTo>
                    <a:pt x="103" y="118"/>
                  </a:lnTo>
                  <a:lnTo>
                    <a:pt x="105" y="114"/>
                  </a:lnTo>
                  <a:lnTo>
                    <a:pt x="105" y="113"/>
                  </a:lnTo>
                  <a:lnTo>
                    <a:pt x="105" y="111"/>
                  </a:lnTo>
                  <a:lnTo>
                    <a:pt x="103" y="110"/>
                  </a:lnTo>
                  <a:lnTo>
                    <a:pt x="105" y="107"/>
                  </a:lnTo>
                  <a:lnTo>
                    <a:pt x="105" y="105"/>
                  </a:lnTo>
                  <a:lnTo>
                    <a:pt x="105" y="103"/>
                  </a:lnTo>
                  <a:lnTo>
                    <a:pt x="103" y="102"/>
                  </a:lnTo>
                  <a:lnTo>
                    <a:pt x="103" y="102"/>
                  </a:lnTo>
                  <a:lnTo>
                    <a:pt x="103" y="102"/>
                  </a:lnTo>
                  <a:lnTo>
                    <a:pt x="103" y="102"/>
                  </a:lnTo>
                  <a:lnTo>
                    <a:pt x="103" y="102"/>
                  </a:lnTo>
                  <a:lnTo>
                    <a:pt x="103" y="102"/>
                  </a:lnTo>
                  <a:lnTo>
                    <a:pt x="103" y="102"/>
                  </a:lnTo>
                  <a:lnTo>
                    <a:pt x="103" y="102"/>
                  </a:lnTo>
                  <a:lnTo>
                    <a:pt x="103" y="102"/>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7" name="Freeform 337">
              <a:extLst>
                <a:ext uri="{FF2B5EF4-FFF2-40B4-BE49-F238E27FC236}">
                  <a16:creationId xmlns:a16="http://schemas.microsoft.com/office/drawing/2014/main" id="{E8B4AFA0-E880-9AED-1539-E7E5DFFBB82D}"/>
                </a:ext>
              </a:extLst>
            </p:cNvPr>
            <p:cNvSpPr>
              <a:spLocks/>
            </p:cNvSpPr>
            <p:nvPr/>
          </p:nvSpPr>
          <p:spPr bwMode="auto">
            <a:xfrm>
              <a:off x="8512447" y="3367889"/>
              <a:ext cx="242252" cy="477775"/>
            </a:xfrm>
            <a:custGeom>
              <a:avLst/>
              <a:gdLst>
                <a:gd name="T0" fmla="*/ 108 w 108"/>
                <a:gd name="T1" fmla="*/ 73 h 213"/>
                <a:gd name="T2" fmla="*/ 108 w 108"/>
                <a:gd name="T3" fmla="*/ 70 h 213"/>
                <a:gd name="T4" fmla="*/ 97 w 108"/>
                <a:gd name="T5" fmla="*/ 61 h 213"/>
                <a:gd name="T6" fmla="*/ 92 w 108"/>
                <a:gd name="T7" fmla="*/ 42 h 213"/>
                <a:gd name="T8" fmla="*/ 74 w 108"/>
                <a:gd name="T9" fmla="*/ 29 h 213"/>
                <a:gd name="T10" fmla="*/ 71 w 108"/>
                <a:gd name="T11" fmla="*/ 35 h 213"/>
                <a:gd name="T12" fmla="*/ 62 w 108"/>
                <a:gd name="T13" fmla="*/ 34 h 213"/>
                <a:gd name="T14" fmla="*/ 54 w 108"/>
                <a:gd name="T15" fmla="*/ 37 h 213"/>
                <a:gd name="T16" fmla="*/ 46 w 108"/>
                <a:gd name="T17" fmla="*/ 40 h 213"/>
                <a:gd name="T18" fmla="*/ 47 w 108"/>
                <a:gd name="T19" fmla="*/ 26 h 213"/>
                <a:gd name="T20" fmla="*/ 44 w 108"/>
                <a:gd name="T21" fmla="*/ 13 h 213"/>
                <a:gd name="T22" fmla="*/ 39 w 108"/>
                <a:gd name="T23" fmla="*/ 15 h 213"/>
                <a:gd name="T24" fmla="*/ 36 w 108"/>
                <a:gd name="T25" fmla="*/ 8 h 213"/>
                <a:gd name="T26" fmla="*/ 30 w 108"/>
                <a:gd name="T27" fmla="*/ 2 h 213"/>
                <a:gd name="T28" fmla="*/ 24 w 108"/>
                <a:gd name="T29" fmla="*/ 3 h 213"/>
                <a:gd name="T30" fmla="*/ 17 w 108"/>
                <a:gd name="T31" fmla="*/ 8 h 213"/>
                <a:gd name="T32" fmla="*/ 5 w 108"/>
                <a:gd name="T33" fmla="*/ 11 h 213"/>
                <a:gd name="T34" fmla="*/ 5 w 108"/>
                <a:gd name="T35" fmla="*/ 26 h 213"/>
                <a:gd name="T36" fmla="*/ 3 w 108"/>
                <a:gd name="T37" fmla="*/ 32 h 213"/>
                <a:gd name="T38" fmla="*/ 8 w 108"/>
                <a:gd name="T39" fmla="*/ 42 h 213"/>
                <a:gd name="T40" fmla="*/ 20 w 108"/>
                <a:gd name="T41" fmla="*/ 61 h 213"/>
                <a:gd name="T42" fmla="*/ 20 w 108"/>
                <a:gd name="T43" fmla="*/ 64 h 213"/>
                <a:gd name="T44" fmla="*/ 17 w 108"/>
                <a:gd name="T45" fmla="*/ 75 h 213"/>
                <a:gd name="T46" fmla="*/ 24 w 108"/>
                <a:gd name="T47" fmla="*/ 88 h 213"/>
                <a:gd name="T48" fmla="*/ 30 w 108"/>
                <a:gd name="T49" fmla="*/ 108 h 213"/>
                <a:gd name="T50" fmla="*/ 36 w 108"/>
                <a:gd name="T51" fmla="*/ 127 h 213"/>
                <a:gd name="T52" fmla="*/ 27 w 108"/>
                <a:gd name="T53" fmla="*/ 151 h 213"/>
                <a:gd name="T54" fmla="*/ 27 w 108"/>
                <a:gd name="T55" fmla="*/ 177 h 213"/>
                <a:gd name="T56" fmla="*/ 30 w 108"/>
                <a:gd name="T57" fmla="*/ 180 h 213"/>
                <a:gd name="T58" fmla="*/ 36 w 108"/>
                <a:gd name="T59" fmla="*/ 183 h 213"/>
                <a:gd name="T60" fmla="*/ 41 w 108"/>
                <a:gd name="T61" fmla="*/ 191 h 213"/>
                <a:gd name="T62" fmla="*/ 44 w 108"/>
                <a:gd name="T63" fmla="*/ 197 h 213"/>
                <a:gd name="T64" fmla="*/ 52 w 108"/>
                <a:gd name="T65" fmla="*/ 200 h 213"/>
                <a:gd name="T66" fmla="*/ 62 w 108"/>
                <a:gd name="T67" fmla="*/ 207 h 213"/>
                <a:gd name="T68" fmla="*/ 65 w 108"/>
                <a:gd name="T69" fmla="*/ 210 h 213"/>
                <a:gd name="T70" fmla="*/ 71 w 108"/>
                <a:gd name="T71" fmla="*/ 210 h 213"/>
                <a:gd name="T72" fmla="*/ 68 w 108"/>
                <a:gd name="T73" fmla="*/ 199 h 213"/>
                <a:gd name="T74" fmla="*/ 55 w 108"/>
                <a:gd name="T75" fmla="*/ 192 h 213"/>
                <a:gd name="T76" fmla="*/ 49 w 108"/>
                <a:gd name="T77" fmla="*/ 183 h 213"/>
                <a:gd name="T78" fmla="*/ 51 w 108"/>
                <a:gd name="T79" fmla="*/ 183 h 213"/>
                <a:gd name="T80" fmla="*/ 43 w 108"/>
                <a:gd name="T81" fmla="*/ 162 h 213"/>
                <a:gd name="T82" fmla="*/ 36 w 108"/>
                <a:gd name="T83" fmla="*/ 157 h 213"/>
                <a:gd name="T84" fmla="*/ 33 w 108"/>
                <a:gd name="T85" fmla="*/ 145 h 213"/>
                <a:gd name="T86" fmla="*/ 36 w 108"/>
                <a:gd name="T87" fmla="*/ 137 h 213"/>
                <a:gd name="T88" fmla="*/ 39 w 108"/>
                <a:gd name="T89" fmla="*/ 111 h 213"/>
                <a:gd name="T90" fmla="*/ 46 w 108"/>
                <a:gd name="T91" fmla="*/ 100 h 213"/>
                <a:gd name="T92" fmla="*/ 52 w 108"/>
                <a:gd name="T93" fmla="*/ 108 h 213"/>
                <a:gd name="T94" fmla="*/ 59 w 108"/>
                <a:gd name="T95" fmla="*/ 113 h 213"/>
                <a:gd name="T96" fmla="*/ 65 w 108"/>
                <a:gd name="T97" fmla="*/ 113 h 213"/>
                <a:gd name="T98" fmla="*/ 71 w 108"/>
                <a:gd name="T99" fmla="*/ 116 h 213"/>
                <a:gd name="T100" fmla="*/ 76 w 108"/>
                <a:gd name="T101" fmla="*/ 119 h 213"/>
                <a:gd name="T102" fmla="*/ 71 w 108"/>
                <a:gd name="T103" fmla="*/ 104 h 213"/>
                <a:gd name="T104" fmla="*/ 78 w 108"/>
                <a:gd name="T105" fmla="*/ 88 h 213"/>
                <a:gd name="T106" fmla="*/ 92 w 108"/>
                <a:gd name="T107" fmla="*/ 88 h 213"/>
                <a:gd name="T108" fmla="*/ 103 w 108"/>
                <a:gd name="T109" fmla="*/ 89 h 213"/>
                <a:gd name="T110" fmla="*/ 108 w 108"/>
                <a:gd name="T111" fmla="*/ 84 h 213"/>
                <a:gd name="T112" fmla="*/ 108 w 108"/>
                <a:gd name="T113" fmla="*/ 8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213">
                  <a:moveTo>
                    <a:pt x="108" y="84"/>
                  </a:moveTo>
                  <a:lnTo>
                    <a:pt x="108" y="80"/>
                  </a:lnTo>
                  <a:lnTo>
                    <a:pt x="106" y="78"/>
                  </a:lnTo>
                  <a:lnTo>
                    <a:pt x="106" y="77"/>
                  </a:lnTo>
                  <a:lnTo>
                    <a:pt x="108" y="73"/>
                  </a:lnTo>
                  <a:lnTo>
                    <a:pt x="108" y="73"/>
                  </a:lnTo>
                  <a:lnTo>
                    <a:pt x="108" y="73"/>
                  </a:lnTo>
                  <a:lnTo>
                    <a:pt x="106" y="73"/>
                  </a:lnTo>
                  <a:lnTo>
                    <a:pt x="108" y="72"/>
                  </a:lnTo>
                  <a:lnTo>
                    <a:pt x="108" y="70"/>
                  </a:lnTo>
                  <a:lnTo>
                    <a:pt x="108" y="69"/>
                  </a:lnTo>
                  <a:lnTo>
                    <a:pt x="105" y="67"/>
                  </a:lnTo>
                  <a:lnTo>
                    <a:pt x="103" y="67"/>
                  </a:lnTo>
                  <a:lnTo>
                    <a:pt x="105" y="64"/>
                  </a:lnTo>
                  <a:lnTo>
                    <a:pt x="97" y="61"/>
                  </a:lnTo>
                  <a:lnTo>
                    <a:pt x="95" y="57"/>
                  </a:lnTo>
                  <a:lnTo>
                    <a:pt x="95" y="54"/>
                  </a:lnTo>
                  <a:lnTo>
                    <a:pt x="95" y="46"/>
                  </a:lnTo>
                  <a:lnTo>
                    <a:pt x="92" y="43"/>
                  </a:lnTo>
                  <a:lnTo>
                    <a:pt x="92" y="42"/>
                  </a:lnTo>
                  <a:lnTo>
                    <a:pt x="89" y="38"/>
                  </a:lnTo>
                  <a:lnTo>
                    <a:pt x="86" y="35"/>
                  </a:lnTo>
                  <a:lnTo>
                    <a:pt x="84" y="32"/>
                  </a:lnTo>
                  <a:lnTo>
                    <a:pt x="79" y="32"/>
                  </a:lnTo>
                  <a:lnTo>
                    <a:pt x="74" y="29"/>
                  </a:lnTo>
                  <a:lnTo>
                    <a:pt x="74" y="29"/>
                  </a:lnTo>
                  <a:lnTo>
                    <a:pt x="74" y="30"/>
                  </a:lnTo>
                  <a:lnTo>
                    <a:pt x="74" y="32"/>
                  </a:lnTo>
                  <a:lnTo>
                    <a:pt x="71" y="34"/>
                  </a:lnTo>
                  <a:lnTo>
                    <a:pt x="71" y="35"/>
                  </a:lnTo>
                  <a:lnTo>
                    <a:pt x="68" y="37"/>
                  </a:lnTo>
                  <a:lnTo>
                    <a:pt x="66" y="37"/>
                  </a:lnTo>
                  <a:lnTo>
                    <a:pt x="65" y="37"/>
                  </a:lnTo>
                  <a:lnTo>
                    <a:pt x="65" y="35"/>
                  </a:lnTo>
                  <a:lnTo>
                    <a:pt x="62" y="34"/>
                  </a:lnTo>
                  <a:lnTo>
                    <a:pt x="60" y="32"/>
                  </a:lnTo>
                  <a:lnTo>
                    <a:pt x="59" y="32"/>
                  </a:lnTo>
                  <a:lnTo>
                    <a:pt x="57" y="34"/>
                  </a:lnTo>
                  <a:lnTo>
                    <a:pt x="55" y="34"/>
                  </a:lnTo>
                  <a:lnTo>
                    <a:pt x="54" y="37"/>
                  </a:lnTo>
                  <a:lnTo>
                    <a:pt x="52" y="38"/>
                  </a:lnTo>
                  <a:lnTo>
                    <a:pt x="49" y="43"/>
                  </a:lnTo>
                  <a:lnTo>
                    <a:pt x="47" y="43"/>
                  </a:lnTo>
                  <a:lnTo>
                    <a:pt x="46" y="42"/>
                  </a:lnTo>
                  <a:lnTo>
                    <a:pt x="46" y="40"/>
                  </a:lnTo>
                  <a:lnTo>
                    <a:pt x="46" y="37"/>
                  </a:lnTo>
                  <a:lnTo>
                    <a:pt x="47" y="32"/>
                  </a:lnTo>
                  <a:lnTo>
                    <a:pt x="46" y="29"/>
                  </a:lnTo>
                  <a:lnTo>
                    <a:pt x="46" y="26"/>
                  </a:lnTo>
                  <a:lnTo>
                    <a:pt x="47" y="26"/>
                  </a:lnTo>
                  <a:lnTo>
                    <a:pt x="47" y="23"/>
                  </a:lnTo>
                  <a:lnTo>
                    <a:pt x="46" y="19"/>
                  </a:lnTo>
                  <a:lnTo>
                    <a:pt x="46" y="19"/>
                  </a:lnTo>
                  <a:lnTo>
                    <a:pt x="46" y="15"/>
                  </a:lnTo>
                  <a:lnTo>
                    <a:pt x="44" y="13"/>
                  </a:lnTo>
                  <a:lnTo>
                    <a:pt x="41" y="13"/>
                  </a:lnTo>
                  <a:lnTo>
                    <a:pt x="39" y="13"/>
                  </a:lnTo>
                  <a:lnTo>
                    <a:pt x="39" y="13"/>
                  </a:lnTo>
                  <a:lnTo>
                    <a:pt x="39" y="15"/>
                  </a:lnTo>
                  <a:lnTo>
                    <a:pt x="39" y="15"/>
                  </a:lnTo>
                  <a:lnTo>
                    <a:pt x="36" y="13"/>
                  </a:lnTo>
                  <a:lnTo>
                    <a:pt x="36" y="11"/>
                  </a:lnTo>
                  <a:lnTo>
                    <a:pt x="33" y="10"/>
                  </a:lnTo>
                  <a:lnTo>
                    <a:pt x="35" y="10"/>
                  </a:lnTo>
                  <a:lnTo>
                    <a:pt x="36" y="8"/>
                  </a:lnTo>
                  <a:lnTo>
                    <a:pt x="36" y="7"/>
                  </a:lnTo>
                  <a:lnTo>
                    <a:pt x="36" y="5"/>
                  </a:lnTo>
                  <a:lnTo>
                    <a:pt x="33" y="0"/>
                  </a:lnTo>
                  <a:lnTo>
                    <a:pt x="30" y="2"/>
                  </a:lnTo>
                  <a:lnTo>
                    <a:pt x="30" y="2"/>
                  </a:lnTo>
                  <a:lnTo>
                    <a:pt x="28" y="0"/>
                  </a:lnTo>
                  <a:lnTo>
                    <a:pt x="27" y="0"/>
                  </a:lnTo>
                  <a:lnTo>
                    <a:pt x="27" y="0"/>
                  </a:lnTo>
                  <a:lnTo>
                    <a:pt x="24" y="2"/>
                  </a:lnTo>
                  <a:lnTo>
                    <a:pt x="24" y="3"/>
                  </a:lnTo>
                  <a:lnTo>
                    <a:pt x="24" y="5"/>
                  </a:lnTo>
                  <a:lnTo>
                    <a:pt x="20" y="5"/>
                  </a:lnTo>
                  <a:lnTo>
                    <a:pt x="17" y="5"/>
                  </a:lnTo>
                  <a:lnTo>
                    <a:pt x="17" y="7"/>
                  </a:lnTo>
                  <a:lnTo>
                    <a:pt x="17" y="8"/>
                  </a:lnTo>
                  <a:lnTo>
                    <a:pt x="17" y="10"/>
                  </a:lnTo>
                  <a:lnTo>
                    <a:pt x="14" y="10"/>
                  </a:lnTo>
                  <a:lnTo>
                    <a:pt x="12" y="11"/>
                  </a:lnTo>
                  <a:lnTo>
                    <a:pt x="6" y="10"/>
                  </a:lnTo>
                  <a:lnTo>
                    <a:pt x="5" y="11"/>
                  </a:lnTo>
                  <a:lnTo>
                    <a:pt x="3" y="16"/>
                  </a:lnTo>
                  <a:lnTo>
                    <a:pt x="5" y="18"/>
                  </a:lnTo>
                  <a:lnTo>
                    <a:pt x="3" y="23"/>
                  </a:lnTo>
                  <a:lnTo>
                    <a:pt x="5" y="26"/>
                  </a:lnTo>
                  <a:lnTo>
                    <a:pt x="5" y="26"/>
                  </a:lnTo>
                  <a:lnTo>
                    <a:pt x="1" y="29"/>
                  </a:lnTo>
                  <a:lnTo>
                    <a:pt x="0" y="26"/>
                  </a:lnTo>
                  <a:lnTo>
                    <a:pt x="1" y="29"/>
                  </a:lnTo>
                  <a:lnTo>
                    <a:pt x="1" y="32"/>
                  </a:lnTo>
                  <a:lnTo>
                    <a:pt x="3" y="32"/>
                  </a:lnTo>
                  <a:lnTo>
                    <a:pt x="5" y="32"/>
                  </a:lnTo>
                  <a:lnTo>
                    <a:pt x="5" y="34"/>
                  </a:lnTo>
                  <a:lnTo>
                    <a:pt x="6" y="35"/>
                  </a:lnTo>
                  <a:lnTo>
                    <a:pt x="6" y="38"/>
                  </a:lnTo>
                  <a:lnTo>
                    <a:pt x="8" y="42"/>
                  </a:lnTo>
                  <a:lnTo>
                    <a:pt x="12" y="45"/>
                  </a:lnTo>
                  <a:lnTo>
                    <a:pt x="16" y="48"/>
                  </a:lnTo>
                  <a:lnTo>
                    <a:pt x="17" y="53"/>
                  </a:lnTo>
                  <a:lnTo>
                    <a:pt x="17" y="57"/>
                  </a:lnTo>
                  <a:lnTo>
                    <a:pt x="20" y="61"/>
                  </a:lnTo>
                  <a:lnTo>
                    <a:pt x="24" y="57"/>
                  </a:lnTo>
                  <a:lnTo>
                    <a:pt x="24" y="61"/>
                  </a:lnTo>
                  <a:lnTo>
                    <a:pt x="20" y="64"/>
                  </a:lnTo>
                  <a:lnTo>
                    <a:pt x="20" y="64"/>
                  </a:lnTo>
                  <a:lnTo>
                    <a:pt x="20" y="64"/>
                  </a:lnTo>
                  <a:lnTo>
                    <a:pt x="20" y="67"/>
                  </a:lnTo>
                  <a:lnTo>
                    <a:pt x="20" y="72"/>
                  </a:lnTo>
                  <a:lnTo>
                    <a:pt x="20" y="73"/>
                  </a:lnTo>
                  <a:lnTo>
                    <a:pt x="17" y="73"/>
                  </a:lnTo>
                  <a:lnTo>
                    <a:pt x="17" y="75"/>
                  </a:lnTo>
                  <a:lnTo>
                    <a:pt x="17" y="75"/>
                  </a:lnTo>
                  <a:lnTo>
                    <a:pt x="17" y="77"/>
                  </a:lnTo>
                  <a:lnTo>
                    <a:pt x="17" y="80"/>
                  </a:lnTo>
                  <a:lnTo>
                    <a:pt x="17" y="83"/>
                  </a:lnTo>
                  <a:lnTo>
                    <a:pt x="24" y="88"/>
                  </a:lnTo>
                  <a:lnTo>
                    <a:pt x="27" y="92"/>
                  </a:lnTo>
                  <a:lnTo>
                    <a:pt x="30" y="97"/>
                  </a:lnTo>
                  <a:lnTo>
                    <a:pt x="30" y="104"/>
                  </a:lnTo>
                  <a:lnTo>
                    <a:pt x="30" y="105"/>
                  </a:lnTo>
                  <a:lnTo>
                    <a:pt x="30" y="108"/>
                  </a:lnTo>
                  <a:lnTo>
                    <a:pt x="33" y="113"/>
                  </a:lnTo>
                  <a:lnTo>
                    <a:pt x="36" y="116"/>
                  </a:lnTo>
                  <a:lnTo>
                    <a:pt x="36" y="124"/>
                  </a:lnTo>
                  <a:lnTo>
                    <a:pt x="36" y="126"/>
                  </a:lnTo>
                  <a:lnTo>
                    <a:pt x="36" y="127"/>
                  </a:lnTo>
                  <a:lnTo>
                    <a:pt x="33" y="132"/>
                  </a:lnTo>
                  <a:lnTo>
                    <a:pt x="30" y="140"/>
                  </a:lnTo>
                  <a:lnTo>
                    <a:pt x="30" y="143"/>
                  </a:lnTo>
                  <a:lnTo>
                    <a:pt x="28" y="145"/>
                  </a:lnTo>
                  <a:lnTo>
                    <a:pt x="27" y="151"/>
                  </a:lnTo>
                  <a:lnTo>
                    <a:pt x="24" y="167"/>
                  </a:lnTo>
                  <a:lnTo>
                    <a:pt x="24" y="173"/>
                  </a:lnTo>
                  <a:lnTo>
                    <a:pt x="24" y="177"/>
                  </a:lnTo>
                  <a:lnTo>
                    <a:pt x="27" y="178"/>
                  </a:lnTo>
                  <a:lnTo>
                    <a:pt x="27" y="177"/>
                  </a:lnTo>
                  <a:lnTo>
                    <a:pt x="28" y="175"/>
                  </a:lnTo>
                  <a:lnTo>
                    <a:pt x="30" y="175"/>
                  </a:lnTo>
                  <a:lnTo>
                    <a:pt x="30" y="177"/>
                  </a:lnTo>
                  <a:lnTo>
                    <a:pt x="30" y="178"/>
                  </a:lnTo>
                  <a:lnTo>
                    <a:pt x="30" y="180"/>
                  </a:lnTo>
                  <a:lnTo>
                    <a:pt x="33" y="180"/>
                  </a:lnTo>
                  <a:lnTo>
                    <a:pt x="33" y="180"/>
                  </a:lnTo>
                  <a:lnTo>
                    <a:pt x="33" y="183"/>
                  </a:lnTo>
                  <a:lnTo>
                    <a:pt x="36" y="183"/>
                  </a:lnTo>
                  <a:lnTo>
                    <a:pt x="36" y="183"/>
                  </a:lnTo>
                  <a:lnTo>
                    <a:pt x="36" y="186"/>
                  </a:lnTo>
                  <a:lnTo>
                    <a:pt x="39" y="189"/>
                  </a:lnTo>
                  <a:lnTo>
                    <a:pt x="39" y="189"/>
                  </a:lnTo>
                  <a:lnTo>
                    <a:pt x="39" y="189"/>
                  </a:lnTo>
                  <a:lnTo>
                    <a:pt x="41" y="191"/>
                  </a:lnTo>
                  <a:lnTo>
                    <a:pt x="41" y="192"/>
                  </a:lnTo>
                  <a:lnTo>
                    <a:pt x="43" y="191"/>
                  </a:lnTo>
                  <a:lnTo>
                    <a:pt x="43" y="192"/>
                  </a:lnTo>
                  <a:lnTo>
                    <a:pt x="43" y="194"/>
                  </a:lnTo>
                  <a:lnTo>
                    <a:pt x="44" y="197"/>
                  </a:lnTo>
                  <a:lnTo>
                    <a:pt x="47" y="200"/>
                  </a:lnTo>
                  <a:lnTo>
                    <a:pt x="49" y="202"/>
                  </a:lnTo>
                  <a:lnTo>
                    <a:pt x="49" y="199"/>
                  </a:lnTo>
                  <a:lnTo>
                    <a:pt x="51" y="199"/>
                  </a:lnTo>
                  <a:lnTo>
                    <a:pt x="52" y="200"/>
                  </a:lnTo>
                  <a:lnTo>
                    <a:pt x="55" y="202"/>
                  </a:lnTo>
                  <a:lnTo>
                    <a:pt x="57" y="202"/>
                  </a:lnTo>
                  <a:lnTo>
                    <a:pt x="57" y="204"/>
                  </a:lnTo>
                  <a:lnTo>
                    <a:pt x="59" y="204"/>
                  </a:lnTo>
                  <a:lnTo>
                    <a:pt x="62" y="207"/>
                  </a:lnTo>
                  <a:lnTo>
                    <a:pt x="62" y="207"/>
                  </a:lnTo>
                  <a:lnTo>
                    <a:pt x="60" y="210"/>
                  </a:lnTo>
                  <a:lnTo>
                    <a:pt x="62" y="213"/>
                  </a:lnTo>
                  <a:lnTo>
                    <a:pt x="62" y="213"/>
                  </a:lnTo>
                  <a:lnTo>
                    <a:pt x="65" y="210"/>
                  </a:lnTo>
                  <a:lnTo>
                    <a:pt x="65" y="210"/>
                  </a:lnTo>
                  <a:lnTo>
                    <a:pt x="68" y="210"/>
                  </a:lnTo>
                  <a:lnTo>
                    <a:pt x="68" y="210"/>
                  </a:lnTo>
                  <a:lnTo>
                    <a:pt x="71" y="213"/>
                  </a:lnTo>
                  <a:lnTo>
                    <a:pt x="71" y="210"/>
                  </a:lnTo>
                  <a:lnTo>
                    <a:pt x="74" y="207"/>
                  </a:lnTo>
                  <a:lnTo>
                    <a:pt x="74" y="207"/>
                  </a:lnTo>
                  <a:lnTo>
                    <a:pt x="74" y="204"/>
                  </a:lnTo>
                  <a:lnTo>
                    <a:pt x="71" y="202"/>
                  </a:lnTo>
                  <a:lnTo>
                    <a:pt x="68" y="199"/>
                  </a:lnTo>
                  <a:lnTo>
                    <a:pt x="65" y="196"/>
                  </a:lnTo>
                  <a:lnTo>
                    <a:pt x="62" y="196"/>
                  </a:lnTo>
                  <a:lnTo>
                    <a:pt x="60" y="196"/>
                  </a:lnTo>
                  <a:lnTo>
                    <a:pt x="57" y="194"/>
                  </a:lnTo>
                  <a:lnTo>
                    <a:pt x="55" y="192"/>
                  </a:lnTo>
                  <a:lnTo>
                    <a:pt x="52" y="191"/>
                  </a:lnTo>
                  <a:lnTo>
                    <a:pt x="49" y="189"/>
                  </a:lnTo>
                  <a:lnTo>
                    <a:pt x="47" y="186"/>
                  </a:lnTo>
                  <a:lnTo>
                    <a:pt x="47" y="183"/>
                  </a:lnTo>
                  <a:lnTo>
                    <a:pt x="49" y="183"/>
                  </a:lnTo>
                  <a:lnTo>
                    <a:pt x="51" y="186"/>
                  </a:lnTo>
                  <a:lnTo>
                    <a:pt x="52" y="189"/>
                  </a:lnTo>
                  <a:lnTo>
                    <a:pt x="54" y="191"/>
                  </a:lnTo>
                  <a:lnTo>
                    <a:pt x="52" y="186"/>
                  </a:lnTo>
                  <a:lnTo>
                    <a:pt x="51" y="183"/>
                  </a:lnTo>
                  <a:lnTo>
                    <a:pt x="47" y="173"/>
                  </a:lnTo>
                  <a:lnTo>
                    <a:pt x="46" y="173"/>
                  </a:lnTo>
                  <a:lnTo>
                    <a:pt x="46" y="170"/>
                  </a:lnTo>
                  <a:lnTo>
                    <a:pt x="44" y="164"/>
                  </a:lnTo>
                  <a:lnTo>
                    <a:pt x="43" y="162"/>
                  </a:lnTo>
                  <a:lnTo>
                    <a:pt x="41" y="161"/>
                  </a:lnTo>
                  <a:lnTo>
                    <a:pt x="39" y="162"/>
                  </a:lnTo>
                  <a:lnTo>
                    <a:pt x="36" y="162"/>
                  </a:lnTo>
                  <a:lnTo>
                    <a:pt x="36" y="161"/>
                  </a:lnTo>
                  <a:lnTo>
                    <a:pt x="36" y="157"/>
                  </a:lnTo>
                  <a:lnTo>
                    <a:pt x="33" y="157"/>
                  </a:lnTo>
                  <a:lnTo>
                    <a:pt x="33" y="151"/>
                  </a:lnTo>
                  <a:lnTo>
                    <a:pt x="33" y="148"/>
                  </a:lnTo>
                  <a:lnTo>
                    <a:pt x="33" y="145"/>
                  </a:lnTo>
                  <a:lnTo>
                    <a:pt x="33" y="145"/>
                  </a:lnTo>
                  <a:lnTo>
                    <a:pt x="33" y="145"/>
                  </a:lnTo>
                  <a:lnTo>
                    <a:pt x="33" y="143"/>
                  </a:lnTo>
                  <a:lnTo>
                    <a:pt x="36" y="137"/>
                  </a:lnTo>
                  <a:lnTo>
                    <a:pt x="36" y="137"/>
                  </a:lnTo>
                  <a:lnTo>
                    <a:pt x="36" y="137"/>
                  </a:lnTo>
                  <a:lnTo>
                    <a:pt x="36" y="134"/>
                  </a:lnTo>
                  <a:lnTo>
                    <a:pt x="36" y="134"/>
                  </a:lnTo>
                  <a:lnTo>
                    <a:pt x="41" y="119"/>
                  </a:lnTo>
                  <a:lnTo>
                    <a:pt x="41" y="116"/>
                  </a:lnTo>
                  <a:lnTo>
                    <a:pt x="39" y="111"/>
                  </a:lnTo>
                  <a:lnTo>
                    <a:pt x="41" y="108"/>
                  </a:lnTo>
                  <a:lnTo>
                    <a:pt x="39" y="104"/>
                  </a:lnTo>
                  <a:lnTo>
                    <a:pt x="39" y="102"/>
                  </a:lnTo>
                  <a:lnTo>
                    <a:pt x="43" y="100"/>
                  </a:lnTo>
                  <a:lnTo>
                    <a:pt x="46" y="100"/>
                  </a:lnTo>
                  <a:lnTo>
                    <a:pt x="47" y="99"/>
                  </a:lnTo>
                  <a:lnTo>
                    <a:pt x="49" y="100"/>
                  </a:lnTo>
                  <a:lnTo>
                    <a:pt x="52" y="100"/>
                  </a:lnTo>
                  <a:lnTo>
                    <a:pt x="52" y="105"/>
                  </a:lnTo>
                  <a:lnTo>
                    <a:pt x="52" y="108"/>
                  </a:lnTo>
                  <a:lnTo>
                    <a:pt x="52" y="111"/>
                  </a:lnTo>
                  <a:lnTo>
                    <a:pt x="52" y="113"/>
                  </a:lnTo>
                  <a:lnTo>
                    <a:pt x="54" y="113"/>
                  </a:lnTo>
                  <a:lnTo>
                    <a:pt x="57" y="113"/>
                  </a:lnTo>
                  <a:lnTo>
                    <a:pt x="59" y="113"/>
                  </a:lnTo>
                  <a:lnTo>
                    <a:pt x="60" y="113"/>
                  </a:lnTo>
                  <a:lnTo>
                    <a:pt x="62" y="111"/>
                  </a:lnTo>
                  <a:lnTo>
                    <a:pt x="65" y="113"/>
                  </a:lnTo>
                  <a:lnTo>
                    <a:pt x="65" y="113"/>
                  </a:lnTo>
                  <a:lnTo>
                    <a:pt x="65" y="113"/>
                  </a:lnTo>
                  <a:lnTo>
                    <a:pt x="68" y="116"/>
                  </a:lnTo>
                  <a:lnTo>
                    <a:pt x="68" y="116"/>
                  </a:lnTo>
                  <a:lnTo>
                    <a:pt x="68" y="116"/>
                  </a:lnTo>
                  <a:lnTo>
                    <a:pt x="71" y="116"/>
                  </a:lnTo>
                  <a:lnTo>
                    <a:pt x="71" y="116"/>
                  </a:lnTo>
                  <a:lnTo>
                    <a:pt x="71" y="119"/>
                  </a:lnTo>
                  <a:lnTo>
                    <a:pt x="71" y="119"/>
                  </a:lnTo>
                  <a:lnTo>
                    <a:pt x="74" y="123"/>
                  </a:lnTo>
                  <a:lnTo>
                    <a:pt x="74" y="119"/>
                  </a:lnTo>
                  <a:lnTo>
                    <a:pt x="76" y="119"/>
                  </a:lnTo>
                  <a:lnTo>
                    <a:pt x="76" y="121"/>
                  </a:lnTo>
                  <a:lnTo>
                    <a:pt x="76" y="119"/>
                  </a:lnTo>
                  <a:lnTo>
                    <a:pt x="76" y="116"/>
                  </a:lnTo>
                  <a:lnTo>
                    <a:pt x="71" y="110"/>
                  </a:lnTo>
                  <a:lnTo>
                    <a:pt x="71" y="104"/>
                  </a:lnTo>
                  <a:lnTo>
                    <a:pt x="68" y="99"/>
                  </a:lnTo>
                  <a:lnTo>
                    <a:pt x="71" y="99"/>
                  </a:lnTo>
                  <a:lnTo>
                    <a:pt x="74" y="96"/>
                  </a:lnTo>
                  <a:lnTo>
                    <a:pt x="76" y="91"/>
                  </a:lnTo>
                  <a:lnTo>
                    <a:pt x="78" y="88"/>
                  </a:lnTo>
                  <a:lnTo>
                    <a:pt x="81" y="88"/>
                  </a:lnTo>
                  <a:lnTo>
                    <a:pt x="84" y="88"/>
                  </a:lnTo>
                  <a:lnTo>
                    <a:pt x="87" y="88"/>
                  </a:lnTo>
                  <a:lnTo>
                    <a:pt x="89" y="88"/>
                  </a:lnTo>
                  <a:lnTo>
                    <a:pt x="92" y="88"/>
                  </a:lnTo>
                  <a:lnTo>
                    <a:pt x="92" y="88"/>
                  </a:lnTo>
                  <a:lnTo>
                    <a:pt x="97" y="88"/>
                  </a:lnTo>
                  <a:lnTo>
                    <a:pt x="100" y="88"/>
                  </a:lnTo>
                  <a:lnTo>
                    <a:pt x="101" y="88"/>
                  </a:lnTo>
                  <a:lnTo>
                    <a:pt x="103" y="89"/>
                  </a:lnTo>
                  <a:lnTo>
                    <a:pt x="105" y="88"/>
                  </a:lnTo>
                  <a:lnTo>
                    <a:pt x="106" y="84"/>
                  </a:lnTo>
                  <a:lnTo>
                    <a:pt x="108" y="84"/>
                  </a:lnTo>
                  <a:lnTo>
                    <a:pt x="108" y="84"/>
                  </a:lnTo>
                  <a:lnTo>
                    <a:pt x="108" y="84"/>
                  </a:lnTo>
                  <a:lnTo>
                    <a:pt x="108" y="84"/>
                  </a:lnTo>
                  <a:lnTo>
                    <a:pt x="108" y="84"/>
                  </a:lnTo>
                  <a:lnTo>
                    <a:pt x="108" y="84"/>
                  </a:lnTo>
                  <a:lnTo>
                    <a:pt x="108" y="84"/>
                  </a:lnTo>
                  <a:lnTo>
                    <a:pt x="108" y="84"/>
                  </a:lnTo>
                  <a:lnTo>
                    <a:pt x="108" y="8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8" name="Freeform 245">
              <a:extLst>
                <a:ext uri="{FF2B5EF4-FFF2-40B4-BE49-F238E27FC236}">
                  <a16:creationId xmlns:a16="http://schemas.microsoft.com/office/drawing/2014/main" id="{E146D9F4-8D14-D727-FC93-5DEAD426BE70}"/>
                </a:ext>
              </a:extLst>
            </p:cNvPr>
            <p:cNvSpPr>
              <a:spLocks/>
            </p:cNvSpPr>
            <p:nvPr/>
          </p:nvSpPr>
          <p:spPr bwMode="auto">
            <a:xfrm>
              <a:off x="9120320" y="3215360"/>
              <a:ext cx="42619" cy="103181"/>
            </a:xfrm>
            <a:custGeom>
              <a:avLst/>
              <a:gdLst>
                <a:gd name="T0" fmla="*/ 0 w 19"/>
                <a:gd name="T1" fmla="*/ 24 h 46"/>
                <a:gd name="T2" fmla="*/ 0 w 19"/>
                <a:gd name="T3" fmla="*/ 24 h 46"/>
                <a:gd name="T4" fmla="*/ 2 w 19"/>
                <a:gd name="T5" fmla="*/ 29 h 46"/>
                <a:gd name="T6" fmla="*/ 2 w 19"/>
                <a:gd name="T7" fmla="*/ 29 h 46"/>
                <a:gd name="T8" fmla="*/ 0 w 19"/>
                <a:gd name="T9" fmla="*/ 30 h 46"/>
                <a:gd name="T10" fmla="*/ 2 w 19"/>
                <a:gd name="T11" fmla="*/ 30 h 46"/>
                <a:gd name="T12" fmla="*/ 2 w 19"/>
                <a:gd name="T13" fmla="*/ 30 h 46"/>
                <a:gd name="T14" fmla="*/ 3 w 19"/>
                <a:gd name="T15" fmla="*/ 32 h 46"/>
                <a:gd name="T16" fmla="*/ 5 w 19"/>
                <a:gd name="T17" fmla="*/ 37 h 46"/>
                <a:gd name="T18" fmla="*/ 5 w 19"/>
                <a:gd name="T19" fmla="*/ 37 h 46"/>
                <a:gd name="T20" fmla="*/ 7 w 19"/>
                <a:gd name="T21" fmla="*/ 40 h 46"/>
                <a:gd name="T22" fmla="*/ 10 w 19"/>
                <a:gd name="T23" fmla="*/ 41 h 46"/>
                <a:gd name="T24" fmla="*/ 10 w 19"/>
                <a:gd name="T25" fmla="*/ 41 h 46"/>
                <a:gd name="T26" fmla="*/ 10 w 19"/>
                <a:gd name="T27" fmla="*/ 45 h 46"/>
                <a:gd name="T28" fmla="*/ 13 w 19"/>
                <a:gd name="T29" fmla="*/ 46 h 46"/>
                <a:gd name="T30" fmla="*/ 13 w 19"/>
                <a:gd name="T31" fmla="*/ 46 h 46"/>
                <a:gd name="T32" fmla="*/ 13 w 19"/>
                <a:gd name="T33" fmla="*/ 46 h 46"/>
                <a:gd name="T34" fmla="*/ 13 w 19"/>
                <a:gd name="T35" fmla="*/ 45 h 46"/>
                <a:gd name="T36" fmla="*/ 13 w 19"/>
                <a:gd name="T37" fmla="*/ 41 h 46"/>
                <a:gd name="T38" fmla="*/ 13 w 19"/>
                <a:gd name="T39" fmla="*/ 41 h 46"/>
                <a:gd name="T40" fmla="*/ 13 w 19"/>
                <a:gd name="T41" fmla="*/ 38 h 46"/>
                <a:gd name="T42" fmla="*/ 16 w 19"/>
                <a:gd name="T43" fmla="*/ 35 h 46"/>
                <a:gd name="T44" fmla="*/ 16 w 19"/>
                <a:gd name="T45" fmla="*/ 35 h 46"/>
                <a:gd name="T46" fmla="*/ 16 w 19"/>
                <a:gd name="T47" fmla="*/ 32 h 46"/>
                <a:gd name="T48" fmla="*/ 19 w 19"/>
                <a:gd name="T49" fmla="*/ 29 h 46"/>
                <a:gd name="T50" fmla="*/ 19 w 19"/>
                <a:gd name="T51" fmla="*/ 19 h 46"/>
                <a:gd name="T52" fmla="*/ 19 w 19"/>
                <a:gd name="T53" fmla="*/ 19 h 46"/>
                <a:gd name="T54" fmla="*/ 16 w 19"/>
                <a:gd name="T55" fmla="*/ 14 h 46"/>
                <a:gd name="T56" fmla="*/ 16 w 19"/>
                <a:gd name="T57" fmla="*/ 14 h 46"/>
                <a:gd name="T58" fmla="*/ 19 w 19"/>
                <a:gd name="T59" fmla="*/ 13 h 46"/>
                <a:gd name="T60" fmla="*/ 19 w 19"/>
                <a:gd name="T61" fmla="*/ 13 h 46"/>
                <a:gd name="T62" fmla="*/ 19 w 19"/>
                <a:gd name="T63" fmla="*/ 6 h 46"/>
                <a:gd name="T64" fmla="*/ 19 w 19"/>
                <a:gd name="T65" fmla="*/ 6 h 46"/>
                <a:gd name="T66" fmla="*/ 19 w 19"/>
                <a:gd name="T67" fmla="*/ 3 h 46"/>
                <a:gd name="T68" fmla="*/ 19 w 19"/>
                <a:gd name="T69" fmla="*/ 3 h 46"/>
                <a:gd name="T70" fmla="*/ 19 w 19"/>
                <a:gd name="T71" fmla="*/ 3 h 46"/>
                <a:gd name="T72" fmla="*/ 16 w 19"/>
                <a:gd name="T73" fmla="*/ 0 h 46"/>
                <a:gd name="T74" fmla="*/ 13 w 19"/>
                <a:gd name="T75" fmla="*/ 0 h 46"/>
                <a:gd name="T76" fmla="*/ 13 w 19"/>
                <a:gd name="T77" fmla="*/ 0 h 46"/>
                <a:gd name="T78" fmla="*/ 10 w 19"/>
                <a:gd name="T79" fmla="*/ 0 h 46"/>
                <a:gd name="T80" fmla="*/ 7 w 19"/>
                <a:gd name="T81" fmla="*/ 3 h 46"/>
                <a:gd name="T82" fmla="*/ 7 w 19"/>
                <a:gd name="T83" fmla="*/ 3 h 46"/>
                <a:gd name="T84" fmla="*/ 7 w 19"/>
                <a:gd name="T85" fmla="*/ 6 h 46"/>
                <a:gd name="T86" fmla="*/ 5 w 19"/>
                <a:gd name="T87" fmla="*/ 10 h 46"/>
                <a:gd name="T88" fmla="*/ 5 w 19"/>
                <a:gd name="T89" fmla="*/ 10 h 46"/>
                <a:gd name="T90" fmla="*/ 3 w 19"/>
                <a:gd name="T91" fmla="*/ 11 h 46"/>
                <a:gd name="T92" fmla="*/ 3 w 19"/>
                <a:gd name="T93" fmla="*/ 14 h 46"/>
                <a:gd name="T94" fmla="*/ 3 w 19"/>
                <a:gd name="T95" fmla="*/ 14 h 46"/>
                <a:gd name="T96" fmla="*/ 2 w 19"/>
                <a:gd name="T97" fmla="*/ 19 h 46"/>
                <a:gd name="T98" fmla="*/ 0 w 19"/>
                <a:gd name="T99" fmla="*/ 24 h 46"/>
                <a:gd name="T100" fmla="*/ 0 w 19"/>
                <a:gd name="T101" fmla="*/ 24 h 46"/>
                <a:gd name="T102" fmla="*/ 0 w 19"/>
                <a:gd name="T103" fmla="*/ 24 h 46"/>
                <a:gd name="T104" fmla="*/ 0 w 19"/>
                <a:gd name="T105" fmla="*/ 24 h 46"/>
                <a:gd name="T106" fmla="*/ 0 w 19"/>
                <a:gd name="T107" fmla="*/ 24 h 46"/>
                <a:gd name="T108" fmla="*/ 0 w 19"/>
                <a:gd name="T109" fmla="*/ 24 h 46"/>
                <a:gd name="T110" fmla="*/ 0 w 19"/>
                <a:gd name="T111" fmla="*/ 24 h 46"/>
                <a:gd name="T112" fmla="*/ 0 w 19"/>
                <a:gd name="T113" fmla="*/ 24 h 46"/>
                <a:gd name="T114" fmla="*/ 0 w 19"/>
                <a:gd name="T115" fmla="*/ 24 h 46"/>
                <a:gd name="T116" fmla="*/ 0 w 19"/>
                <a:gd name="T117"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46">
                  <a:moveTo>
                    <a:pt x="0" y="24"/>
                  </a:moveTo>
                  <a:lnTo>
                    <a:pt x="0" y="24"/>
                  </a:lnTo>
                  <a:lnTo>
                    <a:pt x="2" y="29"/>
                  </a:lnTo>
                  <a:lnTo>
                    <a:pt x="2" y="29"/>
                  </a:lnTo>
                  <a:lnTo>
                    <a:pt x="0" y="30"/>
                  </a:lnTo>
                  <a:lnTo>
                    <a:pt x="2" y="30"/>
                  </a:lnTo>
                  <a:lnTo>
                    <a:pt x="2" y="30"/>
                  </a:lnTo>
                  <a:lnTo>
                    <a:pt x="3" y="32"/>
                  </a:lnTo>
                  <a:lnTo>
                    <a:pt x="5" y="37"/>
                  </a:lnTo>
                  <a:lnTo>
                    <a:pt x="5" y="37"/>
                  </a:lnTo>
                  <a:lnTo>
                    <a:pt x="7" y="40"/>
                  </a:lnTo>
                  <a:lnTo>
                    <a:pt x="10" y="41"/>
                  </a:lnTo>
                  <a:lnTo>
                    <a:pt x="10" y="41"/>
                  </a:lnTo>
                  <a:lnTo>
                    <a:pt x="10" y="45"/>
                  </a:lnTo>
                  <a:lnTo>
                    <a:pt x="13" y="46"/>
                  </a:lnTo>
                  <a:lnTo>
                    <a:pt x="13" y="46"/>
                  </a:lnTo>
                  <a:lnTo>
                    <a:pt x="13" y="46"/>
                  </a:lnTo>
                  <a:lnTo>
                    <a:pt x="13" y="45"/>
                  </a:lnTo>
                  <a:lnTo>
                    <a:pt x="13" y="41"/>
                  </a:lnTo>
                  <a:lnTo>
                    <a:pt x="13" y="41"/>
                  </a:lnTo>
                  <a:lnTo>
                    <a:pt x="13" y="38"/>
                  </a:lnTo>
                  <a:lnTo>
                    <a:pt x="16" y="35"/>
                  </a:lnTo>
                  <a:lnTo>
                    <a:pt x="16" y="35"/>
                  </a:lnTo>
                  <a:lnTo>
                    <a:pt x="16" y="32"/>
                  </a:lnTo>
                  <a:lnTo>
                    <a:pt x="19" y="29"/>
                  </a:lnTo>
                  <a:lnTo>
                    <a:pt x="19" y="19"/>
                  </a:lnTo>
                  <a:lnTo>
                    <a:pt x="19" y="19"/>
                  </a:lnTo>
                  <a:lnTo>
                    <a:pt x="16" y="14"/>
                  </a:lnTo>
                  <a:lnTo>
                    <a:pt x="16" y="14"/>
                  </a:lnTo>
                  <a:lnTo>
                    <a:pt x="19" y="13"/>
                  </a:lnTo>
                  <a:lnTo>
                    <a:pt x="19" y="13"/>
                  </a:lnTo>
                  <a:lnTo>
                    <a:pt x="19" y="6"/>
                  </a:lnTo>
                  <a:lnTo>
                    <a:pt x="19" y="6"/>
                  </a:lnTo>
                  <a:lnTo>
                    <a:pt x="19" y="3"/>
                  </a:lnTo>
                  <a:lnTo>
                    <a:pt x="19" y="3"/>
                  </a:lnTo>
                  <a:lnTo>
                    <a:pt x="19" y="3"/>
                  </a:lnTo>
                  <a:lnTo>
                    <a:pt x="16" y="0"/>
                  </a:lnTo>
                  <a:lnTo>
                    <a:pt x="13" y="0"/>
                  </a:lnTo>
                  <a:lnTo>
                    <a:pt x="13" y="0"/>
                  </a:lnTo>
                  <a:lnTo>
                    <a:pt x="10" y="0"/>
                  </a:lnTo>
                  <a:lnTo>
                    <a:pt x="7" y="3"/>
                  </a:lnTo>
                  <a:lnTo>
                    <a:pt x="7" y="3"/>
                  </a:lnTo>
                  <a:lnTo>
                    <a:pt x="7" y="6"/>
                  </a:lnTo>
                  <a:lnTo>
                    <a:pt x="5" y="10"/>
                  </a:lnTo>
                  <a:lnTo>
                    <a:pt x="5" y="10"/>
                  </a:lnTo>
                  <a:lnTo>
                    <a:pt x="3" y="11"/>
                  </a:lnTo>
                  <a:lnTo>
                    <a:pt x="3" y="14"/>
                  </a:lnTo>
                  <a:lnTo>
                    <a:pt x="3" y="14"/>
                  </a:lnTo>
                  <a:lnTo>
                    <a:pt x="2" y="19"/>
                  </a:lnTo>
                  <a:lnTo>
                    <a:pt x="0" y="24"/>
                  </a:lnTo>
                  <a:lnTo>
                    <a:pt x="0" y="24"/>
                  </a:lnTo>
                  <a:lnTo>
                    <a:pt x="0" y="24"/>
                  </a:lnTo>
                  <a:lnTo>
                    <a:pt x="0" y="24"/>
                  </a:lnTo>
                  <a:lnTo>
                    <a:pt x="0" y="24"/>
                  </a:lnTo>
                  <a:lnTo>
                    <a:pt x="0" y="24"/>
                  </a:lnTo>
                  <a:lnTo>
                    <a:pt x="0" y="24"/>
                  </a:lnTo>
                  <a:lnTo>
                    <a:pt x="0" y="24"/>
                  </a:lnTo>
                  <a:lnTo>
                    <a:pt x="0" y="24"/>
                  </a:lnTo>
                  <a:lnTo>
                    <a:pt x="0" y="2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19" name="Freeform 255">
              <a:extLst>
                <a:ext uri="{FF2B5EF4-FFF2-40B4-BE49-F238E27FC236}">
                  <a16:creationId xmlns:a16="http://schemas.microsoft.com/office/drawing/2014/main" id="{11CFC927-0E4B-981E-4657-A656DA50C4E3}"/>
                </a:ext>
              </a:extLst>
            </p:cNvPr>
            <p:cNvSpPr>
              <a:spLocks noEditPoints="1"/>
            </p:cNvSpPr>
            <p:nvPr/>
          </p:nvSpPr>
          <p:spPr bwMode="auto">
            <a:xfrm>
              <a:off x="9106862" y="3426208"/>
              <a:ext cx="262440" cy="419455"/>
            </a:xfrm>
            <a:custGeom>
              <a:avLst/>
              <a:gdLst>
                <a:gd name="T0" fmla="*/ 49 w 117"/>
                <a:gd name="T1" fmla="*/ 184 h 187"/>
                <a:gd name="T2" fmla="*/ 62 w 117"/>
                <a:gd name="T3" fmla="*/ 176 h 187"/>
                <a:gd name="T4" fmla="*/ 59 w 117"/>
                <a:gd name="T5" fmla="*/ 173 h 187"/>
                <a:gd name="T6" fmla="*/ 24 w 117"/>
                <a:gd name="T7" fmla="*/ 112 h 187"/>
                <a:gd name="T8" fmla="*/ 16 w 117"/>
                <a:gd name="T9" fmla="*/ 125 h 187"/>
                <a:gd name="T10" fmla="*/ 9 w 117"/>
                <a:gd name="T11" fmla="*/ 139 h 187"/>
                <a:gd name="T12" fmla="*/ 24 w 117"/>
                <a:gd name="T13" fmla="*/ 122 h 187"/>
                <a:gd name="T14" fmla="*/ 25 w 117"/>
                <a:gd name="T15" fmla="*/ 111 h 187"/>
                <a:gd name="T16" fmla="*/ 30 w 117"/>
                <a:gd name="T17" fmla="*/ 93 h 187"/>
                <a:gd name="T18" fmla="*/ 48 w 117"/>
                <a:gd name="T19" fmla="*/ 84 h 187"/>
                <a:gd name="T20" fmla="*/ 46 w 117"/>
                <a:gd name="T21" fmla="*/ 93 h 187"/>
                <a:gd name="T22" fmla="*/ 48 w 117"/>
                <a:gd name="T23" fmla="*/ 84 h 187"/>
                <a:gd name="T24" fmla="*/ 33 w 117"/>
                <a:gd name="T25" fmla="*/ 62 h 187"/>
                <a:gd name="T26" fmla="*/ 36 w 117"/>
                <a:gd name="T27" fmla="*/ 70 h 187"/>
                <a:gd name="T28" fmla="*/ 54 w 117"/>
                <a:gd name="T29" fmla="*/ 71 h 187"/>
                <a:gd name="T30" fmla="*/ 59 w 117"/>
                <a:gd name="T31" fmla="*/ 68 h 187"/>
                <a:gd name="T32" fmla="*/ 79 w 117"/>
                <a:gd name="T33" fmla="*/ 82 h 187"/>
                <a:gd name="T34" fmla="*/ 73 w 117"/>
                <a:gd name="T35" fmla="*/ 73 h 187"/>
                <a:gd name="T36" fmla="*/ 68 w 117"/>
                <a:gd name="T37" fmla="*/ 71 h 187"/>
                <a:gd name="T38" fmla="*/ 55 w 117"/>
                <a:gd name="T39" fmla="*/ 66 h 187"/>
                <a:gd name="T40" fmla="*/ 43 w 117"/>
                <a:gd name="T41" fmla="*/ 43 h 187"/>
                <a:gd name="T42" fmla="*/ 49 w 117"/>
                <a:gd name="T43" fmla="*/ 17 h 187"/>
                <a:gd name="T44" fmla="*/ 40 w 117"/>
                <a:gd name="T45" fmla="*/ 6 h 187"/>
                <a:gd name="T46" fmla="*/ 25 w 117"/>
                <a:gd name="T47" fmla="*/ 16 h 187"/>
                <a:gd name="T48" fmla="*/ 21 w 117"/>
                <a:gd name="T49" fmla="*/ 38 h 187"/>
                <a:gd name="T50" fmla="*/ 24 w 117"/>
                <a:gd name="T51" fmla="*/ 44 h 187"/>
                <a:gd name="T52" fmla="*/ 49 w 117"/>
                <a:gd name="T53" fmla="*/ 55 h 187"/>
                <a:gd name="T54" fmla="*/ 55 w 117"/>
                <a:gd name="T55" fmla="*/ 76 h 187"/>
                <a:gd name="T56" fmla="*/ 52 w 117"/>
                <a:gd name="T57" fmla="*/ 74 h 187"/>
                <a:gd name="T58" fmla="*/ 65 w 117"/>
                <a:gd name="T59" fmla="*/ 114 h 187"/>
                <a:gd name="T60" fmla="*/ 59 w 117"/>
                <a:gd name="T61" fmla="*/ 98 h 187"/>
                <a:gd name="T62" fmla="*/ 57 w 117"/>
                <a:gd name="T63" fmla="*/ 106 h 187"/>
                <a:gd name="T64" fmla="*/ 116 w 117"/>
                <a:gd name="T65" fmla="*/ 149 h 187"/>
                <a:gd name="T66" fmla="*/ 111 w 117"/>
                <a:gd name="T67" fmla="*/ 135 h 187"/>
                <a:gd name="T68" fmla="*/ 103 w 117"/>
                <a:gd name="T69" fmla="*/ 138 h 187"/>
                <a:gd name="T70" fmla="*/ 92 w 117"/>
                <a:gd name="T71" fmla="*/ 146 h 187"/>
                <a:gd name="T72" fmla="*/ 82 w 117"/>
                <a:gd name="T73" fmla="*/ 146 h 187"/>
                <a:gd name="T74" fmla="*/ 71 w 117"/>
                <a:gd name="T75" fmla="*/ 152 h 187"/>
                <a:gd name="T76" fmla="*/ 65 w 117"/>
                <a:gd name="T77" fmla="*/ 163 h 187"/>
                <a:gd name="T78" fmla="*/ 75 w 117"/>
                <a:gd name="T79" fmla="*/ 160 h 187"/>
                <a:gd name="T80" fmla="*/ 87 w 117"/>
                <a:gd name="T81" fmla="*/ 160 h 187"/>
                <a:gd name="T82" fmla="*/ 103 w 117"/>
                <a:gd name="T83" fmla="*/ 181 h 187"/>
                <a:gd name="T84" fmla="*/ 108 w 117"/>
                <a:gd name="T85" fmla="*/ 163 h 187"/>
                <a:gd name="T86" fmla="*/ 117 w 117"/>
                <a:gd name="T87" fmla="*/ 168 h 187"/>
                <a:gd name="T88" fmla="*/ 117 w 117"/>
                <a:gd name="T89" fmla="*/ 157 h 187"/>
                <a:gd name="T90" fmla="*/ 68 w 117"/>
                <a:gd name="T91" fmla="*/ 116 h 187"/>
                <a:gd name="T92" fmla="*/ 65 w 117"/>
                <a:gd name="T93" fmla="*/ 133 h 187"/>
                <a:gd name="T94" fmla="*/ 75 w 117"/>
                <a:gd name="T95" fmla="*/ 119 h 187"/>
                <a:gd name="T96" fmla="*/ 73 w 117"/>
                <a:gd name="T97" fmla="*/ 93 h 187"/>
                <a:gd name="T98" fmla="*/ 71 w 117"/>
                <a:gd name="T99" fmla="*/ 93 h 187"/>
                <a:gd name="T100" fmla="*/ 71 w 117"/>
                <a:gd name="T101" fmla="*/ 97 h 187"/>
                <a:gd name="T102" fmla="*/ 75 w 117"/>
                <a:gd name="T103" fmla="*/ 131 h 187"/>
                <a:gd name="T104" fmla="*/ 78 w 117"/>
                <a:gd name="T105" fmla="*/ 128 h 187"/>
                <a:gd name="T106" fmla="*/ 82 w 117"/>
                <a:gd name="T107" fmla="*/ 71 h 187"/>
                <a:gd name="T108" fmla="*/ 89 w 117"/>
                <a:gd name="T109" fmla="*/ 122 h 187"/>
                <a:gd name="T110" fmla="*/ 84 w 117"/>
                <a:gd name="T111" fmla="*/ 131 h 187"/>
                <a:gd name="T112" fmla="*/ 94 w 117"/>
                <a:gd name="T113" fmla="*/ 103 h 187"/>
                <a:gd name="T114" fmla="*/ 90 w 117"/>
                <a:gd name="T115" fmla="*/ 111 h 187"/>
                <a:gd name="T116" fmla="*/ 97 w 117"/>
                <a:gd name="T117" fmla="*/ 114 h 187"/>
                <a:gd name="T118" fmla="*/ 103 w 117"/>
                <a:gd name="T119" fmla="*/ 106 h 187"/>
                <a:gd name="T120" fmla="*/ 94 w 117"/>
                <a:gd name="T121" fmla="*/ 87 h 187"/>
                <a:gd name="T122" fmla="*/ 89 w 117"/>
                <a:gd name="T123" fmla="*/ 9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187">
                  <a:moveTo>
                    <a:pt x="49" y="184"/>
                  </a:moveTo>
                  <a:lnTo>
                    <a:pt x="51" y="184"/>
                  </a:lnTo>
                  <a:lnTo>
                    <a:pt x="54" y="184"/>
                  </a:lnTo>
                  <a:lnTo>
                    <a:pt x="54" y="184"/>
                  </a:lnTo>
                  <a:lnTo>
                    <a:pt x="54" y="181"/>
                  </a:lnTo>
                  <a:lnTo>
                    <a:pt x="49" y="181"/>
                  </a:lnTo>
                  <a:lnTo>
                    <a:pt x="49" y="184"/>
                  </a:lnTo>
                  <a:lnTo>
                    <a:pt x="49" y="184"/>
                  </a:lnTo>
                  <a:lnTo>
                    <a:pt x="49" y="184"/>
                  </a:lnTo>
                  <a:lnTo>
                    <a:pt x="49" y="184"/>
                  </a:lnTo>
                  <a:lnTo>
                    <a:pt x="49" y="184"/>
                  </a:lnTo>
                  <a:lnTo>
                    <a:pt x="49" y="184"/>
                  </a:lnTo>
                  <a:lnTo>
                    <a:pt x="49" y="184"/>
                  </a:lnTo>
                  <a:lnTo>
                    <a:pt x="49" y="184"/>
                  </a:lnTo>
                  <a:lnTo>
                    <a:pt x="49" y="184"/>
                  </a:lnTo>
                  <a:close/>
                  <a:moveTo>
                    <a:pt x="59" y="173"/>
                  </a:moveTo>
                  <a:lnTo>
                    <a:pt x="59" y="173"/>
                  </a:lnTo>
                  <a:lnTo>
                    <a:pt x="59" y="174"/>
                  </a:lnTo>
                  <a:lnTo>
                    <a:pt x="62" y="176"/>
                  </a:lnTo>
                  <a:lnTo>
                    <a:pt x="62" y="176"/>
                  </a:lnTo>
                  <a:lnTo>
                    <a:pt x="65" y="174"/>
                  </a:lnTo>
                  <a:lnTo>
                    <a:pt x="65" y="173"/>
                  </a:lnTo>
                  <a:lnTo>
                    <a:pt x="62" y="171"/>
                  </a:lnTo>
                  <a:lnTo>
                    <a:pt x="59" y="173"/>
                  </a:lnTo>
                  <a:lnTo>
                    <a:pt x="59" y="173"/>
                  </a:lnTo>
                  <a:lnTo>
                    <a:pt x="59" y="173"/>
                  </a:lnTo>
                  <a:lnTo>
                    <a:pt x="59" y="173"/>
                  </a:lnTo>
                  <a:lnTo>
                    <a:pt x="59" y="173"/>
                  </a:lnTo>
                  <a:lnTo>
                    <a:pt x="59" y="173"/>
                  </a:lnTo>
                  <a:lnTo>
                    <a:pt x="59" y="173"/>
                  </a:lnTo>
                  <a:lnTo>
                    <a:pt x="59" y="173"/>
                  </a:lnTo>
                  <a:lnTo>
                    <a:pt x="59" y="173"/>
                  </a:lnTo>
                  <a:close/>
                  <a:moveTo>
                    <a:pt x="25" y="111"/>
                  </a:moveTo>
                  <a:lnTo>
                    <a:pt x="25" y="109"/>
                  </a:lnTo>
                  <a:lnTo>
                    <a:pt x="25" y="106"/>
                  </a:lnTo>
                  <a:lnTo>
                    <a:pt x="25" y="105"/>
                  </a:lnTo>
                  <a:lnTo>
                    <a:pt x="24" y="108"/>
                  </a:lnTo>
                  <a:lnTo>
                    <a:pt x="24" y="109"/>
                  </a:lnTo>
                  <a:lnTo>
                    <a:pt x="25" y="114"/>
                  </a:lnTo>
                  <a:lnTo>
                    <a:pt x="24" y="112"/>
                  </a:lnTo>
                  <a:lnTo>
                    <a:pt x="22" y="111"/>
                  </a:lnTo>
                  <a:lnTo>
                    <a:pt x="24" y="116"/>
                  </a:lnTo>
                  <a:lnTo>
                    <a:pt x="22" y="119"/>
                  </a:lnTo>
                  <a:lnTo>
                    <a:pt x="21" y="119"/>
                  </a:lnTo>
                  <a:lnTo>
                    <a:pt x="19" y="119"/>
                  </a:lnTo>
                  <a:lnTo>
                    <a:pt x="19" y="122"/>
                  </a:lnTo>
                  <a:lnTo>
                    <a:pt x="17" y="122"/>
                  </a:lnTo>
                  <a:lnTo>
                    <a:pt x="17" y="122"/>
                  </a:lnTo>
                  <a:lnTo>
                    <a:pt x="16" y="125"/>
                  </a:lnTo>
                  <a:lnTo>
                    <a:pt x="16" y="125"/>
                  </a:lnTo>
                  <a:lnTo>
                    <a:pt x="13" y="128"/>
                  </a:lnTo>
                  <a:lnTo>
                    <a:pt x="9" y="135"/>
                  </a:lnTo>
                  <a:lnTo>
                    <a:pt x="6" y="135"/>
                  </a:lnTo>
                  <a:lnTo>
                    <a:pt x="6" y="138"/>
                  </a:lnTo>
                  <a:lnTo>
                    <a:pt x="3" y="141"/>
                  </a:lnTo>
                  <a:lnTo>
                    <a:pt x="0" y="146"/>
                  </a:lnTo>
                  <a:lnTo>
                    <a:pt x="0" y="149"/>
                  </a:lnTo>
                  <a:lnTo>
                    <a:pt x="3" y="144"/>
                  </a:lnTo>
                  <a:lnTo>
                    <a:pt x="6" y="141"/>
                  </a:lnTo>
                  <a:lnTo>
                    <a:pt x="9" y="139"/>
                  </a:lnTo>
                  <a:lnTo>
                    <a:pt x="14" y="133"/>
                  </a:lnTo>
                  <a:lnTo>
                    <a:pt x="17" y="131"/>
                  </a:lnTo>
                  <a:lnTo>
                    <a:pt x="17" y="128"/>
                  </a:lnTo>
                  <a:lnTo>
                    <a:pt x="16" y="128"/>
                  </a:lnTo>
                  <a:lnTo>
                    <a:pt x="17" y="128"/>
                  </a:lnTo>
                  <a:lnTo>
                    <a:pt x="17" y="125"/>
                  </a:lnTo>
                  <a:lnTo>
                    <a:pt x="19" y="125"/>
                  </a:lnTo>
                  <a:lnTo>
                    <a:pt x="21" y="125"/>
                  </a:lnTo>
                  <a:lnTo>
                    <a:pt x="22" y="125"/>
                  </a:lnTo>
                  <a:lnTo>
                    <a:pt x="24" y="122"/>
                  </a:lnTo>
                  <a:lnTo>
                    <a:pt x="25" y="119"/>
                  </a:lnTo>
                  <a:lnTo>
                    <a:pt x="27" y="119"/>
                  </a:lnTo>
                  <a:lnTo>
                    <a:pt x="27" y="119"/>
                  </a:lnTo>
                  <a:lnTo>
                    <a:pt x="27" y="117"/>
                  </a:lnTo>
                  <a:lnTo>
                    <a:pt x="27" y="114"/>
                  </a:lnTo>
                  <a:lnTo>
                    <a:pt x="25" y="111"/>
                  </a:lnTo>
                  <a:lnTo>
                    <a:pt x="25" y="111"/>
                  </a:lnTo>
                  <a:lnTo>
                    <a:pt x="25" y="111"/>
                  </a:lnTo>
                  <a:lnTo>
                    <a:pt x="25" y="111"/>
                  </a:lnTo>
                  <a:lnTo>
                    <a:pt x="25" y="111"/>
                  </a:lnTo>
                  <a:lnTo>
                    <a:pt x="25" y="111"/>
                  </a:lnTo>
                  <a:lnTo>
                    <a:pt x="25" y="111"/>
                  </a:lnTo>
                  <a:lnTo>
                    <a:pt x="25" y="111"/>
                  </a:lnTo>
                  <a:lnTo>
                    <a:pt x="25" y="111"/>
                  </a:lnTo>
                  <a:close/>
                  <a:moveTo>
                    <a:pt x="27" y="90"/>
                  </a:moveTo>
                  <a:lnTo>
                    <a:pt x="27" y="93"/>
                  </a:lnTo>
                  <a:lnTo>
                    <a:pt x="30" y="97"/>
                  </a:lnTo>
                  <a:lnTo>
                    <a:pt x="33" y="97"/>
                  </a:lnTo>
                  <a:lnTo>
                    <a:pt x="33" y="93"/>
                  </a:lnTo>
                  <a:lnTo>
                    <a:pt x="30" y="93"/>
                  </a:lnTo>
                  <a:lnTo>
                    <a:pt x="27" y="90"/>
                  </a:lnTo>
                  <a:lnTo>
                    <a:pt x="27" y="90"/>
                  </a:lnTo>
                  <a:lnTo>
                    <a:pt x="27" y="90"/>
                  </a:lnTo>
                  <a:lnTo>
                    <a:pt x="27" y="90"/>
                  </a:lnTo>
                  <a:lnTo>
                    <a:pt x="27" y="90"/>
                  </a:lnTo>
                  <a:lnTo>
                    <a:pt x="27" y="90"/>
                  </a:lnTo>
                  <a:lnTo>
                    <a:pt x="27" y="90"/>
                  </a:lnTo>
                  <a:lnTo>
                    <a:pt x="27" y="90"/>
                  </a:lnTo>
                  <a:lnTo>
                    <a:pt x="27" y="90"/>
                  </a:lnTo>
                  <a:close/>
                  <a:moveTo>
                    <a:pt x="48" y="84"/>
                  </a:moveTo>
                  <a:lnTo>
                    <a:pt x="46" y="79"/>
                  </a:lnTo>
                  <a:lnTo>
                    <a:pt x="44" y="76"/>
                  </a:lnTo>
                  <a:lnTo>
                    <a:pt x="38" y="74"/>
                  </a:lnTo>
                  <a:lnTo>
                    <a:pt x="33" y="74"/>
                  </a:lnTo>
                  <a:lnTo>
                    <a:pt x="33" y="74"/>
                  </a:lnTo>
                  <a:lnTo>
                    <a:pt x="36" y="78"/>
                  </a:lnTo>
                  <a:lnTo>
                    <a:pt x="36" y="82"/>
                  </a:lnTo>
                  <a:lnTo>
                    <a:pt x="40" y="85"/>
                  </a:lnTo>
                  <a:lnTo>
                    <a:pt x="43" y="90"/>
                  </a:lnTo>
                  <a:lnTo>
                    <a:pt x="46" y="93"/>
                  </a:lnTo>
                  <a:lnTo>
                    <a:pt x="48" y="90"/>
                  </a:lnTo>
                  <a:lnTo>
                    <a:pt x="49" y="87"/>
                  </a:lnTo>
                  <a:lnTo>
                    <a:pt x="48" y="84"/>
                  </a:lnTo>
                  <a:lnTo>
                    <a:pt x="48" y="84"/>
                  </a:lnTo>
                  <a:lnTo>
                    <a:pt x="48" y="84"/>
                  </a:lnTo>
                  <a:lnTo>
                    <a:pt x="48" y="84"/>
                  </a:lnTo>
                  <a:lnTo>
                    <a:pt x="48" y="84"/>
                  </a:lnTo>
                  <a:lnTo>
                    <a:pt x="48" y="84"/>
                  </a:lnTo>
                  <a:lnTo>
                    <a:pt x="48" y="84"/>
                  </a:lnTo>
                  <a:lnTo>
                    <a:pt x="48" y="84"/>
                  </a:lnTo>
                  <a:lnTo>
                    <a:pt x="48" y="84"/>
                  </a:lnTo>
                  <a:close/>
                  <a:moveTo>
                    <a:pt x="24" y="44"/>
                  </a:moveTo>
                  <a:lnTo>
                    <a:pt x="24" y="47"/>
                  </a:lnTo>
                  <a:lnTo>
                    <a:pt x="27" y="54"/>
                  </a:lnTo>
                  <a:lnTo>
                    <a:pt x="27" y="55"/>
                  </a:lnTo>
                  <a:lnTo>
                    <a:pt x="30" y="57"/>
                  </a:lnTo>
                  <a:lnTo>
                    <a:pt x="30" y="58"/>
                  </a:lnTo>
                  <a:lnTo>
                    <a:pt x="30" y="58"/>
                  </a:lnTo>
                  <a:lnTo>
                    <a:pt x="30" y="62"/>
                  </a:lnTo>
                  <a:lnTo>
                    <a:pt x="33" y="62"/>
                  </a:lnTo>
                  <a:lnTo>
                    <a:pt x="33" y="58"/>
                  </a:lnTo>
                  <a:lnTo>
                    <a:pt x="33" y="55"/>
                  </a:lnTo>
                  <a:lnTo>
                    <a:pt x="36" y="57"/>
                  </a:lnTo>
                  <a:lnTo>
                    <a:pt x="38" y="58"/>
                  </a:lnTo>
                  <a:lnTo>
                    <a:pt x="38" y="62"/>
                  </a:lnTo>
                  <a:lnTo>
                    <a:pt x="36" y="62"/>
                  </a:lnTo>
                  <a:lnTo>
                    <a:pt x="33" y="63"/>
                  </a:lnTo>
                  <a:lnTo>
                    <a:pt x="33" y="66"/>
                  </a:lnTo>
                  <a:lnTo>
                    <a:pt x="36" y="70"/>
                  </a:lnTo>
                  <a:lnTo>
                    <a:pt x="36" y="70"/>
                  </a:lnTo>
                  <a:lnTo>
                    <a:pt x="36" y="68"/>
                  </a:lnTo>
                  <a:lnTo>
                    <a:pt x="38" y="68"/>
                  </a:lnTo>
                  <a:lnTo>
                    <a:pt x="38" y="71"/>
                  </a:lnTo>
                  <a:lnTo>
                    <a:pt x="40" y="70"/>
                  </a:lnTo>
                  <a:lnTo>
                    <a:pt x="40" y="73"/>
                  </a:lnTo>
                  <a:lnTo>
                    <a:pt x="43" y="73"/>
                  </a:lnTo>
                  <a:lnTo>
                    <a:pt x="44" y="71"/>
                  </a:lnTo>
                  <a:lnTo>
                    <a:pt x="48" y="68"/>
                  </a:lnTo>
                  <a:lnTo>
                    <a:pt x="49" y="68"/>
                  </a:lnTo>
                  <a:lnTo>
                    <a:pt x="54" y="71"/>
                  </a:lnTo>
                  <a:lnTo>
                    <a:pt x="59" y="74"/>
                  </a:lnTo>
                  <a:lnTo>
                    <a:pt x="59" y="78"/>
                  </a:lnTo>
                  <a:lnTo>
                    <a:pt x="62" y="79"/>
                  </a:lnTo>
                  <a:lnTo>
                    <a:pt x="62" y="78"/>
                  </a:lnTo>
                  <a:lnTo>
                    <a:pt x="62" y="76"/>
                  </a:lnTo>
                  <a:lnTo>
                    <a:pt x="62" y="74"/>
                  </a:lnTo>
                  <a:lnTo>
                    <a:pt x="62" y="73"/>
                  </a:lnTo>
                  <a:lnTo>
                    <a:pt x="59" y="71"/>
                  </a:lnTo>
                  <a:lnTo>
                    <a:pt x="59" y="68"/>
                  </a:lnTo>
                  <a:lnTo>
                    <a:pt x="59" y="68"/>
                  </a:lnTo>
                  <a:lnTo>
                    <a:pt x="62" y="70"/>
                  </a:lnTo>
                  <a:lnTo>
                    <a:pt x="65" y="73"/>
                  </a:lnTo>
                  <a:lnTo>
                    <a:pt x="68" y="74"/>
                  </a:lnTo>
                  <a:lnTo>
                    <a:pt x="71" y="78"/>
                  </a:lnTo>
                  <a:lnTo>
                    <a:pt x="71" y="79"/>
                  </a:lnTo>
                  <a:lnTo>
                    <a:pt x="71" y="81"/>
                  </a:lnTo>
                  <a:lnTo>
                    <a:pt x="75" y="82"/>
                  </a:lnTo>
                  <a:lnTo>
                    <a:pt x="75" y="84"/>
                  </a:lnTo>
                  <a:lnTo>
                    <a:pt x="76" y="84"/>
                  </a:lnTo>
                  <a:lnTo>
                    <a:pt x="79" y="82"/>
                  </a:lnTo>
                  <a:lnTo>
                    <a:pt x="78" y="84"/>
                  </a:lnTo>
                  <a:lnTo>
                    <a:pt x="78" y="85"/>
                  </a:lnTo>
                  <a:lnTo>
                    <a:pt x="79" y="87"/>
                  </a:lnTo>
                  <a:lnTo>
                    <a:pt x="81" y="87"/>
                  </a:lnTo>
                  <a:lnTo>
                    <a:pt x="81" y="85"/>
                  </a:lnTo>
                  <a:lnTo>
                    <a:pt x="81" y="82"/>
                  </a:lnTo>
                  <a:lnTo>
                    <a:pt x="79" y="79"/>
                  </a:lnTo>
                  <a:lnTo>
                    <a:pt x="76" y="81"/>
                  </a:lnTo>
                  <a:lnTo>
                    <a:pt x="76" y="78"/>
                  </a:lnTo>
                  <a:lnTo>
                    <a:pt x="73" y="73"/>
                  </a:lnTo>
                  <a:lnTo>
                    <a:pt x="71" y="73"/>
                  </a:lnTo>
                  <a:lnTo>
                    <a:pt x="73" y="71"/>
                  </a:lnTo>
                  <a:lnTo>
                    <a:pt x="78" y="71"/>
                  </a:lnTo>
                  <a:lnTo>
                    <a:pt x="76" y="70"/>
                  </a:lnTo>
                  <a:lnTo>
                    <a:pt x="73" y="68"/>
                  </a:lnTo>
                  <a:lnTo>
                    <a:pt x="71" y="66"/>
                  </a:lnTo>
                  <a:lnTo>
                    <a:pt x="68" y="65"/>
                  </a:lnTo>
                  <a:lnTo>
                    <a:pt x="68" y="68"/>
                  </a:lnTo>
                  <a:lnTo>
                    <a:pt x="68" y="70"/>
                  </a:lnTo>
                  <a:lnTo>
                    <a:pt x="68" y="71"/>
                  </a:lnTo>
                  <a:lnTo>
                    <a:pt x="68" y="70"/>
                  </a:lnTo>
                  <a:lnTo>
                    <a:pt x="65" y="68"/>
                  </a:lnTo>
                  <a:lnTo>
                    <a:pt x="65" y="65"/>
                  </a:lnTo>
                  <a:lnTo>
                    <a:pt x="62" y="63"/>
                  </a:lnTo>
                  <a:lnTo>
                    <a:pt x="59" y="62"/>
                  </a:lnTo>
                  <a:lnTo>
                    <a:pt x="57" y="62"/>
                  </a:lnTo>
                  <a:lnTo>
                    <a:pt x="57" y="65"/>
                  </a:lnTo>
                  <a:lnTo>
                    <a:pt x="55" y="63"/>
                  </a:lnTo>
                  <a:lnTo>
                    <a:pt x="55" y="65"/>
                  </a:lnTo>
                  <a:lnTo>
                    <a:pt x="55" y="66"/>
                  </a:lnTo>
                  <a:lnTo>
                    <a:pt x="54" y="68"/>
                  </a:lnTo>
                  <a:lnTo>
                    <a:pt x="52" y="68"/>
                  </a:lnTo>
                  <a:lnTo>
                    <a:pt x="51" y="65"/>
                  </a:lnTo>
                  <a:lnTo>
                    <a:pt x="48" y="62"/>
                  </a:lnTo>
                  <a:lnTo>
                    <a:pt x="46" y="58"/>
                  </a:lnTo>
                  <a:lnTo>
                    <a:pt x="48" y="57"/>
                  </a:lnTo>
                  <a:lnTo>
                    <a:pt x="43" y="52"/>
                  </a:lnTo>
                  <a:lnTo>
                    <a:pt x="43" y="49"/>
                  </a:lnTo>
                  <a:lnTo>
                    <a:pt x="43" y="46"/>
                  </a:lnTo>
                  <a:lnTo>
                    <a:pt x="43" y="43"/>
                  </a:lnTo>
                  <a:lnTo>
                    <a:pt x="43" y="41"/>
                  </a:lnTo>
                  <a:lnTo>
                    <a:pt x="46" y="38"/>
                  </a:lnTo>
                  <a:lnTo>
                    <a:pt x="49" y="35"/>
                  </a:lnTo>
                  <a:lnTo>
                    <a:pt x="49" y="38"/>
                  </a:lnTo>
                  <a:lnTo>
                    <a:pt x="51" y="35"/>
                  </a:lnTo>
                  <a:lnTo>
                    <a:pt x="51" y="31"/>
                  </a:lnTo>
                  <a:lnTo>
                    <a:pt x="52" y="27"/>
                  </a:lnTo>
                  <a:lnTo>
                    <a:pt x="52" y="22"/>
                  </a:lnTo>
                  <a:lnTo>
                    <a:pt x="51" y="20"/>
                  </a:lnTo>
                  <a:lnTo>
                    <a:pt x="49" y="17"/>
                  </a:lnTo>
                  <a:lnTo>
                    <a:pt x="48" y="14"/>
                  </a:lnTo>
                  <a:lnTo>
                    <a:pt x="46" y="11"/>
                  </a:lnTo>
                  <a:lnTo>
                    <a:pt x="48" y="6"/>
                  </a:lnTo>
                  <a:lnTo>
                    <a:pt x="48" y="3"/>
                  </a:lnTo>
                  <a:lnTo>
                    <a:pt x="46" y="3"/>
                  </a:lnTo>
                  <a:lnTo>
                    <a:pt x="44" y="3"/>
                  </a:lnTo>
                  <a:lnTo>
                    <a:pt x="44" y="6"/>
                  </a:lnTo>
                  <a:lnTo>
                    <a:pt x="43" y="6"/>
                  </a:lnTo>
                  <a:lnTo>
                    <a:pt x="41" y="6"/>
                  </a:lnTo>
                  <a:lnTo>
                    <a:pt x="40" y="6"/>
                  </a:lnTo>
                  <a:lnTo>
                    <a:pt x="36" y="3"/>
                  </a:lnTo>
                  <a:lnTo>
                    <a:pt x="33" y="3"/>
                  </a:lnTo>
                  <a:lnTo>
                    <a:pt x="30" y="0"/>
                  </a:lnTo>
                  <a:lnTo>
                    <a:pt x="27" y="0"/>
                  </a:lnTo>
                  <a:lnTo>
                    <a:pt x="27" y="3"/>
                  </a:lnTo>
                  <a:lnTo>
                    <a:pt x="27" y="3"/>
                  </a:lnTo>
                  <a:lnTo>
                    <a:pt x="25" y="3"/>
                  </a:lnTo>
                  <a:lnTo>
                    <a:pt x="27" y="6"/>
                  </a:lnTo>
                  <a:lnTo>
                    <a:pt x="25" y="12"/>
                  </a:lnTo>
                  <a:lnTo>
                    <a:pt x="25" y="16"/>
                  </a:lnTo>
                  <a:lnTo>
                    <a:pt x="27" y="19"/>
                  </a:lnTo>
                  <a:lnTo>
                    <a:pt x="27" y="22"/>
                  </a:lnTo>
                  <a:lnTo>
                    <a:pt x="27" y="27"/>
                  </a:lnTo>
                  <a:lnTo>
                    <a:pt x="27" y="31"/>
                  </a:lnTo>
                  <a:lnTo>
                    <a:pt x="27" y="38"/>
                  </a:lnTo>
                  <a:lnTo>
                    <a:pt x="27" y="38"/>
                  </a:lnTo>
                  <a:lnTo>
                    <a:pt x="25" y="38"/>
                  </a:lnTo>
                  <a:lnTo>
                    <a:pt x="22" y="31"/>
                  </a:lnTo>
                  <a:lnTo>
                    <a:pt x="21" y="35"/>
                  </a:lnTo>
                  <a:lnTo>
                    <a:pt x="21" y="38"/>
                  </a:lnTo>
                  <a:lnTo>
                    <a:pt x="21" y="38"/>
                  </a:lnTo>
                  <a:lnTo>
                    <a:pt x="22" y="41"/>
                  </a:lnTo>
                  <a:lnTo>
                    <a:pt x="24" y="44"/>
                  </a:lnTo>
                  <a:lnTo>
                    <a:pt x="24" y="44"/>
                  </a:lnTo>
                  <a:lnTo>
                    <a:pt x="24" y="44"/>
                  </a:lnTo>
                  <a:lnTo>
                    <a:pt x="24" y="44"/>
                  </a:lnTo>
                  <a:lnTo>
                    <a:pt x="24" y="44"/>
                  </a:lnTo>
                  <a:lnTo>
                    <a:pt x="24" y="44"/>
                  </a:lnTo>
                  <a:lnTo>
                    <a:pt x="24" y="44"/>
                  </a:lnTo>
                  <a:lnTo>
                    <a:pt x="24" y="44"/>
                  </a:lnTo>
                  <a:lnTo>
                    <a:pt x="24" y="44"/>
                  </a:lnTo>
                  <a:close/>
                  <a:moveTo>
                    <a:pt x="49" y="55"/>
                  </a:moveTo>
                  <a:lnTo>
                    <a:pt x="51" y="58"/>
                  </a:lnTo>
                  <a:lnTo>
                    <a:pt x="51" y="54"/>
                  </a:lnTo>
                  <a:lnTo>
                    <a:pt x="51" y="52"/>
                  </a:lnTo>
                  <a:lnTo>
                    <a:pt x="48" y="54"/>
                  </a:lnTo>
                  <a:lnTo>
                    <a:pt x="49" y="55"/>
                  </a:lnTo>
                  <a:lnTo>
                    <a:pt x="49" y="55"/>
                  </a:lnTo>
                  <a:lnTo>
                    <a:pt x="49" y="55"/>
                  </a:lnTo>
                  <a:lnTo>
                    <a:pt x="49" y="55"/>
                  </a:lnTo>
                  <a:lnTo>
                    <a:pt x="49" y="55"/>
                  </a:lnTo>
                  <a:lnTo>
                    <a:pt x="49" y="55"/>
                  </a:lnTo>
                  <a:lnTo>
                    <a:pt x="49" y="55"/>
                  </a:lnTo>
                  <a:lnTo>
                    <a:pt x="49" y="55"/>
                  </a:lnTo>
                  <a:lnTo>
                    <a:pt x="49" y="55"/>
                  </a:lnTo>
                  <a:close/>
                  <a:moveTo>
                    <a:pt x="52" y="74"/>
                  </a:moveTo>
                  <a:lnTo>
                    <a:pt x="51" y="74"/>
                  </a:lnTo>
                  <a:lnTo>
                    <a:pt x="52" y="78"/>
                  </a:lnTo>
                  <a:lnTo>
                    <a:pt x="54" y="78"/>
                  </a:lnTo>
                  <a:lnTo>
                    <a:pt x="55" y="76"/>
                  </a:lnTo>
                  <a:lnTo>
                    <a:pt x="55" y="74"/>
                  </a:lnTo>
                  <a:lnTo>
                    <a:pt x="54" y="74"/>
                  </a:lnTo>
                  <a:lnTo>
                    <a:pt x="52" y="74"/>
                  </a:lnTo>
                  <a:lnTo>
                    <a:pt x="52" y="74"/>
                  </a:lnTo>
                  <a:lnTo>
                    <a:pt x="52" y="74"/>
                  </a:lnTo>
                  <a:lnTo>
                    <a:pt x="52" y="74"/>
                  </a:lnTo>
                  <a:lnTo>
                    <a:pt x="52" y="74"/>
                  </a:lnTo>
                  <a:lnTo>
                    <a:pt x="52" y="74"/>
                  </a:lnTo>
                  <a:lnTo>
                    <a:pt x="52" y="74"/>
                  </a:lnTo>
                  <a:lnTo>
                    <a:pt x="52" y="74"/>
                  </a:lnTo>
                  <a:lnTo>
                    <a:pt x="52" y="74"/>
                  </a:lnTo>
                  <a:close/>
                  <a:moveTo>
                    <a:pt x="57" y="106"/>
                  </a:moveTo>
                  <a:lnTo>
                    <a:pt x="57" y="112"/>
                  </a:lnTo>
                  <a:lnTo>
                    <a:pt x="57" y="116"/>
                  </a:lnTo>
                  <a:lnTo>
                    <a:pt x="57" y="119"/>
                  </a:lnTo>
                  <a:lnTo>
                    <a:pt x="59" y="119"/>
                  </a:lnTo>
                  <a:lnTo>
                    <a:pt x="59" y="117"/>
                  </a:lnTo>
                  <a:lnTo>
                    <a:pt x="62" y="116"/>
                  </a:lnTo>
                  <a:lnTo>
                    <a:pt x="62" y="116"/>
                  </a:lnTo>
                  <a:lnTo>
                    <a:pt x="65" y="114"/>
                  </a:lnTo>
                  <a:lnTo>
                    <a:pt x="68" y="111"/>
                  </a:lnTo>
                  <a:lnTo>
                    <a:pt x="68" y="109"/>
                  </a:lnTo>
                  <a:lnTo>
                    <a:pt x="71" y="108"/>
                  </a:lnTo>
                  <a:lnTo>
                    <a:pt x="71" y="103"/>
                  </a:lnTo>
                  <a:lnTo>
                    <a:pt x="68" y="105"/>
                  </a:lnTo>
                  <a:lnTo>
                    <a:pt x="68" y="101"/>
                  </a:lnTo>
                  <a:lnTo>
                    <a:pt x="65" y="101"/>
                  </a:lnTo>
                  <a:lnTo>
                    <a:pt x="65" y="103"/>
                  </a:lnTo>
                  <a:lnTo>
                    <a:pt x="62" y="101"/>
                  </a:lnTo>
                  <a:lnTo>
                    <a:pt x="59" y="98"/>
                  </a:lnTo>
                  <a:lnTo>
                    <a:pt x="57" y="98"/>
                  </a:lnTo>
                  <a:lnTo>
                    <a:pt x="55" y="97"/>
                  </a:lnTo>
                  <a:lnTo>
                    <a:pt x="54" y="98"/>
                  </a:lnTo>
                  <a:lnTo>
                    <a:pt x="57" y="100"/>
                  </a:lnTo>
                  <a:lnTo>
                    <a:pt x="57" y="101"/>
                  </a:lnTo>
                  <a:lnTo>
                    <a:pt x="57" y="106"/>
                  </a:lnTo>
                  <a:lnTo>
                    <a:pt x="57" y="106"/>
                  </a:lnTo>
                  <a:lnTo>
                    <a:pt x="57" y="106"/>
                  </a:lnTo>
                  <a:lnTo>
                    <a:pt x="57" y="106"/>
                  </a:lnTo>
                  <a:lnTo>
                    <a:pt x="57" y="106"/>
                  </a:lnTo>
                  <a:lnTo>
                    <a:pt x="57" y="106"/>
                  </a:lnTo>
                  <a:lnTo>
                    <a:pt x="57" y="106"/>
                  </a:lnTo>
                  <a:lnTo>
                    <a:pt x="57" y="106"/>
                  </a:lnTo>
                  <a:lnTo>
                    <a:pt x="57" y="106"/>
                  </a:lnTo>
                  <a:close/>
                  <a:moveTo>
                    <a:pt x="117" y="157"/>
                  </a:moveTo>
                  <a:lnTo>
                    <a:pt x="116" y="154"/>
                  </a:lnTo>
                  <a:lnTo>
                    <a:pt x="117" y="152"/>
                  </a:lnTo>
                  <a:lnTo>
                    <a:pt x="116" y="151"/>
                  </a:lnTo>
                  <a:lnTo>
                    <a:pt x="114" y="151"/>
                  </a:lnTo>
                  <a:lnTo>
                    <a:pt x="116" y="149"/>
                  </a:lnTo>
                  <a:lnTo>
                    <a:pt x="114" y="147"/>
                  </a:lnTo>
                  <a:lnTo>
                    <a:pt x="113" y="146"/>
                  </a:lnTo>
                  <a:lnTo>
                    <a:pt x="111" y="144"/>
                  </a:lnTo>
                  <a:lnTo>
                    <a:pt x="113" y="143"/>
                  </a:lnTo>
                  <a:lnTo>
                    <a:pt x="114" y="143"/>
                  </a:lnTo>
                  <a:lnTo>
                    <a:pt x="114" y="139"/>
                  </a:lnTo>
                  <a:lnTo>
                    <a:pt x="113" y="138"/>
                  </a:lnTo>
                  <a:lnTo>
                    <a:pt x="113" y="136"/>
                  </a:lnTo>
                  <a:lnTo>
                    <a:pt x="113" y="135"/>
                  </a:lnTo>
                  <a:lnTo>
                    <a:pt x="111" y="135"/>
                  </a:lnTo>
                  <a:lnTo>
                    <a:pt x="109" y="135"/>
                  </a:lnTo>
                  <a:lnTo>
                    <a:pt x="109" y="133"/>
                  </a:lnTo>
                  <a:lnTo>
                    <a:pt x="108" y="131"/>
                  </a:lnTo>
                  <a:lnTo>
                    <a:pt x="106" y="131"/>
                  </a:lnTo>
                  <a:lnTo>
                    <a:pt x="103" y="128"/>
                  </a:lnTo>
                  <a:lnTo>
                    <a:pt x="103" y="128"/>
                  </a:lnTo>
                  <a:lnTo>
                    <a:pt x="103" y="128"/>
                  </a:lnTo>
                  <a:lnTo>
                    <a:pt x="103" y="131"/>
                  </a:lnTo>
                  <a:lnTo>
                    <a:pt x="103" y="136"/>
                  </a:lnTo>
                  <a:lnTo>
                    <a:pt x="103" y="138"/>
                  </a:lnTo>
                  <a:lnTo>
                    <a:pt x="103" y="139"/>
                  </a:lnTo>
                  <a:lnTo>
                    <a:pt x="103" y="139"/>
                  </a:lnTo>
                  <a:lnTo>
                    <a:pt x="100" y="138"/>
                  </a:lnTo>
                  <a:lnTo>
                    <a:pt x="100" y="141"/>
                  </a:lnTo>
                  <a:lnTo>
                    <a:pt x="97" y="139"/>
                  </a:lnTo>
                  <a:lnTo>
                    <a:pt x="94" y="139"/>
                  </a:lnTo>
                  <a:lnTo>
                    <a:pt x="94" y="141"/>
                  </a:lnTo>
                  <a:lnTo>
                    <a:pt x="94" y="144"/>
                  </a:lnTo>
                  <a:lnTo>
                    <a:pt x="94" y="146"/>
                  </a:lnTo>
                  <a:lnTo>
                    <a:pt x="92" y="146"/>
                  </a:lnTo>
                  <a:lnTo>
                    <a:pt x="90" y="146"/>
                  </a:lnTo>
                  <a:lnTo>
                    <a:pt x="89" y="147"/>
                  </a:lnTo>
                  <a:lnTo>
                    <a:pt x="89" y="151"/>
                  </a:lnTo>
                  <a:lnTo>
                    <a:pt x="87" y="152"/>
                  </a:lnTo>
                  <a:lnTo>
                    <a:pt x="84" y="152"/>
                  </a:lnTo>
                  <a:lnTo>
                    <a:pt x="81" y="154"/>
                  </a:lnTo>
                  <a:lnTo>
                    <a:pt x="82" y="152"/>
                  </a:lnTo>
                  <a:lnTo>
                    <a:pt x="84" y="152"/>
                  </a:lnTo>
                  <a:lnTo>
                    <a:pt x="84" y="151"/>
                  </a:lnTo>
                  <a:lnTo>
                    <a:pt x="82" y="146"/>
                  </a:lnTo>
                  <a:lnTo>
                    <a:pt x="81" y="144"/>
                  </a:lnTo>
                  <a:lnTo>
                    <a:pt x="79" y="146"/>
                  </a:lnTo>
                  <a:lnTo>
                    <a:pt x="79" y="144"/>
                  </a:lnTo>
                  <a:lnTo>
                    <a:pt x="78" y="143"/>
                  </a:lnTo>
                  <a:lnTo>
                    <a:pt x="78" y="144"/>
                  </a:lnTo>
                  <a:lnTo>
                    <a:pt x="76" y="146"/>
                  </a:lnTo>
                  <a:lnTo>
                    <a:pt x="73" y="147"/>
                  </a:lnTo>
                  <a:lnTo>
                    <a:pt x="71" y="151"/>
                  </a:lnTo>
                  <a:lnTo>
                    <a:pt x="71" y="152"/>
                  </a:lnTo>
                  <a:lnTo>
                    <a:pt x="71" y="152"/>
                  </a:lnTo>
                  <a:lnTo>
                    <a:pt x="65" y="154"/>
                  </a:lnTo>
                  <a:lnTo>
                    <a:pt x="65" y="154"/>
                  </a:lnTo>
                  <a:lnTo>
                    <a:pt x="62" y="154"/>
                  </a:lnTo>
                  <a:lnTo>
                    <a:pt x="62" y="160"/>
                  </a:lnTo>
                  <a:lnTo>
                    <a:pt x="59" y="165"/>
                  </a:lnTo>
                  <a:lnTo>
                    <a:pt x="59" y="168"/>
                  </a:lnTo>
                  <a:lnTo>
                    <a:pt x="62" y="168"/>
                  </a:lnTo>
                  <a:lnTo>
                    <a:pt x="62" y="168"/>
                  </a:lnTo>
                  <a:lnTo>
                    <a:pt x="65" y="166"/>
                  </a:lnTo>
                  <a:lnTo>
                    <a:pt x="65" y="163"/>
                  </a:lnTo>
                  <a:lnTo>
                    <a:pt x="65" y="160"/>
                  </a:lnTo>
                  <a:lnTo>
                    <a:pt x="68" y="157"/>
                  </a:lnTo>
                  <a:lnTo>
                    <a:pt x="68" y="157"/>
                  </a:lnTo>
                  <a:lnTo>
                    <a:pt x="71" y="157"/>
                  </a:lnTo>
                  <a:lnTo>
                    <a:pt x="71" y="160"/>
                  </a:lnTo>
                  <a:lnTo>
                    <a:pt x="71" y="160"/>
                  </a:lnTo>
                  <a:lnTo>
                    <a:pt x="73" y="160"/>
                  </a:lnTo>
                  <a:lnTo>
                    <a:pt x="73" y="160"/>
                  </a:lnTo>
                  <a:lnTo>
                    <a:pt x="75" y="157"/>
                  </a:lnTo>
                  <a:lnTo>
                    <a:pt x="75" y="160"/>
                  </a:lnTo>
                  <a:lnTo>
                    <a:pt x="75" y="160"/>
                  </a:lnTo>
                  <a:lnTo>
                    <a:pt x="76" y="160"/>
                  </a:lnTo>
                  <a:lnTo>
                    <a:pt x="79" y="163"/>
                  </a:lnTo>
                  <a:lnTo>
                    <a:pt x="78" y="160"/>
                  </a:lnTo>
                  <a:lnTo>
                    <a:pt x="79" y="160"/>
                  </a:lnTo>
                  <a:lnTo>
                    <a:pt x="79" y="157"/>
                  </a:lnTo>
                  <a:lnTo>
                    <a:pt x="79" y="157"/>
                  </a:lnTo>
                  <a:lnTo>
                    <a:pt x="81" y="157"/>
                  </a:lnTo>
                  <a:lnTo>
                    <a:pt x="82" y="157"/>
                  </a:lnTo>
                  <a:lnTo>
                    <a:pt x="87" y="160"/>
                  </a:lnTo>
                  <a:lnTo>
                    <a:pt x="89" y="163"/>
                  </a:lnTo>
                  <a:lnTo>
                    <a:pt x="89" y="165"/>
                  </a:lnTo>
                  <a:lnTo>
                    <a:pt x="87" y="168"/>
                  </a:lnTo>
                  <a:lnTo>
                    <a:pt x="89" y="176"/>
                  </a:lnTo>
                  <a:lnTo>
                    <a:pt x="90" y="178"/>
                  </a:lnTo>
                  <a:lnTo>
                    <a:pt x="94" y="181"/>
                  </a:lnTo>
                  <a:lnTo>
                    <a:pt x="97" y="184"/>
                  </a:lnTo>
                  <a:lnTo>
                    <a:pt x="100" y="184"/>
                  </a:lnTo>
                  <a:lnTo>
                    <a:pt x="100" y="184"/>
                  </a:lnTo>
                  <a:lnTo>
                    <a:pt x="103" y="181"/>
                  </a:lnTo>
                  <a:lnTo>
                    <a:pt x="103" y="181"/>
                  </a:lnTo>
                  <a:lnTo>
                    <a:pt x="103" y="184"/>
                  </a:lnTo>
                  <a:lnTo>
                    <a:pt x="103" y="187"/>
                  </a:lnTo>
                  <a:lnTo>
                    <a:pt x="105" y="187"/>
                  </a:lnTo>
                  <a:lnTo>
                    <a:pt x="108" y="184"/>
                  </a:lnTo>
                  <a:lnTo>
                    <a:pt x="109" y="181"/>
                  </a:lnTo>
                  <a:lnTo>
                    <a:pt x="106" y="176"/>
                  </a:lnTo>
                  <a:lnTo>
                    <a:pt x="105" y="173"/>
                  </a:lnTo>
                  <a:lnTo>
                    <a:pt x="106" y="166"/>
                  </a:lnTo>
                  <a:lnTo>
                    <a:pt x="108" y="163"/>
                  </a:lnTo>
                  <a:lnTo>
                    <a:pt x="109" y="163"/>
                  </a:lnTo>
                  <a:lnTo>
                    <a:pt x="111" y="166"/>
                  </a:lnTo>
                  <a:lnTo>
                    <a:pt x="113" y="170"/>
                  </a:lnTo>
                  <a:lnTo>
                    <a:pt x="113" y="174"/>
                  </a:lnTo>
                  <a:lnTo>
                    <a:pt x="116" y="178"/>
                  </a:lnTo>
                  <a:lnTo>
                    <a:pt x="116" y="174"/>
                  </a:lnTo>
                  <a:lnTo>
                    <a:pt x="116" y="171"/>
                  </a:lnTo>
                  <a:lnTo>
                    <a:pt x="114" y="170"/>
                  </a:lnTo>
                  <a:lnTo>
                    <a:pt x="116" y="170"/>
                  </a:lnTo>
                  <a:lnTo>
                    <a:pt x="117" y="168"/>
                  </a:lnTo>
                  <a:lnTo>
                    <a:pt x="117" y="166"/>
                  </a:lnTo>
                  <a:lnTo>
                    <a:pt x="117" y="163"/>
                  </a:lnTo>
                  <a:lnTo>
                    <a:pt x="117" y="157"/>
                  </a:lnTo>
                  <a:lnTo>
                    <a:pt x="117" y="157"/>
                  </a:lnTo>
                  <a:lnTo>
                    <a:pt x="117" y="157"/>
                  </a:lnTo>
                  <a:lnTo>
                    <a:pt x="117" y="157"/>
                  </a:lnTo>
                  <a:lnTo>
                    <a:pt x="117" y="157"/>
                  </a:lnTo>
                  <a:lnTo>
                    <a:pt x="117" y="157"/>
                  </a:lnTo>
                  <a:lnTo>
                    <a:pt x="117" y="157"/>
                  </a:lnTo>
                  <a:lnTo>
                    <a:pt x="117" y="157"/>
                  </a:lnTo>
                  <a:lnTo>
                    <a:pt x="117" y="157"/>
                  </a:lnTo>
                  <a:lnTo>
                    <a:pt x="117" y="157"/>
                  </a:lnTo>
                  <a:close/>
                  <a:moveTo>
                    <a:pt x="75" y="119"/>
                  </a:moveTo>
                  <a:lnTo>
                    <a:pt x="76" y="116"/>
                  </a:lnTo>
                  <a:lnTo>
                    <a:pt x="76" y="112"/>
                  </a:lnTo>
                  <a:lnTo>
                    <a:pt x="75" y="111"/>
                  </a:lnTo>
                  <a:lnTo>
                    <a:pt x="73" y="111"/>
                  </a:lnTo>
                  <a:lnTo>
                    <a:pt x="71" y="111"/>
                  </a:lnTo>
                  <a:lnTo>
                    <a:pt x="68" y="112"/>
                  </a:lnTo>
                  <a:lnTo>
                    <a:pt x="68" y="116"/>
                  </a:lnTo>
                  <a:lnTo>
                    <a:pt x="68" y="117"/>
                  </a:lnTo>
                  <a:lnTo>
                    <a:pt x="68" y="119"/>
                  </a:lnTo>
                  <a:lnTo>
                    <a:pt x="68" y="122"/>
                  </a:lnTo>
                  <a:lnTo>
                    <a:pt x="68" y="122"/>
                  </a:lnTo>
                  <a:lnTo>
                    <a:pt x="68" y="125"/>
                  </a:lnTo>
                  <a:lnTo>
                    <a:pt x="65" y="125"/>
                  </a:lnTo>
                  <a:lnTo>
                    <a:pt x="65" y="125"/>
                  </a:lnTo>
                  <a:lnTo>
                    <a:pt x="62" y="125"/>
                  </a:lnTo>
                  <a:lnTo>
                    <a:pt x="65" y="131"/>
                  </a:lnTo>
                  <a:lnTo>
                    <a:pt x="65" y="133"/>
                  </a:lnTo>
                  <a:lnTo>
                    <a:pt x="71" y="135"/>
                  </a:lnTo>
                  <a:lnTo>
                    <a:pt x="71" y="138"/>
                  </a:lnTo>
                  <a:lnTo>
                    <a:pt x="73" y="138"/>
                  </a:lnTo>
                  <a:lnTo>
                    <a:pt x="75" y="136"/>
                  </a:lnTo>
                  <a:lnTo>
                    <a:pt x="75" y="135"/>
                  </a:lnTo>
                  <a:lnTo>
                    <a:pt x="75" y="133"/>
                  </a:lnTo>
                  <a:lnTo>
                    <a:pt x="73" y="131"/>
                  </a:lnTo>
                  <a:lnTo>
                    <a:pt x="73" y="125"/>
                  </a:lnTo>
                  <a:lnTo>
                    <a:pt x="75" y="119"/>
                  </a:lnTo>
                  <a:lnTo>
                    <a:pt x="75" y="119"/>
                  </a:lnTo>
                  <a:lnTo>
                    <a:pt x="75" y="119"/>
                  </a:lnTo>
                  <a:lnTo>
                    <a:pt x="75" y="119"/>
                  </a:lnTo>
                  <a:lnTo>
                    <a:pt x="75" y="119"/>
                  </a:lnTo>
                  <a:lnTo>
                    <a:pt x="75" y="119"/>
                  </a:lnTo>
                  <a:lnTo>
                    <a:pt x="75" y="119"/>
                  </a:lnTo>
                  <a:lnTo>
                    <a:pt x="75" y="119"/>
                  </a:lnTo>
                  <a:lnTo>
                    <a:pt x="75" y="119"/>
                  </a:lnTo>
                  <a:close/>
                  <a:moveTo>
                    <a:pt x="71" y="97"/>
                  </a:moveTo>
                  <a:lnTo>
                    <a:pt x="73" y="93"/>
                  </a:lnTo>
                  <a:lnTo>
                    <a:pt x="73" y="93"/>
                  </a:lnTo>
                  <a:lnTo>
                    <a:pt x="75" y="93"/>
                  </a:lnTo>
                  <a:lnTo>
                    <a:pt x="78" y="97"/>
                  </a:lnTo>
                  <a:lnTo>
                    <a:pt x="81" y="98"/>
                  </a:lnTo>
                  <a:lnTo>
                    <a:pt x="82" y="97"/>
                  </a:lnTo>
                  <a:lnTo>
                    <a:pt x="81" y="97"/>
                  </a:lnTo>
                  <a:lnTo>
                    <a:pt x="76" y="90"/>
                  </a:lnTo>
                  <a:lnTo>
                    <a:pt x="75" y="90"/>
                  </a:lnTo>
                  <a:lnTo>
                    <a:pt x="71" y="87"/>
                  </a:lnTo>
                  <a:lnTo>
                    <a:pt x="71" y="93"/>
                  </a:lnTo>
                  <a:lnTo>
                    <a:pt x="71" y="93"/>
                  </a:lnTo>
                  <a:lnTo>
                    <a:pt x="71" y="97"/>
                  </a:lnTo>
                  <a:lnTo>
                    <a:pt x="71" y="97"/>
                  </a:lnTo>
                  <a:lnTo>
                    <a:pt x="71" y="97"/>
                  </a:lnTo>
                  <a:lnTo>
                    <a:pt x="71" y="97"/>
                  </a:lnTo>
                  <a:lnTo>
                    <a:pt x="71" y="97"/>
                  </a:lnTo>
                  <a:lnTo>
                    <a:pt x="71" y="97"/>
                  </a:lnTo>
                  <a:lnTo>
                    <a:pt x="71" y="97"/>
                  </a:lnTo>
                  <a:lnTo>
                    <a:pt x="71" y="97"/>
                  </a:lnTo>
                  <a:lnTo>
                    <a:pt x="71" y="97"/>
                  </a:lnTo>
                  <a:lnTo>
                    <a:pt x="71" y="97"/>
                  </a:lnTo>
                  <a:close/>
                  <a:moveTo>
                    <a:pt x="78" y="128"/>
                  </a:moveTo>
                  <a:lnTo>
                    <a:pt x="79" y="122"/>
                  </a:lnTo>
                  <a:lnTo>
                    <a:pt x="82" y="119"/>
                  </a:lnTo>
                  <a:lnTo>
                    <a:pt x="82" y="117"/>
                  </a:lnTo>
                  <a:lnTo>
                    <a:pt x="82" y="106"/>
                  </a:lnTo>
                  <a:lnTo>
                    <a:pt x="81" y="108"/>
                  </a:lnTo>
                  <a:lnTo>
                    <a:pt x="81" y="109"/>
                  </a:lnTo>
                  <a:lnTo>
                    <a:pt x="79" y="114"/>
                  </a:lnTo>
                  <a:lnTo>
                    <a:pt x="76" y="125"/>
                  </a:lnTo>
                  <a:lnTo>
                    <a:pt x="75" y="131"/>
                  </a:lnTo>
                  <a:lnTo>
                    <a:pt x="76" y="131"/>
                  </a:lnTo>
                  <a:lnTo>
                    <a:pt x="78" y="128"/>
                  </a:lnTo>
                  <a:lnTo>
                    <a:pt x="78" y="128"/>
                  </a:lnTo>
                  <a:lnTo>
                    <a:pt x="78" y="128"/>
                  </a:lnTo>
                  <a:lnTo>
                    <a:pt x="78" y="128"/>
                  </a:lnTo>
                  <a:lnTo>
                    <a:pt x="78" y="128"/>
                  </a:lnTo>
                  <a:lnTo>
                    <a:pt x="78" y="128"/>
                  </a:lnTo>
                  <a:lnTo>
                    <a:pt x="78" y="128"/>
                  </a:lnTo>
                  <a:lnTo>
                    <a:pt x="78" y="128"/>
                  </a:lnTo>
                  <a:lnTo>
                    <a:pt x="78" y="128"/>
                  </a:lnTo>
                  <a:close/>
                  <a:moveTo>
                    <a:pt x="82" y="71"/>
                  </a:moveTo>
                  <a:lnTo>
                    <a:pt x="82" y="70"/>
                  </a:lnTo>
                  <a:lnTo>
                    <a:pt x="82" y="66"/>
                  </a:lnTo>
                  <a:lnTo>
                    <a:pt x="79" y="66"/>
                  </a:lnTo>
                  <a:lnTo>
                    <a:pt x="79" y="70"/>
                  </a:lnTo>
                  <a:lnTo>
                    <a:pt x="81" y="74"/>
                  </a:lnTo>
                  <a:lnTo>
                    <a:pt x="82" y="71"/>
                  </a:lnTo>
                  <a:lnTo>
                    <a:pt x="82" y="71"/>
                  </a:lnTo>
                  <a:lnTo>
                    <a:pt x="82" y="71"/>
                  </a:lnTo>
                  <a:lnTo>
                    <a:pt x="82" y="71"/>
                  </a:lnTo>
                  <a:lnTo>
                    <a:pt x="82" y="71"/>
                  </a:lnTo>
                  <a:lnTo>
                    <a:pt x="82" y="71"/>
                  </a:lnTo>
                  <a:lnTo>
                    <a:pt x="82" y="71"/>
                  </a:lnTo>
                  <a:lnTo>
                    <a:pt x="82" y="71"/>
                  </a:lnTo>
                  <a:lnTo>
                    <a:pt x="82" y="71"/>
                  </a:lnTo>
                  <a:close/>
                  <a:moveTo>
                    <a:pt x="84" y="131"/>
                  </a:moveTo>
                  <a:lnTo>
                    <a:pt x="86" y="131"/>
                  </a:lnTo>
                  <a:lnTo>
                    <a:pt x="92" y="128"/>
                  </a:lnTo>
                  <a:lnTo>
                    <a:pt x="90" y="125"/>
                  </a:lnTo>
                  <a:lnTo>
                    <a:pt x="89" y="122"/>
                  </a:lnTo>
                  <a:lnTo>
                    <a:pt x="86" y="122"/>
                  </a:lnTo>
                  <a:lnTo>
                    <a:pt x="82" y="125"/>
                  </a:lnTo>
                  <a:lnTo>
                    <a:pt x="81" y="128"/>
                  </a:lnTo>
                  <a:lnTo>
                    <a:pt x="82" y="128"/>
                  </a:lnTo>
                  <a:lnTo>
                    <a:pt x="82" y="131"/>
                  </a:lnTo>
                  <a:lnTo>
                    <a:pt x="84" y="131"/>
                  </a:lnTo>
                  <a:lnTo>
                    <a:pt x="84" y="131"/>
                  </a:lnTo>
                  <a:lnTo>
                    <a:pt x="84" y="131"/>
                  </a:lnTo>
                  <a:lnTo>
                    <a:pt x="84" y="131"/>
                  </a:lnTo>
                  <a:lnTo>
                    <a:pt x="84" y="131"/>
                  </a:lnTo>
                  <a:lnTo>
                    <a:pt x="84" y="131"/>
                  </a:lnTo>
                  <a:lnTo>
                    <a:pt x="84" y="131"/>
                  </a:lnTo>
                  <a:lnTo>
                    <a:pt x="84" y="131"/>
                  </a:lnTo>
                  <a:lnTo>
                    <a:pt x="84" y="131"/>
                  </a:lnTo>
                  <a:close/>
                  <a:moveTo>
                    <a:pt x="89" y="97"/>
                  </a:moveTo>
                  <a:lnTo>
                    <a:pt x="92" y="97"/>
                  </a:lnTo>
                  <a:lnTo>
                    <a:pt x="94" y="98"/>
                  </a:lnTo>
                  <a:lnTo>
                    <a:pt x="94" y="98"/>
                  </a:lnTo>
                  <a:lnTo>
                    <a:pt x="94" y="101"/>
                  </a:lnTo>
                  <a:lnTo>
                    <a:pt x="94" y="103"/>
                  </a:lnTo>
                  <a:lnTo>
                    <a:pt x="94" y="105"/>
                  </a:lnTo>
                  <a:lnTo>
                    <a:pt x="94" y="105"/>
                  </a:lnTo>
                  <a:lnTo>
                    <a:pt x="92" y="106"/>
                  </a:lnTo>
                  <a:lnTo>
                    <a:pt x="90" y="106"/>
                  </a:lnTo>
                  <a:lnTo>
                    <a:pt x="89" y="105"/>
                  </a:lnTo>
                  <a:lnTo>
                    <a:pt x="86" y="103"/>
                  </a:lnTo>
                  <a:lnTo>
                    <a:pt x="86" y="105"/>
                  </a:lnTo>
                  <a:lnTo>
                    <a:pt x="87" y="108"/>
                  </a:lnTo>
                  <a:lnTo>
                    <a:pt x="89" y="112"/>
                  </a:lnTo>
                  <a:lnTo>
                    <a:pt x="90" y="111"/>
                  </a:lnTo>
                  <a:lnTo>
                    <a:pt x="90" y="112"/>
                  </a:lnTo>
                  <a:lnTo>
                    <a:pt x="94" y="116"/>
                  </a:lnTo>
                  <a:lnTo>
                    <a:pt x="94" y="119"/>
                  </a:lnTo>
                  <a:lnTo>
                    <a:pt x="94" y="122"/>
                  </a:lnTo>
                  <a:lnTo>
                    <a:pt x="97" y="125"/>
                  </a:lnTo>
                  <a:lnTo>
                    <a:pt x="97" y="119"/>
                  </a:lnTo>
                  <a:lnTo>
                    <a:pt x="97" y="122"/>
                  </a:lnTo>
                  <a:lnTo>
                    <a:pt x="100" y="119"/>
                  </a:lnTo>
                  <a:lnTo>
                    <a:pt x="97" y="116"/>
                  </a:lnTo>
                  <a:lnTo>
                    <a:pt x="97" y="114"/>
                  </a:lnTo>
                  <a:lnTo>
                    <a:pt x="97" y="111"/>
                  </a:lnTo>
                  <a:lnTo>
                    <a:pt x="97" y="109"/>
                  </a:lnTo>
                  <a:lnTo>
                    <a:pt x="94" y="106"/>
                  </a:lnTo>
                  <a:lnTo>
                    <a:pt x="97" y="108"/>
                  </a:lnTo>
                  <a:lnTo>
                    <a:pt x="97" y="109"/>
                  </a:lnTo>
                  <a:lnTo>
                    <a:pt x="100" y="108"/>
                  </a:lnTo>
                  <a:lnTo>
                    <a:pt x="100" y="108"/>
                  </a:lnTo>
                  <a:lnTo>
                    <a:pt x="105" y="109"/>
                  </a:lnTo>
                  <a:lnTo>
                    <a:pt x="103" y="108"/>
                  </a:lnTo>
                  <a:lnTo>
                    <a:pt x="103" y="106"/>
                  </a:lnTo>
                  <a:lnTo>
                    <a:pt x="103" y="105"/>
                  </a:lnTo>
                  <a:lnTo>
                    <a:pt x="100" y="103"/>
                  </a:lnTo>
                  <a:lnTo>
                    <a:pt x="100" y="98"/>
                  </a:lnTo>
                  <a:lnTo>
                    <a:pt x="100" y="97"/>
                  </a:lnTo>
                  <a:lnTo>
                    <a:pt x="100" y="93"/>
                  </a:lnTo>
                  <a:lnTo>
                    <a:pt x="100" y="93"/>
                  </a:lnTo>
                  <a:lnTo>
                    <a:pt x="97" y="93"/>
                  </a:lnTo>
                  <a:lnTo>
                    <a:pt x="97" y="90"/>
                  </a:lnTo>
                  <a:lnTo>
                    <a:pt x="97" y="87"/>
                  </a:lnTo>
                  <a:lnTo>
                    <a:pt x="94" y="87"/>
                  </a:lnTo>
                  <a:lnTo>
                    <a:pt x="90" y="87"/>
                  </a:lnTo>
                  <a:lnTo>
                    <a:pt x="87" y="87"/>
                  </a:lnTo>
                  <a:lnTo>
                    <a:pt x="84" y="87"/>
                  </a:lnTo>
                  <a:lnTo>
                    <a:pt x="86" y="93"/>
                  </a:lnTo>
                  <a:lnTo>
                    <a:pt x="89" y="97"/>
                  </a:lnTo>
                  <a:lnTo>
                    <a:pt x="89" y="97"/>
                  </a:lnTo>
                  <a:lnTo>
                    <a:pt x="89" y="97"/>
                  </a:lnTo>
                  <a:lnTo>
                    <a:pt x="89" y="97"/>
                  </a:lnTo>
                  <a:lnTo>
                    <a:pt x="89" y="97"/>
                  </a:lnTo>
                  <a:lnTo>
                    <a:pt x="89" y="97"/>
                  </a:lnTo>
                  <a:lnTo>
                    <a:pt x="89" y="97"/>
                  </a:lnTo>
                  <a:lnTo>
                    <a:pt x="89" y="97"/>
                  </a:lnTo>
                  <a:lnTo>
                    <a:pt x="89" y="9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0" name="Freeform 241">
              <a:extLst>
                <a:ext uri="{FF2B5EF4-FFF2-40B4-BE49-F238E27FC236}">
                  <a16:creationId xmlns:a16="http://schemas.microsoft.com/office/drawing/2014/main" id="{DC023C6F-5703-8450-47D6-DE5C2D8A6CF7}"/>
                </a:ext>
              </a:extLst>
            </p:cNvPr>
            <p:cNvSpPr>
              <a:spLocks/>
            </p:cNvSpPr>
            <p:nvPr/>
          </p:nvSpPr>
          <p:spPr bwMode="auto">
            <a:xfrm>
              <a:off x="7992055" y="2354021"/>
              <a:ext cx="843395" cy="329732"/>
            </a:xfrm>
            <a:custGeom>
              <a:avLst/>
              <a:gdLst>
                <a:gd name="T0" fmla="*/ 6 w 376"/>
                <a:gd name="T1" fmla="*/ 49 h 147"/>
                <a:gd name="T2" fmla="*/ 22 w 376"/>
                <a:gd name="T3" fmla="*/ 57 h 147"/>
                <a:gd name="T4" fmla="*/ 33 w 376"/>
                <a:gd name="T5" fmla="*/ 60 h 147"/>
                <a:gd name="T6" fmla="*/ 52 w 376"/>
                <a:gd name="T7" fmla="*/ 76 h 147"/>
                <a:gd name="T8" fmla="*/ 54 w 376"/>
                <a:gd name="T9" fmla="*/ 90 h 147"/>
                <a:gd name="T10" fmla="*/ 86 w 376"/>
                <a:gd name="T11" fmla="*/ 98 h 147"/>
                <a:gd name="T12" fmla="*/ 108 w 376"/>
                <a:gd name="T13" fmla="*/ 109 h 147"/>
                <a:gd name="T14" fmla="*/ 119 w 376"/>
                <a:gd name="T15" fmla="*/ 116 h 147"/>
                <a:gd name="T16" fmla="*/ 135 w 376"/>
                <a:gd name="T17" fmla="*/ 132 h 147"/>
                <a:gd name="T18" fmla="*/ 165 w 376"/>
                <a:gd name="T19" fmla="*/ 133 h 147"/>
                <a:gd name="T20" fmla="*/ 195 w 376"/>
                <a:gd name="T21" fmla="*/ 133 h 147"/>
                <a:gd name="T22" fmla="*/ 224 w 376"/>
                <a:gd name="T23" fmla="*/ 144 h 147"/>
                <a:gd name="T24" fmla="*/ 238 w 376"/>
                <a:gd name="T25" fmla="*/ 147 h 147"/>
                <a:gd name="T26" fmla="*/ 268 w 376"/>
                <a:gd name="T27" fmla="*/ 136 h 147"/>
                <a:gd name="T28" fmla="*/ 297 w 376"/>
                <a:gd name="T29" fmla="*/ 130 h 147"/>
                <a:gd name="T30" fmla="*/ 306 w 376"/>
                <a:gd name="T31" fmla="*/ 117 h 147"/>
                <a:gd name="T32" fmla="*/ 297 w 376"/>
                <a:gd name="T33" fmla="*/ 105 h 147"/>
                <a:gd name="T34" fmla="*/ 311 w 376"/>
                <a:gd name="T35" fmla="*/ 101 h 147"/>
                <a:gd name="T36" fmla="*/ 327 w 376"/>
                <a:gd name="T37" fmla="*/ 95 h 147"/>
                <a:gd name="T38" fmla="*/ 337 w 376"/>
                <a:gd name="T39" fmla="*/ 94 h 147"/>
                <a:gd name="T40" fmla="*/ 345 w 376"/>
                <a:gd name="T41" fmla="*/ 81 h 147"/>
                <a:gd name="T42" fmla="*/ 352 w 376"/>
                <a:gd name="T43" fmla="*/ 78 h 147"/>
                <a:gd name="T44" fmla="*/ 364 w 376"/>
                <a:gd name="T45" fmla="*/ 74 h 147"/>
                <a:gd name="T46" fmla="*/ 375 w 376"/>
                <a:gd name="T47" fmla="*/ 73 h 147"/>
                <a:gd name="T48" fmla="*/ 346 w 376"/>
                <a:gd name="T49" fmla="*/ 57 h 147"/>
                <a:gd name="T50" fmla="*/ 335 w 376"/>
                <a:gd name="T51" fmla="*/ 60 h 147"/>
                <a:gd name="T52" fmla="*/ 322 w 376"/>
                <a:gd name="T53" fmla="*/ 62 h 147"/>
                <a:gd name="T54" fmla="*/ 316 w 376"/>
                <a:gd name="T55" fmla="*/ 32 h 147"/>
                <a:gd name="T56" fmla="*/ 306 w 376"/>
                <a:gd name="T57" fmla="*/ 32 h 147"/>
                <a:gd name="T58" fmla="*/ 287 w 376"/>
                <a:gd name="T59" fmla="*/ 25 h 147"/>
                <a:gd name="T60" fmla="*/ 275 w 376"/>
                <a:gd name="T61" fmla="*/ 36 h 147"/>
                <a:gd name="T62" fmla="*/ 260 w 376"/>
                <a:gd name="T63" fmla="*/ 40 h 147"/>
                <a:gd name="T64" fmla="*/ 240 w 376"/>
                <a:gd name="T65" fmla="*/ 40 h 147"/>
                <a:gd name="T66" fmla="*/ 222 w 376"/>
                <a:gd name="T67" fmla="*/ 35 h 147"/>
                <a:gd name="T68" fmla="*/ 211 w 376"/>
                <a:gd name="T69" fmla="*/ 30 h 147"/>
                <a:gd name="T70" fmla="*/ 192 w 376"/>
                <a:gd name="T71" fmla="*/ 24 h 147"/>
                <a:gd name="T72" fmla="*/ 171 w 376"/>
                <a:gd name="T73" fmla="*/ 27 h 147"/>
                <a:gd name="T74" fmla="*/ 160 w 376"/>
                <a:gd name="T75" fmla="*/ 25 h 147"/>
                <a:gd name="T76" fmla="*/ 146 w 376"/>
                <a:gd name="T77" fmla="*/ 14 h 147"/>
                <a:gd name="T78" fmla="*/ 130 w 376"/>
                <a:gd name="T79" fmla="*/ 6 h 147"/>
                <a:gd name="T80" fmla="*/ 103 w 376"/>
                <a:gd name="T81" fmla="*/ 3 h 147"/>
                <a:gd name="T82" fmla="*/ 98 w 376"/>
                <a:gd name="T83" fmla="*/ 11 h 147"/>
                <a:gd name="T84" fmla="*/ 110 w 376"/>
                <a:gd name="T85" fmla="*/ 25 h 147"/>
                <a:gd name="T86" fmla="*/ 102 w 376"/>
                <a:gd name="T87" fmla="*/ 33 h 147"/>
                <a:gd name="T88" fmla="*/ 81 w 376"/>
                <a:gd name="T89" fmla="*/ 30 h 147"/>
                <a:gd name="T90" fmla="*/ 67 w 376"/>
                <a:gd name="T91" fmla="*/ 24 h 147"/>
                <a:gd name="T92" fmla="*/ 52 w 376"/>
                <a:gd name="T93" fmla="*/ 20 h 147"/>
                <a:gd name="T94" fmla="*/ 46 w 376"/>
                <a:gd name="T95" fmla="*/ 17 h 147"/>
                <a:gd name="T96" fmla="*/ 38 w 376"/>
                <a:gd name="T97" fmla="*/ 17 h 147"/>
                <a:gd name="T98" fmla="*/ 29 w 376"/>
                <a:gd name="T99" fmla="*/ 25 h 147"/>
                <a:gd name="T100" fmla="*/ 21 w 376"/>
                <a:gd name="T101" fmla="*/ 30 h 147"/>
                <a:gd name="T102" fmla="*/ 14 w 376"/>
                <a:gd name="T103" fmla="*/ 36 h 147"/>
                <a:gd name="T104" fmla="*/ 5 w 376"/>
                <a:gd name="T105" fmla="*/ 36 h 147"/>
                <a:gd name="T106" fmla="*/ 2 w 376"/>
                <a:gd name="T107" fmla="*/ 41 h 147"/>
                <a:gd name="T108" fmla="*/ 2 w 376"/>
                <a:gd name="T109" fmla="*/ 43 h 147"/>
                <a:gd name="T110" fmla="*/ 2 w 376"/>
                <a:gd name="T111" fmla="*/ 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147">
                  <a:moveTo>
                    <a:pt x="2" y="43"/>
                  </a:moveTo>
                  <a:lnTo>
                    <a:pt x="2" y="46"/>
                  </a:lnTo>
                  <a:lnTo>
                    <a:pt x="3" y="46"/>
                  </a:lnTo>
                  <a:lnTo>
                    <a:pt x="6" y="49"/>
                  </a:lnTo>
                  <a:lnTo>
                    <a:pt x="6" y="49"/>
                  </a:lnTo>
                  <a:lnTo>
                    <a:pt x="10" y="52"/>
                  </a:lnTo>
                  <a:lnTo>
                    <a:pt x="13" y="52"/>
                  </a:lnTo>
                  <a:lnTo>
                    <a:pt x="16" y="54"/>
                  </a:lnTo>
                  <a:lnTo>
                    <a:pt x="19" y="57"/>
                  </a:lnTo>
                  <a:lnTo>
                    <a:pt x="22" y="57"/>
                  </a:lnTo>
                  <a:lnTo>
                    <a:pt x="25" y="57"/>
                  </a:lnTo>
                  <a:lnTo>
                    <a:pt x="29" y="59"/>
                  </a:lnTo>
                  <a:lnTo>
                    <a:pt x="32" y="60"/>
                  </a:lnTo>
                  <a:lnTo>
                    <a:pt x="32" y="59"/>
                  </a:lnTo>
                  <a:lnTo>
                    <a:pt x="33" y="60"/>
                  </a:lnTo>
                  <a:lnTo>
                    <a:pt x="38" y="63"/>
                  </a:lnTo>
                  <a:lnTo>
                    <a:pt x="41" y="67"/>
                  </a:lnTo>
                  <a:lnTo>
                    <a:pt x="44" y="70"/>
                  </a:lnTo>
                  <a:lnTo>
                    <a:pt x="49" y="73"/>
                  </a:lnTo>
                  <a:lnTo>
                    <a:pt x="52" y="76"/>
                  </a:lnTo>
                  <a:lnTo>
                    <a:pt x="52" y="79"/>
                  </a:lnTo>
                  <a:lnTo>
                    <a:pt x="54" y="84"/>
                  </a:lnTo>
                  <a:lnTo>
                    <a:pt x="56" y="86"/>
                  </a:lnTo>
                  <a:lnTo>
                    <a:pt x="54" y="87"/>
                  </a:lnTo>
                  <a:lnTo>
                    <a:pt x="54" y="90"/>
                  </a:lnTo>
                  <a:lnTo>
                    <a:pt x="56" y="94"/>
                  </a:lnTo>
                  <a:lnTo>
                    <a:pt x="57" y="95"/>
                  </a:lnTo>
                  <a:lnTo>
                    <a:pt x="63" y="98"/>
                  </a:lnTo>
                  <a:lnTo>
                    <a:pt x="76" y="98"/>
                  </a:lnTo>
                  <a:lnTo>
                    <a:pt x="86" y="98"/>
                  </a:lnTo>
                  <a:lnTo>
                    <a:pt x="90" y="101"/>
                  </a:lnTo>
                  <a:lnTo>
                    <a:pt x="92" y="101"/>
                  </a:lnTo>
                  <a:lnTo>
                    <a:pt x="95" y="105"/>
                  </a:lnTo>
                  <a:lnTo>
                    <a:pt x="102" y="105"/>
                  </a:lnTo>
                  <a:lnTo>
                    <a:pt x="108" y="109"/>
                  </a:lnTo>
                  <a:lnTo>
                    <a:pt x="113" y="109"/>
                  </a:lnTo>
                  <a:lnTo>
                    <a:pt x="114" y="109"/>
                  </a:lnTo>
                  <a:lnTo>
                    <a:pt x="116" y="111"/>
                  </a:lnTo>
                  <a:lnTo>
                    <a:pt x="117" y="114"/>
                  </a:lnTo>
                  <a:lnTo>
                    <a:pt x="119" y="116"/>
                  </a:lnTo>
                  <a:lnTo>
                    <a:pt x="124" y="122"/>
                  </a:lnTo>
                  <a:lnTo>
                    <a:pt x="127" y="125"/>
                  </a:lnTo>
                  <a:lnTo>
                    <a:pt x="130" y="127"/>
                  </a:lnTo>
                  <a:lnTo>
                    <a:pt x="133" y="130"/>
                  </a:lnTo>
                  <a:lnTo>
                    <a:pt x="135" y="132"/>
                  </a:lnTo>
                  <a:lnTo>
                    <a:pt x="138" y="133"/>
                  </a:lnTo>
                  <a:lnTo>
                    <a:pt x="140" y="132"/>
                  </a:lnTo>
                  <a:lnTo>
                    <a:pt x="151" y="133"/>
                  </a:lnTo>
                  <a:lnTo>
                    <a:pt x="160" y="133"/>
                  </a:lnTo>
                  <a:lnTo>
                    <a:pt x="165" y="133"/>
                  </a:lnTo>
                  <a:lnTo>
                    <a:pt x="171" y="133"/>
                  </a:lnTo>
                  <a:lnTo>
                    <a:pt x="175" y="133"/>
                  </a:lnTo>
                  <a:lnTo>
                    <a:pt x="178" y="133"/>
                  </a:lnTo>
                  <a:lnTo>
                    <a:pt x="186" y="133"/>
                  </a:lnTo>
                  <a:lnTo>
                    <a:pt x="195" y="133"/>
                  </a:lnTo>
                  <a:lnTo>
                    <a:pt x="198" y="136"/>
                  </a:lnTo>
                  <a:lnTo>
                    <a:pt x="202" y="140"/>
                  </a:lnTo>
                  <a:lnTo>
                    <a:pt x="210" y="143"/>
                  </a:lnTo>
                  <a:lnTo>
                    <a:pt x="219" y="144"/>
                  </a:lnTo>
                  <a:lnTo>
                    <a:pt x="224" y="144"/>
                  </a:lnTo>
                  <a:lnTo>
                    <a:pt x="227" y="144"/>
                  </a:lnTo>
                  <a:lnTo>
                    <a:pt x="233" y="144"/>
                  </a:lnTo>
                  <a:lnTo>
                    <a:pt x="233" y="146"/>
                  </a:lnTo>
                  <a:lnTo>
                    <a:pt x="237" y="147"/>
                  </a:lnTo>
                  <a:lnTo>
                    <a:pt x="238" y="147"/>
                  </a:lnTo>
                  <a:lnTo>
                    <a:pt x="241" y="147"/>
                  </a:lnTo>
                  <a:lnTo>
                    <a:pt x="243" y="146"/>
                  </a:lnTo>
                  <a:lnTo>
                    <a:pt x="251" y="143"/>
                  </a:lnTo>
                  <a:lnTo>
                    <a:pt x="260" y="140"/>
                  </a:lnTo>
                  <a:lnTo>
                    <a:pt x="268" y="136"/>
                  </a:lnTo>
                  <a:lnTo>
                    <a:pt x="279" y="136"/>
                  </a:lnTo>
                  <a:lnTo>
                    <a:pt x="284" y="136"/>
                  </a:lnTo>
                  <a:lnTo>
                    <a:pt x="289" y="136"/>
                  </a:lnTo>
                  <a:lnTo>
                    <a:pt x="294" y="133"/>
                  </a:lnTo>
                  <a:lnTo>
                    <a:pt x="297" y="130"/>
                  </a:lnTo>
                  <a:lnTo>
                    <a:pt x="300" y="125"/>
                  </a:lnTo>
                  <a:lnTo>
                    <a:pt x="300" y="124"/>
                  </a:lnTo>
                  <a:lnTo>
                    <a:pt x="303" y="122"/>
                  </a:lnTo>
                  <a:lnTo>
                    <a:pt x="306" y="119"/>
                  </a:lnTo>
                  <a:lnTo>
                    <a:pt x="306" y="117"/>
                  </a:lnTo>
                  <a:lnTo>
                    <a:pt x="303" y="114"/>
                  </a:lnTo>
                  <a:lnTo>
                    <a:pt x="300" y="109"/>
                  </a:lnTo>
                  <a:lnTo>
                    <a:pt x="297" y="109"/>
                  </a:lnTo>
                  <a:lnTo>
                    <a:pt x="297" y="108"/>
                  </a:lnTo>
                  <a:lnTo>
                    <a:pt x="297" y="105"/>
                  </a:lnTo>
                  <a:lnTo>
                    <a:pt x="297" y="101"/>
                  </a:lnTo>
                  <a:lnTo>
                    <a:pt x="297" y="98"/>
                  </a:lnTo>
                  <a:lnTo>
                    <a:pt x="300" y="98"/>
                  </a:lnTo>
                  <a:lnTo>
                    <a:pt x="303" y="98"/>
                  </a:lnTo>
                  <a:lnTo>
                    <a:pt x="311" y="101"/>
                  </a:lnTo>
                  <a:lnTo>
                    <a:pt x="319" y="105"/>
                  </a:lnTo>
                  <a:lnTo>
                    <a:pt x="321" y="101"/>
                  </a:lnTo>
                  <a:lnTo>
                    <a:pt x="324" y="98"/>
                  </a:lnTo>
                  <a:lnTo>
                    <a:pt x="324" y="98"/>
                  </a:lnTo>
                  <a:lnTo>
                    <a:pt x="327" y="95"/>
                  </a:lnTo>
                  <a:lnTo>
                    <a:pt x="327" y="94"/>
                  </a:lnTo>
                  <a:lnTo>
                    <a:pt x="327" y="94"/>
                  </a:lnTo>
                  <a:lnTo>
                    <a:pt x="330" y="95"/>
                  </a:lnTo>
                  <a:lnTo>
                    <a:pt x="333" y="95"/>
                  </a:lnTo>
                  <a:lnTo>
                    <a:pt x="337" y="94"/>
                  </a:lnTo>
                  <a:lnTo>
                    <a:pt x="341" y="89"/>
                  </a:lnTo>
                  <a:lnTo>
                    <a:pt x="340" y="86"/>
                  </a:lnTo>
                  <a:lnTo>
                    <a:pt x="341" y="82"/>
                  </a:lnTo>
                  <a:lnTo>
                    <a:pt x="343" y="81"/>
                  </a:lnTo>
                  <a:lnTo>
                    <a:pt x="345" y="81"/>
                  </a:lnTo>
                  <a:lnTo>
                    <a:pt x="348" y="81"/>
                  </a:lnTo>
                  <a:lnTo>
                    <a:pt x="349" y="79"/>
                  </a:lnTo>
                  <a:lnTo>
                    <a:pt x="349" y="78"/>
                  </a:lnTo>
                  <a:lnTo>
                    <a:pt x="351" y="78"/>
                  </a:lnTo>
                  <a:lnTo>
                    <a:pt x="352" y="78"/>
                  </a:lnTo>
                  <a:lnTo>
                    <a:pt x="352" y="78"/>
                  </a:lnTo>
                  <a:lnTo>
                    <a:pt x="356" y="76"/>
                  </a:lnTo>
                  <a:lnTo>
                    <a:pt x="359" y="74"/>
                  </a:lnTo>
                  <a:lnTo>
                    <a:pt x="362" y="74"/>
                  </a:lnTo>
                  <a:lnTo>
                    <a:pt x="364" y="74"/>
                  </a:lnTo>
                  <a:lnTo>
                    <a:pt x="365" y="74"/>
                  </a:lnTo>
                  <a:lnTo>
                    <a:pt x="368" y="76"/>
                  </a:lnTo>
                  <a:lnTo>
                    <a:pt x="375" y="76"/>
                  </a:lnTo>
                  <a:lnTo>
                    <a:pt x="376" y="74"/>
                  </a:lnTo>
                  <a:lnTo>
                    <a:pt x="375" y="73"/>
                  </a:lnTo>
                  <a:lnTo>
                    <a:pt x="368" y="68"/>
                  </a:lnTo>
                  <a:lnTo>
                    <a:pt x="362" y="63"/>
                  </a:lnTo>
                  <a:lnTo>
                    <a:pt x="352" y="59"/>
                  </a:lnTo>
                  <a:lnTo>
                    <a:pt x="352" y="59"/>
                  </a:lnTo>
                  <a:lnTo>
                    <a:pt x="346" y="57"/>
                  </a:lnTo>
                  <a:lnTo>
                    <a:pt x="343" y="57"/>
                  </a:lnTo>
                  <a:lnTo>
                    <a:pt x="341" y="60"/>
                  </a:lnTo>
                  <a:lnTo>
                    <a:pt x="340" y="62"/>
                  </a:lnTo>
                  <a:lnTo>
                    <a:pt x="338" y="62"/>
                  </a:lnTo>
                  <a:lnTo>
                    <a:pt x="335" y="60"/>
                  </a:lnTo>
                  <a:lnTo>
                    <a:pt x="330" y="60"/>
                  </a:lnTo>
                  <a:lnTo>
                    <a:pt x="327" y="60"/>
                  </a:lnTo>
                  <a:lnTo>
                    <a:pt x="324" y="60"/>
                  </a:lnTo>
                  <a:lnTo>
                    <a:pt x="324" y="62"/>
                  </a:lnTo>
                  <a:lnTo>
                    <a:pt x="322" y="62"/>
                  </a:lnTo>
                  <a:lnTo>
                    <a:pt x="318" y="57"/>
                  </a:lnTo>
                  <a:lnTo>
                    <a:pt x="318" y="55"/>
                  </a:lnTo>
                  <a:lnTo>
                    <a:pt x="319" y="54"/>
                  </a:lnTo>
                  <a:lnTo>
                    <a:pt x="318" y="52"/>
                  </a:lnTo>
                  <a:lnTo>
                    <a:pt x="316" y="32"/>
                  </a:lnTo>
                  <a:lnTo>
                    <a:pt x="316" y="32"/>
                  </a:lnTo>
                  <a:lnTo>
                    <a:pt x="313" y="30"/>
                  </a:lnTo>
                  <a:lnTo>
                    <a:pt x="310" y="30"/>
                  </a:lnTo>
                  <a:lnTo>
                    <a:pt x="308" y="30"/>
                  </a:lnTo>
                  <a:lnTo>
                    <a:pt x="306" y="32"/>
                  </a:lnTo>
                  <a:lnTo>
                    <a:pt x="303" y="32"/>
                  </a:lnTo>
                  <a:lnTo>
                    <a:pt x="300" y="30"/>
                  </a:lnTo>
                  <a:lnTo>
                    <a:pt x="294" y="27"/>
                  </a:lnTo>
                  <a:lnTo>
                    <a:pt x="291" y="25"/>
                  </a:lnTo>
                  <a:lnTo>
                    <a:pt x="287" y="25"/>
                  </a:lnTo>
                  <a:lnTo>
                    <a:pt x="284" y="27"/>
                  </a:lnTo>
                  <a:lnTo>
                    <a:pt x="281" y="28"/>
                  </a:lnTo>
                  <a:lnTo>
                    <a:pt x="278" y="30"/>
                  </a:lnTo>
                  <a:lnTo>
                    <a:pt x="276" y="33"/>
                  </a:lnTo>
                  <a:lnTo>
                    <a:pt x="275" y="36"/>
                  </a:lnTo>
                  <a:lnTo>
                    <a:pt x="273" y="36"/>
                  </a:lnTo>
                  <a:lnTo>
                    <a:pt x="271" y="36"/>
                  </a:lnTo>
                  <a:lnTo>
                    <a:pt x="271" y="36"/>
                  </a:lnTo>
                  <a:lnTo>
                    <a:pt x="262" y="38"/>
                  </a:lnTo>
                  <a:lnTo>
                    <a:pt x="260" y="40"/>
                  </a:lnTo>
                  <a:lnTo>
                    <a:pt x="257" y="41"/>
                  </a:lnTo>
                  <a:lnTo>
                    <a:pt x="254" y="41"/>
                  </a:lnTo>
                  <a:lnTo>
                    <a:pt x="251" y="41"/>
                  </a:lnTo>
                  <a:lnTo>
                    <a:pt x="244" y="41"/>
                  </a:lnTo>
                  <a:lnTo>
                    <a:pt x="240" y="40"/>
                  </a:lnTo>
                  <a:lnTo>
                    <a:pt x="238" y="40"/>
                  </a:lnTo>
                  <a:lnTo>
                    <a:pt x="233" y="40"/>
                  </a:lnTo>
                  <a:lnTo>
                    <a:pt x="230" y="40"/>
                  </a:lnTo>
                  <a:lnTo>
                    <a:pt x="225" y="36"/>
                  </a:lnTo>
                  <a:lnTo>
                    <a:pt x="222" y="35"/>
                  </a:lnTo>
                  <a:lnTo>
                    <a:pt x="221" y="33"/>
                  </a:lnTo>
                  <a:lnTo>
                    <a:pt x="219" y="32"/>
                  </a:lnTo>
                  <a:lnTo>
                    <a:pt x="216" y="30"/>
                  </a:lnTo>
                  <a:lnTo>
                    <a:pt x="214" y="30"/>
                  </a:lnTo>
                  <a:lnTo>
                    <a:pt x="211" y="30"/>
                  </a:lnTo>
                  <a:lnTo>
                    <a:pt x="206" y="28"/>
                  </a:lnTo>
                  <a:lnTo>
                    <a:pt x="203" y="25"/>
                  </a:lnTo>
                  <a:lnTo>
                    <a:pt x="202" y="24"/>
                  </a:lnTo>
                  <a:lnTo>
                    <a:pt x="192" y="24"/>
                  </a:lnTo>
                  <a:lnTo>
                    <a:pt x="192" y="24"/>
                  </a:lnTo>
                  <a:lnTo>
                    <a:pt x="189" y="24"/>
                  </a:lnTo>
                  <a:lnTo>
                    <a:pt x="184" y="24"/>
                  </a:lnTo>
                  <a:lnTo>
                    <a:pt x="183" y="24"/>
                  </a:lnTo>
                  <a:lnTo>
                    <a:pt x="175" y="25"/>
                  </a:lnTo>
                  <a:lnTo>
                    <a:pt x="171" y="27"/>
                  </a:lnTo>
                  <a:lnTo>
                    <a:pt x="171" y="27"/>
                  </a:lnTo>
                  <a:lnTo>
                    <a:pt x="168" y="27"/>
                  </a:lnTo>
                  <a:lnTo>
                    <a:pt x="167" y="27"/>
                  </a:lnTo>
                  <a:lnTo>
                    <a:pt x="165" y="27"/>
                  </a:lnTo>
                  <a:lnTo>
                    <a:pt x="160" y="25"/>
                  </a:lnTo>
                  <a:lnTo>
                    <a:pt x="157" y="24"/>
                  </a:lnTo>
                  <a:lnTo>
                    <a:pt x="154" y="20"/>
                  </a:lnTo>
                  <a:lnTo>
                    <a:pt x="151" y="17"/>
                  </a:lnTo>
                  <a:lnTo>
                    <a:pt x="148" y="17"/>
                  </a:lnTo>
                  <a:lnTo>
                    <a:pt x="146" y="14"/>
                  </a:lnTo>
                  <a:lnTo>
                    <a:pt x="146" y="11"/>
                  </a:lnTo>
                  <a:lnTo>
                    <a:pt x="143" y="9"/>
                  </a:lnTo>
                  <a:lnTo>
                    <a:pt x="140" y="8"/>
                  </a:lnTo>
                  <a:lnTo>
                    <a:pt x="137" y="8"/>
                  </a:lnTo>
                  <a:lnTo>
                    <a:pt x="130" y="6"/>
                  </a:lnTo>
                  <a:lnTo>
                    <a:pt x="124" y="6"/>
                  </a:lnTo>
                  <a:lnTo>
                    <a:pt x="117" y="3"/>
                  </a:lnTo>
                  <a:lnTo>
                    <a:pt x="103" y="0"/>
                  </a:lnTo>
                  <a:lnTo>
                    <a:pt x="103" y="3"/>
                  </a:lnTo>
                  <a:lnTo>
                    <a:pt x="103" y="3"/>
                  </a:lnTo>
                  <a:lnTo>
                    <a:pt x="102" y="6"/>
                  </a:lnTo>
                  <a:lnTo>
                    <a:pt x="102" y="6"/>
                  </a:lnTo>
                  <a:lnTo>
                    <a:pt x="102" y="8"/>
                  </a:lnTo>
                  <a:lnTo>
                    <a:pt x="98" y="9"/>
                  </a:lnTo>
                  <a:lnTo>
                    <a:pt x="98" y="11"/>
                  </a:lnTo>
                  <a:lnTo>
                    <a:pt x="102" y="16"/>
                  </a:lnTo>
                  <a:lnTo>
                    <a:pt x="103" y="17"/>
                  </a:lnTo>
                  <a:lnTo>
                    <a:pt x="106" y="20"/>
                  </a:lnTo>
                  <a:lnTo>
                    <a:pt x="108" y="20"/>
                  </a:lnTo>
                  <a:lnTo>
                    <a:pt x="110" y="25"/>
                  </a:lnTo>
                  <a:lnTo>
                    <a:pt x="110" y="28"/>
                  </a:lnTo>
                  <a:lnTo>
                    <a:pt x="108" y="30"/>
                  </a:lnTo>
                  <a:lnTo>
                    <a:pt x="105" y="30"/>
                  </a:lnTo>
                  <a:lnTo>
                    <a:pt x="103" y="33"/>
                  </a:lnTo>
                  <a:lnTo>
                    <a:pt x="102" y="33"/>
                  </a:lnTo>
                  <a:lnTo>
                    <a:pt x="98" y="32"/>
                  </a:lnTo>
                  <a:lnTo>
                    <a:pt x="89" y="30"/>
                  </a:lnTo>
                  <a:lnTo>
                    <a:pt x="87" y="30"/>
                  </a:lnTo>
                  <a:lnTo>
                    <a:pt x="86" y="30"/>
                  </a:lnTo>
                  <a:lnTo>
                    <a:pt x="81" y="30"/>
                  </a:lnTo>
                  <a:lnTo>
                    <a:pt x="79" y="30"/>
                  </a:lnTo>
                  <a:lnTo>
                    <a:pt x="78" y="30"/>
                  </a:lnTo>
                  <a:lnTo>
                    <a:pt x="71" y="28"/>
                  </a:lnTo>
                  <a:lnTo>
                    <a:pt x="68" y="27"/>
                  </a:lnTo>
                  <a:lnTo>
                    <a:pt x="67" y="24"/>
                  </a:lnTo>
                  <a:lnTo>
                    <a:pt x="63" y="20"/>
                  </a:lnTo>
                  <a:lnTo>
                    <a:pt x="60" y="20"/>
                  </a:lnTo>
                  <a:lnTo>
                    <a:pt x="57" y="20"/>
                  </a:lnTo>
                  <a:lnTo>
                    <a:pt x="57" y="20"/>
                  </a:lnTo>
                  <a:lnTo>
                    <a:pt x="52" y="20"/>
                  </a:lnTo>
                  <a:lnTo>
                    <a:pt x="51" y="20"/>
                  </a:lnTo>
                  <a:lnTo>
                    <a:pt x="49" y="20"/>
                  </a:lnTo>
                  <a:lnTo>
                    <a:pt x="49" y="17"/>
                  </a:lnTo>
                  <a:lnTo>
                    <a:pt x="48" y="17"/>
                  </a:lnTo>
                  <a:lnTo>
                    <a:pt x="46" y="17"/>
                  </a:lnTo>
                  <a:lnTo>
                    <a:pt x="44" y="17"/>
                  </a:lnTo>
                  <a:lnTo>
                    <a:pt x="43" y="17"/>
                  </a:lnTo>
                  <a:lnTo>
                    <a:pt x="40" y="17"/>
                  </a:lnTo>
                  <a:lnTo>
                    <a:pt x="40" y="17"/>
                  </a:lnTo>
                  <a:lnTo>
                    <a:pt x="38" y="17"/>
                  </a:lnTo>
                  <a:lnTo>
                    <a:pt x="35" y="20"/>
                  </a:lnTo>
                  <a:lnTo>
                    <a:pt x="33" y="20"/>
                  </a:lnTo>
                  <a:lnTo>
                    <a:pt x="32" y="20"/>
                  </a:lnTo>
                  <a:lnTo>
                    <a:pt x="32" y="24"/>
                  </a:lnTo>
                  <a:lnTo>
                    <a:pt x="29" y="25"/>
                  </a:lnTo>
                  <a:lnTo>
                    <a:pt x="25" y="27"/>
                  </a:lnTo>
                  <a:lnTo>
                    <a:pt x="22" y="27"/>
                  </a:lnTo>
                  <a:lnTo>
                    <a:pt x="22" y="27"/>
                  </a:lnTo>
                  <a:lnTo>
                    <a:pt x="21" y="28"/>
                  </a:lnTo>
                  <a:lnTo>
                    <a:pt x="21" y="30"/>
                  </a:lnTo>
                  <a:lnTo>
                    <a:pt x="19" y="30"/>
                  </a:lnTo>
                  <a:lnTo>
                    <a:pt x="17" y="32"/>
                  </a:lnTo>
                  <a:lnTo>
                    <a:pt x="19" y="33"/>
                  </a:lnTo>
                  <a:lnTo>
                    <a:pt x="13" y="35"/>
                  </a:lnTo>
                  <a:lnTo>
                    <a:pt x="14" y="36"/>
                  </a:lnTo>
                  <a:lnTo>
                    <a:pt x="13" y="36"/>
                  </a:lnTo>
                  <a:lnTo>
                    <a:pt x="10" y="36"/>
                  </a:lnTo>
                  <a:lnTo>
                    <a:pt x="10" y="38"/>
                  </a:lnTo>
                  <a:lnTo>
                    <a:pt x="8" y="36"/>
                  </a:lnTo>
                  <a:lnTo>
                    <a:pt x="5" y="36"/>
                  </a:lnTo>
                  <a:lnTo>
                    <a:pt x="3" y="38"/>
                  </a:lnTo>
                  <a:lnTo>
                    <a:pt x="3" y="40"/>
                  </a:lnTo>
                  <a:lnTo>
                    <a:pt x="2" y="41"/>
                  </a:lnTo>
                  <a:lnTo>
                    <a:pt x="0" y="41"/>
                  </a:lnTo>
                  <a:lnTo>
                    <a:pt x="2" y="41"/>
                  </a:lnTo>
                  <a:lnTo>
                    <a:pt x="2" y="43"/>
                  </a:lnTo>
                  <a:lnTo>
                    <a:pt x="2" y="43"/>
                  </a:lnTo>
                  <a:lnTo>
                    <a:pt x="2" y="43"/>
                  </a:lnTo>
                  <a:lnTo>
                    <a:pt x="2" y="43"/>
                  </a:lnTo>
                  <a:lnTo>
                    <a:pt x="2" y="43"/>
                  </a:lnTo>
                  <a:lnTo>
                    <a:pt x="2" y="43"/>
                  </a:lnTo>
                  <a:lnTo>
                    <a:pt x="2" y="43"/>
                  </a:lnTo>
                  <a:lnTo>
                    <a:pt x="2" y="43"/>
                  </a:lnTo>
                  <a:lnTo>
                    <a:pt x="2" y="43"/>
                  </a:lnTo>
                  <a:lnTo>
                    <a:pt x="2" y="4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1" name="Freeform 253">
              <a:extLst>
                <a:ext uri="{FF2B5EF4-FFF2-40B4-BE49-F238E27FC236}">
                  <a16:creationId xmlns:a16="http://schemas.microsoft.com/office/drawing/2014/main" id="{479F027B-E015-6E4B-BA72-8083E5EF5E28}"/>
                </a:ext>
              </a:extLst>
            </p:cNvPr>
            <p:cNvSpPr>
              <a:spLocks noEditPoints="1"/>
            </p:cNvSpPr>
            <p:nvPr/>
          </p:nvSpPr>
          <p:spPr bwMode="auto">
            <a:xfrm>
              <a:off x="9275091" y="2511036"/>
              <a:ext cx="370108" cy="675165"/>
            </a:xfrm>
            <a:custGeom>
              <a:avLst/>
              <a:gdLst>
                <a:gd name="T0" fmla="*/ 28 w 165"/>
                <a:gd name="T1" fmla="*/ 270 h 301"/>
                <a:gd name="T2" fmla="*/ 22 w 165"/>
                <a:gd name="T3" fmla="*/ 292 h 301"/>
                <a:gd name="T4" fmla="*/ 28 w 165"/>
                <a:gd name="T5" fmla="*/ 278 h 301"/>
                <a:gd name="T6" fmla="*/ 0 w 165"/>
                <a:gd name="T7" fmla="*/ 205 h 301"/>
                <a:gd name="T8" fmla="*/ 0 w 165"/>
                <a:gd name="T9" fmla="*/ 205 h 301"/>
                <a:gd name="T10" fmla="*/ 25 w 165"/>
                <a:gd name="T11" fmla="*/ 192 h 301"/>
                <a:gd name="T12" fmla="*/ 11 w 165"/>
                <a:gd name="T13" fmla="*/ 200 h 301"/>
                <a:gd name="T14" fmla="*/ 22 w 165"/>
                <a:gd name="T15" fmla="*/ 214 h 301"/>
                <a:gd name="T16" fmla="*/ 30 w 165"/>
                <a:gd name="T17" fmla="*/ 220 h 301"/>
                <a:gd name="T18" fmla="*/ 39 w 165"/>
                <a:gd name="T19" fmla="*/ 219 h 301"/>
                <a:gd name="T20" fmla="*/ 38 w 165"/>
                <a:gd name="T21" fmla="*/ 200 h 301"/>
                <a:gd name="T22" fmla="*/ 12 w 165"/>
                <a:gd name="T23" fmla="*/ 201 h 301"/>
                <a:gd name="T24" fmla="*/ 19 w 165"/>
                <a:gd name="T25" fmla="*/ 205 h 301"/>
                <a:gd name="T26" fmla="*/ 19 w 165"/>
                <a:gd name="T27" fmla="*/ 209 h 301"/>
                <a:gd name="T28" fmla="*/ 122 w 165"/>
                <a:gd name="T29" fmla="*/ 152 h 301"/>
                <a:gd name="T30" fmla="*/ 115 w 165"/>
                <a:gd name="T31" fmla="*/ 119 h 301"/>
                <a:gd name="T32" fmla="*/ 93 w 165"/>
                <a:gd name="T33" fmla="*/ 82 h 301"/>
                <a:gd name="T34" fmla="*/ 92 w 165"/>
                <a:gd name="T35" fmla="*/ 90 h 301"/>
                <a:gd name="T36" fmla="*/ 87 w 165"/>
                <a:gd name="T37" fmla="*/ 101 h 301"/>
                <a:gd name="T38" fmla="*/ 90 w 165"/>
                <a:gd name="T39" fmla="*/ 139 h 301"/>
                <a:gd name="T40" fmla="*/ 74 w 165"/>
                <a:gd name="T41" fmla="*/ 136 h 301"/>
                <a:gd name="T42" fmla="*/ 73 w 165"/>
                <a:gd name="T43" fmla="*/ 163 h 301"/>
                <a:gd name="T44" fmla="*/ 49 w 165"/>
                <a:gd name="T45" fmla="*/ 165 h 301"/>
                <a:gd name="T46" fmla="*/ 19 w 165"/>
                <a:gd name="T47" fmla="*/ 182 h 301"/>
                <a:gd name="T48" fmla="*/ 41 w 165"/>
                <a:gd name="T49" fmla="*/ 184 h 301"/>
                <a:gd name="T50" fmla="*/ 66 w 165"/>
                <a:gd name="T51" fmla="*/ 178 h 301"/>
                <a:gd name="T52" fmla="*/ 82 w 165"/>
                <a:gd name="T53" fmla="*/ 195 h 301"/>
                <a:gd name="T54" fmla="*/ 84 w 165"/>
                <a:gd name="T55" fmla="*/ 173 h 301"/>
                <a:gd name="T56" fmla="*/ 104 w 165"/>
                <a:gd name="T57" fmla="*/ 179 h 301"/>
                <a:gd name="T58" fmla="*/ 112 w 165"/>
                <a:gd name="T59" fmla="*/ 168 h 301"/>
                <a:gd name="T60" fmla="*/ 122 w 165"/>
                <a:gd name="T61" fmla="*/ 174 h 301"/>
                <a:gd name="T62" fmla="*/ 122 w 165"/>
                <a:gd name="T63" fmla="*/ 152 h 301"/>
                <a:gd name="T64" fmla="*/ 85 w 165"/>
                <a:gd name="T65" fmla="*/ 101 h 301"/>
                <a:gd name="T66" fmla="*/ 33 w 165"/>
                <a:gd name="T67" fmla="*/ 239 h 301"/>
                <a:gd name="T68" fmla="*/ 36 w 165"/>
                <a:gd name="T69" fmla="*/ 154 h 301"/>
                <a:gd name="T70" fmla="*/ 38 w 165"/>
                <a:gd name="T71" fmla="*/ 198 h 301"/>
                <a:gd name="T72" fmla="*/ 54 w 165"/>
                <a:gd name="T73" fmla="*/ 185 h 301"/>
                <a:gd name="T74" fmla="*/ 44 w 165"/>
                <a:gd name="T75" fmla="*/ 198 h 301"/>
                <a:gd name="T76" fmla="*/ 57 w 165"/>
                <a:gd name="T77" fmla="*/ 195 h 301"/>
                <a:gd name="T78" fmla="*/ 65 w 165"/>
                <a:gd name="T79" fmla="*/ 184 h 301"/>
                <a:gd name="T80" fmla="*/ 39 w 165"/>
                <a:gd name="T81" fmla="*/ 236 h 301"/>
                <a:gd name="T82" fmla="*/ 77 w 165"/>
                <a:gd name="T83" fmla="*/ 54 h 301"/>
                <a:gd name="T84" fmla="*/ 68 w 165"/>
                <a:gd name="T85" fmla="*/ 66 h 301"/>
                <a:gd name="T86" fmla="*/ 87 w 165"/>
                <a:gd name="T87" fmla="*/ 76 h 301"/>
                <a:gd name="T88" fmla="*/ 85 w 165"/>
                <a:gd name="T89" fmla="*/ 63 h 301"/>
                <a:gd name="T90" fmla="*/ 115 w 165"/>
                <a:gd name="T91" fmla="*/ 58 h 301"/>
                <a:gd name="T92" fmla="*/ 123 w 165"/>
                <a:gd name="T93" fmla="*/ 54 h 301"/>
                <a:gd name="T94" fmla="*/ 101 w 165"/>
                <a:gd name="T95" fmla="*/ 43 h 301"/>
                <a:gd name="T96" fmla="*/ 65 w 165"/>
                <a:gd name="T97" fmla="*/ 28 h 301"/>
                <a:gd name="T98" fmla="*/ 85 w 165"/>
                <a:gd name="T99" fmla="*/ 131 h 301"/>
                <a:gd name="T100" fmla="*/ 82 w 165"/>
                <a:gd name="T101" fmla="*/ 128 h 301"/>
                <a:gd name="T102" fmla="*/ 122 w 165"/>
                <a:gd name="T103" fmla="*/ 46 h 301"/>
                <a:gd name="T104" fmla="*/ 133 w 165"/>
                <a:gd name="T105" fmla="*/ 24 h 301"/>
                <a:gd name="T106" fmla="*/ 133 w 165"/>
                <a:gd name="T107" fmla="*/ 31 h 301"/>
                <a:gd name="T108" fmla="*/ 139 w 165"/>
                <a:gd name="T109" fmla="*/ 24 h 301"/>
                <a:gd name="T110" fmla="*/ 136 w 165"/>
                <a:gd name="T111" fmla="*/ 47 h 301"/>
                <a:gd name="T112" fmla="*/ 154 w 165"/>
                <a:gd name="T113" fmla="*/ 12 h 301"/>
                <a:gd name="T114" fmla="*/ 165 w 165"/>
                <a:gd name="T115" fmla="*/ 0 h 301"/>
                <a:gd name="T116" fmla="*/ 163 w 165"/>
                <a:gd name="T117" fmla="*/ 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301">
                  <a:moveTo>
                    <a:pt x="28" y="270"/>
                  </a:moveTo>
                  <a:lnTo>
                    <a:pt x="30" y="271"/>
                  </a:lnTo>
                  <a:lnTo>
                    <a:pt x="31" y="271"/>
                  </a:lnTo>
                  <a:lnTo>
                    <a:pt x="31" y="270"/>
                  </a:lnTo>
                  <a:lnTo>
                    <a:pt x="33" y="268"/>
                  </a:lnTo>
                  <a:lnTo>
                    <a:pt x="33" y="266"/>
                  </a:lnTo>
                  <a:lnTo>
                    <a:pt x="30" y="268"/>
                  </a:lnTo>
                  <a:lnTo>
                    <a:pt x="28" y="270"/>
                  </a:lnTo>
                  <a:lnTo>
                    <a:pt x="28" y="270"/>
                  </a:lnTo>
                  <a:lnTo>
                    <a:pt x="28" y="270"/>
                  </a:lnTo>
                  <a:lnTo>
                    <a:pt x="28" y="270"/>
                  </a:lnTo>
                  <a:lnTo>
                    <a:pt x="28" y="270"/>
                  </a:lnTo>
                  <a:lnTo>
                    <a:pt x="28" y="270"/>
                  </a:lnTo>
                  <a:lnTo>
                    <a:pt x="28" y="270"/>
                  </a:lnTo>
                  <a:lnTo>
                    <a:pt x="28" y="270"/>
                  </a:lnTo>
                  <a:lnTo>
                    <a:pt x="28" y="270"/>
                  </a:lnTo>
                  <a:close/>
                  <a:moveTo>
                    <a:pt x="19" y="293"/>
                  </a:moveTo>
                  <a:lnTo>
                    <a:pt x="19" y="297"/>
                  </a:lnTo>
                  <a:lnTo>
                    <a:pt x="17" y="298"/>
                  </a:lnTo>
                  <a:lnTo>
                    <a:pt x="19" y="301"/>
                  </a:lnTo>
                  <a:lnTo>
                    <a:pt x="19" y="298"/>
                  </a:lnTo>
                  <a:lnTo>
                    <a:pt x="19" y="295"/>
                  </a:lnTo>
                  <a:lnTo>
                    <a:pt x="22" y="293"/>
                  </a:lnTo>
                  <a:lnTo>
                    <a:pt x="22" y="292"/>
                  </a:lnTo>
                  <a:lnTo>
                    <a:pt x="22" y="290"/>
                  </a:lnTo>
                  <a:lnTo>
                    <a:pt x="22" y="292"/>
                  </a:lnTo>
                  <a:lnTo>
                    <a:pt x="19" y="293"/>
                  </a:lnTo>
                  <a:lnTo>
                    <a:pt x="19" y="293"/>
                  </a:lnTo>
                  <a:lnTo>
                    <a:pt x="19" y="293"/>
                  </a:lnTo>
                  <a:lnTo>
                    <a:pt x="19" y="293"/>
                  </a:lnTo>
                  <a:lnTo>
                    <a:pt x="19" y="293"/>
                  </a:lnTo>
                  <a:lnTo>
                    <a:pt x="19" y="293"/>
                  </a:lnTo>
                  <a:lnTo>
                    <a:pt x="19" y="293"/>
                  </a:lnTo>
                  <a:lnTo>
                    <a:pt x="19" y="293"/>
                  </a:lnTo>
                  <a:lnTo>
                    <a:pt x="19" y="293"/>
                  </a:lnTo>
                  <a:close/>
                  <a:moveTo>
                    <a:pt x="28" y="278"/>
                  </a:moveTo>
                  <a:lnTo>
                    <a:pt x="28" y="278"/>
                  </a:lnTo>
                  <a:lnTo>
                    <a:pt x="28" y="276"/>
                  </a:lnTo>
                  <a:lnTo>
                    <a:pt x="28" y="278"/>
                  </a:lnTo>
                  <a:lnTo>
                    <a:pt x="28" y="278"/>
                  </a:lnTo>
                  <a:lnTo>
                    <a:pt x="28" y="278"/>
                  </a:lnTo>
                  <a:lnTo>
                    <a:pt x="28" y="278"/>
                  </a:lnTo>
                  <a:lnTo>
                    <a:pt x="28" y="278"/>
                  </a:lnTo>
                  <a:lnTo>
                    <a:pt x="28" y="278"/>
                  </a:lnTo>
                  <a:lnTo>
                    <a:pt x="28" y="278"/>
                  </a:lnTo>
                  <a:lnTo>
                    <a:pt x="28" y="278"/>
                  </a:lnTo>
                  <a:lnTo>
                    <a:pt x="28" y="278"/>
                  </a:lnTo>
                  <a:close/>
                  <a:moveTo>
                    <a:pt x="0" y="205"/>
                  </a:moveTo>
                  <a:lnTo>
                    <a:pt x="1" y="206"/>
                  </a:lnTo>
                  <a:lnTo>
                    <a:pt x="1" y="208"/>
                  </a:lnTo>
                  <a:lnTo>
                    <a:pt x="4" y="206"/>
                  </a:lnTo>
                  <a:lnTo>
                    <a:pt x="3" y="205"/>
                  </a:lnTo>
                  <a:lnTo>
                    <a:pt x="0" y="205"/>
                  </a:lnTo>
                  <a:lnTo>
                    <a:pt x="0" y="205"/>
                  </a:lnTo>
                  <a:lnTo>
                    <a:pt x="0" y="205"/>
                  </a:lnTo>
                  <a:lnTo>
                    <a:pt x="0" y="205"/>
                  </a:lnTo>
                  <a:lnTo>
                    <a:pt x="0" y="205"/>
                  </a:lnTo>
                  <a:lnTo>
                    <a:pt x="0" y="205"/>
                  </a:lnTo>
                  <a:lnTo>
                    <a:pt x="0" y="205"/>
                  </a:lnTo>
                  <a:lnTo>
                    <a:pt x="0" y="205"/>
                  </a:lnTo>
                  <a:lnTo>
                    <a:pt x="0" y="205"/>
                  </a:lnTo>
                  <a:close/>
                  <a:moveTo>
                    <a:pt x="38" y="200"/>
                  </a:moveTo>
                  <a:lnTo>
                    <a:pt x="36" y="198"/>
                  </a:lnTo>
                  <a:lnTo>
                    <a:pt x="34" y="198"/>
                  </a:lnTo>
                  <a:lnTo>
                    <a:pt x="31" y="198"/>
                  </a:lnTo>
                  <a:lnTo>
                    <a:pt x="33" y="195"/>
                  </a:lnTo>
                  <a:lnTo>
                    <a:pt x="33" y="192"/>
                  </a:lnTo>
                  <a:lnTo>
                    <a:pt x="31" y="192"/>
                  </a:lnTo>
                  <a:lnTo>
                    <a:pt x="30" y="192"/>
                  </a:lnTo>
                  <a:lnTo>
                    <a:pt x="28" y="192"/>
                  </a:lnTo>
                  <a:lnTo>
                    <a:pt x="25" y="192"/>
                  </a:lnTo>
                  <a:lnTo>
                    <a:pt x="25" y="192"/>
                  </a:lnTo>
                  <a:lnTo>
                    <a:pt x="22" y="189"/>
                  </a:lnTo>
                  <a:lnTo>
                    <a:pt x="19" y="189"/>
                  </a:lnTo>
                  <a:lnTo>
                    <a:pt x="17" y="189"/>
                  </a:lnTo>
                  <a:lnTo>
                    <a:pt x="17" y="192"/>
                  </a:lnTo>
                  <a:lnTo>
                    <a:pt x="17" y="192"/>
                  </a:lnTo>
                  <a:lnTo>
                    <a:pt x="15" y="195"/>
                  </a:lnTo>
                  <a:lnTo>
                    <a:pt x="14" y="195"/>
                  </a:lnTo>
                  <a:lnTo>
                    <a:pt x="12" y="195"/>
                  </a:lnTo>
                  <a:lnTo>
                    <a:pt x="12" y="198"/>
                  </a:lnTo>
                  <a:lnTo>
                    <a:pt x="9" y="198"/>
                  </a:lnTo>
                  <a:lnTo>
                    <a:pt x="9" y="198"/>
                  </a:lnTo>
                  <a:lnTo>
                    <a:pt x="11" y="200"/>
                  </a:lnTo>
                  <a:lnTo>
                    <a:pt x="15" y="201"/>
                  </a:lnTo>
                  <a:lnTo>
                    <a:pt x="17" y="205"/>
                  </a:lnTo>
                  <a:lnTo>
                    <a:pt x="19" y="205"/>
                  </a:lnTo>
                  <a:lnTo>
                    <a:pt x="19" y="201"/>
                  </a:lnTo>
                  <a:lnTo>
                    <a:pt x="17" y="200"/>
                  </a:lnTo>
                  <a:lnTo>
                    <a:pt x="19" y="198"/>
                  </a:lnTo>
                  <a:lnTo>
                    <a:pt x="19" y="200"/>
                  </a:lnTo>
                  <a:lnTo>
                    <a:pt x="22" y="205"/>
                  </a:lnTo>
                  <a:lnTo>
                    <a:pt x="25" y="208"/>
                  </a:lnTo>
                  <a:lnTo>
                    <a:pt x="25" y="211"/>
                  </a:lnTo>
                  <a:lnTo>
                    <a:pt x="25" y="212"/>
                  </a:lnTo>
                  <a:lnTo>
                    <a:pt x="22" y="214"/>
                  </a:lnTo>
                  <a:lnTo>
                    <a:pt x="22" y="217"/>
                  </a:lnTo>
                  <a:lnTo>
                    <a:pt x="25" y="220"/>
                  </a:lnTo>
                  <a:lnTo>
                    <a:pt x="28" y="224"/>
                  </a:lnTo>
                  <a:lnTo>
                    <a:pt x="28" y="224"/>
                  </a:lnTo>
                  <a:lnTo>
                    <a:pt x="25" y="224"/>
                  </a:lnTo>
                  <a:lnTo>
                    <a:pt x="28" y="227"/>
                  </a:lnTo>
                  <a:lnTo>
                    <a:pt x="30" y="227"/>
                  </a:lnTo>
                  <a:lnTo>
                    <a:pt x="31" y="227"/>
                  </a:lnTo>
                  <a:lnTo>
                    <a:pt x="33" y="227"/>
                  </a:lnTo>
                  <a:lnTo>
                    <a:pt x="31" y="227"/>
                  </a:lnTo>
                  <a:lnTo>
                    <a:pt x="30" y="224"/>
                  </a:lnTo>
                  <a:lnTo>
                    <a:pt x="30" y="220"/>
                  </a:lnTo>
                  <a:lnTo>
                    <a:pt x="31" y="220"/>
                  </a:lnTo>
                  <a:lnTo>
                    <a:pt x="31" y="220"/>
                  </a:lnTo>
                  <a:lnTo>
                    <a:pt x="33" y="227"/>
                  </a:lnTo>
                  <a:lnTo>
                    <a:pt x="34" y="227"/>
                  </a:lnTo>
                  <a:lnTo>
                    <a:pt x="33" y="230"/>
                  </a:lnTo>
                  <a:lnTo>
                    <a:pt x="36" y="230"/>
                  </a:lnTo>
                  <a:lnTo>
                    <a:pt x="38" y="227"/>
                  </a:lnTo>
                  <a:lnTo>
                    <a:pt x="36" y="227"/>
                  </a:lnTo>
                  <a:lnTo>
                    <a:pt x="36" y="224"/>
                  </a:lnTo>
                  <a:lnTo>
                    <a:pt x="39" y="224"/>
                  </a:lnTo>
                  <a:lnTo>
                    <a:pt x="41" y="220"/>
                  </a:lnTo>
                  <a:lnTo>
                    <a:pt x="39" y="219"/>
                  </a:lnTo>
                  <a:lnTo>
                    <a:pt x="39" y="212"/>
                  </a:lnTo>
                  <a:lnTo>
                    <a:pt x="39" y="208"/>
                  </a:lnTo>
                  <a:lnTo>
                    <a:pt x="41" y="205"/>
                  </a:lnTo>
                  <a:lnTo>
                    <a:pt x="41" y="203"/>
                  </a:lnTo>
                  <a:lnTo>
                    <a:pt x="39" y="201"/>
                  </a:lnTo>
                  <a:lnTo>
                    <a:pt x="38" y="200"/>
                  </a:lnTo>
                  <a:lnTo>
                    <a:pt x="38" y="200"/>
                  </a:lnTo>
                  <a:lnTo>
                    <a:pt x="38" y="200"/>
                  </a:lnTo>
                  <a:lnTo>
                    <a:pt x="38" y="200"/>
                  </a:lnTo>
                  <a:lnTo>
                    <a:pt x="38" y="200"/>
                  </a:lnTo>
                  <a:lnTo>
                    <a:pt x="38" y="200"/>
                  </a:lnTo>
                  <a:lnTo>
                    <a:pt x="38" y="200"/>
                  </a:lnTo>
                  <a:lnTo>
                    <a:pt x="38" y="200"/>
                  </a:lnTo>
                  <a:lnTo>
                    <a:pt x="38" y="200"/>
                  </a:lnTo>
                  <a:close/>
                  <a:moveTo>
                    <a:pt x="12" y="201"/>
                  </a:moveTo>
                  <a:lnTo>
                    <a:pt x="12" y="203"/>
                  </a:lnTo>
                  <a:lnTo>
                    <a:pt x="14" y="205"/>
                  </a:lnTo>
                  <a:lnTo>
                    <a:pt x="15" y="206"/>
                  </a:lnTo>
                  <a:lnTo>
                    <a:pt x="17" y="205"/>
                  </a:lnTo>
                  <a:lnTo>
                    <a:pt x="14" y="203"/>
                  </a:lnTo>
                  <a:lnTo>
                    <a:pt x="12" y="201"/>
                  </a:lnTo>
                  <a:lnTo>
                    <a:pt x="12" y="201"/>
                  </a:lnTo>
                  <a:lnTo>
                    <a:pt x="12" y="201"/>
                  </a:lnTo>
                  <a:lnTo>
                    <a:pt x="12" y="201"/>
                  </a:lnTo>
                  <a:lnTo>
                    <a:pt x="12" y="201"/>
                  </a:lnTo>
                  <a:lnTo>
                    <a:pt x="12" y="201"/>
                  </a:lnTo>
                  <a:lnTo>
                    <a:pt x="12" y="201"/>
                  </a:lnTo>
                  <a:lnTo>
                    <a:pt x="12" y="201"/>
                  </a:lnTo>
                  <a:lnTo>
                    <a:pt x="12" y="201"/>
                  </a:lnTo>
                  <a:close/>
                  <a:moveTo>
                    <a:pt x="19" y="206"/>
                  </a:moveTo>
                  <a:lnTo>
                    <a:pt x="22" y="208"/>
                  </a:lnTo>
                  <a:lnTo>
                    <a:pt x="22" y="206"/>
                  </a:lnTo>
                  <a:lnTo>
                    <a:pt x="22" y="205"/>
                  </a:lnTo>
                  <a:lnTo>
                    <a:pt x="19" y="203"/>
                  </a:lnTo>
                  <a:lnTo>
                    <a:pt x="19" y="205"/>
                  </a:lnTo>
                  <a:lnTo>
                    <a:pt x="19" y="205"/>
                  </a:lnTo>
                  <a:lnTo>
                    <a:pt x="19" y="206"/>
                  </a:lnTo>
                  <a:lnTo>
                    <a:pt x="19" y="206"/>
                  </a:lnTo>
                  <a:lnTo>
                    <a:pt x="19" y="206"/>
                  </a:lnTo>
                  <a:lnTo>
                    <a:pt x="19" y="206"/>
                  </a:lnTo>
                  <a:lnTo>
                    <a:pt x="19" y="206"/>
                  </a:lnTo>
                  <a:lnTo>
                    <a:pt x="19" y="206"/>
                  </a:lnTo>
                  <a:lnTo>
                    <a:pt x="19" y="206"/>
                  </a:lnTo>
                  <a:lnTo>
                    <a:pt x="19" y="206"/>
                  </a:lnTo>
                  <a:lnTo>
                    <a:pt x="19" y="206"/>
                  </a:lnTo>
                  <a:close/>
                  <a:moveTo>
                    <a:pt x="22" y="211"/>
                  </a:moveTo>
                  <a:lnTo>
                    <a:pt x="22" y="209"/>
                  </a:lnTo>
                  <a:lnTo>
                    <a:pt x="19" y="209"/>
                  </a:lnTo>
                  <a:lnTo>
                    <a:pt x="19" y="209"/>
                  </a:lnTo>
                  <a:lnTo>
                    <a:pt x="19" y="214"/>
                  </a:lnTo>
                  <a:lnTo>
                    <a:pt x="22" y="211"/>
                  </a:lnTo>
                  <a:lnTo>
                    <a:pt x="22" y="211"/>
                  </a:lnTo>
                  <a:lnTo>
                    <a:pt x="22" y="211"/>
                  </a:lnTo>
                  <a:lnTo>
                    <a:pt x="22" y="211"/>
                  </a:lnTo>
                  <a:lnTo>
                    <a:pt x="22" y="211"/>
                  </a:lnTo>
                  <a:lnTo>
                    <a:pt x="22" y="211"/>
                  </a:lnTo>
                  <a:lnTo>
                    <a:pt x="22" y="211"/>
                  </a:lnTo>
                  <a:lnTo>
                    <a:pt x="22" y="211"/>
                  </a:lnTo>
                  <a:lnTo>
                    <a:pt x="22" y="211"/>
                  </a:lnTo>
                  <a:close/>
                  <a:moveTo>
                    <a:pt x="122" y="152"/>
                  </a:moveTo>
                  <a:lnTo>
                    <a:pt x="120" y="147"/>
                  </a:lnTo>
                  <a:lnTo>
                    <a:pt x="120" y="146"/>
                  </a:lnTo>
                  <a:lnTo>
                    <a:pt x="122" y="146"/>
                  </a:lnTo>
                  <a:lnTo>
                    <a:pt x="122" y="144"/>
                  </a:lnTo>
                  <a:lnTo>
                    <a:pt x="120" y="139"/>
                  </a:lnTo>
                  <a:lnTo>
                    <a:pt x="119" y="136"/>
                  </a:lnTo>
                  <a:lnTo>
                    <a:pt x="114" y="130"/>
                  </a:lnTo>
                  <a:lnTo>
                    <a:pt x="114" y="128"/>
                  </a:lnTo>
                  <a:lnTo>
                    <a:pt x="114" y="125"/>
                  </a:lnTo>
                  <a:lnTo>
                    <a:pt x="115" y="125"/>
                  </a:lnTo>
                  <a:lnTo>
                    <a:pt x="119" y="125"/>
                  </a:lnTo>
                  <a:lnTo>
                    <a:pt x="115" y="119"/>
                  </a:lnTo>
                  <a:lnTo>
                    <a:pt x="115" y="117"/>
                  </a:lnTo>
                  <a:lnTo>
                    <a:pt x="117" y="114"/>
                  </a:lnTo>
                  <a:lnTo>
                    <a:pt x="117" y="112"/>
                  </a:lnTo>
                  <a:lnTo>
                    <a:pt x="115" y="109"/>
                  </a:lnTo>
                  <a:lnTo>
                    <a:pt x="114" y="108"/>
                  </a:lnTo>
                  <a:lnTo>
                    <a:pt x="112" y="101"/>
                  </a:lnTo>
                  <a:lnTo>
                    <a:pt x="109" y="98"/>
                  </a:lnTo>
                  <a:lnTo>
                    <a:pt x="104" y="95"/>
                  </a:lnTo>
                  <a:lnTo>
                    <a:pt x="101" y="93"/>
                  </a:lnTo>
                  <a:lnTo>
                    <a:pt x="98" y="87"/>
                  </a:lnTo>
                  <a:lnTo>
                    <a:pt x="95" y="81"/>
                  </a:lnTo>
                  <a:lnTo>
                    <a:pt x="93" y="82"/>
                  </a:lnTo>
                  <a:lnTo>
                    <a:pt x="92" y="81"/>
                  </a:lnTo>
                  <a:lnTo>
                    <a:pt x="88" y="81"/>
                  </a:lnTo>
                  <a:lnTo>
                    <a:pt x="87" y="81"/>
                  </a:lnTo>
                  <a:lnTo>
                    <a:pt x="87" y="82"/>
                  </a:lnTo>
                  <a:lnTo>
                    <a:pt x="88" y="84"/>
                  </a:lnTo>
                  <a:lnTo>
                    <a:pt x="92" y="85"/>
                  </a:lnTo>
                  <a:lnTo>
                    <a:pt x="93" y="84"/>
                  </a:lnTo>
                  <a:lnTo>
                    <a:pt x="95" y="85"/>
                  </a:lnTo>
                  <a:lnTo>
                    <a:pt x="95" y="87"/>
                  </a:lnTo>
                  <a:lnTo>
                    <a:pt x="95" y="89"/>
                  </a:lnTo>
                  <a:lnTo>
                    <a:pt x="92" y="87"/>
                  </a:lnTo>
                  <a:lnTo>
                    <a:pt x="92" y="90"/>
                  </a:lnTo>
                  <a:lnTo>
                    <a:pt x="88" y="89"/>
                  </a:lnTo>
                  <a:lnTo>
                    <a:pt x="87" y="85"/>
                  </a:lnTo>
                  <a:lnTo>
                    <a:pt x="85" y="84"/>
                  </a:lnTo>
                  <a:lnTo>
                    <a:pt x="82" y="84"/>
                  </a:lnTo>
                  <a:lnTo>
                    <a:pt x="84" y="87"/>
                  </a:lnTo>
                  <a:lnTo>
                    <a:pt x="85" y="89"/>
                  </a:lnTo>
                  <a:lnTo>
                    <a:pt x="85" y="90"/>
                  </a:lnTo>
                  <a:lnTo>
                    <a:pt x="82" y="92"/>
                  </a:lnTo>
                  <a:lnTo>
                    <a:pt x="82" y="93"/>
                  </a:lnTo>
                  <a:lnTo>
                    <a:pt x="85" y="95"/>
                  </a:lnTo>
                  <a:lnTo>
                    <a:pt x="87" y="98"/>
                  </a:lnTo>
                  <a:lnTo>
                    <a:pt x="87" y="101"/>
                  </a:lnTo>
                  <a:lnTo>
                    <a:pt x="87" y="101"/>
                  </a:lnTo>
                  <a:lnTo>
                    <a:pt x="88" y="101"/>
                  </a:lnTo>
                  <a:lnTo>
                    <a:pt x="90" y="104"/>
                  </a:lnTo>
                  <a:lnTo>
                    <a:pt x="92" y="108"/>
                  </a:lnTo>
                  <a:lnTo>
                    <a:pt x="95" y="112"/>
                  </a:lnTo>
                  <a:lnTo>
                    <a:pt x="95" y="119"/>
                  </a:lnTo>
                  <a:lnTo>
                    <a:pt x="95" y="125"/>
                  </a:lnTo>
                  <a:lnTo>
                    <a:pt x="95" y="128"/>
                  </a:lnTo>
                  <a:lnTo>
                    <a:pt x="93" y="130"/>
                  </a:lnTo>
                  <a:lnTo>
                    <a:pt x="92" y="131"/>
                  </a:lnTo>
                  <a:lnTo>
                    <a:pt x="92" y="135"/>
                  </a:lnTo>
                  <a:lnTo>
                    <a:pt x="90" y="139"/>
                  </a:lnTo>
                  <a:lnTo>
                    <a:pt x="88" y="141"/>
                  </a:lnTo>
                  <a:lnTo>
                    <a:pt x="85" y="143"/>
                  </a:lnTo>
                  <a:lnTo>
                    <a:pt x="82" y="144"/>
                  </a:lnTo>
                  <a:lnTo>
                    <a:pt x="79" y="147"/>
                  </a:lnTo>
                  <a:lnTo>
                    <a:pt x="77" y="147"/>
                  </a:lnTo>
                  <a:lnTo>
                    <a:pt x="76" y="146"/>
                  </a:lnTo>
                  <a:lnTo>
                    <a:pt x="74" y="144"/>
                  </a:lnTo>
                  <a:lnTo>
                    <a:pt x="73" y="143"/>
                  </a:lnTo>
                  <a:lnTo>
                    <a:pt x="73" y="141"/>
                  </a:lnTo>
                  <a:lnTo>
                    <a:pt x="74" y="141"/>
                  </a:lnTo>
                  <a:lnTo>
                    <a:pt x="74" y="139"/>
                  </a:lnTo>
                  <a:lnTo>
                    <a:pt x="74" y="136"/>
                  </a:lnTo>
                  <a:lnTo>
                    <a:pt x="73" y="138"/>
                  </a:lnTo>
                  <a:lnTo>
                    <a:pt x="69" y="139"/>
                  </a:lnTo>
                  <a:lnTo>
                    <a:pt x="69" y="141"/>
                  </a:lnTo>
                  <a:lnTo>
                    <a:pt x="69" y="144"/>
                  </a:lnTo>
                  <a:lnTo>
                    <a:pt x="73" y="146"/>
                  </a:lnTo>
                  <a:lnTo>
                    <a:pt x="73" y="149"/>
                  </a:lnTo>
                  <a:lnTo>
                    <a:pt x="73" y="152"/>
                  </a:lnTo>
                  <a:lnTo>
                    <a:pt x="69" y="154"/>
                  </a:lnTo>
                  <a:lnTo>
                    <a:pt x="69" y="157"/>
                  </a:lnTo>
                  <a:lnTo>
                    <a:pt x="69" y="160"/>
                  </a:lnTo>
                  <a:lnTo>
                    <a:pt x="73" y="160"/>
                  </a:lnTo>
                  <a:lnTo>
                    <a:pt x="73" y="163"/>
                  </a:lnTo>
                  <a:lnTo>
                    <a:pt x="69" y="163"/>
                  </a:lnTo>
                  <a:lnTo>
                    <a:pt x="69" y="163"/>
                  </a:lnTo>
                  <a:lnTo>
                    <a:pt x="69" y="165"/>
                  </a:lnTo>
                  <a:lnTo>
                    <a:pt x="68" y="165"/>
                  </a:lnTo>
                  <a:lnTo>
                    <a:pt x="65" y="165"/>
                  </a:lnTo>
                  <a:lnTo>
                    <a:pt x="63" y="165"/>
                  </a:lnTo>
                  <a:lnTo>
                    <a:pt x="63" y="163"/>
                  </a:lnTo>
                  <a:lnTo>
                    <a:pt x="63" y="163"/>
                  </a:lnTo>
                  <a:lnTo>
                    <a:pt x="60" y="163"/>
                  </a:lnTo>
                  <a:lnTo>
                    <a:pt x="57" y="163"/>
                  </a:lnTo>
                  <a:lnTo>
                    <a:pt x="54" y="163"/>
                  </a:lnTo>
                  <a:lnTo>
                    <a:pt x="49" y="165"/>
                  </a:lnTo>
                  <a:lnTo>
                    <a:pt x="46" y="165"/>
                  </a:lnTo>
                  <a:lnTo>
                    <a:pt x="44" y="165"/>
                  </a:lnTo>
                  <a:lnTo>
                    <a:pt x="41" y="166"/>
                  </a:lnTo>
                  <a:lnTo>
                    <a:pt x="39" y="165"/>
                  </a:lnTo>
                  <a:lnTo>
                    <a:pt x="36" y="165"/>
                  </a:lnTo>
                  <a:lnTo>
                    <a:pt x="33" y="166"/>
                  </a:lnTo>
                  <a:lnTo>
                    <a:pt x="33" y="168"/>
                  </a:lnTo>
                  <a:lnTo>
                    <a:pt x="33" y="170"/>
                  </a:lnTo>
                  <a:lnTo>
                    <a:pt x="30" y="173"/>
                  </a:lnTo>
                  <a:lnTo>
                    <a:pt x="25" y="181"/>
                  </a:lnTo>
                  <a:lnTo>
                    <a:pt x="22" y="182"/>
                  </a:lnTo>
                  <a:lnTo>
                    <a:pt x="19" y="182"/>
                  </a:lnTo>
                  <a:lnTo>
                    <a:pt x="19" y="185"/>
                  </a:lnTo>
                  <a:lnTo>
                    <a:pt x="22" y="189"/>
                  </a:lnTo>
                  <a:lnTo>
                    <a:pt x="22" y="189"/>
                  </a:lnTo>
                  <a:lnTo>
                    <a:pt x="25" y="189"/>
                  </a:lnTo>
                  <a:lnTo>
                    <a:pt x="28" y="189"/>
                  </a:lnTo>
                  <a:lnTo>
                    <a:pt x="31" y="189"/>
                  </a:lnTo>
                  <a:lnTo>
                    <a:pt x="36" y="189"/>
                  </a:lnTo>
                  <a:lnTo>
                    <a:pt x="36" y="185"/>
                  </a:lnTo>
                  <a:lnTo>
                    <a:pt x="36" y="184"/>
                  </a:lnTo>
                  <a:lnTo>
                    <a:pt x="38" y="182"/>
                  </a:lnTo>
                  <a:lnTo>
                    <a:pt x="39" y="184"/>
                  </a:lnTo>
                  <a:lnTo>
                    <a:pt x="41" y="184"/>
                  </a:lnTo>
                  <a:lnTo>
                    <a:pt x="46" y="182"/>
                  </a:lnTo>
                  <a:lnTo>
                    <a:pt x="47" y="184"/>
                  </a:lnTo>
                  <a:lnTo>
                    <a:pt x="47" y="182"/>
                  </a:lnTo>
                  <a:lnTo>
                    <a:pt x="49" y="182"/>
                  </a:lnTo>
                  <a:lnTo>
                    <a:pt x="49" y="181"/>
                  </a:lnTo>
                  <a:lnTo>
                    <a:pt x="50" y="181"/>
                  </a:lnTo>
                  <a:lnTo>
                    <a:pt x="54" y="181"/>
                  </a:lnTo>
                  <a:lnTo>
                    <a:pt x="54" y="181"/>
                  </a:lnTo>
                  <a:lnTo>
                    <a:pt x="54" y="179"/>
                  </a:lnTo>
                  <a:lnTo>
                    <a:pt x="60" y="176"/>
                  </a:lnTo>
                  <a:lnTo>
                    <a:pt x="63" y="178"/>
                  </a:lnTo>
                  <a:lnTo>
                    <a:pt x="66" y="178"/>
                  </a:lnTo>
                  <a:lnTo>
                    <a:pt x="69" y="178"/>
                  </a:lnTo>
                  <a:lnTo>
                    <a:pt x="69" y="178"/>
                  </a:lnTo>
                  <a:lnTo>
                    <a:pt x="73" y="179"/>
                  </a:lnTo>
                  <a:lnTo>
                    <a:pt x="69" y="181"/>
                  </a:lnTo>
                  <a:lnTo>
                    <a:pt x="69" y="184"/>
                  </a:lnTo>
                  <a:lnTo>
                    <a:pt x="69" y="185"/>
                  </a:lnTo>
                  <a:lnTo>
                    <a:pt x="69" y="187"/>
                  </a:lnTo>
                  <a:lnTo>
                    <a:pt x="73" y="189"/>
                  </a:lnTo>
                  <a:lnTo>
                    <a:pt x="74" y="192"/>
                  </a:lnTo>
                  <a:lnTo>
                    <a:pt x="76" y="192"/>
                  </a:lnTo>
                  <a:lnTo>
                    <a:pt x="77" y="195"/>
                  </a:lnTo>
                  <a:lnTo>
                    <a:pt x="82" y="195"/>
                  </a:lnTo>
                  <a:lnTo>
                    <a:pt x="82" y="195"/>
                  </a:lnTo>
                  <a:lnTo>
                    <a:pt x="84" y="192"/>
                  </a:lnTo>
                  <a:lnTo>
                    <a:pt x="84" y="189"/>
                  </a:lnTo>
                  <a:lnTo>
                    <a:pt x="84" y="187"/>
                  </a:lnTo>
                  <a:lnTo>
                    <a:pt x="85" y="185"/>
                  </a:lnTo>
                  <a:lnTo>
                    <a:pt x="88" y="184"/>
                  </a:lnTo>
                  <a:lnTo>
                    <a:pt x="92" y="184"/>
                  </a:lnTo>
                  <a:lnTo>
                    <a:pt x="88" y="181"/>
                  </a:lnTo>
                  <a:lnTo>
                    <a:pt x="85" y="179"/>
                  </a:lnTo>
                  <a:lnTo>
                    <a:pt x="84" y="178"/>
                  </a:lnTo>
                  <a:lnTo>
                    <a:pt x="84" y="174"/>
                  </a:lnTo>
                  <a:lnTo>
                    <a:pt x="84" y="173"/>
                  </a:lnTo>
                  <a:lnTo>
                    <a:pt x="85" y="171"/>
                  </a:lnTo>
                  <a:lnTo>
                    <a:pt x="85" y="173"/>
                  </a:lnTo>
                  <a:lnTo>
                    <a:pt x="87" y="176"/>
                  </a:lnTo>
                  <a:lnTo>
                    <a:pt x="88" y="176"/>
                  </a:lnTo>
                  <a:lnTo>
                    <a:pt x="90" y="176"/>
                  </a:lnTo>
                  <a:lnTo>
                    <a:pt x="92" y="176"/>
                  </a:lnTo>
                  <a:lnTo>
                    <a:pt x="93" y="178"/>
                  </a:lnTo>
                  <a:lnTo>
                    <a:pt x="92" y="178"/>
                  </a:lnTo>
                  <a:lnTo>
                    <a:pt x="92" y="179"/>
                  </a:lnTo>
                  <a:lnTo>
                    <a:pt x="95" y="178"/>
                  </a:lnTo>
                  <a:lnTo>
                    <a:pt x="98" y="178"/>
                  </a:lnTo>
                  <a:lnTo>
                    <a:pt x="104" y="179"/>
                  </a:lnTo>
                  <a:lnTo>
                    <a:pt x="104" y="176"/>
                  </a:lnTo>
                  <a:lnTo>
                    <a:pt x="104" y="173"/>
                  </a:lnTo>
                  <a:lnTo>
                    <a:pt x="107" y="171"/>
                  </a:lnTo>
                  <a:lnTo>
                    <a:pt x="109" y="173"/>
                  </a:lnTo>
                  <a:lnTo>
                    <a:pt x="107" y="173"/>
                  </a:lnTo>
                  <a:lnTo>
                    <a:pt x="109" y="176"/>
                  </a:lnTo>
                  <a:lnTo>
                    <a:pt x="111" y="179"/>
                  </a:lnTo>
                  <a:lnTo>
                    <a:pt x="112" y="179"/>
                  </a:lnTo>
                  <a:lnTo>
                    <a:pt x="114" y="178"/>
                  </a:lnTo>
                  <a:lnTo>
                    <a:pt x="114" y="174"/>
                  </a:lnTo>
                  <a:lnTo>
                    <a:pt x="111" y="170"/>
                  </a:lnTo>
                  <a:lnTo>
                    <a:pt x="112" y="168"/>
                  </a:lnTo>
                  <a:lnTo>
                    <a:pt x="114" y="168"/>
                  </a:lnTo>
                  <a:lnTo>
                    <a:pt x="119" y="170"/>
                  </a:lnTo>
                  <a:lnTo>
                    <a:pt x="117" y="168"/>
                  </a:lnTo>
                  <a:lnTo>
                    <a:pt x="117" y="166"/>
                  </a:lnTo>
                  <a:lnTo>
                    <a:pt x="117" y="165"/>
                  </a:lnTo>
                  <a:lnTo>
                    <a:pt x="117" y="163"/>
                  </a:lnTo>
                  <a:lnTo>
                    <a:pt x="119" y="163"/>
                  </a:lnTo>
                  <a:lnTo>
                    <a:pt x="120" y="163"/>
                  </a:lnTo>
                  <a:lnTo>
                    <a:pt x="120" y="166"/>
                  </a:lnTo>
                  <a:lnTo>
                    <a:pt x="120" y="170"/>
                  </a:lnTo>
                  <a:lnTo>
                    <a:pt x="120" y="173"/>
                  </a:lnTo>
                  <a:lnTo>
                    <a:pt x="122" y="174"/>
                  </a:lnTo>
                  <a:lnTo>
                    <a:pt x="125" y="173"/>
                  </a:lnTo>
                  <a:lnTo>
                    <a:pt x="127" y="170"/>
                  </a:lnTo>
                  <a:lnTo>
                    <a:pt x="127" y="165"/>
                  </a:lnTo>
                  <a:lnTo>
                    <a:pt x="127" y="163"/>
                  </a:lnTo>
                  <a:lnTo>
                    <a:pt x="130" y="163"/>
                  </a:lnTo>
                  <a:lnTo>
                    <a:pt x="125" y="157"/>
                  </a:lnTo>
                  <a:lnTo>
                    <a:pt x="122" y="152"/>
                  </a:lnTo>
                  <a:lnTo>
                    <a:pt x="122" y="152"/>
                  </a:lnTo>
                  <a:lnTo>
                    <a:pt x="122" y="152"/>
                  </a:lnTo>
                  <a:lnTo>
                    <a:pt x="122" y="152"/>
                  </a:lnTo>
                  <a:lnTo>
                    <a:pt x="122" y="152"/>
                  </a:lnTo>
                  <a:lnTo>
                    <a:pt x="122" y="152"/>
                  </a:lnTo>
                  <a:lnTo>
                    <a:pt x="122" y="152"/>
                  </a:lnTo>
                  <a:lnTo>
                    <a:pt x="122" y="152"/>
                  </a:lnTo>
                  <a:lnTo>
                    <a:pt x="122" y="152"/>
                  </a:lnTo>
                  <a:close/>
                  <a:moveTo>
                    <a:pt x="85" y="101"/>
                  </a:moveTo>
                  <a:lnTo>
                    <a:pt x="87" y="101"/>
                  </a:lnTo>
                  <a:lnTo>
                    <a:pt x="85" y="101"/>
                  </a:lnTo>
                  <a:lnTo>
                    <a:pt x="85" y="101"/>
                  </a:lnTo>
                  <a:lnTo>
                    <a:pt x="85" y="101"/>
                  </a:lnTo>
                  <a:lnTo>
                    <a:pt x="85" y="101"/>
                  </a:lnTo>
                  <a:lnTo>
                    <a:pt x="85" y="101"/>
                  </a:lnTo>
                  <a:lnTo>
                    <a:pt x="85" y="101"/>
                  </a:lnTo>
                  <a:lnTo>
                    <a:pt x="85" y="101"/>
                  </a:lnTo>
                  <a:lnTo>
                    <a:pt x="85" y="101"/>
                  </a:lnTo>
                  <a:lnTo>
                    <a:pt x="85" y="101"/>
                  </a:lnTo>
                  <a:lnTo>
                    <a:pt x="85" y="101"/>
                  </a:lnTo>
                  <a:close/>
                  <a:moveTo>
                    <a:pt x="33" y="239"/>
                  </a:moveTo>
                  <a:lnTo>
                    <a:pt x="34" y="239"/>
                  </a:lnTo>
                  <a:lnTo>
                    <a:pt x="36" y="241"/>
                  </a:lnTo>
                  <a:lnTo>
                    <a:pt x="34" y="238"/>
                  </a:lnTo>
                  <a:lnTo>
                    <a:pt x="33" y="239"/>
                  </a:lnTo>
                  <a:lnTo>
                    <a:pt x="33" y="239"/>
                  </a:lnTo>
                  <a:lnTo>
                    <a:pt x="33" y="239"/>
                  </a:lnTo>
                  <a:lnTo>
                    <a:pt x="33" y="239"/>
                  </a:lnTo>
                  <a:lnTo>
                    <a:pt x="33" y="239"/>
                  </a:lnTo>
                  <a:lnTo>
                    <a:pt x="33" y="239"/>
                  </a:lnTo>
                  <a:lnTo>
                    <a:pt x="33" y="239"/>
                  </a:lnTo>
                  <a:lnTo>
                    <a:pt x="33" y="239"/>
                  </a:lnTo>
                  <a:lnTo>
                    <a:pt x="33" y="239"/>
                  </a:lnTo>
                  <a:close/>
                  <a:moveTo>
                    <a:pt x="36" y="154"/>
                  </a:moveTo>
                  <a:lnTo>
                    <a:pt x="36" y="154"/>
                  </a:lnTo>
                  <a:lnTo>
                    <a:pt x="34" y="154"/>
                  </a:lnTo>
                  <a:lnTo>
                    <a:pt x="36" y="157"/>
                  </a:lnTo>
                  <a:lnTo>
                    <a:pt x="36" y="154"/>
                  </a:lnTo>
                  <a:lnTo>
                    <a:pt x="36" y="154"/>
                  </a:lnTo>
                  <a:lnTo>
                    <a:pt x="36" y="154"/>
                  </a:lnTo>
                  <a:lnTo>
                    <a:pt x="36" y="154"/>
                  </a:lnTo>
                  <a:lnTo>
                    <a:pt x="36" y="154"/>
                  </a:lnTo>
                  <a:lnTo>
                    <a:pt x="36" y="154"/>
                  </a:lnTo>
                  <a:lnTo>
                    <a:pt x="36" y="154"/>
                  </a:lnTo>
                  <a:lnTo>
                    <a:pt x="36" y="154"/>
                  </a:lnTo>
                  <a:lnTo>
                    <a:pt x="36" y="154"/>
                  </a:lnTo>
                  <a:close/>
                  <a:moveTo>
                    <a:pt x="38" y="198"/>
                  </a:moveTo>
                  <a:lnTo>
                    <a:pt x="41" y="195"/>
                  </a:lnTo>
                  <a:lnTo>
                    <a:pt x="39" y="195"/>
                  </a:lnTo>
                  <a:lnTo>
                    <a:pt x="38" y="198"/>
                  </a:lnTo>
                  <a:lnTo>
                    <a:pt x="38" y="198"/>
                  </a:lnTo>
                  <a:lnTo>
                    <a:pt x="38" y="198"/>
                  </a:lnTo>
                  <a:lnTo>
                    <a:pt x="38" y="198"/>
                  </a:lnTo>
                  <a:lnTo>
                    <a:pt x="38" y="198"/>
                  </a:lnTo>
                  <a:lnTo>
                    <a:pt x="38" y="198"/>
                  </a:lnTo>
                  <a:lnTo>
                    <a:pt x="38" y="198"/>
                  </a:lnTo>
                  <a:lnTo>
                    <a:pt x="38" y="198"/>
                  </a:lnTo>
                  <a:lnTo>
                    <a:pt x="38" y="198"/>
                  </a:lnTo>
                  <a:close/>
                  <a:moveTo>
                    <a:pt x="65" y="184"/>
                  </a:moveTo>
                  <a:lnTo>
                    <a:pt x="60" y="184"/>
                  </a:lnTo>
                  <a:lnTo>
                    <a:pt x="57" y="182"/>
                  </a:lnTo>
                  <a:lnTo>
                    <a:pt x="54" y="184"/>
                  </a:lnTo>
                  <a:lnTo>
                    <a:pt x="54" y="184"/>
                  </a:lnTo>
                  <a:lnTo>
                    <a:pt x="52" y="184"/>
                  </a:lnTo>
                  <a:lnTo>
                    <a:pt x="54" y="185"/>
                  </a:lnTo>
                  <a:lnTo>
                    <a:pt x="54" y="187"/>
                  </a:lnTo>
                  <a:lnTo>
                    <a:pt x="50" y="189"/>
                  </a:lnTo>
                  <a:lnTo>
                    <a:pt x="49" y="189"/>
                  </a:lnTo>
                  <a:lnTo>
                    <a:pt x="47" y="187"/>
                  </a:lnTo>
                  <a:lnTo>
                    <a:pt x="44" y="185"/>
                  </a:lnTo>
                  <a:lnTo>
                    <a:pt x="44" y="189"/>
                  </a:lnTo>
                  <a:lnTo>
                    <a:pt x="44" y="192"/>
                  </a:lnTo>
                  <a:lnTo>
                    <a:pt x="42" y="192"/>
                  </a:lnTo>
                  <a:lnTo>
                    <a:pt x="41" y="195"/>
                  </a:lnTo>
                  <a:lnTo>
                    <a:pt x="42" y="195"/>
                  </a:lnTo>
                  <a:lnTo>
                    <a:pt x="42" y="198"/>
                  </a:lnTo>
                  <a:lnTo>
                    <a:pt x="44" y="198"/>
                  </a:lnTo>
                  <a:lnTo>
                    <a:pt x="46" y="198"/>
                  </a:lnTo>
                  <a:lnTo>
                    <a:pt x="44" y="198"/>
                  </a:lnTo>
                  <a:lnTo>
                    <a:pt x="46" y="201"/>
                  </a:lnTo>
                  <a:lnTo>
                    <a:pt x="47" y="203"/>
                  </a:lnTo>
                  <a:lnTo>
                    <a:pt x="49" y="203"/>
                  </a:lnTo>
                  <a:lnTo>
                    <a:pt x="50" y="205"/>
                  </a:lnTo>
                  <a:lnTo>
                    <a:pt x="52" y="205"/>
                  </a:lnTo>
                  <a:lnTo>
                    <a:pt x="54" y="206"/>
                  </a:lnTo>
                  <a:lnTo>
                    <a:pt x="54" y="205"/>
                  </a:lnTo>
                  <a:lnTo>
                    <a:pt x="54" y="201"/>
                  </a:lnTo>
                  <a:lnTo>
                    <a:pt x="54" y="198"/>
                  </a:lnTo>
                  <a:lnTo>
                    <a:pt x="57" y="195"/>
                  </a:lnTo>
                  <a:lnTo>
                    <a:pt x="60" y="195"/>
                  </a:lnTo>
                  <a:lnTo>
                    <a:pt x="65" y="198"/>
                  </a:lnTo>
                  <a:lnTo>
                    <a:pt x="65" y="195"/>
                  </a:lnTo>
                  <a:lnTo>
                    <a:pt x="68" y="189"/>
                  </a:lnTo>
                  <a:lnTo>
                    <a:pt x="66" y="187"/>
                  </a:lnTo>
                  <a:lnTo>
                    <a:pt x="65" y="184"/>
                  </a:lnTo>
                  <a:lnTo>
                    <a:pt x="65" y="184"/>
                  </a:lnTo>
                  <a:lnTo>
                    <a:pt x="65" y="184"/>
                  </a:lnTo>
                  <a:lnTo>
                    <a:pt x="65" y="184"/>
                  </a:lnTo>
                  <a:lnTo>
                    <a:pt x="65" y="184"/>
                  </a:lnTo>
                  <a:lnTo>
                    <a:pt x="65" y="184"/>
                  </a:lnTo>
                  <a:lnTo>
                    <a:pt x="65" y="184"/>
                  </a:lnTo>
                  <a:lnTo>
                    <a:pt x="65" y="184"/>
                  </a:lnTo>
                  <a:lnTo>
                    <a:pt x="65" y="184"/>
                  </a:lnTo>
                  <a:close/>
                  <a:moveTo>
                    <a:pt x="39" y="236"/>
                  </a:moveTo>
                  <a:lnTo>
                    <a:pt x="39" y="238"/>
                  </a:lnTo>
                  <a:lnTo>
                    <a:pt x="41" y="239"/>
                  </a:lnTo>
                  <a:lnTo>
                    <a:pt x="41" y="236"/>
                  </a:lnTo>
                  <a:lnTo>
                    <a:pt x="39" y="233"/>
                  </a:lnTo>
                  <a:lnTo>
                    <a:pt x="39" y="236"/>
                  </a:lnTo>
                  <a:lnTo>
                    <a:pt x="39" y="236"/>
                  </a:lnTo>
                  <a:lnTo>
                    <a:pt x="39" y="236"/>
                  </a:lnTo>
                  <a:lnTo>
                    <a:pt x="39" y="236"/>
                  </a:lnTo>
                  <a:lnTo>
                    <a:pt x="39" y="236"/>
                  </a:lnTo>
                  <a:lnTo>
                    <a:pt x="39" y="236"/>
                  </a:lnTo>
                  <a:lnTo>
                    <a:pt x="39" y="236"/>
                  </a:lnTo>
                  <a:lnTo>
                    <a:pt x="39" y="236"/>
                  </a:lnTo>
                  <a:lnTo>
                    <a:pt x="39" y="236"/>
                  </a:lnTo>
                  <a:close/>
                  <a:moveTo>
                    <a:pt x="65" y="28"/>
                  </a:moveTo>
                  <a:lnTo>
                    <a:pt x="68" y="31"/>
                  </a:lnTo>
                  <a:lnTo>
                    <a:pt x="69" y="35"/>
                  </a:lnTo>
                  <a:lnTo>
                    <a:pt x="74" y="43"/>
                  </a:lnTo>
                  <a:lnTo>
                    <a:pt x="73" y="46"/>
                  </a:lnTo>
                  <a:lnTo>
                    <a:pt x="73" y="47"/>
                  </a:lnTo>
                  <a:lnTo>
                    <a:pt x="74" y="49"/>
                  </a:lnTo>
                  <a:lnTo>
                    <a:pt x="77" y="54"/>
                  </a:lnTo>
                  <a:lnTo>
                    <a:pt x="77" y="55"/>
                  </a:lnTo>
                  <a:lnTo>
                    <a:pt x="74" y="57"/>
                  </a:lnTo>
                  <a:lnTo>
                    <a:pt x="69" y="55"/>
                  </a:lnTo>
                  <a:lnTo>
                    <a:pt x="66" y="54"/>
                  </a:lnTo>
                  <a:lnTo>
                    <a:pt x="66" y="55"/>
                  </a:lnTo>
                  <a:lnTo>
                    <a:pt x="68" y="57"/>
                  </a:lnTo>
                  <a:lnTo>
                    <a:pt x="69" y="58"/>
                  </a:lnTo>
                  <a:lnTo>
                    <a:pt x="69" y="60"/>
                  </a:lnTo>
                  <a:lnTo>
                    <a:pt x="69" y="62"/>
                  </a:lnTo>
                  <a:lnTo>
                    <a:pt x="68" y="63"/>
                  </a:lnTo>
                  <a:lnTo>
                    <a:pt x="66" y="63"/>
                  </a:lnTo>
                  <a:lnTo>
                    <a:pt x="68" y="66"/>
                  </a:lnTo>
                  <a:lnTo>
                    <a:pt x="69" y="70"/>
                  </a:lnTo>
                  <a:lnTo>
                    <a:pt x="69" y="70"/>
                  </a:lnTo>
                  <a:lnTo>
                    <a:pt x="74" y="73"/>
                  </a:lnTo>
                  <a:lnTo>
                    <a:pt x="74" y="76"/>
                  </a:lnTo>
                  <a:lnTo>
                    <a:pt x="76" y="79"/>
                  </a:lnTo>
                  <a:lnTo>
                    <a:pt x="77" y="81"/>
                  </a:lnTo>
                  <a:lnTo>
                    <a:pt x="79" y="81"/>
                  </a:lnTo>
                  <a:lnTo>
                    <a:pt x="81" y="79"/>
                  </a:lnTo>
                  <a:lnTo>
                    <a:pt x="81" y="77"/>
                  </a:lnTo>
                  <a:lnTo>
                    <a:pt x="82" y="76"/>
                  </a:lnTo>
                  <a:lnTo>
                    <a:pt x="85" y="76"/>
                  </a:lnTo>
                  <a:lnTo>
                    <a:pt x="87" y="76"/>
                  </a:lnTo>
                  <a:lnTo>
                    <a:pt x="87" y="74"/>
                  </a:lnTo>
                  <a:lnTo>
                    <a:pt x="84" y="73"/>
                  </a:lnTo>
                  <a:lnTo>
                    <a:pt x="81" y="73"/>
                  </a:lnTo>
                  <a:lnTo>
                    <a:pt x="77" y="70"/>
                  </a:lnTo>
                  <a:lnTo>
                    <a:pt x="74" y="70"/>
                  </a:lnTo>
                  <a:lnTo>
                    <a:pt x="73" y="66"/>
                  </a:lnTo>
                  <a:lnTo>
                    <a:pt x="73" y="63"/>
                  </a:lnTo>
                  <a:lnTo>
                    <a:pt x="74" y="63"/>
                  </a:lnTo>
                  <a:lnTo>
                    <a:pt x="77" y="66"/>
                  </a:lnTo>
                  <a:lnTo>
                    <a:pt x="81" y="66"/>
                  </a:lnTo>
                  <a:lnTo>
                    <a:pt x="82" y="66"/>
                  </a:lnTo>
                  <a:lnTo>
                    <a:pt x="85" y="63"/>
                  </a:lnTo>
                  <a:lnTo>
                    <a:pt x="88" y="63"/>
                  </a:lnTo>
                  <a:lnTo>
                    <a:pt x="92" y="66"/>
                  </a:lnTo>
                  <a:lnTo>
                    <a:pt x="98" y="70"/>
                  </a:lnTo>
                  <a:lnTo>
                    <a:pt x="104" y="73"/>
                  </a:lnTo>
                  <a:lnTo>
                    <a:pt x="109" y="73"/>
                  </a:lnTo>
                  <a:lnTo>
                    <a:pt x="111" y="73"/>
                  </a:lnTo>
                  <a:lnTo>
                    <a:pt x="109" y="70"/>
                  </a:lnTo>
                  <a:lnTo>
                    <a:pt x="107" y="66"/>
                  </a:lnTo>
                  <a:lnTo>
                    <a:pt x="109" y="63"/>
                  </a:lnTo>
                  <a:lnTo>
                    <a:pt x="111" y="62"/>
                  </a:lnTo>
                  <a:lnTo>
                    <a:pt x="112" y="60"/>
                  </a:lnTo>
                  <a:lnTo>
                    <a:pt x="115" y="58"/>
                  </a:lnTo>
                  <a:lnTo>
                    <a:pt x="120" y="60"/>
                  </a:lnTo>
                  <a:lnTo>
                    <a:pt x="119" y="58"/>
                  </a:lnTo>
                  <a:lnTo>
                    <a:pt x="122" y="58"/>
                  </a:lnTo>
                  <a:lnTo>
                    <a:pt x="123" y="58"/>
                  </a:lnTo>
                  <a:lnTo>
                    <a:pt x="122" y="57"/>
                  </a:lnTo>
                  <a:lnTo>
                    <a:pt x="127" y="57"/>
                  </a:lnTo>
                  <a:lnTo>
                    <a:pt x="127" y="55"/>
                  </a:lnTo>
                  <a:lnTo>
                    <a:pt x="128" y="54"/>
                  </a:lnTo>
                  <a:lnTo>
                    <a:pt x="127" y="54"/>
                  </a:lnTo>
                  <a:lnTo>
                    <a:pt x="125" y="55"/>
                  </a:lnTo>
                  <a:lnTo>
                    <a:pt x="123" y="55"/>
                  </a:lnTo>
                  <a:lnTo>
                    <a:pt x="123" y="54"/>
                  </a:lnTo>
                  <a:lnTo>
                    <a:pt x="120" y="51"/>
                  </a:lnTo>
                  <a:lnTo>
                    <a:pt x="117" y="49"/>
                  </a:lnTo>
                  <a:lnTo>
                    <a:pt x="115" y="47"/>
                  </a:lnTo>
                  <a:lnTo>
                    <a:pt x="115" y="46"/>
                  </a:lnTo>
                  <a:lnTo>
                    <a:pt x="115" y="41"/>
                  </a:lnTo>
                  <a:lnTo>
                    <a:pt x="114" y="39"/>
                  </a:lnTo>
                  <a:lnTo>
                    <a:pt x="112" y="43"/>
                  </a:lnTo>
                  <a:lnTo>
                    <a:pt x="111" y="44"/>
                  </a:lnTo>
                  <a:lnTo>
                    <a:pt x="107" y="44"/>
                  </a:lnTo>
                  <a:lnTo>
                    <a:pt x="107" y="44"/>
                  </a:lnTo>
                  <a:lnTo>
                    <a:pt x="104" y="43"/>
                  </a:lnTo>
                  <a:lnTo>
                    <a:pt x="101" y="43"/>
                  </a:lnTo>
                  <a:lnTo>
                    <a:pt x="101" y="43"/>
                  </a:lnTo>
                  <a:lnTo>
                    <a:pt x="98" y="43"/>
                  </a:lnTo>
                  <a:lnTo>
                    <a:pt x="98" y="41"/>
                  </a:lnTo>
                  <a:lnTo>
                    <a:pt x="96" y="41"/>
                  </a:lnTo>
                  <a:lnTo>
                    <a:pt x="84" y="35"/>
                  </a:lnTo>
                  <a:lnTo>
                    <a:pt x="69" y="27"/>
                  </a:lnTo>
                  <a:lnTo>
                    <a:pt x="65" y="24"/>
                  </a:lnTo>
                  <a:lnTo>
                    <a:pt x="63" y="24"/>
                  </a:lnTo>
                  <a:lnTo>
                    <a:pt x="63" y="24"/>
                  </a:lnTo>
                  <a:lnTo>
                    <a:pt x="63" y="27"/>
                  </a:lnTo>
                  <a:lnTo>
                    <a:pt x="65" y="28"/>
                  </a:lnTo>
                  <a:lnTo>
                    <a:pt x="65" y="28"/>
                  </a:lnTo>
                  <a:lnTo>
                    <a:pt x="65" y="28"/>
                  </a:lnTo>
                  <a:lnTo>
                    <a:pt x="65" y="28"/>
                  </a:lnTo>
                  <a:lnTo>
                    <a:pt x="65" y="28"/>
                  </a:lnTo>
                  <a:lnTo>
                    <a:pt x="65" y="28"/>
                  </a:lnTo>
                  <a:lnTo>
                    <a:pt x="65" y="28"/>
                  </a:lnTo>
                  <a:lnTo>
                    <a:pt x="65" y="28"/>
                  </a:lnTo>
                  <a:lnTo>
                    <a:pt x="65" y="28"/>
                  </a:lnTo>
                  <a:close/>
                  <a:moveTo>
                    <a:pt x="82" y="128"/>
                  </a:moveTo>
                  <a:lnTo>
                    <a:pt x="82" y="128"/>
                  </a:lnTo>
                  <a:lnTo>
                    <a:pt x="84" y="130"/>
                  </a:lnTo>
                  <a:lnTo>
                    <a:pt x="84" y="131"/>
                  </a:lnTo>
                  <a:lnTo>
                    <a:pt x="85" y="131"/>
                  </a:lnTo>
                  <a:lnTo>
                    <a:pt x="85" y="128"/>
                  </a:lnTo>
                  <a:lnTo>
                    <a:pt x="84" y="128"/>
                  </a:lnTo>
                  <a:lnTo>
                    <a:pt x="84" y="125"/>
                  </a:lnTo>
                  <a:lnTo>
                    <a:pt x="82" y="128"/>
                  </a:lnTo>
                  <a:lnTo>
                    <a:pt x="82" y="128"/>
                  </a:lnTo>
                  <a:lnTo>
                    <a:pt x="82" y="128"/>
                  </a:lnTo>
                  <a:lnTo>
                    <a:pt x="82" y="128"/>
                  </a:lnTo>
                  <a:lnTo>
                    <a:pt x="82" y="128"/>
                  </a:lnTo>
                  <a:lnTo>
                    <a:pt x="82" y="128"/>
                  </a:lnTo>
                  <a:lnTo>
                    <a:pt x="82" y="128"/>
                  </a:lnTo>
                  <a:lnTo>
                    <a:pt x="82" y="128"/>
                  </a:lnTo>
                  <a:lnTo>
                    <a:pt x="82" y="128"/>
                  </a:lnTo>
                  <a:close/>
                  <a:moveTo>
                    <a:pt x="122" y="46"/>
                  </a:moveTo>
                  <a:lnTo>
                    <a:pt x="122" y="41"/>
                  </a:lnTo>
                  <a:lnTo>
                    <a:pt x="125" y="39"/>
                  </a:lnTo>
                  <a:lnTo>
                    <a:pt x="127" y="38"/>
                  </a:lnTo>
                  <a:lnTo>
                    <a:pt x="125" y="38"/>
                  </a:lnTo>
                  <a:lnTo>
                    <a:pt x="122" y="38"/>
                  </a:lnTo>
                  <a:lnTo>
                    <a:pt x="120" y="39"/>
                  </a:lnTo>
                  <a:lnTo>
                    <a:pt x="120" y="44"/>
                  </a:lnTo>
                  <a:lnTo>
                    <a:pt x="120" y="47"/>
                  </a:lnTo>
                  <a:lnTo>
                    <a:pt x="122" y="47"/>
                  </a:lnTo>
                  <a:lnTo>
                    <a:pt x="122" y="46"/>
                  </a:lnTo>
                  <a:lnTo>
                    <a:pt x="122" y="46"/>
                  </a:lnTo>
                  <a:lnTo>
                    <a:pt x="122" y="46"/>
                  </a:lnTo>
                  <a:lnTo>
                    <a:pt x="122" y="46"/>
                  </a:lnTo>
                  <a:lnTo>
                    <a:pt x="122" y="46"/>
                  </a:lnTo>
                  <a:lnTo>
                    <a:pt x="122" y="46"/>
                  </a:lnTo>
                  <a:lnTo>
                    <a:pt x="122" y="46"/>
                  </a:lnTo>
                  <a:lnTo>
                    <a:pt x="122" y="46"/>
                  </a:lnTo>
                  <a:lnTo>
                    <a:pt x="122" y="46"/>
                  </a:lnTo>
                  <a:close/>
                  <a:moveTo>
                    <a:pt x="139" y="24"/>
                  </a:moveTo>
                  <a:lnTo>
                    <a:pt x="139" y="27"/>
                  </a:lnTo>
                  <a:lnTo>
                    <a:pt x="136" y="27"/>
                  </a:lnTo>
                  <a:lnTo>
                    <a:pt x="136" y="27"/>
                  </a:lnTo>
                  <a:lnTo>
                    <a:pt x="133" y="24"/>
                  </a:lnTo>
                  <a:lnTo>
                    <a:pt x="133" y="27"/>
                  </a:lnTo>
                  <a:lnTo>
                    <a:pt x="133" y="28"/>
                  </a:lnTo>
                  <a:lnTo>
                    <a:pt x="133" y="28"/>
                  </a:lnTo>
                  <a:lnTo>
                    <a:pt x="133" y="28"/>
                  </a:lnTo>
                  <a:lnTo>
                    <a:pt x="131" y="31"/>
                  </a:lnTo>
                  <a:lnTo>
                    <a:pt x="131" y="35"/>
                  </a:lnTo>
                  <a:lnTo>
                    <a:pt x="131" y="35"/>
                  </a:lnTo>
                  <a:lnTo>
                    <a:pt x="130" y="38"/>
                  </a:lnTo>
                  <a:lnTo>
                    <a:pt x="131" y="38"/>
                  </a:lnTo>
                  <a:lnTo>
                    <a:pt x="133" y="35"/>
                  </a:lnTo>
                  <a:lnTo>
                    <a:pt x="133" y="31"/>
                  </a:lnTo>
                  <a:lnTo>
                    <a:pt x="133" y="31"/>
                  </a:lnTo>
                  <a:lnTo>
                    <a:pt x="136" y="31"/>
                  </a:lnTo>
                  <a:lnTo>
                    <a:pt x="136" y="28"/>
                  </a:lnTo>
                  <a:lnTo>
                    <a:pt x="139" y="27"/>
                  </a:lnTo>
                  <a:lnTo>
                    <a:pt x="142" y="25"/>
                  </a:lnTo>
                  <a:lnTo>
                    <a:pt x="142" y="24"/>
                  </a:lnTo>
                  <a:lnTo>
                    <a:pt x="142" y="24"/>
                  </a:lnTo>
                  <a:lnTo>
                    <a:pt x="139" y="24"/>
                  </a:lnTo>
                  <a:lnTo>
                    <a:pt x="139" y="24"/>
                  </a:lnTo>
                  <a:lnTo>
                    <a:pt x="139" y="24"/>
                  </a:lnTo>
                  <a:lnTo>
                    <a:pt x="139" y="24"/>
                  </a:lnTo>
                  <a:lnTo>
                    <a:pt x="139" y="24"/>
                  </a:lnTo>
                  <a:lnTo>
                    <a:pt x="139" y="24"/>
                  </a:lnTo>
                  <a:lnTo>
                    <a:pt x="139" y="24"/>
                  </a:lnTo>
                  <a:lnTo>
                    <a:pt x="139" y="24"/>
                  </a:lnTo>
                  <a:lnTo>
                    <a:pt x="139" y="24"/>
                  </a:lnTo>
                  <a:close/>
                  <a:moveTo>
                    <a:pt x="136" y="47"/>
                  </a:moveTo>
                  <a:lnTo>
                    <a:pt x="136" y="46"/>
                  </a:lnTo>
                  <a:lnTo>
                    <a:pt x="133" y="47"/>
                  </a:lnTo>
                  <a:lnTo>
                    <a:pt x="136" y="47"/>
                  </a:lnTo>
                  <a:lnTo>
                    <a:pt x="136" y="47"/>
                  </a:lnTo>
                  <a:lnTo>
                    <a:pt x="136" y="47"/>
                  </a:lnTo>
                  <a:lnTo>
                    <a:pt x="136" y="47"/>
                  </a:lnTo>
                  <a:lnTo>
                    <a:pt x="136" y="47"/>
                  </a:lnTo>
                  <a:lnTo>
                    <a:pt x="136" y="47"/>
                  </a:lnTo>
                  <a:lnTo>
                    <a:pt x="136" y="47"/>
                  </a:lnTo>
                  <a:lnTo>
                    <a:pt x="136" y="47"/>
                  </a:lnTo>
                  <a:lnTo>
                    <a:pt x="136" y="47"/>
                  </a:lnTo>
                  <a:close/>
                  <a:moveTo>
                    <a:pt x="152" y="12"/>
                  </a:moveTo>
                  <a:lnTo>
                    <a:pt x="150" y="16"/>
                  </a:lnTo>
                  <a:lnTo>
                    <a:pt x="149" y="19"/>
                  </a:lnTo>
                  <a:lnTo>
                    <a:pt x="149" y="20"/>
                  </a:lnTo>
                  <a:lnTo>
                    <a:pt x="149" y="22"/>
                  </a:lnTo>
                  <a:lnTo>
                    <a:pt x="150" y="22"/>
                  </a:lnTo>
                  <a:lnTo>
                    <a:pt x="152" y="19"/>
                  </a:lnTo>
                  <a:lnTo>
                    <a:pt x="154" y="12"/>
                  </a:lnTo>
                  <a:lnTo>
                    <a:pt x="154" y="12"/>
                  </a:lnTo>
                  <a:lnTo>
                    <a:pt x="152" y="12"/>
                  </a:lnTo>
                  <a:lnTo>
                    <a:pt x="152" y="12"/>
                  </a:lnTo>
                  <a:lnTo>
                    <a:pt x="152" y="12"/>
                  </a:lnTo>
                  <a:lnTo>
                    <a:pt x="152" y="12"/>
                  </a:lnTo>
                  <a:lnTo>
                    <a:pt x="152" y="12"/>
                  </a:lnTo>
                  <a:lnTo>
                    <a:pt x="152" y="12"/>
                  </a:lnTo>
                  <a:lnTo>
                    <a:pt x="152" y="12"/>
                  </a:lnTo>
                  <a:lnTo>
                    <a:pt x="152" y="12"/>
                  </a:lnTo>
                  <a:lnTo>
                    <a:pt x="152" y="12"/>
                  </a:lnTo>
                  <a:close/>
                  <a:moveTo>
                    <a:pt x="163" y="0"/>
                  </a:moveTo>
                  <a:lnTo>
                    <a:pt x="163" y="3"/>
                  </a:lnTo>
                  <a:lnTo>
                    <a:pt x="165" y="0"/>
                  </a:lnTo>
                  <a:lnTo>
                    <a:pt x="163" y="0"/>
                  </a:lnTo>
                  <a:lnTo>
                    <a:pt x="163" y="0"/>
                  </a:lnTo>
                  <a:lnTo>
                    <a:pt x="163" y="0"/>
                  </a:lnTo>
                  <a:lnTo>
                    <a:pt x="163" y="0"/>
                  </a:lnTo>
                  <a:lnTo>
                    <a:pt x="163" y="0"/>
                  </a:lnTo>
                  <a:lnTo>
                    <a:pt x="163" y="0"/>
                  </a:lnTo>
                  <a:lnTo>
                    <a:pt x="163" y="0"/>
                  </a:lnTo>
                  <a:lnTo>
                    <a:pt x="163" y="0"/>
                  </a:lnTo>
                  <a:lnTo>
                    <a:pt x="163" y="0"/>
                  </a:lnTo>
                  <a:close/>
                  <a:moveTo>
                    <a:pt x="163" y="4"/>
                  </a:moveTo>
                  <a:lnTo>
                    <a:pt x="163" y="3"/>
                  </a:lnTo>
                  <a:lnTo>
                    <a:pt x="163" y="3"/>
                  </a:lnTo>
                  <a:lnTo>
                    <a:pt x="163" y="4"/>
                  </a:lnTo>
                  <a:lnTo>
                    <a:pt x="163" y="4"/>
                  </a:lnTo>
                  <a:lnTo>
                    <a:pt x="163" y="4"/>
                  </a:lnTo>
                  <a:lnTo>
                    <a:pt x="163" y="4"/>
                  </a:lnTo>
                  <a:lnTo>
                    <a:pt x="163" y="4"/>
                  </a:lnTo>
                  <a:lnTo>
                    <a:pt x="163" y="4"/>
                  </a:lnTo>
                  <a:lnTo>
                    <a:pt x="163" y="4"/>
                  </a:lnTo>
                  <a:lnTo>
                    <a:pt x="163" y="4"/>
                  </a:lnTo>
                  <a:lnTo>
                    <a:pt x="163" y="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2" name="Freeform 287">
              <a:extLst>
                <a:ext uri="{FF2B5EF4-FFF2-40B4-BE49-F238E27FC236}">
                  <a16:creationId xmlns:a16="http://schemas.microsoft.com/office/drawing/2014/main" id="{E50A9986-8ACB-9545-C69B-A0F4615AF35A}"/>
                </a:ext>
              </a:extLst>
            </p:cNvPr>
            <p:cNvSpPr>
              <a:spLocks noEditPoints="1"/>
            </p:cNvSpPr>
            <p:nvPr/>
          </p:nvSpPr>
          <p:spPr bwMode="auto">
            <a:xfrm>
              <a:off x="9153966" y="2784690"/>
              <a:ext cx="121125" cy="170474"/>
            </a:xfrm>
            <a:custGeom>
              <a:avLst/>
              <a:gdLst>
                <a:gd name="T0" fmla="*/ 22 w 54"/>
                <a:gd name="T1" fmla="*/ 76 h 76"/>
                <a:gd name="T2" fmla="*/ 30 w 54"/>
                <a:gd name="T3" fmla="*/ 73 h 76"/>
                <a:gd name="T4" fmla="*/ 23 w 54"/>
                <a:gd name="T5" fmla="*/ 73 h 76"/>
                <a:gd name="T6" fmla="*/ 23 w 54"/>
                <a:gd name="T7" fmla="*/ 73 h 76"/>
                <a:gd name="T8" fmla="*/ 23 w 54"/>
                <a:gd name="T9" fmla="*/ 73 h 76"/>
                <a:gd name="T10" fmla="*/ 28 w 54"/>
                <a:gd name="T11" fmla="*/ 59 h 76"/>
                <a:gd name="T12" fmla="*/ 27 w 54"/>
                <a:gd name="T13" fmla="*/ 57 h 76"/>
                <a:gd name="T14" fmla="*/ 28 w 54"/>
                <a:gd name="T15" fmla="*/ 59 h 76"/>
                <a:gd name="T16" fmla="*/ 28 w 54"/>
                <a:gd name="T17" fmla="*/ 59 h 76"/>
                <a:gd name="T18" fmla="*/ 28 w 54"/>
                <a:gd name="T19" fmla="*/ 59 h 76"/>
                <a:gd name="T20" fmla="*/ 41 w 54"/>
                <a:gd name="T21" fmla="*/ 32 h 76"/>
                <a:gd name="T22" fmla="*/ 34 w 54"/>
                <a:gd name="T23" fmla="*/ 16 h 76"/>
                <a:gd name="T24" fmla="*/ 15 w 54"/>
                <a:gd name="T25" fmla="*/ 0 h 76"/>
                <a:gd name="T26" fmla="*/ 15 w 54"/>
                <a:gd name="T27" fmla="*/ 3 h 76"/>
                <a:gd name="T28" fmla="*/ 4 w 54"/>
                <a:gd name="T29" fmla="*/ 3 h 76"/>
                <a:gd name="T30" fmla="*/ 1 w 54"/>
                <a:gd name="T31" fmla="*/ 9 h 76"/>
                <a:gd name="T32" fmla="*/ 3 w 54"/>
                <a:gd name="T33" fmla="*/ 13 h 76"/>
                <a:gd name="T34" fmla="*/ 6 w 54"/>
                <a:gd name="T35" fmla="*/ 19 h 76"/>
                <a:gd name="T36" fmla="*/ 9 w 54"/>
                <a:gd name="T37" fmla="*/ 21 h 76"/>
                <a:gd name="T38" fmla="*/ 9 w 54"/>
                <a:gd name="T39" fmla="*/ 25 h 76"/>
                <a:gd name="T40" fmla="*/ 4 w 54"/>
                <a:gd name="T41" fmla="*/ 24 h 76"/>
                <a:gd name="T42" fmla="*/ 1 w 54"/>
                <a:gd name="T43" fmla="*/ 24 h 76"/>
                <a:gd name="T44" fmla="*/ 6 w 54"/>
                <a:gd name="T45" fmla="*/ 27 h 76"/>
                <a:gd name="T46" fmla="*/ 9 w 54"/>
                <a:gd name="T47" fmla="*/ 30 h 76"/>
                <a:gd name="T48" fmla="*/ 12 w 54"/>
                <a:gd name="T49" fmla="*/ 35 h 76"/>
                <a:gd name="T50" fmla="*/ 15 w 54"/>
                <a:gd name="T51" fmla="*/ 38 h 76"/>
                <a:gd name="T52" fmla="*/ 15 w 54"/>
                <a:gd name="T53" fmla="*/ 41 h 76"/>
                <a:gd name="T54" fmla="*/ 12 w 54"/>
                <a:gd name="T55" fmla="*/ 48 h 76"/>
                <a:gd name="T56" fmla="*/ 15 w 54"/>
                <a:gd name="T57" fmla="*/ 52 h 76"/>
                <a:gd name="T58" fmla="*/ 17 w 54"/>
                <a:gd name="T59" fmla="*/ 56 h 76"/>
                <a:gd name="T60" fmla="*/ 15 w 54"/>
                <a:gd name="T61" fmla="*/ 57 h 76"/>
                <a:gd name="T62" fmla="*/ 20 w 54"/>
                <a:gd name="T63" fmla="*/ 62 h 76"/>
                <a:gd name="T64" fmla="*/ 25 w 54"/>
                <a:gd name="T65" fmla="*/ 57 h 76"/>
                <a:gd name="T66" fmla="*/ 28 w 54"/>
                <a:gd name="T67" fmla="*/ 57 h 76"/>
                <a:gd name="T68" fmla="*/ 33 w 54"/>
                <a:gd name="T69" fmla="*/ 54 h 76"/>
                <a:gd name="T70" fmla="*/ 33 w 54"/>
                <a:gd name="T71" fmla="*/ 51 h 76"/>
                <a:gd name="T72" fmla="*/ 36 w 54"/>
                <a:gd name="T73" fmla="*/ 51 h 76"/>
                <a:gd name="T74" fmla="*/ 41 w 54"/>
                <a:gd name="T75" fmla="*/ 54 h 76"/>
                <a:gd name="T76" fmla="*/ 41 w 54"/>
                <a:gd name="T77" fmla="*/ 49 h 76"/>
                <a:gd name="T78" fmla="*/ 44 w 54"/>
                <a:gd name="T79" fmla="*/ 49 h 76"/>
                <a:gd name="T80" fmla="*/ 47 w 54"/>
                <a:gd name="T81" fmla="*/ 46 h 76"/>
                <a:gd name="T82" fmla="*/ 47 w 54"/>
                <a:gd name="T83" fmla="*/ 35 h 76"/>
                <a:gd name="T84" fmla="*/ 44 w 54"/>
                <a:gd name="T85" fmla="*/ 35 h 76"/>
                <a:gd name="T86" fmla="*/ 44 w 54"/>
                <a:gd name="T87" fmla="*/ 35 h 76"/>
                <a:gd name="T88" fmla="*/ 44 w 54"/>
                <a:gd name="T89" fmla="*/ 35 h 76"/>
                <a:gd name="T90" fmla="*/ 54 w 54"/>
                <a:gd name="T91" fmla="*/ 60 h 76"/>
                <a:gd name="T92" fmla="*/ 52 w 54"/>
                <a:gd name="T93" fmla="*/ 57 h 76"/>
                <a:gd name="T94" fmla="*/ 52 w 54"/>
                <a:gd name="T95" fmla="*/ 57 h 76"/>
                <a:gd name="T96" fmla="*/ 52 w 54"/>
                <a:gd name="T97" fmla="*/ 57 h 76"/>
                <a:gd name="T98" fmla="*/ 4 w 54"/>
                <a:gd name="T99" fmla="*/ 22 h 76"/>
                <a:gd name="T100" fmla="*/ 4 w 54"/>
                <a:gd name="T101" fmla="*/ 22 h 76"/>
                <a:gd name="T102" fmla="*/ 4 w 54"/>
                <a:gd name="T103" fmla="*/ 22 h 76"/>
                <a:gd name="T104" fmla="*/ 4 w 54"/>
                <a:gd name="T105"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76">
                  <a:moveTo>
                    <a:pt x="23" y="73"/>
                  </a:moveTo>
                  <a:lnTo>
                    <a:pt x="22" y="76"/>
                  </a:lnTo>
                  <a:lnTo>
                    <a:pt x="22" y="76"/>
                  </a:lnTo>
                  <a:lnTo>
                    <a:pt x="25" y="76"/>
                  </a:lnTo>
                  <a:lnTo>
                    <a:pt x="28" y="76"/>
                  </a:lnTo>
                  <a:lnTo>
                    <a:pt x="30" y="73"/>
                  </a:lnTo>
                  <a:lnTo>
                    <a:pt x="30" y="73"/>
                  </a:lnTo>
                  <a:lnTo>
                    <a:pt x="28" y="73"/>
                  </a:lnTo>
                  <a:lnTo>
                    <a:pt x="23" y="73"/>
                  </a:lnTo>
                  <a:lnTo>
                    <a:pt x="23" y="73"/>
                  </a:lnTo>
                  <a:lnTo>
                    <a:pt x="23" y="73"/>
                  </a:lnTo>
                  <a:lnTo>
                    <a:pt x="23" y="73"/>
                  </a:lnTo>
                  <a:lnTo>
                    <a:pt x="23" y="73"/>
                  </a:lnTo>
                  <a:lnTo>
                    <a:pt x="23" y="73"/>
                  </a:lnTo>
                  <a:lnTo>
                    <a:pt x="23" y="73"/>
                  </a:lnTo>
                  <a:lnTo>
                    <a:pt x="23" y="73"/>
                  </a:lnTo>
                  <a:lnTo>
                    <a:pt x="23" y="73"/>
                  </a:lnTo>
                  <a:close/>
                  <a:moveTo>
                    <a:pt x="28" y="59"/>
                  </a:moveTo>
                  <a:lnTo>
                    <a:pt x="30" y="59"/>
                  </a:lnTo>
                  <a:lnTo>
                    <a:pt x="28" y="57"/>
                  </a:lnTo>
                  <a:lnTo>
                    <a:pt x="27" y="57"/>
                  </a:lnTo>
                  <a:lnTo>
                    <a:pt x="28" y="59"/>
                  </a:lnTo>
                  <a:lnTo>
                    <a:pt x="28" y="59"/>
                  </a:lnTo>
                  <a:lnTo>
                    <a:pt x="28" y="59"/>
                  </a:lnTo>
                  <a:lnTo>
                    <a:pt x="28" y="59"/>
                  </a:lnTo>
                  <a:lnTo>
                    <a:pt x="28" y="59"/>
                  </a:lnTo>
                  <a:lnTo>
                    <a:pt x="28" y="59"/>
                  </a:lnTo>
                  <a:lnTo>
                    <a:pt x="28" y="59"/>
                  </a:lnTo>
                  <a:lnTo>
                    <a:pt x="28" y="59"/>
                  </a:lnTo>
                  <a:lnTo>
                    <a:pt x="28" y="59"/>
                  </a:lnTo>
                  <a:close/>
                  <a:moveTo>
                    <a:pt x="44" y="35"/>
                  </a:moveTo>
                  <a:lnTo>
                    <a:pt x="44" y="35"/>
                  </a:lnTo>
                  <a:lnTo>
                    <a:pt x="41" y="32"/>
                  </a:lnTo>
                  <a:lnTo>
                    <a:pt x="41" y="25"/>
                  </a:lnTo>
                  <a:lnTo>
                    <a:pt x="38" y="21"/>
                  </a:lnTo>
                  <a:lnTo>
                    <a:pt x="34" y="16"/>
                  </a:lnTo>
                  <a:lnTo>
                    <a:pt x="28" y="9"/>
                  </a:lnTo>
                  <a:lnTo>
                    <a:pt x="22" y="3"/>
                  </a:lnTo>
                  <a:lnTo>
                    <a:pt x="15" y="0"/>
                  </a:lnTo>
                  <a:lnTo>
                    <a:pt x="15" y="0"/>
                  </a:lnTo>
                  <a:lnTo>
                    <a:pt x="15" y="3"/>
                  </a:lnTo>
                  <a:lnTo>
                    <a:pt x="15" y="3"/>
                  </a:lnTo>
                  <a:lnTo>
                    <a:pt x="9" y="3"/>
                  </a:lnTo>
                  <a:lnTo>
                    <a:pt x="6" y="3"/>
                  </a:lnTo>
                  <a:lnTo>
                    <a:pt x="4" y="3"/>
                  </a:lnTo>
                  <a:lnTo>
                    <a:pt x="3" y="6"/>
                  </a:lnTo>
                  <a:lnTo>
                    <a:pt x="1" y="8"/>
                  </a:lnTo>
                  <a:lnTo>
                    <a:pt x="1" y="9"/>
                  </a:lnTo>
                  <a:lnTo>
                    <a:pt x="1" y="11"/>
                  </a:lnTo>
                  <a:lnTo>
                    <a:pt x="0" y="11"/>
                  </a:lnTo>
                  <a:lnTo>
                    <a:pt x="3" y="13"/>
                  </a:lnTo>
                  <a:lnTo>
                    <a:pt x="3" y="16"/>
                  </a:lnTo>
                  <a:lnTo>
                    <a:pt x="6" y="17"/>
                  </a:lnTo>
                  <a:lnTo>
                    <a:pt x="6" y="19"/>
                  </a:lnTo>
                  <a:lnTo>
                    <a:pt x="6" y="21"/>
                  </a:lnTo>
                  <a:lnTo>
                    <a:pt x="6" y="21"/>
                  </a:lnTo>
                  <a:lnTo>
                    <a:pt x="9" y="21"/>
                  </a:lnTo>
                  <a:lnTo>
                    <a:pt x="9" y="22"/>
                  </a:lnTo>
                  <a:lnTo>
                    <a:pt x="9" y="24"/>
                  </a:lnTo>
                  <a:lnTo>
                    <a:pt x="9" y="25"/>
                  </a:lnTo>
                  <a:lnTo>
                    <a:pt x="6" y="24"/>
                  </a:lnTo>
                  <a:lnTo>
                    <a:pt x="4" y="22"/>
                  </a:lnTo>
                  <a:lnTo>
                    <a:pt x="4" y="24"/>
                  </a:lnTo>
                  <a:lnTo>
                    <a:pt x="3" y="22"/>
                  </a:lnTo>
                  <a:lnTo>
                    <a:pt x="3" y="24"/>
                  </a:lnTo>
                  <a:lnTo>
                    <a:pt x="1" y="24"/>
                  </a:lnTo>
                  <a:lnTo>
                    <a:pt x="3" y="27"/>
                  </a:lnTo>
                  <a:lnTo>
                    <a:pt x="4" y="27"/>
                  </a:lnTo>
                  <a:lnTo>
                    <a:pt x="6" y="27"/>
                  </a:lnTo>
                  <a:lnTo>
                    <a:pt x="6" y="29"/>
                  </a:lnTo>
                  <a:lnTo>
                    <a:pt x="6" y="30"/>
                  </a:lnTo>
                  <a:lnTo>
                    <a:pt x="9" y="30"/>
                  </a:lnTo>
                  <a:lnTo>
                    <a:pt x="9" y="32"/>
                  </a:lnTo>
                  <a:lnTo>
                    <a:pt x="9" y="35"/>
                  </a:lnTo>
                  <a:lnTo>
                    <a:pt x="12" y="35"/>
                  </a:lnTo>
                  <a:lnTo>
                    <a:pt x="15" y="35"/>
                  </a:lnTo>
                  <a:lnTo>
                    <a:pt x="12" y="38"/>
                  </a:lnTo>
                  <a:lnTo>
                    <a:pt x="15" y="38"/>
                  </a:lnTo>
                  <a:lnTo>
                    <a:pt x="12" y="41"/>
                  </a:lnTo>
                  <a:lnTo>
                    <a:pt x="12" y="41"/>
                  </a:lnTo>
                  <a:lnTo>
                    <a:pt x="15" y="41"/>
                  </a:lnTo>
                  <a:lnTo>
                    <a:pt x="12" y="43"/>
                  </a:lnTo>
                  <a:lnTo>
                    <a:pt x="12" y="46"/>
                  </a:lnTo>
                  <a:lnTo>
                    <a:pt x="12" y="48"/>
                  </a:lnTo>
                  <a:lnTo>
                    <a:pt x="15" y="49"/>
                  </a:lnTo>
                  <a:lnTo>
                    <a:pt x="12" y="49"/>
                  </a:lnTo>
                  <a:lnTo>
                    <a:pt x="15" y="52"/>
                  </a:lnTo>
                  <a:lnTo>
                    <a:pt x="15" y="54"/>
                  </a:lnTo>
                  <a:lnTo>
                    <a:pt x="19" y="56"/>
                  </a:lnTo>
                  <a:lnTo>
                    <a:pt x="17" y="56"/>
                  </a:lnTo>
                  <a:lnTo>
                    <a:pt x="17" y="57"/>
                  </a:lnTo>
                  <a:lnTo>
                    <a:pt x="15" y="56"/>
                  </a:lnTo>
                  <a:lnTo>
                    <a:pt x="15" y="57"/>
                  </a:lnTo>
                  <a:lnTo>
                    <a:pt x="19" y="59"/>
                  </a:lnTo>
                  <a:lnTo>
                    <a:pt x="19" y="60"/>
                  </a:lnTo>
                  <a:lnTo>
                    <a:pt x="20" y="62"/>
                  </a:lnTo>
                  <a:lnTo>
                    <a:pt x="22" y="57"/>
                  </a:lnTo>
                  <a:lnTo>
                    <a:pt x="23" y="60"/>
                  </a:lnTo>
                  <a:lnTo>
                    <a:pt x="25" y="57"/>
                  </a:lnTo>
                  <a:lnTo>
                    <a:pt x="27" y="54"/>
                  </a:lnTo>
                  <a:lnTo>
                    <a:pt x="28" y="56"/>
                  </a:lnTo>
                  <a:lnTo>
                    <a:pt x="28" y="57"/>
                  </a:lnTo>
                  <a:lnTo>
                    <a:pt x="31" y="57"/>
                  </a:lnTo>
                  <a:lnTo>
                    <a:pt x="33" y="56"/>
                  </a:lnTo>
                  <a:lnTo>
                    <a:pt x="33" y="54"/>
                  </a:lnTo>
                  <a:lnTo>
                    <a:pt x="30" y="52"/>
                  </a:lnTo>
                  <a:lnTo>
                    <a:pt x="31" y="52"/>
                  </a:lnTo>
                  <a:lnTo>
                    <a:pt x="33" y="51"/>
                  </a:lnTo>
                  <a:lnTo>
                    <a:pt x="34" y="51"/>
                  </a:lnTo>
                  <a:lnTo>
                    <a:pt x="34" y="49"/>
                  </a:lnTo>
                  <a:lnTo>
                    <a:pt x="36" y="51"/>
                  </a:lnTo>
                  <a:lnTo>
                    <a:pt x="38" y="52"/>
                  </a:lnTo>
                  <a:lnTo>
                    <a:pt x="38" y="52"/>
                  </a:lnTo>
                  <a:lnTo>
                    <a:pt x="41" y="54"/>
                  </a:lnTo>
                  <a:lnTo>
                    <a:pt x="41" y="51"/>
                  </a:lnTo>
                  <a:lnTo>
                    <a:pt x="38" y="51"/>
                  </a:lnTo>
                  <a:lnTo>
                    <a:pt x="41" y="49"/>
                  </a:lnTo>
                  <a:lnTo>
                    <a:pt x="41" y="48"/>
                  </a:lnTo>
                  <a:lnTo>
                    <a:pt x="44" y="49"/>
                  </a:lnTo>
                  <a:lnTo>
                    <a:pt x="44" y="49"/>
                  </a:lnTo>
                  <a:lnTo>
                    <a:pt x="44" y="51"/>
                  </a:lnTo>
                  <a:lnTo>
                    <a:pt x="47" y="49"/>
                  </a:lnTo>
                  <a:lnTo>
                    <a:pt x="47" y="46"/>
                  </a:lnTo>
                  <a:lnTo>
                    <a:pt x="47" y="43"/>
                  </a:lnTo>
                  <a:lnTo>
                    <a:pt x="47" y="41"/>
                  </a:lnTo>
                  <a:lnTo>
                    <a:pt x="47" y="35"/>
                  </a:lnTo>
                  <a:lnTo>
                    <a:pt x="44" y="35"/>
                  </a:lnTo>
                  <a:lnTo>
                    <a:pt x="44" y="35"/>
                  </a:lnTo>
                  <a:lnTo>
                    <a:pt x="44" y="35"/>
                  </a:lnTo>
                  <a:lnTo>
                    <a:pt x="44" y="35"/>
                  </a:lnTo>
                  <a:lnTo>
                    <a:pt x="44" y="35"/>
                  </a:lnTo>
                  <a:lnTo>
                    <a:pt x="44" y="35"/>
                  </a:lnTo>
                  <a:lnTo>
                    <a:pt x="44" y="35"/>
                  </a:lnTo>
                  <a:lnTo>
                    <a:pt x="44" y="35"/>
                  </a:lnTo>
                  <a:lnTo>
                    <a:pt x="44" y="35"/>
                  </a:lnTo>
                  <a:close/>
                  <a:moveTo>
                    <a:pt x="52" y="57"/>
                  </a:moveTo>
                  <a:lnTo>
                    <a:pt x="52" y="59"/>
                  </a:lnTo>
                  <a:lnTo>
                    <a:pt x="54" y="60"/>
                  </a:lnTo>
                  <a:lnTo>
                    <a:pt x="54" y="59"/>
                  </a:lnTo>
                  <a:lnTo>
                    <a:pt x="54" y="56"/>
                  </a:lnTo>
                  <a:lnTo>
                    <a:pt x="52" y="57"/>
                  </a:lnTo>
                  <a:lnTo>
                    <a:pt x="52" y="57"/>
                  </a:lnTo>
                  <a:lnTo>
                    <a:pt x="52" y="57"/>
                  </a:lnTo>
                  <a:lnTo>
                    <a:pt x="52" y="57"/>
                  </a:lnTo>
                  <a:lnTo>
                    <a:pt x="52" y="57"/>
                  </a:lnTo>
                  <a:lnTo>
                    <a:pt x="52" y="57"/>
                  </a:lnTo>
                  <a:lnTo>
                    <a:pt x="52" y="57"/>
                  </a:lnTo>
                  <a:lnTo>
                    <a:pt x="52" y="57"/>
                  </a:lnTo>
                  <a:lnTo>
                    <a:pt x="52" y="57"/>
                  </a:lnTo>
                  <a:close/>
                  <a:moveTo>
                    <a:pt x="4" y="22"/>
                  </a:moveTo>
                  <a:lnTo>
                    <a:pt x="4" y="22"/>
                  </a:lnTo>
                  <a:lnTo>
                    <a:pt x="6" y="22"/>
                  </a:lnTo>
                  <a:lnTo>
                    <a:pt x="4" y="22"/>
                  </a:lnTo>
                  <a:lnTo>
                    <a:pt x="4" y="22"/>
                  </a:lnTo>
                  <a:lnTo>
                    <a:pt x="4" y="22"/>
                  </a:lnTo>
                  <a:lnTo>
                    <a:pt x="4" y="22"/>
                  </a:lnTo>
                  <a:lnTo>
                    <a:pt x="4" y="22"/>
                  </a:lnTo>
                  <a:lnTo>
                    <a:pt x="4" y="22"/>
                  </a:lnTo>
                  <a:lnTo>
                    <a:pt x="4" y="22"/>
                  </a:lnTo>
                  <a:lnTo>
                    <a:pt x="4" y="22"/>
                  </a:lnTo>
                  <a:lnTo>
                    <a:pt x="4" y="2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3" name="Freeform 289">
              <a:extLst>
                <a:ext uri="{FF2B5EF4-FFF2-40B4-BE49-F238E27FC236}">
                  <a16:creationId xmlns:a16="http://schemas.microsoft.com/office/drawing/2014/main" id="{34B58431-A594-261F-3A9C-D777A221E319}"/>
                </a:ext>
              </a:extLst>
            </p:cNvPr>
            <p:cNvSpPr>
              <a:spLocks/>
            </p:cNvSpPr>
            <p:nvPr/>
          </p:nvSpPr>
          <p:spPr bwMode="auto">
            <a:xfrm>
              <a:off x="9064242" y="2641134"/>
              <a:ext cx="127856" cy="168231"/>
            </a:xfrm>
            <a:custGeom>
              <a:avLst/>
              <a:gdLst>
                <a:gd name="T0" fmla="*/ 44 w 57"/>
                <a:gd name="T1" fmla="*/ 67 h 75"/>
                <a:gd name="T2" fmla="*/ 49 w 57"/>
                <a:gd name="T3" fmla="*/ 67 h 75"/>
                <a:gd name="T4" fmla="*/ 55 w 57"/>
                <a:gd name="T5" fmla="*/ 67 h 75"/>
                <a:gd name="T6" fmla="*/ 55 w 57"/>
                <a:gd name="T7" fmla="*/ 61 h 75"/>
                <a:gd name="T8" fmla="*/ 46 w 57"/>
                <a:gd name="T9" fmla="*/ 56 h 75"/>
                <a:gd name="T10" fmla="*/ 41 w 57"/>
                <a:gd name="T11" fmla="*/ 54 h 75"/>
                <a:gd name="T12" fmla="*/ 41 w 57"/>
                <a:gd name="T13" fmla="*/ 51 h 75"/>
                <a:gd name="T14" fmla="*/ 40 w 57"/>
                <a:gd name="T15" fmla="*/ 50 h 75"/>
                <a:gd name="T16" fmla="*/ 41 w 57"/>
                <a:gd name="T17" fmla="*/ 46 h 75"/>
                <a:gd name="T18" fmla="*/ 46 w 57"/>
                <a:gd name="T19" fmla="*/ 43 h 75"/>
                <a:gd name="T20" fmla="*/ 52 w 57"/>
                <a:gd name="T21" fmla="*/ 37 h 75"/>
                <a:gd name="T22" fmla="*/ 52 w 57"/>
                <a:gd name="T23" fmla="*/ 32 h 75"/>
                <a:gd name="T24" fmla="*/ 55 w 57"/>
                <a:gd name="T25" fmla="*/ 31 h 75"/>
                <a:gd name="T26" fmla="*/ 55 w 57"/>
                <a:gd name="T27" fmla="*/ 26 h 75"/>
                <a:gd name="T28" fmla="*/ 52 w 57"/>
                <a:gd name="T29" fmla="*/ 16 h 75"/>
                <a:gd name="T30" fmla="*/ 55 w 57"/>
                <a:gd name="T31" fmla="*/ 12 h 75"/>
                <a:gd name="T32" fmla="*/ 57 w 57"/>
                <a:gd name="T33" fmla="*/ 12 h 75"/>
                <a:gd name="T34" fmla="*/ 49 w 57"/>
                <a:gd name="T35" fmla="*/ 5 h 75"/>
                <a:gd name="T36" fmla="*/ 46 w 57"/>
                <a:gd name="T37" fmla="*/ 2 h 75"/>
                <a:gd name="T38" fmla="*/ 44 w 57"/>
                <a:gd name="T39" fmla="*/ 5 h 75"/>
                <a:gd name="T40" fmla="*/ 44 w 57"/>
                <a:gd name="T41" fmla="*/ 8 h 75"/>
                <a:gd name="T42" fmla="*/ 40 w 57"/>
                <a:gd name="T43" fmla="*/ 8 h 75"/>
                <a:gd name="T44" fmla="*/ 40 w 57"/>
                <a:gd name="T45" fmla="*/ 15 h 75"/>
                <a:gd name="T46" fmla="*/ 28 w 57"/>
                <a:gd name="T47" fmla="*/ 15 h 75"/>
                <a:gd name="T48" fmla="*/ 33 w 57"/>
                <a:gd name="T49" fmla="*/ 19 h 75"/>
                <a:gd name="T50" fmla="*/ 35 w 57"/>
                <a:gd name="T51" fmla="*/ 23 h 75"/>
                <a:gd name="T52" fmla="*/ 32 w 57"/>
                <a:gd name="T53" fmla="*/ 23 h 75"/>
                <a:gd name="T54" fmla="*/ 22 w 57"/>
                <a:gd name="T55" fmla="*/ 21 h 75"/>
                <a:gd name="T56" fmla="*/ 17 w 57"/>
                <a:gd name="T57" fmla="*/ 18 h 75"/>
                <a:gd name="T58" fmla="*/ 14 w 57"/>
                <a:gd name="T59" fmla="*/ 19 h 75"/>
                <a:gd name="T60" fmla="*/ 14 w 57"/>
                <a:gd name="T61" fmla="*/ 27 h 75"/>
                <a:gd name="T62" fmla="*/ 13 w 57"/>
                <a:gd name="T63" fmla="*/ 31 h 75"/>
                <a:gd name="T64" fmla="*/ 9 w 57"/>
                <a:gd name="T65" fmla="*/ 32 h 75"/>
                <a:gd name="T66" fmla="*/ 8 w 57"/>
                <a:gd name="T67" fmla="*/ 34 h 75"/>
                <a:gd name="T68" fmla="*/ 5 w 57"/>
                <a:gd name="T69" fmla="*/ 37 h 75"/>
                <a:gd name="T70" fmla="*/ 1 w 57"/>
                <a:gd name="T71" fmla="*/ 37 h 75"/>
                <a:gd name="T72" fmla="*/ 0 w 57"/>
                <a:gd name="T73" fmla="*/ 43 h 75"/>
                <a:gd name="T74" fmla="*/ 1 w 57"/>
                <a:gd name="T75" fmla="*/ 45 h 75"/>
                <a:gd name="T76" fmla="*/ 5 w 57"/>
                <a:gd name="T77" fmla="*/ 46 h 75"/>
                <a:gd name="T78" fmla="*/ 6 w 57"/>
                <a:gd name="T79" fmla="*/ 46 h 75"/>
                <a:gd name="T80" fmla="*/ 14 w 57"/>
                <a:gd name="T81" fmla="*/ 50 h 75"/>
                <a:gd name="T82" fmla="*/ 16 w 57"/>
                <a:gd name="T83" fmla="*/ 51 h 75"/>
                <a:gd name="T84" fmla="*/ 17 w 57"/>
                <a:gd name="T85" fmla="*/ 59 h 75"/>
                <a:gd name="T86" fmla="*/ 21 w 57"/>
                <a:gd name="T87" fmla="*/ 61 h 75"/>
                <a:gd name="T88" fmla="*/ 25 w 57"/>
                <a:gd name="T89" fmla="*/ 64 h 75"/>
                <a:gd name="T90" fmla="*/ 19 w 57"/>
                <a:gd name="T91" fmla="*/ 64 h 75"/>
                <a:gd name="T92" fmla="*/ 17 w 57"/>
                <a:gd name="T93" fmla="*/ 64 h 75"/>
                <a:gd name="T94" fmla="*/ 17 w 57"/>
                <a:gd name="T95" fmla="*/ 67 h 75"/>
                <a:gd name="T96" fmla="*/ 21 w 57"/>
                <a:gd name="T97" fmla="*/ 70 h 75"/>
                <a:gd name="T98" fmla="*/ 22 w 57"/>
                <a:gd name="T99" fmla="*/ 70 h 75"/>
                <a:gd name="T100" fmla="*/ 22 w 57"/>
                <a:gd name="T101" fmla="*/ 73 h 75"/>
                <a:gd name="T102" fmla="*/ 25 w 57"/>
                <a:gd name="T103" fmla="*/ 73 h 75"/>
                <a:gd name="T104" fmla="*/ 28 w 57"/>
                <a:gd name="T105" fmla="*/ 73 h 75"/>
                <a:gd name="T106" fmla="*/ 32 w 57"/>
                <a:gd name="T107" fmla="*/ 73 h 75"/>
                <a:gd name="T108" fmla="*/ 35 w 57"/>
                <a:gd name="T109" fmla="*/ 73 h 75"/>
                <a:gd name="T110" fmla="*/ 40 w 57"/>
                <a:gd name="T111" fmla="*/ 73 h 75"/>
                <a:gd name="T112" fmla="*/ 41 w 57"/>
                <a:gd name="T113" fmla="*/ 72 h 75"/>
                <a:gd name="T114" fmla="*/ 43 w 57"/>
                <a:gd name="T115" fmla="*/ 70 h 75"/>
                <a:gd name="T116" fmla="*/ 43 w 57"/>
                <a:gd name="T117" fmla="*/ 70 h 75"/>
                <a:gd name="T118" fmla="*/ 43 w 57"/>
                <a:gd name="T119" fmla="*/ 70 h 75"/>
                <a:gd name="T120" fmla="*/ 43 w 57"/>
                <a:gd name="T121"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75">
                  <a:moveTo>
                    <a:pt x="43" y="70"/>
                  </a:moveTo>
                  <a:lnTo>
                    <a:pt x="44" y="67"/>
                  </a:lnTo>
                  <a:lnTo>
                    <a:pt x="46" y="67"/>
                  </a:lnTo>
                  <a:lnTo>
                    <a:pt x="49" y="67"/>
                  </a:lnTo>
                  <a:lnTo>
                    <a:pt x="55" y="67"/>
                  </a:lnTo>
                  <a:lnTo>
                    <a:pt x="55" y="67"/>
                  </a:lnTo>
                  <a:lnTo>
                    <a:pt x="55" y="64"/>
                  </a:lnTo>
                  <a:lnTo>
                    <a:pt x="55" y="61"/>
                  </a:lnTo>
                  <a:lnTo>
                    <a:pt x="52" y="59"/>
                  </a:lnTo>
                  <a:lnTo>
                    <a:pt x="46" y="56"/>
                  </a:lnTo>
                  <a:lnTo>
                    <a:pt x="43" y="54"/>
                  </a:lnTo>
                  <a:lnTo>
                    <a:pt x="41" y="54"/>
                  </a:lnTo>
                  <a:lnTo>
                    <a:pt x="40" y="53"/>
                  </a:lnTo>
                  <a:lnTo>
                    <a:pt x="41" y="51"/>
                  </a:lnTo>
                  <a:lnTo>
                    <a:pt x="41" y="50"/>
                  </a:lnTo>
                  <a:lnTo>
                    <a:pt x="40" y="50"/>
                  </a:lnTo>
                  <a:lnTo>
                    <a:pt x="40" y="46"/>
                  </a:lnTo>
                  <a:lnTo>
                    <a:pt x="41" y="46"/>
                  </a:lnTo>
                  <a:lnTo>
                    <a:pt x="43" y="43"/>
                  </a:lnTo>
                  <a:lnTo>
                    <a:pt x="46" y="43"/>
                  </a:lnTo>
                  <a:lnTo>
                    <a:pt x="49" y="40"/>
                  </a:lnTo>
                  <a:lnTo>
                    <a:pt x="52" y="37"/>
                  </a:lnTo>
                  <a:lnTo>
                    <a:pt x="52" y="34"/>
                  </a:lnTo>
                  <a:lnTo>
                    <a:pt x="52" y="32"/>
                  </a:lnTo>
                  <a:lnTo>
                    <a:pt x="55" y="32"/>
                  </a:lnTo>
                  <a:lnTo>
                    <a:pt x="55" y="31"/>
                  </a:lnTo>
                  <a:lnTo>
                    <a:pt x="55" y="29"/>
                  </a:lnTo>
                  <a:lnTo>
                    <a:pt x="55" y="26"/>
                  </a:lnTo>
                  <a:lnTo>
                    <a:pt x="49" y="19"/>
                  </a:lnTo>
                  <a:lnTo>
                    <a:pt x="52" y="16"/>
                  </a:lnTo>
                  <a:lnTo>
                    <a:pt x="52" y="12"/>
                  </a:lnTo>
                  <a:lnTo>
                    <a:pt x="55" y="12"/>
                  </a:lnTo>
                  <a:lnTo>
                    <a:pt x="55" y="12"/>
                  </a:lnTo>
                  <a:lnTo>
                    <a:pt x="57" y="12"/>
                  </a:lnTo>
                  <a:lnTo>
                    <a:pt x="52" y="8"/>
                  </a:lnTo>
                  <a:lnTo>
                    <a:pt x="49" y="5"/>
                  </a:lnTo>
                  <a:lnTo>
                    <a:pt x="49" y="4"/>
                  </a:lnTo>
                  <a:lnTo>
                    <a:pt x="46" y="2"/>
                  </a:lnTo>
                  <a:lnTo>
                    <a:pt x="43" y="0"/>
                  </a:lnTo>
                  <a:lnTo>
                    <a:pt x="44" y="5"/>
                  </a:lnTo>
                  <a:lnTo>
                    <a:pt x="44" y="8"/>
                  </a:lnTo>
                  <a:lnTo>
                    <a:pt x="44" y="8"/>
                  </a:lnTo>
                  <a:lnTo>
                    <a:pt x="41" y="8"/>
                  </a:lnTo>
                  <a:lnTo>
                    <a:pt x="40" y="8"/>
                  </a:lnTo>
                  <a:lnTo>
                    <a:pt x="40" y="12"/>
                  </a:lnTo>
                  <a:lnTo>
                    <a:pt x="40" y="15"/>
                  </a:lnTo>
                  <a:lnTo>
                    <a:pt x="36" y="15"/>
                  </a:lnTo>
                  <a:lnTo>
                    <a:pt x="28" y="15"/>
                  </a:lnTo>
                  <a:lnTo>
                    <a:pt x="32" y="18"/>
                  </a:lnTo>
                  <a:lnTo>
                    <a:pt x="33" y="19"/>
                  </a:lnTo>
                  <a:lnTo>
                    <a:pt x="35" y="21"/>
                  </a:lnTo>
                  <a:lnTo>
                    <a:pt x="35" y="23"/>
                  </a:lnTo>
                  <a:lnTo>
                    <a:pt x="33" y="23"/>
                  </a:lnTo>
                  <a:lnTo>
                    <a:pt x="32" y="23"/>
                  </a:lnTo>
                  <a:lnTo>
                    <a:pt x="25" y="23"/>
                  </a:lnTo>
                  <a:lnTo>
                    <a:pt x="22" y="21"/>
                  </a:lnTo>
                  <a:lnTo>
                    <a:pt x="19" y="18"/>
                  </a:lnTo>
                  <a:lnTo>
                    <a:pt x="17" y="18"/>
                  </a:lnTo>
                  <a:lnTo>
                    <a:pt x="16" y="18"/>
                  </a:lnTo>
                  <a:lnTo>
                    <a:pt x="14" y="19"/>
                  </a:lnTo>
                  <a:lnTo>
                    <a:pt x="14" y="23"/>
                  </a:lnTo>
                  <a:lnTo>
                    <a:pt x="14" y="27"/>
                  </a:lnTo>
                  <a:lnTo>
                    <a:pt x="14" y="29"/>
                  </a:lnTo>
                  <a:lnTo>
                    <a:pt x="13" y="31"/>
                  </a:lnTo>
                  <a:lnTo>
                    <a:pt x="11" y="31"/>
                  </a:lnTo>
                  <a:lnTo>
                    <a:pt x="9" y="32"/>
                  </a:lnTo>
                  <a:lnTo>
                    <a:pt x="9" y="34"/>
                  </a:lnTo>
                  <a:lnTo>
                    <a:pt x="8" y="34"/>
                  </a:lnTo>
                  <a:lnTo>
                    <a:pt x="5" y="35"/>
                  </a:lnTo>
                  <a:lnTo>
                    <a:pt x="5" y="37"/>
                  </a:lnTo>
                  <a:lnTo>
                    <a:pt x="3" y="37"/>
                  </a:lnTo>
                  <a:lnTo>
                    <a:pt x="1" y="37"/>
                  </a:lnTo>
                  <a:lnTo>
                    <a:pt x="0" y="43"/>
                  </a:lnTo>
                  <a:lnTo>
                    <a:pt x="0" y="43"/>
                  </a:lnTo>
                  <a:lnTo>
                    <a:pt x="0" y="43"/>
                  </a:lnTo>
                  <a:lnTo>
                    <a:pt x="1" y="45"/>
                  </a:lnTo>
                  <a:lnTo>
                    <a:pt x="3" y="46"/>
                  </a:lnTo>
                  <a:lnTo>
                    <a:pt x="5" y="46"/>
                  </a:lnTo>
                  <a:lnTo>
                    <a:pt x="6" y="50"/>
                  </a:lnTo>
                  <a:lnTo>
                    <a:pt x="6" y="46"/>
                  </a:lnTo>
                  <a:lnTo>
                    <a:pt x="11" y="50"/>
                  </a:lnTo>
                  <a:lnTo>
                    <a:pt x="14" y="50"/>
                  </a:lnTo>
                  <a:lnTo>
                    <a:pt x="16" y="50"/>
                  </a:lnTo>
                  <a:lnTo>
                    <a:pt x="16" y="51"/>
                  </a:lnTo>
                  <a:lnTo>
                    <a:pt x="17" y="53"/>
                  </a:lnTo>
                  <a:lnTo>
                    <a:pt x="17" y="59"/>
                  </a:lnTo>
                  <a:lnTo>
                    <a:pt x="17" y="61"/>
                  </a:lnTo>
                  <a:lnTo>
                    <a:pt x="21" y="61"/>
                  </a:lnTo>
                  <a:lnTo>
                    <a:pt x="22" y="61"/>
                  </a:lnTo>
                  <a:lnTo>
                    <a:pt x="25" y="64"/>
                  </a:lnTo>
                  <a:lnTo>
                    <a:pt x="21" y="61"/>
                  </a:lnTo>
                  <a:lnTo>
                    <a:pt x="19" y="64"/>
                  </a:lnTo>
                  <a:lnTo>
                    <a:pt x="17" y="64"/>
                  </a:lnTo>
                  <a:lnTo>
                    <a:pt x="17" y="64"/>
                  </a:lnTo>
                  <a:lnTo>
                    <a:pt x="17" y="67"/>
                  </a:lnTo>
                  <a:lnTo>
                    <a:pt x="17" y="67"/>
                  </a:lnTo>
                  <a:lnTo>
                    <a:pt x="19" y="70"/>
                  </a:lnTo>
                  <a:lnTo>
                    <a:pt x="21" y="70"/>
                  </a:lnTo>
                  <a:lnTo>
                    <a:pt x="22" y="70"/>
                  </a:lnTo>
                  <a:lnTo>
                    <a:pt x="22" y="70"/>
                  </a:lnTo>
                  <a:lnTo>
                    <a:pt x="22" y="72"/>
                  </a:lnTo>
                  <a:lnTo>
                    <a:pt x="22" y="73"/>
                  </a:lnTo>
                  <a:lnTo>
                    <a:pt x="25" y="73"/>
                  </a:lnTo>
                  <a:lnTo>
                    <a:pt x="25" y="73"/>
                  </a:lnTo>
                  <a:lnTo>
                    <a:pt x="25" y="72"/>
                  </a:lnTo>
                  <a:lnTo>
                    <a:pt x="28" y="73"/>
                  </a:lnTo>
                  <a:lnTo>
                    <a:pt x="28" y="72"/>
                  </a:lnTo>
                  <a:lnTo>
                    <a:pt x="32" y="73"/>
                  </a:lnTo>
                  <a:lnTo>
                    <a:pt x="35" y="75"/>
                  </a:lnTo>
                  <a:lnTo>
                    <a:pt x="35" y="73"/>
                  </a:lnTo>
                  <a:lnTo>
                    <a:pt x="36" y="73"/>
                  </a:lnTo>
                  <a:lnTo>
                    <a:pt x="40" y="73"/>
                  </a:lnTo>
                  <a:lnTo>
                    <a:pt x="41" y="73"/>
                  </a:lnTo>
                  <a:lnTo>
                    <a:pt x="41" y="72"/>
                  </a:lnTo>
                  <a:lnTo>
                    <a:pt x="43" y="70"/>
                  </a:lnTo>
                  <a:lnTo>
                    <a:pt x="43" y="70"/>
                  </a:lnTo>
                  <a:lnTo>
                    <a:pt x="43" y="70"/>
                  </a:lnTo>
                  <a:lnTo>
                    <a:pt x="43" y="70"/>
                  </a:lnTo>
                  <a:lnTo>
                    <a:pt x="43" y="70"/>
                  </a:lnTo>
                  <a:lnTo>
                    <a:pt x="43" y="70"/>
                  </a:lnTo>
                  <a:lnTo>
                    <a:pt x="43" y="70"/>
                  </a:lnTo>
                  <a:lnTo>
                    <a:pt x="43" y="70"/>
                  </a:lnTo>
                  <a:lnTo>
                    <a:pt x="43" y="7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4" name="Freeform 293">
              <a:extLst>
                <a:ext uri="{FF2B5EF4-FFF2-40B4-BE49-F238E27FC236}">
                  <a16:creationId xmlns:a16="http://schemas.microsoft.com/office/drawing/2014/main" id="{8699CF81-9244-1DD5-3912-48C95F967E2C}"/>
                </a:ext>
              </a:extLst>
            </p:cNvPr>
            <p:cNvSpPr>
              <a:spLocks noEditPoints="1"/>
            </p:cNvSpPr>
            <p:nvPr/>
          </p:nvSpPr>
          <p:spPr bwMode="auto">
            <a:xfrm>
              <a:off x="7731859" y="2313645"/>
              <a:ext cx="1466968" cy="1126022"/>
            </a:xfrm>
            <a:custGeom>
              <a:avLst/>
              <a:gdLst>
                <a:gd name="T0" fmla="*/ 489 w 654"/>
                <a:gd name="T1" fmla="*/ 493 h 502"/>
                <a:gd name="T2" fmla="*/ 511 w 654"/>
                <a:gd name="T3" fmla="*/ 475 h 502"/>
                <a:gd name="T4" fmla="*/ 646 w 654"/>
                <a:gd name="T5" fmla="*/ 72 h 502"/>
                <a:gd name="T6" fmla="*/ 597 w 654"/>
                <a:gd name="T7" fmla="*/ 67 h 502"/>
                <a:gd name="T8" fmla="*/ 546 w 654"/>
                <a:gd name="T9" fmla="*/ 43 h 502"/>
                <a:gd name="T10" fmla="*/ 492 w 654"/>
                <a:gd name="T11" fmla="*/ 5 h 502"/>
                <a:gd name="T12" fmla="*/ 456 w 654"/>
                <a:gd name="T13" fmla="*/ 23 h 502"/>
                <a:gd name="T14" fmla="*/ 434 w 654"/>
                <a:gd name="T15" fmla="*/ 50 h 502"/>
                <a:gd name="T16" fmla="*/ 492 w 654"/>
                <a:gd name="T17" fmla="*/ 92 h 502"/>
                <a:gd name="T18" fmla="*/ 451 w 654"/>
                <a:gd name="T19" fmla="*/ 113 h 502"/>
                <a:gd name="T20" fmla="*/ 422 w 654"/>
                <a:gd name="T21" fmla="*/ 137 h 502"/>
                <a:gd name="T22" fmla="*/ 335 w 654"/>
                <a:gd name="T23" fmla="*/ 162 h 502"/>
                <a:gd name="T24" fmla="*/ 232 w 654"/>
                <a:gd name="T25" fmla="*/ 132 h 502"/>
                <a:gd name="T26" fmla="*/ 165 w 654"/>
                <a:gd name="T27" fmla="*/ 91 h 502"/>
                <a:gd name="T28" fmla="*/ 118 w 654"/>
                <a:gd name="T29" fmla="*/ 59 h 502"/>
                <a:gd name="T30" fmla="*/ 87 w 654"/>
                <a:gd name="T31" fmla="*/ 91 h 502"/>
                <a:gd name="T32" fmla="*/ 54 w 654"/>
                <a:gd name="T33" fmla="*/ 118 h 502"/>
                <a:gd name="T34" fmla="*/ 65 w 654"/>
                <a:gd name="T35" fmla="*/ 151 h 502"/>
                <a:gd name="T36" fmla="*/ 21 w 654"/>
                <a:gd name="T37" fmla="*/ 183 h 502"/>
                <a:gd name="T38" fmla="*/ 5 w 654"/>
                <a:gd name="T39" fmla="*/ 207 h 502"/>
                <a:gd name="T40" fmla="*/ 21 w 654"/>
                <a:gd name="T41" fmla="*/ 229 h 502"/>
                <a:gd name="T42" fmla="*/ 60 w 654"/>
                <a:gd name="T43" fmla="*/ 253 h 502"/>
                <a:gd name="T44" fmla="*/ 91 w 654"/>
                <a:gd name="T45" fmla="*/ 288 h 502"/>
                <a:gd name="T46" fmla="*/ 91 w 654"/>
                <a:gd name="T47" fmla="*/ 315 h 502"/>
                <a:gd name="T48" fmla="*/ 126 w 654"/>
                <a:gd name="T49" fmla="*/ 327 h 502"/>
                <a:gd name="T50" fmla="*/ 175 w 654"/>
                <a:gd name="T51" fmla="*/ 358 h 502"/>
                <a:gd name="T52" fmla="*/ 219 w 654"/>
                <a:gd name="T53" fmla="*/ 361 h 502"/>
                <a:gd name="T54" fmla="*/ 249 w 654"/>
                <a:gd name="T55" fmla="*/ 362 h 502"/>
                <a:gd name="T56" fmla="*/ 281 w 654"/>
                <a:gd name="T57" fmla="*/ 350 h 502"/>
                <a:gd name="T58" fmla="*/ 308 w 654"/>
                <a:gd name="T59" fmla="*/ 346 h 502"/>
                <a:gd name="T60" fmla="*/ 326 w 654"/>
                <a:gd name="T61" fmla="*/ 358 h 502"/>
                <a:gd name="T62" fmla="*/ 345 w 654"/>
                <a:gd name="T63" fmla="*/ 396 h 502"/>
                <a:gd name="T64" fmla="*/ 353 w 654"/>
                <a:gd name="T65" fmla="*/ 418 h 502"/>
                <a:gd name="T66" fmla="*/ 373 w 654"/>
                <a:gd name="T67" fmla="*/ 448 h 502"/>
                <a:gd name="T68" fmla="*/ 395 w 654"/>
                <a:gd name="T69" fmla="*/ 453 h 502"/>
                <a:gd name="T70" fmla="*/ 418 w 654"/>
                <a:gd name="T71" fmla="*/ 437 h 502"/>
                <a:gd name="T72" fmla="*/ 454 w 654"/>
                <a:gd name="T73" fmla="*/ 437 h 502"/>
                <a:gd name="T74" fmla="*/ 480 w 654"/>
                <a:gd name="T75" fmla="*/ 454 h 502"/>
                <a:gd name="T76" fmla="*/ 492 w 654"/>
                <a:gd name="T77" fmla="*/ 451 h 502"/>
                <a:gd name="T78" fmla="*/ 507 w 654"/>
                <a:gd name="T79" fmla="*/ 472 h 502"/>
                <a:gd name="T80" fmla="*/ 521 w 654"/>
                <a:gd name="T81" fmla="*/ 451 h 502"/>
                <a:gd name="T82" fmla="*/ 543 w 654"/>
                <a:gd name="T83" fmla="*/ 442 h 502"/>
                <a:gd name="T84" fmla="*/ 553 w 654"/>
                <a:gd name="T85" fmla="*/ 442 h 502"/>
                <a:gd name="T86" fmla="*/ 567 w 654"/>
                <a:gd name="T87" fmla="*/ 435 h 502"/>
                <a:gd name="T88" fmla="*/ 589 w 654"/>
                <a:gd name="T89" fmla="*/ 420 h 502"/>
                <a:gd name="T90" fmla="*/ 603 w 654"/>
                <a:gd name="T91" fmla="*/ 402 h 502"/>
                <a:gd name="T92" fmla="*/ 605 w 654"/>
                <a:gd name="T93" fmla="*/ 386 h 502"/>
                <a:gd name="T94" fmla="*/ 611 w 654"/>
                <a:gd name="T95" fmla="*/ 373 h 502"/>
                <a:gd name="T96" fmla="*/ 621 w 654"/>
                <a:gd name="T97" fmla="*/ 351 h 502"/>
                <a:gd name="T98" fmla="*/ 615 w 654"/>
                <a:gd name="T99" fmla="*/ 331 h 502"/>
                <a:gd name="T100" fmla="*/ 615 w 654"/>
                <a:gd name="T101" fmla="*/ 318 h 502"/>
                <a:gd name="T102" fmla="*/ 602 w 654"/>
                <a:gd name="T103" fmla="*/ 297 h 502"/>
                <a:gd name="T104" fmla="*/ 568 w 654"/>
                <a:gd name="T105" fmla="*/ 248 h 502"/>
                <a:gd name="T106" fmla="*/ 588 w 654"/>
                <a:gd name="T107" fmla="*/ 232 h 502"/>
                <a:gd name="T108" fmla="*/ 570 w 654"/>
                <a:gd name="T109" fmla="*/ 224 h 502"/>
                <a:gd name="T110" fmla="*/ 535 w 654"/>
                <a:gd name="T111" fmla="*/ 216 h 502"/>
                <a:gd name="T112" fmla="*/ 546 w 654"/>
                <a:gd name="T113" fmla="*/ 181 h 502"/>
                <a:gd name="T114" fmla="*/ 568 w 654"/>
                <a:gd name="T115" fmla="*/ 197 h 502"/>
                <a:gd name="T116" fmla="*/ 588 w 654"/>
                <a:gd name="T117" fmla="*/ 192 h 502"/>
                <a:gd name="T118" fmla="*/ 608 w 654"/>
                <a:gd name="T119" fmla="*/ 165 h 502"/>
                <a:gd name="T120" fmla="*/ 638 w 654"/>
                <a:gd name="T121" fmla="*/ 151 h 502"/>
                <a:gd name="T122" fmla="*/ 634 w 654"/>
                <a:gd name="T123" fmla="*/ 119 h 502"/>
                <a:gd name="T124" fmla="*/ 537 w 654"/>
                <a:gd name="T125" fmla="*/ 43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4" h="502">
                  <a:moveTo>
                    <a:pt x="511" y="475"/>
                  </a:moveTo>
                  <a:lnTo>
                    <a:pt x="511" y="475"/>
                  </a:lnTo>
                  <a:lnTo>
                    <a:pt x="510" y="475"/>
                  </a:lnTo>
                  <a:lnTo>
                    <a:pt x="510" y="475"/>
                  </a:lnTo>
                  <a:lnTo>
                    <a:pt x="511" y="478"/>
                  </a:lnTo>
                  <a:lnTo>
                    <a:pt x="511" y="478"/>
                  </a:lnTo>
                  <a:lnTo>
                    <a:pt x="508" y="477"/>
                  </a:lnTo>
                  <a:lnTo>
                    <a:pt x="508" y="477"/>
                  </a:lnTo>
                  <a:lnTo>
                    <a:pt x="508" y="478"/>
                  </a:lnTo>
                  <a:lnTo>
                    <a:pt x="508" y="478"/>
                  </a:lnTo>
                  <a:lnTo>
                    <a:pt x="507" y="477"/>
                  </a:lnTo>
                  <a:lnTo>
                    <a:pt x="507" y="477"/>
                  </a:lnTo>
                  <a:lnTo>
                    <a:pt x="505" y="477"/>
                  </a:lnTo>
                  <a:lnTo>
                    <a:pt x="505" y="477"/>
                  </a:lnTo>
                  <a:lnTo>
                    <a:pt x="502" y="478"/>
                  </a:lnTo>
                  <a:lnTo>
                    <a:pt x="502" y="478"/>
                  </a:lnTo>
                  <a:lnTo>
                    <a:pt x="502" y="477"/>
                  </a:lnTo>
                  <a:lnTo>
                    <a:pt x="502" y="477"/>
                  </a:lnTo>
                  <a:lnTo>
                    <a:pt x="500" y="477"/>
                  </a:lnTo>
                  <a:lnTo>
                    <a:pt x="500" y="477"/>
                  </a:lnTo>
                  <a:lnTo>
                    <a:pt x="495" y="477"/>
                  </a:lnTo>
                  <a:lnTo>
                    <a:pt x="495" y="477"/>
                  </a:lnTo>
                  <a:lnTo>
                    <a:pt x="497" y="478"/>
                  </a:lnTo>
                  <a:lnTo>
                    <a:pt x="497" y="478"/>
                  </a:lnTo>
                  <a:lnTo>
                    <a:pt x="495" y="478"/>
                  </a:lnTo>
                  <a:lnTo>
                    <a:pt x="495" y="478"/>
                  </a:lnTo>
                  <a:lnTo>
                    <a:pt x="494" y="478"/>
                  </a:lnTo>
                  <a:lnTo>
                    <a:pt x="494" y="478"/>
                  </a:lnTo>
                  <a:lnTo>
                    <a:pt x="492" y="480"/>
                  </a:lnTo>
                  <a:lnTo>
                    <a:pt x="492" y="480"/>
                  </a:lnTo>
                  <a:lnTo>
                    <a:pt x="494" y="481"/>
                  </a:lnTo>
                  <a:lnTo>
                    <a:pt x="494" y="481"/>
                  </a:lnTo>
                  <a:lnTo>
                    <a:pt x="489" y="483"/>
                  </a:lnTo>
                  <a:lnTo>
                    <a:pt x="489" y="483"/>
                  </a:lnTo>
                  <a:lnTo>
                    <a:pt x="486" y="486"/>
                  </a:lnTo>
                  <a:lnTo>
                    <a:pt x="486" y="486"/>
                  </a:lnTo>
                  <a:lnTo>
                    <a:pt x="486" y="489"/>
                  </a:lnTo>
                  <a:lnTo>
                    <a:pt x="486" y="489"/>
                  </a:lnTo>
                  <a:lnTo>
                    <a:pt x="489" y="493"/>
                  </a:lnTo>
                  <a:lnTo>
                    <a:pt x="489" y="493"/>
                  </a:lnTo>
                  <a:lnTo>
                    <a:pt x="489" y="496"/>
                  </a:lnTo>
                  <a:lnTo>
                    <a:pt x="489" y="496"/>
                  </a:lnTo>
                  <a:lnTo>
                    <a:pt x="489" y="499"/>
                  </a:lnTo>
                  <a:lnTo>
                    <a:pt x="489" y="499"/>
                  </a:lnTo>
                  <a:lnTo>
                    <a:pt x="492" y="499"/>
                  </a:lnTo>
                  <a:lnTo>
                    <a:pt x="492" y="499"/>
                  </a:lnTo>
                  <a:lnTo>
                    <a:pt x="495" y="502"/>
                  </a:lnTo>
                  <a:lnTo>
                    <a:pt x="495" y="502"/>
                  </a:lnTo>
                  <a:lnTo>
                    <a:pt x="499" y="502"/>
                  </a:lnTo>
                  <a:lnTo>
                    <a:pt x="499" y="502"/>
                  </a:lnTo>
                  <a:lnTo>
                    <a:pt x="503" y="502"/>
                  </a:lnTo>
                  <a:lnTo>
                    <a:pt x="503" y="502"/>
                  </a:lnTo>
                  <a:lnTo>
                    <a:pt x="503" y="502"/>
                  </a:lnTo>
                  <a:lnTo>
                    <a:pt x="503" y="502"/>
                  </a:lnTo>
                  <a:lnTo>
                    <a:pt x="503" y="499"/>
                  </a:lnTo>
                  <a:lnTo>
                    <a:pt x="503" y="499"/>
                  </a:lnTo>
                  <a:lnTo>
                    <a:pt x="505" y="499"/>
                  </a:lnTo>
                  <a:lnTo>
                    <a:pt x="505" y="499"/>
                  </a:lnTo>
                  <a:lnTo>
                    <a:pt x="507" y="499"/>
                  </a:lnTo>
                  <a:lnTo>
                    <a:pt x="507" y="499"/>
                  </a:lnTo>
                  <a:lnTo>
                    <a:pt x="508" y="499"/>
                  </a:lnTo>
                  <a:lnTo>
                    <a:pt x="508" y="499"/>
                  </a:lnTo>
                  <a:lnTo>
                    <a:pt x="510" y="496"/>
                  </a:lnTo>
                  <a:lnTo>
                    <a:pt x="510" y="496"/>
                  </a:lnTo>
                  <a:lnTo>
                    <a:pt x="511" y="493"/>
                  </a:lnTo>
                  <a:lnTo>
                    <a:pt x="511" y="493"/>
                  </a:lnTo>
                  <a:lnTo>
                    <a:pt x="511" y="489"/>
                  </a:lnTo>
                  <a:lnTo>
                    <a:pt x="511" y="489"/>
                  </a:lnTo>
                  <a:lnTo>
                    <a:pt x="511" y="489"/>
                  </a:lnTo>
                  <a:lnTo>
                    <a:pt x="511" y="489"/>
                  </a:lnTo>
                  <a:lnTo>
                    <a:pt x="513" y="486"/>
                  </a:lnTo>
                  <a:lnTo>
                    <a:pt x="513" y="486"/>
                  </a:lnTo>
                  <a:lnTo>
                    <a:pt x="514" y="483"/>
                  </a:lnTo>
                  <a:lnTo>
                    <a:pt x="514" y="483"/>
                  </a:lnTo>
                  <a:lnTo>
                    <a:pt x="514" y="483"/>
                  </a:lnTo>
                  <a:lnTo>
                    <a:pt x="514" y="483"/>
                  </a:lnTo>
                  <a:lnTo>
                    <a:pt x="514" y="481"/>
                  </a:lnTo>
                  <a:lnTo>
                    <a:pt x="514" y="481"/>
                  </a:lnTo>
                  <a:lnTo>
                    <a:pt x="514" y="477"/>
                  </a:lnTo>
                  <a:lnTo>
                    <a:pt x="511" y="475"/>
                  </a:lnTo>
                  <a:lnTo>
                    <a:pt x="511" y="475"/>
                  </a:lnTo>
                  <a:lnTo>
                    <a:pt x="511" y="475"/>
                  </a:lnTo>
                  <a:close/>
                  <a:moveTo>
                    <a:pt x="619" y="332"/>
                  </a:moveTo>
                  <a:lnTo>
                    <a:pt x="619" y="332"/>
                  </a:lnTo>
                  <a:lnTo>
                    <a:pt x="621" y="332"/>
                  </a:lnTo>
                  <a:lnTo>
                    <a:pt x="621" y="332"/>
                  </a:lnTo>
                  <a:lnTo>
                    <a:pt x="622" y="332"/>
                  </a:lnTo>
                  <a:lnTo>
                    <a:pt x="622" y="332"/>
                  </a:lnTo>
                  <a:lnTo>
                    <a:pt x="624" y="332"/>
                  </a:lnTo>
                  <a:lnTo>
                    <a:pt x="624" y="332"/>
                  </a:lnTo>
                  <a:lnTo>
                    <a:pt x="622" y="332"/>
                  </a:lnTo>
                  <a:lnTo>
                    <a:pt x="619" y="332"/>
                  </a:lnTo>
                  <a:lnTo>
                    <a:pt x="619" y="332"/>
                  </a:lnTo>
                  <a:lnTo>
                    <a:pt x="619" y="332"/>
                  </a:lnTo>
                  <a:close/>
                  <a:moveTo>
                    <a:pt x="654" y="99"/>
                  </a:moveTo>
                  <a:lnTo>
                    <a:pt x="654" y="99"/>
                  </a:lnTo>
                  <a:lnTo>
                    <a:pt x="653" y="99"/>
                  </a:lnTo>
                  <a:lnTo>
                    <a:pt x="653" y="99"/>
                  </a:lnTo>
                  <a:lnTo>
                    <a:pt x="653" y="96"/>
                  </a:lnTo>
                  <a:lnTo>
                    <a:pt x="653" y="96"/>
                  </a:lnTo>
                  <a:lnTo>
                    <a:pt x="649" y="91"/>
                  </a:lnTo>
                  <a:lnTo>
                    <a:pt x="649" y="91"/>
                  </a:lnTo>
                  <a:lnTo>
                    <a:pt x="649" y="88"/>
                  </a:lnTo>
                  <a:lnTo>
                    <a:pt x="649" y="88"/>
                  </a:lnTo>
                  <a:lnTo>
                    <a:pt x="649" y="86"/>
                  </a:lnTo>
                  <a:lnTo>
                    <a:pt x="649" y="86"/>
                  </a:lnTo>
                  <a:lnTo>
                    <a:pt x="649" y="85"/>
                  </a:lnTo>
                  <a:lnTo>
                    <a:pt x="649" y="85"/>
                  </a:lnTo>
                  <a:lnTo>
                    <a:pt x="651" y="83"/>
                  </a:lnTo>
                  <a:lnTo>
                    <a:pt x="651" y="83"/>
                  </a:lnTo>
                  <a:lnTo>
                    <a:pt x="651" y="81"/>
                  </a:lnTo>
                  <a:lnTo>
                    <a:pt x="651" y="81"/>
                  </a:lnTo>
                  <a:lnTo>
                    <a:pt x="649" y="78"/>
                  </a:lnTo>
                  <a:lnTo>
                    <a:pt x="649" y="78"/>
                  </a:lnTo>
                  <a:lnTo>
                    <a:pt x="646" y="77"/>
                  </a:lnTo>
                  <a:lnTo>
                    <a:pt x="646" y="77"/>
                  </a:lnTo>
                  <a:lnTo>
                    <a:pt x="646" y="73"/>
                  </a:lnTo>
                  <a:lnTo>
                    <a:pt x="646" y="73"/>
                  </a:lnTo>
                  <a:lnTo>
                    <a:pt x="646" y="72"/>
                  </a:lnTo>
                  <a:lnTo>
                    <a:pt x="646" y="72"/>
                  </a:lnTo>
                  <a:lnTo>
                    <a:pt x="643" y="70"/>
                  </a:lnTo>
                  <a:lnTo>
                    <a:pt x="643" y="70"/>
                  </a:lnTo>
                  <a:lnTo>
                    <a:pt x="640" y="70"/>
                  </a:lnTo>
                  <a:lnTo>
                    <a:pt x="640" y="70"/>
                  </a:lnTo>
                  <a:lnTo>
                    <a:pt x="637" y="72"/>
                  </a:lnTo>
                  <a:lnTo>
                    <a:pt x="637" y="72"/>
                  </a:lnTo>
                  <a:lnTo>
                    <a:pt x="634" y="75"/>
                  </a:lnTo>
                  <a:lnTo>
                    <a:pt x="634" y="75"/>
                  </a:lnTo>
                  <a:lnTo>
                    <a:pt x="629" y="75"/>
                  </a:lnTo>
                  <a:lnTo>
                    <a:pt x="629" y="75"/>
                  </a:lnTo>
                  <a:lnTo>
                    <a:pt x="627" y="77"/>
                  </a:lnTo>
                  <a:lnTo>
                    <a:pt x="627" y="77"/>
                  </a:lnTo>
                  <a:lnTo>
                    <a:pt x="626" y="78"/>
                  </a:lnTo>
                  <a:lnTo>
                    <a:pt x="626" y="78"/>
                  </a:lnTo>
                  <a:lnTo>
                    <a:pt x="626" y="80"/>
                  </a:lnTo>
                  <a:lnTo>
                    <a:pt x="626" y="80"/>
                  </a:lnTo>
                  <a:lnTo>
                    <a:pt x="622" y="80"/>
                  </a:lnTo>
                  <a:lnTo>
                    <a:pt x="622" y="80"/>
                  </a:lnTo>
                  <a:lnTo>
                    <a:pt x="618" y="80"/>
                  </a:lnTo>
                  <a:lnTo>
                    <a:pt x="618" y="80"/>
                  </a:lnTo>
                  <a:lnTo>
                    <a:pt x="616" y="80"/>
                  </a:lnTo>
                  <a:lnTo>
                    <a:pt x="616" y="80"/>
                  </a:lnTo>
                  <a:lnTo>
                    <a:pt x="615" y="80"/>
                  </a:lnTo>
                  <a:lnTo>
                    <a:pt x="615" y="80"/>
                  </a:lnTo>
                  <a:lnTo>
                    <a:pt x="615" y="80"/>
                  </a:lnTo>
                  <a:lnTo>
                    <a:pt x="615" y="80"/>
                  </a:lnTo>
                  <a:lnTo>
                    <a:pt x="611" y="80"/>
                  </a:lnTo>
                  <a:lnTo>
                    <a:pt x="611" y="80"/>
                  </a:lnTo>
                  <a:lnTo>
                    <a:pt x="605" y="78"/>
                  </a:lnTo>
                  <a:lnTo>
                    <a:pt x="605" y="78"/>
                  </a:lnTo>
                  <a:lnTo>
                    <a:pt x="603" y="75"/>
                  </a:lnTo>
                  <a:lnTo>
                    <a:pt x="603" y="75"/>
                  </a:lnTo>
                  <a:lnTo>
                    <a:pt x="602" y="73"/>
                  </a:lnTo>
                  <a:lnTo>
                    <a:pt x="602" y="73"/>
                  </a:lnTo>
                  <a:lnTo>
                    <a:pt x="602" y="72"/>
                  </a:lnTo>
                  <a:lnTo>
                    <a:pt x="602" y="72"/>
                  </a:lnTo>
                  <a:lnTo>
                    <a:pt x="600" y="70"/>
                  </a:lnTo>
                  <a:lnTo>
                    <a:pt x="600" y="70"/>
                  </a:lnTo>
                  <a:lnTo>
                    <a:pt x="597" y="67"/>
                  </a:lnTo>
                  <a:lnTo>
                    <a:pt x="597" y="67"/>
                  </a:lnTo>
                  <a:lnTo>
                    <a:pt x="595" y="67"/>
                  </a:lnTo>
                  <a:lnTo>
                    <a:pt x="595" y="67"/>
                  </a:lnTo>
                  <a:lnTo>
                    <a:pt x="595" y="64"/>
                  </a:lnTo>
                  <a:lnTo>
                    <a:pt x="595" y="64"/>
                  </a:lnTo>
                  <a:lnTo>
                    <a:pt x="595" y="64"/>
                  </a:lnTo>
                  <a:lnTo>
                    <a:pt x="595" y="64"/>
                  </a:lnTo>
                  <a:lnTo>
                    <a:pt x="592" y="64"/>
                  </a:lnTo>
                  <a:lnTo>
                    <a:pt x="592" y="64"/>
                  </a:lnTo>
                  <a:lnTo>
                    <a:pt x="588" y="64"/>
                  </a:lnTo>
                  <a:lnTo>
                    <a:pt x="588" y="64"/>
                  </a:lnTo>
                  <a:lnTo>
                    <a:pt x="584" y="61"/>
                  </a:lnTo>
                  <a:lnTo>
                    <a:pt x="584" y="61"/>
                  </a:lnTo>
                  <a:lnTo>
                    <a:pt x="580" y="58"/>
                  </a:lnTo>
                  <a:lnTo>
                    <a:pt x="580" y="58"/>
                  </a:lnTo>
                  <a:lnTo>
                    <a:pt x="578" y="56"/>
                  </a:lnTo>
                  <a:lnTo>
                    <a:pt x="578" y="56"/>
                  </a:lnTo>
                  <a:lnTo>
                    <a:pt x="576" y="56"/>
                  </a:lnTo>
                  <a:lnTo>
                    <a:pt x="576" y="56"/>
                  </a:lnTo>
                  <a:lnTo>
                    <a:pt x="576" y="58"/>
                  </a:lnTo>
                  <a:lnTo>
                    <a:pt x="576" y="58"/>
                  </a:lnTo>
                  <a:lnTo>
                    <a:pt x="573" y="56"/>
                  </a:lnTo>
                  <a:lnTo>
                    <a:pt x="573" y="56"/>
                  </a:lnTo>
                  <a:lnTo>
                    <a:pt x="570" y="56"/>
                  </a:lnTo>
                  <a:lnTo>
                    <a:pt x="570" y="56"/>
                  </a:lnTo>
                  <a:lnTo>
                    <a:pt x="568" y="54"/>
                  </a:lnTo>
                  <a:lnTo>
                    <a:pt x="568" y="54"/>
                  </a:lnTo>
                  <a:lnTo>
                    <a:pt x="565" y="54"/>
                  </a:lnTo>
                  <a:lnTo>
                    <a:pt x="565" y="54"/>
                  </a:lnTo>
                  <a:lnTo>
                    <a:pt x="559" y="54"/>
                  </a:lnTo>
                  <a:lnTo>
                    <a:pt x="559" y="54"/>
                  </a:lnTo>
                  <a:lnTo>
                    <a:pt x="556" y="53"/>
                  </a:lnTo>
                  <a:lnTo>
                    <a:pt x="556" y="53"/>
                  </a:lnTo>
                  <a:lnTo>
                    <a:pt x="553" y="50"/>
                  </a:lnTo>
                  <a:lnTo>
                    <a:pt x="553" y="50"/>
                  </a:lnTo>
                  <a:lnTo>
                    <a:pt x="549" y="46"/>
                  </a:lnTo>
                  <a:lnTo>
                    <a:pt x="549" y="46"/>
                  </a:lnTo>
                  <a:lnTo>
                    <a:pt x="549" y="45"/>
                  </a:lnTo>
                  <a:lnTo>
                    <a:pt x="549" y="45"/>
                  </a:lnTo>
                  <a:lnTo>
                    <a:pt x="546" y="43"/>
                  </a:lnTo>
                  <a:lnTo>
                    <a:pt x="546" y="43"/>
                  </a:lnTo>
                  <a:lnTo>
                    <a:pt x="543" y="40"/>
                  </a:lnTo>
                  <a:lnTo>
                    <a:pt x="543" y="40"/>
                  </a:lnTo>
                  <a:lnTo>
                    <a:pt x="541" y="37"/>
                  </a:lnTo>
                  <a:lnTo>
                    <a:pt x="541" y="37"/>
                  </a:lnTo>
                  <a:lnTo>
                    <a:pt x="538" y="35"/>
                  </a:lnTo>
                  <a:lnTo>
                    <a:pt x="538" y="35"/>
                  </a:lnTo>
                  <a:lnTo>
                    <a:pt x="535" y="32"/>
                  </a:lnTo>
                  <a:lnTo>
                    <a:pt x="535" y="32"/>
                  </a:lnTo>
                  <a:lnTo>
                    <a:pt x="532" y="31"/>
                  </a:lnTo>
                  <a:lnTo>
                    <a:pt x="532" y="31"/>
                  </a:lnTo>
                  <a:lnTo>
                    <a:pt x="527" y="27"/>
                  </a:lnTo>
                  <a:lnTo>
                    <a:pt x="527" y="27"/>
                  </a:lnTo>
                  <a:lnTo>
                    <a:pt x="524" y="23"/>
                  </a:lnTo>
                  <a:lnTo>
                    <a:pt x="524" y="23"/>
                  </a:lnTo>
                  <a:lnTo>
                    <a:pt x="521" y="19"/>
                  </a:lnTo>
                  <a:lnTo>
                    <a:pt x="521" y="19"/>
                  </a:lnTo>
                  <a:lnTo>
                    <a:pt x="518" y="18"/>
                  </a:lnTo>
                  <a:lnTo>
                    <a:pt x="518" y="18"/>
                  </a:lnTo>
                  <a:lnTo>
                    <a:pt x="513" y="15"/>
                  </a:lnTo>
                  <a:lnTo>
                    <a:pt x="513" y="15"/>
                  </a:lnTo>
                  <a:lnTo>
                    <a:pt x="511" y="11"/>
                  </a:lnTo>
                  <a:lnTo>
                    <a:pt x="511" y="11"/>
                  </a:lnTo>
                  <a:lnTo>
                    <a:pt x="510" y="11"/>
                  </a:lnTo>
                  <a:lnTo>
                    <a:pt x="510" y="11"/>
                  </a:lnTo>
                  <a:lnTo>
                    <a:pt x="507" y="8"/>
                  </a:lnTo>
                  <a:lnTo>
                    <a:pt x="507" y="8"/>
                  </a:lnTo>
                  <a:lnTo>
                    <a:pt x="503" y="8"/>
                  </a:lnTo>
                  <a:lnTo>
                    <a:pt x="503" y="8"/>
                  </a:lnTo>
                  <a:lnTo>
                    <a:pt x="502" y="5"/>
                  </a:lnTo>
                  <a:lnTo>
                    <a:pt x="502" y="5"/>
                  </a:lnTo>
                  <a:lnTo>
                    <a:pt x="499" y="5"/>
                  </a:lnTo>
                  <a:lnTo>
                    <a:pt x="499" y="5"/>
                  </a:lnTo>
                  <a:lnTo>
                    <a:pt x="495" y="5"/>
                  </a:lnTo>
                  <a:lnTo>
                    <a:pt x="495" y="5"/>
                  </a:lnTo>
                  <a:lnTo>
                    <a:pt x="494" y="5"/>
                  </a:lnTo>
                  <a:lnTo>
                    <a:pt x="494" y="5"/>
                  </a:lnTo>
                  <a:lnTo>
                    <a:pt x="492" y="5"/>
                  </a:lnTo>
                  <a:lnTo>
                    <a:pt x="492" y="5"/>
                  </a:lnTo>
                  <a:lnTo>
                    <a:pt x="492" y="5"/>
                  </a:lnTo>
                  <a:lnTo>
                    <a:pt x="492" y="5"/>
                  </a:lnTo>
                  <a:lnTo>
                    <a:pt x="486" y="2"/>
                  </a:lnTo>
                  <a:lnTo>
                    <a:pt x="486" y="2"/>
                  </a:lnTo>
                  <a:lnTo>
                    <a:pt x="483" y="2"/>
                  </a:lnTo>
                  <a:lnTo>
                    <a:pt x="483" y="2"/>
                  </a:lnTo>
                  <a:lnTo>
                    <a:pt x="480" y="0"/>
                  </a:lnTo>
                  <a:lnTo>
                    <a:pt x="480" y="0"/>
                  </a:lnTo>
                  <a:lnTo>
                    <a:pt x="475" y="0"/>
                  </a:lnTo>
                  <a:lnTo>
                    <a:pt x="475" y="0"/>
                  </a:lnTo>
                  <a:lnTo>
                    <a:pt x="472" y="0"/>
                  </a:lnTo>
                  <a:lnTo>
                    <a:pt x="472" y="0"/>
                  </a:lnTo>
                  <a:lnTo>
                    <a:pt x="464" y="0"/>
                  </a:lnTo>
                  <a:lnTo>
                    <a:pt x="464" y="0"/>
                  </a:lnTo>
                  <a:lnTo>
                    <a:pt x="456" y="2"/>
                  </a:lnTo>
                  <a:lnTo>
                    <a:pt x="456" y="2"/>
                  </a:lnTo>
                  <a:lnTo>
                    <a:pt x="451" y="2"/>
                  </a:lnTo>
                  <a:lnTo>
                    <a:pt x="451" y="2"/>
                  </a:lnTo>
                  <a:lnTo>
                    <a:pt x="448" y="2"/>
                  </a:lnTo>
                  <a:lnTo>
                    <a:pt x="448" y="2"/>
                  </a:lnTo>
                  <a:lnTo>
                    <a:pt x="445" y="5"/>
                  </a:lnTo>
                  <a:lnTo>
                    <a:pt x="445" y="5"/>
                  </a:lnTo>
                  <a:lnTo>
                    <a:pt x="445" y="8"/>
                  </a:lnTo>
                  <a:lnTo>
                    <a:pt x="445" y="8"/>
                  </a:lnTo>
                  <a:lnTo>
                    <a:pt x="443" y="11"/>
                  </a:lnTo>
                  <a:lnTo>
                    <a:pt x="443" y="11"/>
                  </a:lnTo>
                  <a:lnTo>
                    <a:pt x="445" y="11"/>
                  </a:lnTo>
                  <a:lnTo>
                    <a:pt x="445" y="11"/>
                  </a:lnTo>
                  <a:lnTo>
                    <a:pt x="448" y="11"/>
                  </a:lnTo>
                  <a:lnTo>
                    <a:pt x="448" y="11"/>
                  </a:lnTo>
                  <a:lnTo>
                    <a:pt x="451" y="11"/>
                  </a:lnTo>
                  <a:lnTo>
                    <a:pt x="451" y="11"/>
                  </a:lnTo>
                  <a:lnTo>
                    <a:pt x="454" y="15"/>
                  </a:lnTo>
                  <a:lnTo>
                    <a:pt x="454" y="15"/>
                  </a:lnTo>
                  <a:lnTo>
                    <a:pt x="454" y="16"/>
                  </a:lnTo>
                  <a:lnTo>
                    <a:pt x="454" y="16"/>
                  </a:lnTo>
                  <a:lnTo>
                    <a:pt x="456" y="19"/>
                  </a:lnTo>
                  <a:lnTo>
                    <a:pt x="456" y="19"/>
                  </a:lnTo>
                  <a:lnTo>
                    <a:pt x="456" y="21"/>
                  </a:lnTo>
                  <a:lnTo>
                    <a:pt x="456" y="21"/>
                  </a:lnTo>
                  <a:lnTo>
                    <a:pt x="456" y="23"/>
                  </a:lnTo>
                  <a:lnTo>
                    <a:pt x="456" y="23"/>
                  </a:lnTo>
                  <a:lnTo>
                    <a:pt x="454" y="24"/>
                  </a:lnTo>
                  <a:lnTo>
                    <a:pt x="454" y="24"/>
                  </a:lnTo>
                  <a:lnTo>
                    <a:pt x="454" y="29"/>
                  </a:lnTo>
                  <a:lnTo>
                    <a:pt x="454" y="29"/>
                  </a:lnTo>
                  <a:lnTo>
                    <a:pt x="454" y="32"/>
                  </a:lnTo>
                  <a:lnTo>
                    <a:pt x="454" y="32"/>
                  </a:lnTo>
                  <a:lnTo>
                    <a:pt x="454" y="35"/>
                  </a:lnTo>
                  <a:lnTo>
                    <a:pt x="454" y="35"/>
                  </a:lnTo>
                  <a:lnTo>
                    <a:pt x="454" y="35"/>
                  </a:lnTo>
                  <a:lnTo>
                    <a:pt x="454" y="35"/>
                  </a:lnTo>
                  <a:lnTo>
                    <a:pt x="454" y="37"/>
                  </a:lnTo>
                  <a:lnTo>
                    <a:pt x="454" y="37"/>
                  </a:lnTo>
                  <a:lnTo>
                    <a:pt x="454" y="42"/>
                  </a:lnTo>
                  <a:lnTo>
                    <a:pt x="454" y="42"/>
                  </a:lnTo>
                  <a:lnTo>
                    <a:pt x="456" y="43"/>
                  </a:lnTo>
                  <a:lnTo>
                    <a:pt x="456" y="43"/>
                  </a:lnTo>
                  <a:lnTo>
                    <a:pt x="457" y="45"/>
                  </a:lnTo>
                  <a:lnTo>
                    <a:pt x="457" y="45"/>
                  </a:lnTo>
                  <a:lnTo>
                    <a:pt x="457" y="46"/>
                  </a:lnTo>
                  <a:lnTo>
                    <a:pt x="457" y="46"/>
                  </a:lnTo>
                  <a:lnTo>
                    <a:pt x="456" y="48"/>
                  </a:lnTo>
                  <a:lnTo>
                    <a:pt x="456" y="48"/>
                  </a:lnTo>
                  <a:lnTo>
                    <a:pt x="454" y="50"/>
                  </a:lnTo>
                  <a:lnTo>
                    <a:pt x="454" y="50"/>
                  </a:lnTo>
                  <a:lnTo>
                    <a:pt x="451" y="51"/>
                  </a:lnTo>
                  <a:lnTo>
                    <a:pt x="451" y="51"/>
                  </a:lnTo>
                  <a:lnTo>
                    <a:pt x="448" y="54"/>
                  </a:lnTo>
                  <a:lnTo>
                    <a:pt x="448" y="54"/>
                  </a:lnTo>
                  <a:lnTo>
                    <a:pt x="448" y="54"/>
                  </a:lnTo>
                  <a:lnTo>
                    <a:pt x="448" y="54"/>
                  </a:lnTo>
                  <a:lnTo>
                    <a:pt x="445" y="54"/>
                  </a:lnTo>
                  <a:lnTo>
                    <a:pt x="445" y="54"/>
                  </a:lnTo>
                  <a:lnTo>
                    <a:pt x="441" y="53"/>
                  </a:lnTo>
                  <a:lnTo>
                    <a:pt x="441" y="53"/>
                  </a:lnTo>
                  <a:lnTo>
                    <a:pt x="437" y="53"/>
                  </a:lnTo>
                  <a:lnTo>
                    <a:pt x="437" y="53"/>
                  </a:lnTo>
                  <a:lnTo>
                    <a:pt x="434" y="51"/>
                  </a:lnTo>
                  <a:lnTo>
                    <a:pt x="434" y="51"/>
                  </a:lnTo>
                  <a:lnTo>
                    <a:pt x="434" y="50"/>
                  </a:lnTo>
                  <a:lnTo>
                    <a:pt x="434" y="50"/>
                  </a:lnTo>
                  <a:lnTo>
                    <a:pt x="434" y="70"/>
                  </a:lnTo>
                  <a:lnTo>
                    <a:pt x="434" y="70"/>
                  </a:lnTo>
                  <a:lnTo>
                    <a:pt x="435" y="72"/>
                  </a:lnTo>
                  <a:lnTo>
                    <a:pt x="435" y="72"/>
                  </a:lnTo>
                  <a:lnTo>
                    <a:pt x="434" y="73"/>
                  </a:lnTo>
                  <a:lnTo>
                    <a:pt x="434" y="73"/>
                  </a:lnTo>
                  <a:lnTo>
                    <a:pt x="434" y="75"/>
                  </a:lnTo>
                  <a:lnTo>
                    <a:pt x="434" y="75"/>
                  </a:lnTo>
                  <a:lnTo>
                    <a:pt x="438" y="80"/>
                  </a:lnTo>
                  <a:lnTo>
                    <a:pt x="438" y="80"/>
                  </a:lnTo>
                  <a:lnTo>
                    <a:pt x="440" y="80"/>
                  </a:lnTo>
                  <a:lnTo>
                    <a:pt x="440" y="80"/>
                  </a:lnTo>
                  <a:lnTo>
                    <a:pt x="441" y="78"/>
                  </a:lnTo>
                  <a:lnTo>
                    <a:pt x="441" y="78"/>
                  </a:lnTo>
                  <a:lnTo>
                    <a:pt x="445" y="78"/>
                  </a:lnTo>
                  <a:lnTo>
                    <a:pt x="445" y="78"/>
                  </a:lnTo>
                  <a:lnTo>
                    <a:pt x="448" y="78"/>
                  </a:lnTo>
                  <a:lnTo>
                    <a:pt x="448" y="78"/>
                  </a:lnTo>
                  <a:lnTo>
                    <a:pt x="451" y="78"/>
                  </a:lnTo>
                  <a:lnTo>
                    <a:pt x="451" y="78"/>
                  </a:lnTo>
                  <a:lnTo>
                    <a:pt x="454" y="80"/>
                  </a:lnTo>
                  <a:lnTo>
                    <a:pt x="454" y="80"/>
                  </a:lnTo>
                  <a:lnTo>
                    <a:pt x="456" y="80"/>
                  </a:lnTo>
                  <a:lnTo>
                    <a:pt x="456" y="80"/>
                  </a:lnTo>
                  <a:lnTo>
                    <a:pt x="457" y="78"/>
                  </a:lnTo>
                  <a:lnTo>
                    <a:pt x="457" y="78"/>
                  </a:lnTo>
                  <a:lnTo>
                    <a:pt x="459" y="75"/>
                  </a:lnTo>
                  <a:lnTo>
                    <a:pt x="459" y="75"/>
                  </a:lnTo>
                  <a:lnTo>
                    <a:pt x="462" y="75"/>
                  </a:lnTo>
                  <a:lnTo>
                    <a:pt x="462" y="75"/>
                  </a:lnTo>
                  <a:lnTo>
                    <a:pt x="470" y="77"/>
                  </a:lnTo>
                  <a:lnTo>
                    <a:pt x="470" y="77"/>
                  </a:lnTo>
                  <a:lnTo>
                    <a:pt x="470" y="77"/>
                  </a:lnTo>
                  <a:lnTo>
                    <a:pt x="478" y="81"/>
                  </a:lnTo>
                  <a:lnTo>
                    <a:pt x="478" y="81"/>
                  </a:lnTo>
                  <a:lnTo>
                    <a:pt x="486" y="86"/>
                  </a:lnTo>
                  <a:lnTo>
                    <a:pt x="486" y="86"/>
                  </a:lnTo>
                  <a:lnTo>
                    <a:pt x="491" y="91"/>
                  </a:lnTo>
                  <a:lnTo>
                    <a:pt x="491" y="91"/>
                  </a:lnTo>
                  <a:lnTo>
                    <a:pt x="492" y="92"/>
                  </a:lnTo>
                  <a:lnTo>
                    <a:pt x="492" y="92"/>
                  </a:lnTo>
                  <a:lnTo>
                    <a:pt x="491" y="96"/>
                  </a:lnTo>
                  <a:lnTo>
                    <a:pt x="491" y="96"/>
                  </a:lnTo>
                  <a:lnTo>
                    <a:pt x="486" y="96"/>
                  </a:lnTo>
                  <a:lnTo>
                    <a:pt x="486" y="96"/>
                  </a:lnTo>
                  <a:lnTo>
                    <a:pt x="483" y="92"/>
                  </a:lnTo>
                  <a:lnTo>
                    <a:pt x="483" y="92"/>
                  </a:lnTo>
                  <a:lnTo>
                    <a:pt x="480" y="92"/>
                  </a:lnTo>
                  <a:lnTo>
                    <a:pt x="480" y="92"/>
                  </a:lnTo>
                  <a:lnTo>
                    <a:pt x="480" y="92"/>
                  </a:lnTo>
                  <a:lnTo>
                    <a:pt x="480" y="92"/>
                  </a:lnTo>
                  <a:lnTo>
                    <a:pt x="476" y="92"/>
                  </a:lnTo>
                  <a:lnTo>
                    <a:pt x="476" y="92"/>
                  </a:lnTo>
                  <a:lnTo>
                    <a:pt x="473" y="96"/>
                  </a:lnTo>
                  <a:lnTo>
                    <a:pt x="473" y="96"/>
                  </a:lnTo>
                  <a:lnTo>
                    <a:pt x="470" y="96"/>
                  </a:lnTo>
                  <a:lnTo>
                    <a:pt x="470" y="96"/>
                  </a:lnTo>
                  <a:lnTo>
                    <a:pt x="468" y="96"/>
                  </a:lnTo>
                  <a:lnTo>
                    <a:pt x="468" y="96"/>
                  </a:lnTo>
                  <a:lnTo>
                    <a:pt x="467" y="96"/>
                  </a:lnTo>
                  <a:lnTo>
                    <a:pt x="467" y="96"/>
                  </a:lnTo>
                  <a:lnTo>
                    <a:pt x="465" y="96"/>
                  </a:lnTo>
                  <a:lnTo>
                    <a:pt x="465" y="96"/>
                  </a:lnTo>
                  <a:lnTo>
                    <a:pt x="465" y="99"/>
                  </a:lnTo>
                  <a:lnTo>
                    <a:pt x="465" y="99"/>
                  </a:lnTo>
                  <a:lnTo>
                    <a:pt x="464" y="99"/>
                  </a:lnTo>
                  <a:lnTo>
                    <a:pt x="464" y="99"/>
                  </a:lnTo>
                  <a:lnTo>
                    <a:pt x="461" y="99"/>
                  </a:lnTo>
                  <a:lnTo>
                    <a:pt x="461" y="99"/>
                  </a:lnTo>
                  <a:lnTo>
                    <a:pt x="459" y="99"/>
                  </a:lnTo>
                  <a:lnTo>
                    <a:pt x="459" y="99"/>
                  </a:lnTo>
                  <a:lnTo>
                    <a:pt x="457" y="102"/>
                  </a:lnTo>
                  <a:lnTo>
                    <a:pt x="457" y="102"/>
                  </a:lnTo>
                  <a:lnTo>
                    <a:pt x="456" y="105"/>
                  </a:lnTo>
                  <a:lnTo>
                    <a:pt x="456" y="105"/>
                  </a:lnTo>
                  <a:lnTo>
                    <a:pt x="457" y="107"/>
                  </a:lnTo>
                  <a:lnTo>
                    <a:pt x="457" y="107"/>
                  </a:lnTo>
                  <a:lnTo>
                    <a:pt x="454" y="112"/>
                  </a:lnTo>
                  <a:lnTo>
                    <a:pt x="454" y="112"/>
                  </a:lnTo>
                  <a:lnTo>
                    <a:pt x="451" y="113"/>
                  </a:lnTo>
                  <a:lnTo>
                    <a:pt x="451" y="113"/>
                  </a:lnTo>
                  <a:lnTo>
                    <a:pt x="448" y="113"/>
                  </a:lnTo>
                  <a:lnTo>
                    <a:pt x="448" y="113"/>
                  </a:lnTo>
                  <a:lnTo>
                    <a:pt x="445" y="112"/>
                  </a:lnTo>
                  <a:lnTo>
                    <a:pt x="445" y="112"/>
                  </a:lnTo>
                  <a:lnTo>
                    <a:pt x="443" y="112"/>
                  </a:lnTo>
                  <a:lnTo>
                    <a:pt x="443" y="112"/>
                  </a:lnTo>
                  <a:lnTo>
                    <a:pt x="443" y="113"/>
                  </a:lnTo>
                  <a:lnTo>
                    <a:pt x="443" y="113"/>
                  </a:lnTo>
                  <a:lnTo>
                    <a:pt x="441" y="116"/>
                  </a:lnTo>
                  <a:lnTo>
                    <a:pt x="441" y="116"/>
                  </a:lnTo>
                  <a:lnTo>
                    <a:pt x="440" y="118"/>
                  </a:lnTo>
                  <a:lnTo>
                    <a:pt x="440" y="118"/>
                  </a:lnTo>
                  <a:lnTo>
                    <a:pt x="437" y="121"/>
                  </a:lnTo>
                  <a:lnTo>
                    <a:pt x="437" y="121"/>
                  </a:lnTo>
                  <a:lnTo>
                    <a:pt x="435" y="123"/>
                  </a:lnTo>
                  <a:lnTo>
                    <a:pt x="435" y="123"/>
                  </a:lnTo>
                  <a:lnTo>
                    <a:pt x="427" y="121"/>
                  </a:lnTo>
                  <a:lnTo>
                    <a:pt x="427" y="121"/>
                  </a:lnTo>
                  <a:lnTo>
                    <a:pt x="421" y="118"/>
                  </a:lnTo>
                  <a:lnTo>
                    <a:pt x="421" y="118"/>
                  </a:lnTo>
                  <a:lnTo>
                    <a:pt x="418" y="116"/>
                  </a:lnTo>
                  <a:lnTo>
                    <a:pt x="418" y="116"/>
                  </a:lnTo>
                  <a:lnTo>
                    <a:pt x="414" y="118"/>
                  </a:lnTo>
                  <a:lnTo>
                    <a:pt x="414" y="118"/>
                  </a:lnTo>
                  <a:lnTo>
                    <a:pt x="413" y="121"/>
                  </a:lnTo>
                  <a:lnTo>
                    <a:pt x="413" y="121"/>
                  </a:lnTo>
                  <a:lnTo>
                    <a:pt x="413" y="124"/>
                  </a:lnTo>
                  <a:lnTo>
                    <a:pt x="413" y="124"/>
                  </a:lnTo>
                  <a:lnTo>
                    <a:pt x="413" y="127"/>
                  </a:lnTo>
                  <a:lnTo>
                    <a:pt x="413" y="127"/>
                  </a:lnTo>
                  <a:lnTo>
                    <a:pt x="414" y="127"/>
                  </a:lnTo>
                  <a:lnTo>
                    <a:pt x="414" y="127"/>
                  </a:lnTo>
                  <a:lnTo>
                    <a:pt x="416" y="127"/>
                  </a:lnTo>
                  <a:lnTo>
                    <a:pt x="416" y="127"/>
                  </a:lnTo>
                  <a:lnTo>
                    <a:pt x="421" y="132"/>
                  </a:lnTo>
                  <a:lnTo>
                    <a:pt x="421" y="132"/>
                  </a:lnTo>
                  <a:lnTo>
                    <a:pt x="424" y="135"/>
                  </a:lnTo>
                  <a:lnTo>
                    <a:pt x="424" y="135"/>
                  </a:lnTo>
                  <a:lnTo>
                    <a:pt x="422" y="137"/>
                  </a:lnTo>
                  <a:lnTo>
                    <a:pt x="422" y="137"/>
                  </a:lnTo>
                  <a:lnTo>
                    <a:pt x="419" y="140"/>
                  </a:lnTo>
                  <a:lnTo>
                    <a:pt x="419" y="140"/>
                  </a:lnTo>
                  <a:lnTo>
                    <a:pt x="418" y="142"/>
                  </a:lnTo>
                  <a:lnTo>
                    <a:pt x="418" y="142"/>
                  </a:lnTo>
                  <a:lnTo>
                    <a:pt x="416" y="143"/>
                  </a:lnTo>
                  <a:lnTo>
                    <a:pt x="416" y="143"/>
                  </a:lnTo>
                  <a:lnTo>
                    <a:pt x="414" y="148"/>
                  </a:lnTo>
                  <a:lnTo>
                    <a:pt x="414" y="148"/>
                  </a:lnTo>
                  <a:lnTo>
                    <a:pt x="411" y="151"/>
                  </a:lnTo>
                  <a:lnTo>
                    <a:pt x="411" y="151"/>
                  </a:lnTo>
                  <a:lnTo>
                    <a:pt x="405" y="154"/>
                  </a:lnTo>
                  <a:lnTo>
                    <a:pt x="405" y="154"/>
                  </a:lnTo>
                  <a:lnTo>
                    <a:pt x="400" y="154"/>
                  </a:lnTo>
                  <a:lnTo>
                    <a:pt x="400" y="154"/>
                  </a:lnTo>
                  <a:lnTo>
                    <a:pt x="395" y="154"/>
                  </a:lnTo>
                  <a:lnTo>
                    <a:pt x="395" y="154"/>
                  </a:lnTo>
                  <a:lnTo>
                    <a:pt x="386" y="154"/>
                  </a:lnTo>
                  <a:lnTo>
                    <a:pt x="386" y="154"/>
                  </a:lnTo>
                  <a:lnTo>
                    <a:pt x="376" y="158"/>
                  </a:lnTo>
                  <a:lnTo>
                    <a:pt x="376" y="158"/>
                  </a:lnTo>
                  <a:lnTo>
                    <a:pt x="367" y="161"/>
                  </a:lnTo>
                  <a:lnTo>
                    <a:pt x="367" y="161"/>
                  </a:lnTo>
                  <a:lnTo>
                    <a:pt x="360" y="164"/>
                  </a:lnTo>
                  <a:lnTo>
                    <a:pt x="360" y="164"/>
                  </a:lnTo>
                  <a:lnTo>
                    <a:pt x="357" y="165"/>
                  </a:lnTo>
                  <a:lnTo>
                    <a:pt x="357" y="165"/>
                  </a:lnTo>
                  <a:lnTo>
                    <a:pt x="354" y="165"/>
                  </a:lnTo>
                  <a:lnTo>
                    <a:pt x="354" y="165"/>
                  </a:lnTo>
                  <a:lnTo>
                    <a:pt x="354" y="165"/>
                  </a:lnTo>
                  <a:lnTo>
                    <a:pt x="354" y="165"/>
                  </a:lnTo>
                  <a:lnTo>
                    <a:pt x="351" y="164"/>
                  </a:lnTo>
                  <a:lnTo>
                    <a:pt x="351" y="164"/>
                  </a:lnTo>
                  <a:lnTo>
                    <a:pt x="349" y="162"/>
                  </a:lnTo>
                  <a:lnTo>
                    <a:pt x="349" y="162"/>
                  </a:lnTo>
                  <a:lnTo>
                    <a:pt x="345" y="162"/>
                  </a:lnTo>
                  <a:lnTo>
                    <a:pt x="345" y="162"/>
                  </a:lnTo>
                  <a:lnTo>
                    <a:pt x="340" y="162"/>
                  </a:lnTo>
                  <a:lnTo>
                    <a:pt x="340" y="162"/>
                  </a:lnTo>
                  <a:lnTo>
                    <a:pt x="335" y="162"/>
                  </a:lnTo>
                  <a:lnTo>
                    <a:pt x="335" y="162"/>
                  </a:lnTo>
                  <a:lnTo>
                    <a:pt x="326" y="161"/>
                  </a:lnTo>
                  <a:lnTo>
                    <a:pt x="326" y="161"/>
                  </a:lnTo>
                  <a:lnTo>
                    <a:pt x="319" y="158"/>
                  </a:lnTo>
                  <a:lnTo>
                    <a:pt x="319" y="158"/>
                  </a:lnTo>
                  <a:lnTo>
                    <a:pt x="316" y="154"/>
                  </a:lnTo>
                  <a:lnTo>
                    <a:pt x="316" y="154"/>
                  </a:lnTo>
                  <a:lnTo>
                    <a:pt x="311" y="151"/>
                  </a:lnTo>
                  <a:lnTo>
                    <a:pt x="311" y="151"/>
                  </a:lnTo>
                  <a:lnTo>
                    <a:pt x="302" y="151"/>
                  </a:lnTo>
                  <a:lnTo>
                    <a:pt x="302" y="151"/>
                  </a:lnTo>
                  <a:lnTo>
                    <a:pt x="295" y="151"/>
                  </a:lnTo>
                  <a:lnTo>
                    <a:pt x="295" y="151"/>
                  </a:lnTo>
                  <a:lnTo>
                    <a:pt x="292" y="151"/>
                  </a:lnTo>
                  <a:lnTo>
                    <a:pt x="292" y="151"/>
                  </a:lnTo>
                  <a:lnTo>
                    <a:pt x="287" y="151"/>
                  </a:lnTo>
                  <a:lnTo>
                    <a:pt x="287" y="151"/>
                  </a:lnTo>
                  <a:lnTo>
                    <a:pt x="281" y="151"/>
                  </a:lnTo>
                  <a:lnTo>
                    <a:pt x="281" y="151"/>
                  </a:lnTo>
                  <a:lnTo>
                    <a:pt x="276" y="151"/>
                  </a:lnTo>
                  <a:lnTo>
                    <a:pt x="276" y="151"/>
                  </a:lnTo>
                  <a:lnTo>
                    <a:pt x="267" y="151"/>
                  </a:lnTo>
                  <a:lnTo>
                    <a:pt x="267" y="151"/>
                  </a:lnTo>
                  <a:lnTo>
                    <a:pt x="257" y="150"/>
                  </a:lnTo>
                  <a:lnTo>
                    <a:pt x="257" y="150"/>
                  </a:lnTo>
                  <a:lnTo>
                    <a:pt x="254" y="151"/>
                  </a:lnTo>
                  <a:lnTo>
                    <a:pt x="254" y="151"/>
                  </a:lnTo>
                  <a:lnTo>
                    <a:pt x="251" y="150"/>
                  </a:lnTo>
                  <a:lnTo>
                    <a:pt x="251" y="150"/>
                  </a:lnTo>
                  <a:lnTo>
                    <a:pt x="249" y="148"/>
                  </a:lnTo>
                  <a:lnTo>
                    <a:pt x="249" y="148"/>
                  </a:lnTo>
                  <a:lnTo>
                    <a:pt x="246" y="145"/>
                  </a:lnTo>
                  <a:lnTo>
                    <a:pt x="246" y="145"/>
                  </a:lnTo>
                  <a:lnTo>
                    <a:pt x="243" y="143"/>
                  </a:lnTo>
                  <a:lnTo>
                    <a:pt x="243" y="143"/>
                  </a:lnTo>
                  <a:lnTo>
                    <a:pt x="240" y="140"/>
                  </a:lnTo>
                  <a:lnTo>
                    <a:pt x="240" y="140"/>
                  </a:lnTo>
                  <a:lnTo>
                    <a:pt x="235" y="134"/>
                  </a:lnTo>
                  <a:lnTo>
                    <a:pt x="235" y="134"/>
                  </a:lnTo>
                  <a:lnTo>
                    <a:pt x="232" y="132"/>
                  </a:lnTo>
                  <a:lnTo>
                    <a:pt x="232" y="132"/>
                  </a:lnTo>
                  <a:lnTo>
                    <a:pt x="232" y="131"/>
                  </a:lnTo>
                  <a:lnTo>
                    <a:pt x="232" y="131"/>
                  </a:lnTo>
                  <a:lnTo>
                    <a:pt x="229" y="127"/>
                  </a:lnTo>
                  <a:lnTo>
                    <a:pt x="229" y="127"/>
                  </a:lnTo>
                  <a:lnTo>
                    <a:pt x="229" y="127"/>
                  </a:lnTo>
                  <a:lnTo>
                    <a:pt x="229" y="127"/>
                  </a:lnTo>
                  <a:lnTo>
                    <a:pt x="224" y="127"/>
                  </a:lnTo>
                  <a:lnTo>
                    <a:pt x="224" y="127"/>
                  </a:lnTo>
                  <a:lnTo>
                    <a:pt x="216" y="124"/>
                  </a:lnTo>
                  <a:lnTo>
                    <a:pt x="216" y="124"/>
                  </a:lnTo>
                  <a:lnTo>
                    <a:pt x="211" y="123"/>
                  </a:lnTo>
                  <a:lnTo>
                    <a:pt x="211" y="123"/>
                  </a:lnTo>
                  <a:lnTo>
                    <a:pt x="208" y="121"/>
                  </a:lnTo>
                  <a:lnTo>
                    <a:pt x="208" y="121"/>
                  </a:lnTo>
                  <a:lnTo>
                    <a:pt x="206" y="119"/>
                  </a:lnTo>
                  <a:lnTo>
                    <a:pt x="206" y="119"/>
                  </a:lnTo>
                  <a:lnTo>
                    <a:pt x="200" y="118"/>
                  </a:lnTo>
                  <a:lnTo>
                    <a:pt x="200" y="118"/>
                  </a:lnTo>
                  <a:lnTo>
                    <a:pt x="192" y="118"/>
                  </a:lnTo>
                  <a:lnTo>
                    <a:pt x="192" y="118"/>
                  </a:lnTo>
                  <a:lnTo>
                    <a:pt x="178" y="116"/>
                  </a:lnTo>
                  <a:lnTo>
                    <a:pt x="178" y="116"/>
                  </a:lnTo>
                  <a:lnTo>
                    <a:pt x="172" y="113"/>
                  </a:lnTo>
                  <a:lnTo>
                    <a:pt x="172" y="113"/>
                  </a:lnTo>
                  <a:lnTo>
                    <a:pt x="172" y="112"/>
                  </a:lnTo>
                  <a:lnTo>
                    <a:pt x="172" y="112"/>
                  </a:lnTo>
                  <a:lnTo>
                    <a:pt x="168" y="108"/>
                  </a:lnTo>
                  <a:lnTo>
                    <a:pt x="168" y="108"/>
                  </a:lnTo>
                  <a:lnTo>
                    <a:pt x="168" y="105"/>
                  </a:lnTo>
                  <a:lnTo>
                    <a:pt x="168" y="105"/>
                  </a:lnTo>
                  <a:lnTo>
                    <a:pt x="172" y="105"/>
                  </a:lnTo>
                  <a:lnTo>
                    <a:pt x="172" y="105"/>
                  </a:lnTo>
                  <a:lnTo>
                    <a:pt x="168" y="102"/>
                  </a:lnTo>
                  <a:lnTo>
                    <a:pt x="168" y="102"/>
                  </a:lnTo>
                  <a:lnTo>
                    <a:pt x="168" y="99"/>
                  </a:lnTo>
                  <a:lnTo>
                    <a:pt x="168" y="99"/>
                  </a:lnTo>
                  <a:lnTo>
                    <a:pt x="168" y="96"/>
                  </a:lnTo>
                  <a:lnTo>
                    <a:pt x="168" y="96"/>
                  </a:lnTo>
                  <a:lnTo>
                    <a:pt x="165" y="91"/>
                  </a:lnTo>
                  <a:lnTo>
                    <a:pt x="165" y="91"/>
                  </a:lnTo>
                  <a:lnTo>
                    <a:pt x="160" y="88"/>
                  </a:lnTo>
                  <a:lnTo>
                    <a:pt x="160" y="88"/>
                  </a:lnTo>
                  <a:lnTo>
                    <a:pt x="157" y="85"/>
                  </a:lnTo>
                  <a:lnTo>
                    <a:pt x="157" y="85"/>
                  </a:lnTo>
                  <a:lnTo>
                    <a:pt x="154" y="81"/>
                  </a:lnTo>
                  <a:lnTo>
                    <a:pt x="154" y="81"/>
                  </a:lnTo>
                  <a:lnTo>
                    <a:pt x="149" y="78"/>
                  </a:lnTo>
                  <a:lnTo>
                    <a:pt x="149" y="78"/>
                  </a:lnTo>
                  <a:lnTo>
                    <a:pt x="148" y="77"/>
                  </a:lnTo>
                  <a:lnTo>
                    <a:pt x="148" y="77"/>
                  </a:lnTo>
                  <a:lnTo>
                    <a:pt x="148" y="78"/>
                  </a:lnTo>
                  <a:lnTo>
                    <a:pt x="148" y="78"/>
                  </a:lnTo>
                  <a:lnTo>
                    <a:pt x="145" y="77"/>
                  </a:lnTo>
                  <a:lnTo>
                    <a:pt x="145" y="77"/>
                  </a:lnTo>
                  <a:lnTo>
                    <a:pt x="141" y="75"/>
                  </a:lnTo>
                  <a:lnTo>
                    <a:pt x="141" y="75"/>
                  </a:lnTo>
                  <a:lnTo>
                    <a:pt x="138" y="75"/>
                  </a:lnTo>
                  <a:lnTo>
                    <a:pt x="138" y="75"/>
                  </a:lnTo>
                  <a:lnTo>
                    <a:pt x="135" y="75"/>
                  </a:lnTo>
                  <a:lnTo>
                    <a:pt x="135" y="75"/>
                  </a:lnTo>
                  <a:lnTo>
                    <a:pt x="132" y="72"/>
                  </a:lnTo>
                  <a:lnTo>
                    <a:pt x="132" y="72"/>
                  </a:lnTo>
                  <a:lnTo>
                    <a:pt x="129" y="70"/>
                  </a:lnTo>
                  <a:lnTo>
                    <a:pt x="129" y="70"/>
                  </a:lnTo>
                  <a:lnTo>
                    <a:pt x="126" y="70"/>
                  </a:lnTo>
                  <a:lnTo>
                    <a:pt x="126" y="70"/>
                  </a:lnTo>
                  <a:lnTo>
                    <a:pt x="122" y="67"/>
                  </a:lnTo>
                  <a:lnTo>
                    <a:pt x="122" y="67"/>
                  </a:lnTo>
                  <a:lnTo>
                    <a:pt x="122" y="67"/>
                  </a:lnTo>
                  <a:lnTo>
                    <a:pt x="122" y="67"/>
                  </a:lnTo>
                  <a:lnTo>
                    <a:pt x="119" y="64"/>
                  </a:lnTo>
                  <a:lnTo>
                    <a:pt x="119" y="64"/>
                  </a:lnTo>
                  <a:lnTo>
                    <a:pt x="118" y="64"/>
                  </a:lnTo>
                  <a:lnTo>
                    <a:pt x="118" y="64"/>
                  </a:lnTo>
                  <a:lnTo>
                    <a:pt x="118" y="61"/>
                  </a:lnTo>
                  <a:lnTo>
                    <a:pt x="118" y="61"/>
                  </a:lnTo>
                  <a:lnTo>
                    <a:pt x="118" y="61"/>
                  </a:lnTo>
                  <a:lnTo>
                    <a:pt x="118" y="61"/>
                  </a:lnTo>
                  <a:lnTo>
                    <a:pt x="118" y="59"/>
                  </a:lnTo>
                  <a:lnTo>
                    <a:pt x="118" y="59"/>
                  </a:lnTo>
                  <a:lnTo>
                    <a:pt x="116" y="61"/>
                  </a:lnTo>
                  <a:lnTo>
                    <a:pt x="116" y="61"/>
                  </a:lnTo>
                  <a:lnTo>
                    <a:pt x="113" y="61"/>
                  </a:lnTo>
                  <a:lnTo>
                    <a:pt x="113" y="61"/>
                  </a:lnTo>
                  <a:lnTo>
                    <a:pt x="106" y="61"/>
                  </a:lnTo>
                  <a:lnTo>
                    <a:pt x="106" y="61"/>
                  </a:lnTo>
                  <a:lnTo>
                    <a:pt x="106" y="61"/>
                  </a:lnTo>
                  <a:lnTo>
                    <a:pt x="106" y="61"/>
                  </a:lnTo>
                  <a:lnTo>
                    <a:pt x="106" y="64"/>
                  </a:lnTo>
                  <a:lnTo>
                    <a:pt x="106" y="64"/>
                  </a:lnTo>
                  <a:lnTo>
                    <a:pt x="106" y="67"/>
                  </a:lnTo>
                  <a:lnTo>
                    <a:pt x="106" y="67"/>
                  </a:lnTo>
                  <a:lnTo>
                    <a:pt x="103" y="70"/>
                  </a:lnTo>
                  <a:lnTo>
                    <a:pt x="103" y="70"/>
                  </a:lnTo>
                  <a:lnTo>
                    <a:pt x="102" y="70"/>
                  </a:lnTo>
                  <a:lnTo>
                    <a:pt x="102" y="70"/>
                  </a:lnTo>
                  <a:lnTo>
                    <a:pt x="100" y="70"/>
                  </a:lnTo>
                  <a:lnTo>
                    <a:pt x="100" y="70"/>
                  </a:lnTo>
                  <a:lnTo>
                    <a:pt x="99" y="72"/>
                  </a:lnTo>
                  <a:lnTo>
                    <a:pt x="99" y="72"/>
                  </a:lnTo>
                  <a:lnTo>
                    <a:pt x="99" y="75"/>
                  </a:lnTo>
                  <a:lnTo>
                    <a:pt x="99" y="75"/>
                  </a:lnTo>
                  <a:lnTo>
                    <a:pt x="100" y="78"/>
                  </a:lnTo>
                  <a:lnTo>
                    <a:pt x="100" y="78"/>
                  </a:lnTo>
                  <a:lnTo>
                    <a:pt x="103" y="85"/>
                  </a:lnTo>
                  <a:lnTo>
                    <a:pt x="103" y="85"/>
                  </a:lnTo>
                  <a:lnTo>
                    <a:pt x="103" y="88"/>
                  </a:lnTo>
                  <a:lnTo>
                    <a:pt x="103" y="88"/>
                  </a:lnTo>
                  <a:lnTo>
                    <a:pt x="103" y="89"/>
                  </a:lnTo>
                  <a:lnTo>
                    <a:pt x="103" y="89"/>
                  </a:lnTo>
                  <a:lnTo>
                    <a:pt x="100" y="91"/>
                  </a:lnTo>
                  <a:lnTo>
                    <a:pt x="100" y="91"/>
                  </a:lnTo>
                  <a:lnTo>
                    <a:pt x="97" y="92"/>
                  </a:lnTo>
                  <a:lnTo>
                    <a:pt x="97" y="92"/>
                  </a:lnTo>
                  <a:lnTo>
                    <a:pt x="95" y="91"/>
                  </a:lnTo>
                  <a:lnTo>
                    <a:pt x="95" y="91"/>
                  </a:lnTo>
                  <a:lnTo>
                    <a:pt x="92" y="91"/>
                  </a:lnTo>
                  <a:lnTo>
                    <a:pt x="92" y="91"/>
                  </a:lnTo>
                  <a:lnTo>
                    <a:pt x="87" y="91"/>
                  </a:lnTo>
                  <a:lnTo>
                    <a:pt x="87" y="91"/>
                  </a:lnTo>
                  <a:lnTo>
                    <a:pt x="81" y="89"/>
                  </a:lnTo>
                  <a:lnTo>
                    <a:pt x="81" y="89"/>
                  </a:lnTo>
                  <a:lnTo>
                    <a:pt x="78" y="88"/>
                  </a:lnTo>
                  <a:lnTo>
                    <a:pt x="78" y="88"/>
                  </a:lnTo>
                  <a:lnTo>
                    <a:pt x="75" y="88"/>
                  </a:lnTo>
                  <a:lnTo>
                    <a:pt x="75" y="88"/>
                  </a:lnTo>
                  <a:lnTo>
                    <a:pt x="75" y="91"/>
                  </a:lnTo>
                  <a:lnTo>
                    <a:pt x="75" y="91"/>
                  </a:lnTo>
                  <a:lnTo>
                    <a:pt x="75" y="92"/>
                  </a:lnTo>
                  <a:lnTo>
                    <a:pt x="75" y="92"/>
                  </a:lnTo>
                  <a:lnTo>
                    <a:pt x="75" y="96"/>
                  </a:lnTo>
                  <a:lnTo>
                    <a:pt x="75" y="96"/>
                  </a:lnTo>
                  <a:lnTo>
                    <a:pt x="75" y="102"/>
                  </a:lnTo>
                  <a:lnTo>
                    <a:pt x="75" y="102"/>
                  </a:lnTo>
                  <a:lnTo>
                    <a:pt x="75" y="108"/>
                  </a:lnTo>
                  <a:lnTo>
                    <a:pt x="75" y="108"/>
                  </a:lnTo>
                  <a:lnTo>
                    <a:pt x="75" y="110"/>
                  </a:lnTo>
                  <a:lnTo>
                    <a:pt x="75" y="110"/>
                  </a:lnTo>
                  <a:lnTo>
                    <a:pt x="78" y="112"/>
                  </a:lnTo>
                  <a:lnTo>
                    <a:pt x="78" y="112"/>
                  </a:lnTo>
                  <a:lnTo>
                    <a:pt x="78" y="113"/>
                  </a:lnTo>
                  <a:lnTo>
                    <a:pt x="78" y="113"/>
                  </a:lnTo>
                  <a:lnTo>
                    <a:pt x="81" y="115"/>
                  </a:lnTo>
                  <a:lnTo>
                    <a:pt x="81" y="115"/>
                  </a:lnTo>
                  <a:lnTo>
                    <a:pt x="78" y="116"/>
                  </a:lnTo>
                  <a:lnTo>
                    <a:pt x="78" y="116"/>
                  </a:lnTo>
                  <a:lnTo>
                    <a:pt x="78" y="116"/>
                  </a:lnTo>
                  <a:lnTo>
                    <a:pt x="78" y="116"/>
                  </a:lnTo>
                  <a:lnTo>
                    <a:pt x="75" y="116"/>
                  </a:lnTo>
                  <a:lnTo>
                    <a:pt x="75" y="116"/>
                  </a:lnTo>
                  <a:lnTo>
                    <a:pt x="72" y="116"/>
                  </a:lnTo>
                  <a:lnTo>
                    <a:pt x="72" y="116"/>
                  </a:lnTo>
                  <a:lnTo>
                    <a:pt x="70" y="115"/>
                  </a:lnTo>
                  <a:lnTo>
                    <a:pt x="70" y="115"/>
                  </a:lnTo>
                  <a:lnTo>
                    <a:pt x="67" y="115"/>
                  </a:lnTo>
                  <a:lnTo>
                    <a:pt x="67" y="115"/>
                  </a:lnTo>
                  <a:lnTo>
                    <a:pt x="60" y="116"/>
                  </a:lnTo>
                  <a:lnTo>
                    <a:pt x="60" y="116"/>
                  </a:lnTo>
                  <a:lnTo>
                    <a:pt x="54" y="118"/>
                  </a:lnTo>
                  <a:lnTo>
                    <a:pt x="54" y="118"/>
                  </a:lnTo>
                  <a:lnTo>
                    <a:pt x="52" y="118"/>
                  </a:lnTo>
                  <a:lnTo>
                    <a:pt x="52" y="118"/>
                  </a:lnTo>
                  <a:lnTo>
                    <a:pt x="51" y="119"/>
                  </a:lnTo>
                  <a:lnTo>
                    <a:pt x="51" y="119"/>
                  </a:lnTo>
                  <a:lnTo>
                    <a:pt x="51" y="121"/>
                  </a:lnTo>
                  <a:lnTo>
                    <a:pt x="51" y="121"/>
                  </a:lnTo>
                  <a:lnTo>
                    <a:pt x="54" y="121"/>
                  </a:lnTo>
                  <a:lnTo>
                    <a:pt x="54" y="121"/>
                  </a:lnTo>
                  <a:lnTo>
                    <a:pt x="57" y="121"/>
                  </a:lnTo>
                  <a:lnTo>
                    <a:pt x="57" y="121"/>
                  </a:lnTo>
                  <a:lnTo>
                    <a:pt x="57" y="123"/>
                  </a:lnTo>
                  <a:lnTo>
                    <a:pt x="57" y="123"/>
                  </a:lnTo>
                  <a:lnTo>
                    <a:pt x="59" y="127"/>
                  </a:lnTo>
                  <a:lnTo>
                    <a:pt x="59" y="127"/>
                  </a:lnTo>
                  <a:lnTo>
                    <a:pt x="60" y="131"/>
                  </a:lnTo>
                  <a:lnTo>
                    <a:pt x="60" y="131"/>
                  </a:lnTo>
                  <a:lnTo>
                    <a:pt x="64" y="134"/>
                  </a:lnTo>
                  <a:lnTo>
                    <a:pt x="64" y="134"/>
                  </a:lnTo>
                  <a:lnTo>
                    <a:pt x="65" y="137"/>
                  </a:lnTo>
                  <a:lnTo>
                    <a:pt x="65" y="137"/>
                  </a:lnTo>
                  <a:lnTo>
                    <a:pt x="67" y="140"/>
                  </a:lnTo>
                  <a:lnTo>
                    <a:pt x="67" y="140"/>
                  </a:lnTo>
                  <a:lnTo>
                    <a:pt x="68" y="143"/>
                  </a:lnTo>
                  <a:lnTo>
                    <a:pt x="68" y="143"/>
                  </a:lnTo>
                  <a:lnTo>
                    <a:pt x="70" y="143"/>
                  </a:lnTo>
                  <a:lnTo>
                    <a:pt x="70" y="143"/>
                  </a:lnTo>
                  <a:lnTo>
                    <a:pt x="68" y="145"/>
                  </a:lnTo>
                  <a:lnTo>
                    <a:pt x="68" y="145"/>
                  </a:lnTo>
                  <a:lnTo>
                    <a:pt x="67" y="145"/>
                  </a:lnTo>
                  <a:lnTo>
                    <a:pt x="67" y="145"/>
                  </a:lnTo>
                  <a:lnTo>
                    <a:pt x="65" y="146"/>
                  </a:lnTo>
                  <a:lnTo>
                    <a:pt x="65" y="146"/>
                  </a:lnTo>
                  <a:lnTo>
                    <a:pt x="68" y="148"/>
                  </a:lnTo>
                  <a:lnTo>
                    <a:pt x="68" y="148"/>
                  </a:lnTo>
                  <a:lnTo>
                    <a:pt x="65" y="150"/>
                  </a:lnTo>
                  <a:lnTo>
                    <a:pt x="65" y="150"/>
                  </a:lnTo>
                  <a:lnTo>
                    <a:pt x="64" y="151"/>
                  </a:lnTo>
                  <a:lnTo>
                    <a:pt x="64" y="151"/>
                  </a:lnTo>
                  <a:lnTo>
                    <a:pt x="65" y="151"/>
                  </a:lnTo>
                  <a:lnTo>
                    <a:pt x="65" y="151"/>
                  </a:lnTo>
                  <a:lnTo>
                    <a:pt x="67" y="154"/>
                  </a:lnTo>
                  <a:lnTo>
                    <a:pt x="67" y="154"/>
                  </a:lnTo>
                  <a:lnTo>
                    <a:pt x="67" y="161"/>
                  </a:lnTo>
                  <a:lnTo>
                    <a:pt x="67" y="161"/>
                  </a:lnTo>
                  <a:lnTo>
                    <a:pt x="62" y="162"/>
                  </a:lnTo>
                  <a:lnTo>
                    <a:pt x="62" y="162"/>
                  </a:lnTo>
                  <a:lnTo>
                    <a:pt x="56" y="165"/>
                  </a:lnTo>
                  <a:lnTo>
                    <a:pt x="56" y="165"/>
                  </a:lnTo>
                  <a:lnTo>
                    <a:pt x="52" y="167"/>
                  </a:lnTo>
                  <a:lnTo>
                    <a:pt x="52" y="167"/>
                  </a:lnTo>
                  <a:lnTo>
                    <a:pt x="51" y="167"/>
                  </a:lnTo>
                  <a:lnTo>
                    <a:pt x="51" y="167"/>
                  </a:lnTo>
                  <a:lnTo>
                    <a:pt x="49" y="169"/>
                  </a:lnTo>
                  <a:lnTo>
                    <a:pt x="49" y="169"/>
                  </a:lnTo>
                  <a:lnTo>
                    <a:pt x="48" y="172"/>
                  </a:lnTo>
                  <a:lnTo>
                    <a:pt x="48" y="172"/>
                  </a:lnTo>
                  <a:lnTo>
                    <a:pt x="48" y="173"/>
                  </a:lnTo>
                  <a:lnTo>
                    <a:pt x="48" y="173"/>
                  </a:lnTo>
                  <a:lnTo>
                    <a:pt x="46" y="175"/>
                  </a:lnTo>
                  <a:lnTo>
                    <a:pt x="46" y="175"/>
                  </a:lnTo>
                  <a:lnTo>
                    <a:pt x="40" y="175"/>
                  </a:lnTo>
                  <a:lnTo>
                    <a:pt x="40" y="175"/>
                  </a:lnTo>
                  <a:lnTo>
                    <a:pt x="35" y="175"/>
                  </a:lnTo>
                  <a:lnTo>
                    <a:pt x="35" y="175"/>
                  </a:lnTo>
                  <a:lnTo>
                    <a:pt x="33" y="175"/>
                  </a:lnTo>
                  <a:lnTo>
                    <a:pt x="33" y="175"/>
                  </a:lnTo>
                  <a:lnTo>
                    <a:pt x="32" y="177"/>
                  </a:lnTo>
                  <a:lnTo>
                    <a:pt x="32" y="177"/>
                  </a:lnTo>
                  <a:lnTo>
                    <a:pt x="32" y="180"/>
                  </a:lnTo>
                  <a:lnTo>
                    <a:pt x="32" y="180"/>
                  </a:lnTo>
                  <a:lnTo>
                    <a:pt x="30" y="183"/>
                  </a:lnTo>
                  <a:lnTo>
                    <a:pt x="30" y="183"/>
                  </a:lnTo>
                  <a:lnTo>
                    <a:pt x="29" y="183"/>
                  </a:lnTo>
                  <a:lnTo>
                    <a:pt x="29" y="183"/>
                  </a:lnTo>
                  <a:lnTo>
                    <a:pt x="24" y="183"/>
                  </a:lnTo>
                  <a:lnTo>
                    <a:pt x="24" y="183"/>
                  </a:lnTo>
                  <a:lnTo>
                    <a:pt x="22" y="183"/>
                  </a:lnTo>
                  <a:lnTo>
                    <a:pt x="22" y="183"/>
                  </a:lnTo>
                  <a:lnTo>
                    <a:pt x="21" y="183"/>
                  </a:lnTo>
                  <a:lnTo>
                    <a:pt x="21" y="183"/>
                  </a:lnTo>
                  <a:lnTo>
                    <a:pt x="19" y="181"/>
                  </a:lnTo>
                  <a:lnTo>
                    <a:pt x="19" y="181"/>
                  </a:lnTo>
                  <a:lnTo>
                    <a:pt x="18" y="181"/>
                  </a:lnTo>
                  <a:lnTo>
                    <a:pt x="18" y="181"/>
                  </a:lnTo>
                  <a:lnTo>
                    <a:pt x="16" y="183"/>
                  </a:lnTo>
                  <a:lnTo>
                    <a:pt x="16" y="183"/>
                  </a:lnTo>
                  <a:lnTo>
                    <a:pt x="13" y="183"/>
                  </a:lnTo>
                  <a:lnTo>
                    <a:pt x="13" y="183"/>
                  </a:lnTo>
                  <a:lnTo>
                    <a:pt x="11" y="183"/>
                  </a:lnTo>
                  <a:lnTo>
                    <a:pt x="11" y="183"/>
                  </a:lnTo>
                  <a:lnTo>
                    <a:pt x="11" y="183"/>
                  </a:lnTo>
                  <a:lnTo>
                    <a:pt x="11" y="183"/>
                  </a:lnTo>
                  <a:lnTo>
                    <a:pt x="8" y="186"/>
                  </a:lnTo>
                  <a:lnTo>
                    <a:pt x="8" y="186"/>
                  </a:lnTo>
                  <a:lnTo>
                    <a:pt x="8" y="186"/>
                  </a:lnTo>
                  <a:lnTo>
                    <a:pt x="8" y="186"/>
                  </a:lnTo>
                  <a:lnTo>
                    <a:pt x="5" y="189"/>
                  </a:lnTo>
                  <a:lnTo>
                    <a:pt x="5" y="189"/>
                  </a:lnTo>
                  <a:lnTo>
                    <a:pt x="3" y="189"/>
                  </a:lnTo>
                  <a:lnTo>
                    <a:pt x="3" y="189"/>
                  </a:lnTo>
                  <a:lnTo>
                    <a:pt x="3" y="192"/>
                  </a:lnTo>
                  <a:lnTo>
                    <a:pt x="3" y="192"/>
                  </a:lnTo>
                  <a:lnTo>
                    <a:pt x="3" y="192"/>
                  </a:lnTo>
                  <a:lnTo>
                    <a:pt x="3" y="192"/>
                  </a:lnTo>
                  <a:lnTo>
                    <a:pt x="5" y="196"/>
                  </a:lnTo>
                  <a:lnTo>
                    <a:pt x="5" y="196"/>
                  </a:lnTo>
                  <a:lnTo>
                    <a:pt x="3" y="196"/>
                  </a:lnTo>
                  <a:lnTo>
                    <a:pt x="3" y="196"/>
                  </a:lnTo>
                  <a:lnTo>
                    <a:pt x="0" y="197"/>
                  </a:lnTo>
                  <a:lnTo>
                    <a:pt x="0" y="197"/>
                  </a:lnTo>
                  <a:lnTo>
                    <a:pt x="2" y="197"/>
                  </a:lnTo>
                  <a:lnTo>
                    <a:pt x="2" y="197"/>
                  </a:lnTo>
                  <a:lnTo>
                    <a:pt x="2" y="200"/>
                  </a:lnTo>
                  <a:lnTo>
                    <a:pt x="2" y="200"/>
                  </a:lnTo>
                  <a:lnTo>
                    <a:pt x="5" y="204"/>
                  </a:lnTo>
                  <a:lnTo>
                    <a:pt x="5" y="204"/>
                  </a:lnTo>
                  <a:lnTo>
                    <a:pt x="5" y="205"/>
                  </a:lnTo>
                  <a:lnTo>
                    <a:pt x="5" y="205"/>
                  </a:lnTo>
                  <a:lnTo>
                    <a:pt x="5" y="207"/>
                  </a:lnTo>
                  <a:lnTo>
                    <a:pt x="5" y="207"/>
                  </a:lnTo>
                  <a:lnTo>
                    <a:pt x="5" y="208"/>
                  </a:lnTo>
                  <a:lnTo>
                    <a:pt x="5" y="208"/>
                  </a:lnTo>
                  <a:lnTo>
                    <a:pt x="8" y="210"/>
                  </a:lnTo>
                  <a:lnTo>
                    <a:pt x="8" y="210"/>
                  </a:lnTo>
                  <a:lnTo>
                    <a:pt x="8" y="210"/>
                  </a:lnTo>
                  <a:lnTo>
                    <a:pt x="8" y="210"/>
                  </a:lnTo>
                  <a:lnTo>
                    <a:pt x="11" y="208"/>
                  </a:lnTo>
                  <a:lnTo>
                    <a:pt x="11" y="208"/>
                  </a:lnTo>
                  <a:lnTo>
                    <a:pt x="13" y="208"/>
                  </a:lnTo>
                  <a:lnTo>
                    <a:pt x="13" y="208"/>
                  </a:lnTo>
                  <a:lnTo>
                    <a:pt x="18" y="210"/>
                  </a:lnTo>
                  <a:lnTo>
                    <a:pt x="18" y="210"/>
                  </a:lnTo>
                  <a:lnTo>
                    <a:pt x="19" y="212"/>
                  </a:lnTo>
                  <a:lnTo>
                    <a:pt x="19" y="212"/>
                  </a:lnTo>
                  <a:lnTo>
                    <a:pt x="19" y="215"/>
                  </a:lnTo>
                  <a:lnTo>
                    <a:pt x="19" y="215"/>
                  </a:lnTo>
                  <a:lnTo>
                    <a:pt x="19" y="215"/>
                  </a:lnTo>
                  <a:lnTo>
                    <a:pt x="19" y="215"/>
                  </a:lnTo>
                  <a:lnTo>
                    <a:pt x="19" y="216"/>
                  </a:lnTo>
                  <a:lnTo>
                    <a:pt x="19" y="216"/>
                  </a:lnTo>
                  <a:lnTo>
                    <a:pt x="21" y="218"/>
                  </a:lnTo>
                  <a:lnTo>
                    <a:pt x="21" y="218"/>
                  </a:lnTo>
                  <a:lnTo>
                    <a:pt x="22" y="218"/>
                  </a:lnTo>
                  <a:lnTo>
                    <a:pt x="22" y="218"/>
                  </a:lnTo>
                  <a:lnTo>
                    <a:pt x="22" y="221"/>
                  </a:lnTo>
                  <a:lnTo>
                    <a:pt x="22" y="221"/>
                  </a:lnTo>
                  <a:lnTo>
                    <a:pt x="22" y="223"/>
                  </a:lnTo>
                  <a:lnTo>
                    <a:pt x="22" y="223"/>
                  </a:lnTo>
                  <a:lnTo>
                    <a:pt x="22" y="224"/>
                  </a:lnTo>
                  <a:lnTo>
                    <a:pt x="22" y="224"/>
                  </a:lnTo>
                  <a:lnTo>
                    <a:pt x="24" y="224"/>
                  </a:lnTo>
                  <a:lnTo>
                    <a:pt x="24" y="224"/>
                  </a:lnTo>
                  <a:lnTo>
                    <a:pt x="25" y="227"/>
                  </a:lnTo>
                  <a:lnTo>
                    <a:pt x="25" y="227"/>
                  </a:lnTo>
                  <a:lnTo>
                    <a:pt x="25" y="227"/>
                  </a:lnTo>
                  <a:lnTo>
                    <a:pt x="25" y="227"/>
                  </a:lnTo>
                  <a:lnTo>
                    <a:pt x="24" y="229"/>
                  </a:lnTo>
                  <a:lnTo>
                    <a:pt x="24" y="229"/>
                  </a:lnTo>
                  <a:lnTo>
                    <a:pt x="21" y="229"/>
                  </a:lnTo>
                  <a:lnTo>
                    <a:pt x="21" y="229"/>
                  </a:lnTo>
                  <a:lnTo>
                    <a:pt x="19" y="229"/>
                  </a:lnTo>
                  <a:lnTo>
                    <a:pt x="19" y="229"/>
                  </a:lnTo>
                  <a:lnTo>
                    <a:pt x="19" y="231"/>
                  </a:lnTo>
                  <a:lnTo>
                    <a:pt x="19" y="231"/>
                  </a:lnTo>
                  <a:lnTo>
                    <a:pt x="19" y="231"/>
                  </a:lnTo>
                  <a:lnTo>
                    <a:pt x="21" y="232"/>
                  </a:lnTo>
                  <a:lnTo>
                    <a:pt x="21" y="232"/>
                  </a:lnTo>
                  <a:lnTo>
                    <a:pt x="24" y="232"/>
                  </a:lnTo>
                  <a:lnTo>
                    <a:pt x="24" y="232"/>
                  </a:lnTo>
                  <a:lnTo>
                    <a:pt x="24" y="234"/>
                  </a:lnTo>
                  <a:lnTo>
                    <a:pt x="24" y="234"/>
                  </a:lnTo>
                  <a:lnTo>
                    <a:pt x="25" y="232"/>
                  </a:lnTo>
                  <a:lnTo>
                    <a:pt x="25" y="232"/>
                  </a:lnTo>
                  <a:lnTo>
                    <a:pt x="29" y="232"/>
                  </a:lnTo>
                  <a:lnTo>
                    <a:pt x="29" y="232"/>
                  </a:lnTo>
                  <a:lnTo>
                    <a:pt x="32" y="235"/>
                  </a:lnTo>
                  <a:lnTo>
                    <a:pt x="32" y="235"/>
                  </a:lnTo>
                  <a:lnTo>
                    <a:pt x="33" y="235"/>
                  </a:lnTo>
                  <a:lnTo>
                    <a:pt x="33" y="235"/>
                  </a:lnTo>
                  <a:lnTo>
                    <a:pt x="37" y="237"/>
                  </a:lnTo>
                  <a:lnTo>
                    <a:pt x="37" y="237"/>
                  </a:lnTo>
                  <a:lnTo>
                    <a:pt x="40" y="242"/>
                  </a:lnTo>
                  <a:lnTo>
                    <a:pt x="40" y="242"/>
                  </a:lnTo>
                  <a:lnTo>
                    <a:pt x="40" y="245"/>
                  </a:lnTo>
                  <a:lnTo>
                    <a:pt x="40" y="245"/>
                  </a:lnTo>
                  <a:lnTo>
                    <a:pt x="43" y="248"/>
                  </a:lnTo>
                  <a:lnTo>
                    <a:pt x="43" y="248"/>
                  </a:lnTo>
                  <a:lnTo>
                    <a:pt x="46" y="248"/>
                  </a:lnTo>
                  <a:lnTo>
                    <a:pt x="46" y="248"/>
                  </a:lnTo>
                  <a:lnTo>
                    <a:pt x="48" y="248"/>
                  </a:lnTo>
                  <a:lnTo>
                    <a:pt x="48" y="248"/>
                  </a:lnTo>
                  <a:lnTo>
                    <a:pt x="48" y="251"/>
                  </a:lnTo>
                  <a:lnTo>
                    <a:pt x="48" y="251"/>
                  </a:lnTo>
                  <a:lnTo>
                    <a:pt x="49" y="251"/>
                  </a:lnTo>
                  <a:lnTo>
                    <a:pt x="49" y="251"/>
                  </a:lnTo>
                  <a:lnTo>
                    <a:pt x="54" y="253"/>
                  </a:lnTo>
                  <a:lnTo>
                    <a:pt x="54" y="253"/>
                  </a:lnTo>
                  <a:lnTo>
                    <a:pt x="60" y="253"/>
                  </a:lnTo>
                  <a:lnTo>
                    <a:pt x="60" y="253"/>
                  </a:lnTo>
                  <a:lnTo>
                    <a:pt x="64" y="253"/>
                  </a:lnTo>
                  <a:lnTo>
                    <a:pt x="64" y="253"/>
                  </a:lnTo>
                  <a:lnTo>
                    <a:pt x="64" y="254"/>
                  </a:lnTo>
                  <a:lnTo>
                    <a:pt x="64" y="254"/>
                  </a:lnTo>
                  <a:lnTo>
                    <a:pt x="65" y="254"/>
                  </a:lnTo>
                  <a:lnTo>
                    <a:pt x="65" y="254"/>
                  </a:lnTo>
                  <a:lnTo>
                    <a:pt x="68" y="258"/>
                  </a:lnTo>
                  <a:lnTo>
                    <a:pt x="68" y="258"/>
                  </a:lnTo>
                  <a:lnTo>
                    <a:pt x="70" y="261"/>
                  </a:lnTo>
                  <a:lnTo>
                    <a:pt x="70" y="261"/>
                  </a:lnTo>
                  <a:lnTo>
                    <a:pt x="72" y="264"/>
                  </a:lnTo>
                  <a:lnTo>
                    <a:pt x="72" y="264"/>
                  </a:lnTo>
                  <a:lnTo>
                    <a:pt x="72" y="266"/>
                  </a:lnTo>
                  <a:lnTo>
                    <a:pt x="72" y="266"/>
                  </a:lnTo>
                  <a:lnTo>
                    <a:pt x="78" y="269"/>
                  </a:lnTo>
                  <a:lnTo>
                    <a:pt x="78" y="269"/>
                  </a:lnTo>
                  <a:lnTo>
                    <a:pt x="81" y="272"/>
                  </a:lnTo>
                  <a:lnTo>
                    <a:pt x="81" y="272"/>
                  </a:lnTo>
                  <a:lnTo>
                    <a:pt x="83" y="272"/>
                  </a:lnTo>
                  <a:lnTo>
                    <a:pt x="83" y="272"/>
                  </a:lnTo>
                  <a:lnTo>
                    <a:pt x="83" y="273"/>
                  </a:lnTo>
                  <a:lnTo>
                    <a:pt x="83" y="273"/>
                  </a:lnTo>
                  <a:lnTo>
                    <a:pt x="81" y="273"/>
                  </a:lnTo>
                  <a:lnTo>
                    <a:pt x="81" y="273"/>
                  </a:lnTo>
                  <a:lnTo>
                    <a:pt x="81" y="273"/>
                  </a:lnTo>
                  <a:lnTo>
                    <a:pt x="81" y="273"/>
                  </a:lnTo>
                  <a:lnTo>
                    <a:pt x="81" y="277"/>
                  </a:lnTo>
                  <a:lnTo>
                    <a:pt x="81" y="277"/>
                  </a:lnTo>
                  <a:lnTo>
                    <a:pt x="81" y="280"/>
                  </a:lnTo>
                  <a:lnTo>
                    <a:pt x="81" y="280"/>
                  </a:lnTo>
                  <a:lnTo>
                    <a:pt x="84" y="283"/>
                  </a:lnTo>
                  <a:lnTo>
                    <a:pt x="84" y="283"/>
                  </a:lnTo>
                  <a:lnTo>
                    <a:pt x="84" y="283"/>
                  </a:lnTo>
                  <a:lnTo>
                    <a:pt x="84" y="283"/>
                  </a:lnTo>
                  <a:lnTo>
                    <a:pt x="87" y="286"/>
                  </a:lnTo>
                  <a:lnTo>
                    <a:pt x="87" y="286"/>
                  </a:lnTo>
                  <a:lnTo>
                    <a:pt x="91" y="286"/>
                  </a:lnTo>
                  <a:lnTo>
                    <a:pt x="91" y="286"/>
                  </a:lnTo>
                  <a:lnTo>
                    <a:pt x="91" y="288"/>
                  </a:lnTo>
                  <a:lnTo>
                    <a:pt x="91" y="288"/>
                  </a:lnTo>
                  <a:lnTo>
                    <a:pt x="92" y="291"/>
                  </a:lnTo>
                  <a:lnTo>
                    <a:pt x="92" y="291"/>
                  </a:lnTo>
                  <a:lnTo>
                    <a:pt x="94" y="293"/>
                  </a:lnTo>
                  <a:lnTo>
                    <a:pt x="94" y="293"/>
                  </a:lnTo>
                  <a:lnTo>
                    <a:pt x="94" y="294"/>
                  </a:lnTo>
                  <a:lnTo>
                    <a:pt x="94" y="294"/>
                  </a:lnTo>
                  <a:lnTo>
                    <a:pt x="94" y="296"/>
                  </a:lnTo>
                  <a:lnTo>
                    <a:pt x="94" y="296"/>
                  </a:lnTo>
                  <a:lnTo>
                    <a:pt x="92" y="297"/>
                  </a:lnTo>
                  <a:lnTo>
                    <a:pt x="92" y="297"/>
                  </a:lnTo>
                  <a:lnTo>
                    <a:pt x="91" y="297"/>
                  </a:lnTo>
                  <a:lnTo>
                    <a:pt x="91" y="297"/>
                  </a:lnTo>
                  <a:lnTo>
                    <a:pt x="89" y="297"/>
                  </a:lnTo>
                  <a:lnTo>
                    <a:pt x="89" y="297"/>
                  </a:lnTo>
                  <a:lnTo>
                    <a:pt x="87" y="299"/>
                  </a:lnTo>
                  <a:lnTo>
                    <a:pt x="87" y="299"/>
                  </a:lnTo>
                  <a:lnTo>
                    <a:pt x="86" y="297"/>
                  </a:lnTo>
                  <a:lnTo>
                    <a:pt x="86" y="297"/>
                  </a:lnTo>
                  <a:lnTo>
                    <a:pt x="84" y="296"/>
                  </a:lnTo>
                  <a:lnTo>
                    <a:pt x="84" y="296"/>
                  </a:lnTo>
                  <a:lnTo>
                    <a:pt x="83" y="296"/>
                  </a:lnTo>
                  <a:lnTo>
                    <a:pt x="83" y="296"/>
                  </a:lnTo>
                  <a:lnTo>
                    <a:pt x="81" y="296"/>
                  </a:lnTo>
                  <a:lnTo>
                    <a:pt x="81" y="296"/>
                  </a:lnTo>
                  <a:lnTo>
                    <a:pt x="81" y="299"/>
                  </a:lnTo>
                  <a:lnTo>
                    <a:pt x="81" y="299"/>
                  </a:lnTo>
                  <a:lnTo>
                    <a:pt x="83" y="302"/>
                  </a:lnTo>
                  <a:lnTo>
                    <a:pt x="83" y="302"/>
                  </a:lnTo>
                  <a:lnTo>
                    <a:pt x="84" y="304"/>
                  </a:lnTo>
                  <a:lnTo>
                    <a:pt x="84" y="304"/>
                  </a:lnTo>
                  <a:lnTo>
                    <a:pt x="86" y="305"/>
                  </a:lnTo>
                  <a:lnTo>
                    <a:pt x="86" y="305"/>
                  </a:lnTo>
                  <a:lnTo>
                    <a:pt x="87" y="308"/>
                  </a:lnTo>
                  <a:lnTo>
                    <a:pt x="87" y="308"/>
                  </a:lnTo>
                  <a:lnTo>
                    <a:pt x="89" y="312"/>
                  </a:lnTo>
                  <a:lnTo>
                    <a:pt x="89" y="312"/>
                  </a:lnTo>
                  <a:lnTo>
                    <a:pt x="89" y="315"/>
                  </a:lnTo>
                  <a:lnTo>
                    <a:pt x="89" y="315"/>
                  </a:lnTo>
                  <a:lnTo>
                    <a:pt x="91" y="315"/>
                  </a:lnTo>
                  <a:lnTo>
                    <a:pt x="91" y="315"/>
                  </a:lnTo>
                  <a:lnTo>
                    <a:pt x="92" y="312"/>
                  </a:lnTo>
                  <a:lnTo>
                    <a:pt x="92" y="312"/>
                  </a:lnTo>
                  <a:lnTo>
                    <a:pt x="94" y="315"/>
                  </a:lnTo>
                  <a:lnTo>
                    <a:pt x="94" y="315"/>
                  </a:lnTo>
                  <a:lnTo>
                    <a:pt x="95" y="315"/>
                  </a:lnTo>
                  <a:lnTo>
                    <a:pt x="95" y="315"/>
                  </a:lnTo>
                  <a:lnTo>
                    <a:pt x="97" y="318"/>
                  </a:lnTo>
                  <a:lnTo>
                    <a:pt x="97" y="318"/>
                  </a:lnTo>
                  <a:lnTo>
                    <a:pt x="100" y="318"/>
                  </a:lnTo>
                  <a:lnTo>
                    <a:pt x="100" y="318"/>
                  </a:lnTo>
                  <a:lnTo>
                    <a:pt x="103" y="318"/>
                  </a:lnTo>
                  <a:lnTo>
                    <a:pt x="103" y="318"/>
                  </a:lnTo>
                  <a:lnTo>
                    <a:pt x="103" y="321"/>
                  </a:lnTo>
                  <a:lnTo>
                    <a:pt x="103" y="321"/>
                  </a:lnTo>
                  <a:lnTo>
                    <a:pt x="106" y="321"/>
                  </a:lnTo>
                  <a:lnTo>
                    <a:pt x="106" y="321"/>
                  </a:lnTo>
                  <a:lnTo>
                    <a:pt x="110" y="323"/>
                  </a:lnTo>
                  <a:lnTo>
                    <a:pt x="110" y="323"/>
                  </a:lnTo>
                  <a:lnTo>
                    <a:pt x="110" y="324"/>
                  </a:lnTo>
                  <a:lnTo>
                    <a:pt x="110" y="324"/>
                  </a:lnTo>
                  <a:lnTo>
                    <a:pt x="113" y="326"/>
                  </a:lnTo>
                  <a:lnTo>
                    <a:pt x="113" y="326"/>
                  </a:lnTo>
                  <a:lnTo>
                    <a:pt x="116" y="327"/>
                  </a:lnTo>
                  <a:lnTo>
                    <a:pt x="116" y="327"/>
                  </a:lnTo>
                  <a:lnTo>
                    <a:pt x="116" y="327"/>
                  </a:lnTo>
                  <a:lnTo>
                    <a:pt x="116" y="327"/>
                  </a:lnTo>
                  <a:lnTo>
                    <a:pt x="118" y="329"/>
                  </a:lnTo>
                  <a:lnTo>
                    <a:pt x="118" y="329"/>
                  </a:lnTo>
                  <a:lnTo>
                    <a:pt x="119" y="331"/>
                  </a:lnTo>
                  <a:lnTo>
                    <a:pt x="119" y="331"/>
                  </a:lnTo>
                  <a:lnTo>
                    <a:pt x="121" y="332"/>
                  </a:lnTo>
                  <a:lnTo>
                    <a:pt x="121" y="332"/>
                  </a:lnTo>
                  <a:lnTo>
                    <a:pt x="122" y="332"/>
                  </a:lnTo>
                  <a:lnTo>
                    <a:pt x="122" y="332"/>
                  </a:lnTo>
                  <a:lnTo>
                    <a:pt x="124" y="331"/>
                  </a:lnTo>
                  <a:lnTo>
                    <a:pt x="124" y="331"/>
                  </a:lnTo>
                  <a:lnTo>
                    <a:pt x="124" y="327"/>
                  </a:lnTo>
                  <a:lnTo>
                    <a:pt x="124" y="327"/>
                  </a:lnTo>
                  <a:lnTo>
                    <a:pt x="126" y="327"/>
                  </a:lnTo>
                  <a:lnTo>
                    <a:pt x="126" y="327"/>
                  </a:lnTo>
                  <a:lnTo>
                    <a:pt x="127" y="327"/>
                  </a:lnTo>
                  <a:lnTo>
                    <a:pt x="127" y="327"/>
                  </a:lnTo>
                  <a:lnTo>
                    <a:pt x="130" y="327"/>
                  </a:lnTo>
                  <a:lnTo>
                    <a:pt x="130" y="327"/>
                  </a:lnTo>
                  <a:lnTo>
                    <a:pt x="132" y="329"/>
                  </a:lnTo>
                  <a:lnTo>
                    <a:pt x="132" y="329"/>
                  </a:lnTo>
                  <a:lnTo>
                    <a:pt x="141" y="335"/>
                  </a:lnTo>
                  <a:lnTo>
                    <a:pt x="141" y="335"/>
                  </a:lnTo>
                  <a:lnTo>
                    <a:pt x="148" y="339"/>
                  </a:lnTo>
                  <a:lnTo>
                    <a:pt x="148" y="339"/>
                  </a:lnTo>
                  <a:lnTo>
                    <a:pt x="149" y="339"/>
                  </a:lnTo>
                  <a:lnTo>
                    <a:pt x="149" y="339"/>
                  </a:lnTo>
                  <a:lnTo>
                    <a:pt x="152" y="342"/>
                  </a:lnTo>
                  <a:lnTo>
                    <a:pt x="152" y="342"/>
                  </a:lnTo>
                  <a:lnTo>
                    <a:pt x="154" y="343"/>
                  </a:lnTo>
                  <a:lnTo>
                    <a:pt x="154" y="343"/>
                  </a:lnTo>
                  <a:lnTo>
                    <a:pt x="156" y="343"/>
                  </a:lnTo>
                  <a:lnTo>
                    <a:pt x="156" y="343"/>
                  </a:lnTo>
                  <a:lnTo>
                    <a:pt x="157" y="343"/>
                  </a:lnTo>
                  <a:lnTo>
                    <a:pt x="157" y="343"/>
                  </a:lnTo>
                  <a:lnTo>
                    <a:pt x="160" y="343"/>
                  </a:lnTo>
                  <a:lnTo>
                    <a:pt x="160" y="343"/>
                  </a:lnTo>
                  <a:lnTo>
                    <a:pt x="162" y="346"/>
                  </a:lnTo>
                  <a:lnTo>
                    <a:pt x="162" y="346"/>
                  </a:lnTo>
                  <a:lnTo>
                    <a:pt x="162" y="350"/>
                  </a:lnTo>
                  <a:lnTo>
                    <a:pt x="162" y="350"/>
                  </a:lnTo>
                  <a:lnTo>
                    <a:pt x="165" y="351"/>
                  </a:lnTo>
                  <a:lnTo>
                    <a:pt x="165" y="351"/>
                  </a:lnTo>
                  <a:lnTo>
                    <a:pt x="168" y="353"/>
                  </a:lnTo>
                  <a:lnTo>
                    <a:pt x="168" y="353"/>
                  </a:lnTo>
                  <a:lnTo>
                    <a:pt x="172" y="353"/>
                  </a:lnTo>
                  <a:lnTo>
                    <a:pt x="172" y="353"/>
                  </a:lnTo>
                  <a:lnTo>
                    <a:pt x="173" y="353"/>
                  </a:lnTo>
                  <a:lnTo>
                    <a:pt x="173" y="353"/>
                  </a:lnTo>
                  <a:lnTo>
                    <a:pt x="175" y="354"/>
                  </a:lnTo>
                  <a:lnTo>
                    <a:pt x="175" y="354"/>
                  </a:lnTo>
                  <a:lnTo>
                    <a:pt x="173" y="356"/>
                  </a:lnTo>
                  <a:lnTo>
                    <a:pt x="173" y="356"/>
                  </a:lnTo>
                  <a:lnTo>
                    <a:pt x="175" y="358"/>
                  </a:lnTo>
                  <a:lnTo>
                    <a:pt x="175" y="358"/>
                  </a:lnTo>
                  <a:lnTo>
                    <a:pt x="178" y="358"/>
                  </a:lnTo>
                  <a:lnTo>
                    <a:pt x="178" y="358"/>
                  </a:lnTo>
                  <a:lnTo>
                    <a:pt x="179" y="358"/>
                  </a:lnTo>
                  <a:lnTo>
                    <a:pt x="179" y="358"/>
                  </a:lnTo>
                  <a:lnTo>
                    <a:pt x="181" y="356"/>
                  </a:lnTo>
                  <a:lnTo>
                    <a:pt x="181" y="356"/>
                  </a:lnTo>
                  <a:lnTo>
                    <a:pt x="184" y="359"/>
                  </a:lnTo>
                  <a:lnTo>
                    <a:pt x="184" y="359"/>
                  </a:lnTo>
                  <a:lnTo>
                    <a:pt x="186" y="362"/>
                  </a:lnTo>
                  <a:lnTo>
                    <a:pt x="186" y="362"/>
                  </a:lnTo>
                  <a:lnTo>
                    <a:pt x="187" y="362"/>
                  </a:lnTo>
                  <a:lnTo>
                    <a:pt x="187" y="362"/>
                  </a:lnTo>
                  <a:lnTo>
                    <a:pt x="189" y="359"/>
                  </a:lnTo>
                  <a:lnTo>
                    <a:pt x="189" y="359"/>
                  </a:lnTo>
                  <a:lnTo>
                    <a:pt x="191" y="362"/>
                  </a:lnTo>
                  <a:lnTo>
                    <a:pt x="191" y="362"/>
                  </a:lnTo>
                  <a:lnTo>
                    <a:pt x="192" y="362"/>
                  </a:lnTo>
                  <a:lnTo>
                    <a:pt x="192" y="362"/>
                  </a:lnTo>
                  <a:lnTo>
                    <a:pt x="194" y="362"/>
                  </a:lnTo>
                  <a:lnTo>
                    <a:pt x="194" y="362"/>
                  </a:lnTo>
                  <a:lnTo>
                    <a:pt x="194" y="361"/>
                  </a:lnTo>
                  <a:lnTo>
                    <a:pt x="194" y="361"/>
                  </a:lnTo>
                  <a:lnTo>
                    <a:pt x="194" y="361"/>
                  </a:lnTo>
                  <a:lnTo>
                    <a:pt x="194" y="361"/>
                  </a:lnTo>
                  <a:lnTo>
                    <a:pt x="197" y="362"/>
                  </a:lnTo>
                  <a:lnTo>
                    <a:pt x="197" y="362"/>
                  </a:lnTo>
                  <a:lnTo>
                    <a:pt x="200" y="364"/>
                  </a:lnTo>
                  <a:lnTo>
                    <a:pt x="200" y="364"/>
                  </a:lnTo>
                  <a:lnTo>
                    <a:pt x="203" y="364"/>
                  </a:lnTo>
                  <a:lnTo>
                    <a:pt x="203" y="364"/>
                  </a:lnTo>
                  <a:lnTo>
                    <a:pt x="208" y="364"/>
                  </a:lnTo>
                  <a:lnTo>
                    <a:pt x="208" y="364"/>
                  </a:lnTo>
                  <a:lnTo>
                    <a:pt x="213" y="364"/>
                  </a:lnTo>
                  <a:lnTo>
                    <a:pt x="213" y="364"/>
                  </a:lnTo>
                  <a:lnTo>
                    <a:pt x="213" y="362"/>
                  </a:lnTo>
                  <a:lnTo>
                    <a:pt x="213" y="362"/>
                  </a:lnTo>
                  <a:lnTo>
                    <a:pt x="218" y="361"/>
                  </a:lnTo>
                  <a:lnTo>
                    <a:pt x="218" y="361"/>
                  </a:lnTo>
                  <a:lnTo>
                    <a:pt x="219" y="361"/>
                  </a:lnTo>
                  <a:lnTo>
                    <a:pt x="219" y="361"/>
                  </a:lnTo>
                  <a:lnTo>
                    <a:pt x="221" y="361"/>
                  </a:lnTo>
                  <a:lnTo>
                    <a:pt x="221" y="361"/>
                  </a:lnTo>
                  <a:lnTo>
                    <a:pt x="221" y="361"/>
                  </a:lnTo>
                  <a:lnTo>
                    <a:pt x="221" y="361"/>
                  </a:lnTo>
                  <a:lnTo>
                    <a:pt x="222" y="364"/>
                  </a:lnTo>
                  <a:lnTo>
                    <a:pt x="222" y="364"/>
                  </a:lnTo>
                  <a:lnTo>
                    <a:pt x="222" y="366"/>
                  </a:lnTo>
                  <a:lnTo>
                    <a:pt x="222" y="366"/>
                  </a:lnTo>
                  <a:lnTo>
                    <a:pt x="222" y="367"/>
                  </a:lnTo>
                  <a:lnTo>
                    <a:pt x="222" y="367"/>
                  </a:lnTo>
                  <a:lnTo>
                    <a:pt x="222" y="367"/>
                  </a:lnTo>
                  <a:lnTo>
                    <a:pt x="222" y="367"/>
                  </a:lnTo>
                  <a:lnTo>
                    <a:pt x="222" y="367"/>
                  </a:lnTo>
                  <a:lnTo>
                    <a:pt x="222" y="367"/>
                  </a:lnTo>
                  <a:lnTo>
                    <a:pt x="222" y="370"/>
                  </a:lnTo>
                  <a:lnTo>
                    <a:pt x="222" y="370"/>
                  </a:lnTo>
                  <a:lnTo>
                    <a:pt x="224" y="370"/>
                  </a:lnTo>
                  <a:lnTo>
                    <a:pt x="224" y="370"/>
                  </a:lnTo>
                  <a:lnTo>
                    <a:pt x="226" y="367"/>
                  </a:lnTo>
                  <a:lnTo>
                    <a:pt x="226" y="367"/>
                  </a:lnTo>
                  <a:lnTo>
                    <a:pt x="227" y="367"/>
                  </a:lnTo>
                  <a:lnTo>
                    <a:pt x="227" y="367"/>
                  </a:lnTo>
                  <a:lnTo>
                    <a:pt x="229" y="362"/>
                  </a:lnTo>
                  <a:lnTo>
                    <a:pt x="229" y="362"/>
                  </a:lnTo>
                  <a:lnTo>
                    <a:pt x="232" y="359"/>
                  </a:lnTo>
                  <a:lnTo>
                    <a:pt x="232" y="359"/>
                  </a:lnTo>
                  <a:lnTo>
                    <a:pt x="235" y="358"/>
                  </a:lnTo>
                  <a:lnTo>
                    <a:pt x="235" y="358"/>
                  </a:lnTo>
                  <a:lnTo>
                    <a:pt x="238" y="358"/>
                  </a:lnTo>
                  <a:lnTo>
                    <a:pt x="238" y="358"/>
                  </a:lnTo>
                  <a:lnTo>
                    <a:pt x="238" y="359"/>
                  </a:lnTo>
                  <a:lnTo>
                    <a:pt x="238" y="359"/>
                  </a:lnTo>
                  <a:lnTo>
                    <a:pt x="240" y="361"/>
                  </a:lnTo>
                  <a:lnTo>
                    <a:pt x="240" y="361"/>
                  </a:lnTo>
                  <a:lnTo>
                    <a:pt x="246" y="362"/>
                  </a:lnTo>
                  <a:lnTo>
                    <a:pt x="246" y="362"/>
                  </a:lnTo>
                  <a:lnTo>
                    <a:pt x="248" y="362"/>
                  </a:lnTo>
                  <a:lnTo>
                    <a:pt x="248" y="362"/>
                  </a:lnTo>
                  <a:lnTo>
                    <a:pt x="249" y="362"/>
                  </a:lnTo>
                  <a:lnTo>
                    <a:pt x="249" y="362"/>
                  </a:lnTo>
                  <a:lnTo>
                    <a:pt x="251" y="361"/>
                  </a:lnTo>
                  <a:lnTo>
                    <a:pt x="251" y="361"/>
                  </a:lnTo>
                  <a:lnTo>
                    <a:pt x="254" y="362"/>
                  </a:lnTo>
                  <a:lnTo>
                    <a:pt x="254" y="362"/>
                  </a:lnTo>
                  <a:lnTo>
                    <a:pt x="257" y="364"/>
                  </a:lnTo>
                  <a:lnTo>
                    <a:pt x="257" y="364"/>
                  </a:lnTo>
                  <a:lnTo>
                    <a:pt x="257" y="366"/>
                  </a:lnTo>
                  <a:lnTo>
                    <a:pt x="257" y="366"/>
                  </a:lnTo>
                  <a:lnTo>
                    <a:pt x="259" y="366"/>
                  </a:lnTo>
                  <a:lnTo>
                    <a:pt x="259" y="366"/>
                  </a:lnTo>
                  <a:lnTo>
                    <a:pt x="262" y="366"/>
                  </a:lnTo>
                  <a:lnTo>
                    <a:pt x="262" y="366"/>
                  </a:lnTo>
                  <a:lnTo>
                    <a:pt x="262" y="364"/>
                  </a:lnTo>
                  <a:lnTo>
                    <a:pt x="262" y="364"/>
                  </a:lnTo>
                  <a:lnTo>
                    <a:pt x="264" y="364"/>
                  </a:lnTo>
                  <a:lnTo>
                    <a:pt x="264" y="364"/>
                  </a:lnTo>
                  <a:lnTo>
                    <a:pt x="267" y="364"/>
                  </a:lnTo>
                  <a:lnTo>
                    <a:pt x="267" y="364"/>
                  </a:lnTo>
                  <a:lnTo>
                    <a:pt x="267" y="364"/>
                  </a:lnTo>
                  <a:lnTo>
                    <a:pt x="267" y="364"/>
                  </a:lnTo>
                  <a:lnTo>
                    <a:pt x="270" y="361"/>
                  </a:lnTo>
                  <a:lnTo>
                    <a:pt x="270" y="361"/>
                  </a:lnTo>
                  <a:lnTo>
                    <a:pt x="270" y="358"/>
                  </a:lnTo>
                  <a:lnTo>
                    <a:pt x="270" y="358"/>
                  </a:lnTo>
                  <a:lnTo>
                    <a:pt x="270" y="358"/>
                  </a:lnTo>
                  <a:lnTo>
                    <a:pt x="273" y="356"/>
                  </a:lnTo>
                  <a:lnTo>
                    <a:pt x="273" y="356"/>
                  </a:lnTo>
                  <a:lnTo>
                    <a:pt x="273" y="354"/>
                  </a:lnTo>
                  <a:lnTo>
                    <a:pt x="273" y="354"/>
                  </a:lnTo>
                  <a:lnTo>
                    <a:pt x="273" y="353"/>
                  </a:lnTo>
                  <a:lnTo>
                    <a:pt x="273" y="353"/>
                  </a:lnTo>
                  <a:lnTo>
                    <a:pt x="275" y="351"/>
                  </a:lnTo>
                  <a:lnTo>
                    <a:pt x="275" y="351"/>
                  </a:lnTo>
                  <a:lnTo>
                    <a:pt x="276" y="351"/>
                  </a:lnTo>
                  <a:lnTo>
                    <a:pt x="276" y="351"/>
                  </a:lnTo>
                  <a:lnTo>
                    <a:pt x="278" y="351"/>
                  </a:lnTo>
                  <a:lnTo>
                    <a:pt x="278" y="351"/>
                  </a:lnTo>
                  <a:lnTo>
                    <a:pt x="280" y="351"/>
                  </a:lnTo>
                  <a:lnTo>
                    <a:pt x="280" y="351"/>
                  </a:lnTo>
                  <a:lnTo>
                    <a:pt x="281" y="350"/>
                  </a:lnTo>
                  <a:lnTo>
                    <a:pt x="281" y="350"/>
                  </a:lnTo>
                  <a:lnTo>
                    <a:pt x="284" y="346"/>
                  </a:lnTo>
                  <a:lnTo>
                    <a:pt x="284" y="346"/>
                  </a:lnTo>
                  <a:lnTo>
                    <a:pt x="286" y="343"/>
                  </a:lnTo>
                  <a:lnTo>
                    <a:pt x="286" y="343"/>
                  </a:lnTo>
                  <a:lnTo>
                    <a:pt x="287" y="343"/>
                  </a:lnTo>
                  <a:lnTo>
                    <a:pt x="287" y="343"/>
                  </a:lnTo>
                  <a:lnTo>
                    <a:pt x="289" y="342"/>
                  </a:lnTo>
                  <a:lnTo>
                    <a:pt x="289" y="342"/>
                  </a:lnTo>
                  <a:lnTo>
                    <a:pt x="291" y="342"/>
                  </a:lnTo>
                  <a:lnTo>
                    <a:pt x="291" y="342"/>
                  </a:lnTo>
                  <a:lnTo>
                    <a:pt x="292" y="343"/>
                  </a:lnTo>
                  <a:lnTo>
                    <a:pt x="292" y="343"/>
                  </a:lnTo>
                  <a:lnTo>
                    <a:pt x="294" y="345"/>
                  </a:lnTo>
                  <a:lnTo>
                    <a:pt x="294" y="345"/>
                  </a:lnTo>
                  <a:lnTo>
                    <a:pt x="294" y="343"/>
                  </a:lnTo>
                  <a:lnTo>
                    <a:pt x="294" y="343"/>
                  </a:lnTo>
                  <a:lnTo>
                    <a:pt x="295" y="345"/>
                  </a:lnTo>
                  <a:lnTo>
                    <a:pt x="295" y="345"/>
                  </a:lnTo>
                  <a:lnTo>
                    <a:pt x="297" y="345"/>
                  </a:lnTo>
                  <a:lnTo>
                    <a:pt x="297" y="345"/>
                  </a:lnTo>
                  <a:lnTo>
                    <a:pt x="297" y="346"/>
                  </a:lnTo>
                  <a:lnTo>
                    <a:pt x="297" y="346"/>
                  </a:lnTo>
                  <a:lnTo>
                    <a:pt x="297" y="346"/>
                  </a:lnTo>
                  <a:lnTo>
                    <a:pt x="297" y="346"/>
                  </a:lnTo>
                  <a:lnTo>
                    <a:pt x="299" y="346"/>
                  </a:lnTo>
                  <a:lnTo>
                    <a:pt x="299" y="346"/>
                  </a:lnTo>
                  <a:lnTo>
                    <a:pt x="300" y="343"/>
                  </a:lnTo>
                  <a:lnTo>
                    <a:pt x="300" y="343"/>
                  </a:lnTo>
                  <a:lnTo>
                    <a:pt x="303" y="342"/>
                  </a:lnTo>
                  <a:lnTo>
                    <a:pt x="303" y="342"/>
                  </a:lnTo>
                  <a:lnTo>
                    <a:pt x="305" y="342"/>
                  </a:lnTo>
                  <a:lnTo>
                    <a:pt x="305" y="342"/>
                  </a:lnTo>
                  <a:lnTo>
                    <a:pt x="306" y="342"/>
                  </a:lnTo>
                  <a:lnTo>
                    <a:pt x="306" y="342"/>
                  </a:lnTo>
                  <a:lnTo>
                    <a:pt x="310" y="343"/>
                  </a:lnTo>
                  <a:lnTo>
                    <a:pt x="310" y="343"/>
                  </a:lnTo>
                  <a:lnTo>
                    <a:pt x="308" y="345"/>
                  </a:lnTo>
                  <a:lnTo>
                    <a:pt x="308" y="345"/>
                  </a:lnTo>
                  <a:lnTo>
                    <a:pt x="308" y="346"/>
                  </a:lnTo>
                  <a:lnTo>
                    <a:pt x="308" y="346"/>
                  </a:lnTo>
                  <a:lnTo>
                    <a:pt x="310" y="346"/>
                  </a:lnTo>
                  <a:lnTo>
                    <a:pt x="310" y="346"/>
                  </a:lnTo>
                  <a:lnTo>
                    <a:pt x="311" y="346"/>
                  </a:lnTo>
                  <a:lnTo>
                    <a:pt x="311" y="346"/>
                  </a:lnTo>
                  <a:lnTo>
                    <a:pt x="313" y="345"/>
                  </a:lnTo>
                  <a:lnTo>
                    <a:pt x="313" y="345"/>
                  </a:lnTo>
                  <a:lnTo>
                    <a:pt x="313" y="346"/>
                  </a:lnTo>
                  <a:lnTo>
                    <a:pt x="313" y="346"/>
                  </a:lnTo>
                  <a:lnTo>
                    <a:pt x="313" y="348"/>
                  </a:lnTo>
                  <a:lnTo>
                    <a:pt x="313" y="348"/>
                  </a:lnTo>
                  <a:lnTo>
                    <a:pt x="314" y="350"/>
                  </a:lnTo>
                  <a:lnTo>
                    <a:pt x="314" y="350"/>
                  </a:lnTo>
                  <a:lnTo>
                    <a:pt x="313" y="353"/>
                  </a:lnTo>
                  <a:lnTo>
                    <a:pt x="313" y="353"/>
                  </a:lnTo>
                  <a:lnTo>
                    <a:pt x="311" y="354"/>
                  </a:lnTo>
                  <a:lnTo>
                    <a:pt x="311" y="354"/>
                  </a:lnTo>
                  <a:lnTo>
                    <a:pt x="311" y="354"/>
                  </a:lnTo>
                  <a:lnTo>
                    <a:pt x="311" y="354"/>
                  </a:lnTo>
                  <a:lnTo>
                    <a:pt x="313" y="356"/>
                  </a:lnTo>
                  <a:lnTo>
                    <a:pt x="313" y="356"/>
                  </a:lnTo>
                  <a:lnTo>
                    <a:pt x="314" y="356"/>
                  </a:lnTo>
                  <a:lnTo>
                    <a:pt x="314" y="356"/>
                  </a:lnTo>
                  <a:lnTo>
                    <a:pt x="316" y="354"/>
                  </a:lnTo>
                  <a:lnTo>
                    <a:pt x="316" y="354"/>
                  </a:lnTo>
                  <a:lnTo>
                    <a:pt x="316" y="354"/>
                  </a:lnTo>
                  <a:lnTo>
                    <a:pt x="316" y="354"/>
                  </a:lnTo>
                  <a:lnTo>
                    <a:pt x="316" y="354"/>
                  </a:lnTo>
                  <a:lnTo>
                    <a:pt x="316" y="354"/>
                  </a:lnTo>
                  <a:lnTo>
                    <a:pt x="319" y="356"/>
                  </a:lnTo>
                  <a:lnTo>
                    <a:pt x="319" y="356"/>
                  </a:lnTo>
                  <a:lnTo>
                    <a:pt x="322" y="356"/>
                  </a:lnTo>
                  <a:lnTo>
                    <a:pt x="322" y="356"/>
                  </a:lnTo>
                  <a:lnTo>
                    <a:pt x="322" y="356"/>
                  </a:lnTo>
                  <a:lnTo>
                    <a:pt x="322" y="358"/>
                  </a:lnTo>
                  <a:lnTo>
                    <a:pt x="322" y="358"/>
                  </a:lnTo>
                  <a:lnTo>
                    <a:pt x="326" y="359"/>
                  </a:lnTo>
                  <a:lnTo>
                    <a:pt x="326" y="359"/>
                  </a:lnTo>
                  <a:lnTo>
                    <a:pt x="326" y="358"/>
                  </a:lnTo>
                  <a:lnTo>
                    <a:pt x="326" y="358"/>
                  </a:lnTo>
                  <a:lnTo>
                    <a:pt x="326" y="353"/>
                  </a:lnTo>
                  <a:lnTo>
                    <a:pt x="326" y="353"/>
                  </a:lnTo>
                  <a:lnTo>
                    <a:pt x="332" y="356"/>
                  </a:lnTo>
                  <a:lnTo>
                    <a:pt x="332" y="356"/>
                  </a:lnTo>
                  <a:lnTo>
                    <a:pt x="333" y="359"/>
                  </a:lnTo>
                  <a:lnTo>
                    <a:pt x="333" y="359"/>
                  </a:lnTo>
                  <a:lnTo>
                    <a:pt x="335" y="361"/>
                  </a:lnTo>
                  <a:lnTo>
                    <a:pt x="335" y="361"/>
                  </a:lnTo>
                  <a:lnTo>
                    <a:pt x="335" y="362"/>
                  </a:lnTo>
                  <a:lnTo>
                    <a:pt x="335" y="362"/>
                  </a:lnTo>
                  <a:lnTo>
                    <a:pt x="338" y="367"/>
                  </a:lnTo>
                  <a:lnTo>
                    <a:pt x="338" y="367"/>
                  </a:lnTo>
                  <a:lnTo>
                    <a:pt x="340" y="367"/>
                  </a:lnTo>
                  <a:lnTo>
                    <a:pt x="340" y="367"/>
                  </a:lnTo>
                  <a:lnTo>
                    <a:pt x="343" y="367"/>
                  </a:lnTo>
                  <a:lnTo>
                    <a:pt x="343" y="367"/>
                  </a:lnTo>
                  <a:lnTo>
                    <a:pt x="345" y="370"/>
                  </a:lnTo>
                  <a:lnTo>
                    <a:pt x="345" y="370"/>
                  </a:lnTo>
                  <a:lnTo>
                    <a:pt x="346" y="377"/>
                  </a:lnTo>
                  <a:lnTo>
                    <a:pt x="346" y="377"/>
                  </a:lnTo>
                  <a:lnTo>
                    <a:pt x="348" y="385"/>
                  </a:lnTo>
                  <a:lnTo>
                    <a:pt x="348" y="385"/>
                  </a:lnTo>
                  <a:lnTo>
                    <a:pt x="348" y="388"/>
                  </a:lnTo>
                  <a:lnTo>
                    <a:pt x="348" y="388"/>
                  </a:lnTo>
                  <a:lnTo>
                    <a:pt x="348" y="389"/>
                  </a:lnTo>
                  <a:lnTo>
                    <a:pt x="348" y="389"/>
                  </a:lnTo>
                  <a:lnTo>
                    <a:pt x="346" y="389"/>
                  </a:lnTo>
                  <a:lnTo>
                    <a:pt x="346" y="389"/>
                  </a:lnTo>
                  <a:lnTo>
                    <a:pt x="348" y="391"/>
                  </a:lnTo>
                  <a:lnTo>
                    <a:pt x="348" y="391"/>
                  </a:lnTo>
                  <a:lnTo>
                    <a:pt x="349" y="393"/>
                  </a:lnTo>
                  <a:lnTo>
                    <a:pt x="349" y="393"/>
                  </a:lnTo>
                  <a:lnTo>
                    <a:pt x="348" y="393"/>
                  </a:lnTo>
                  <a:lnTo>
                    <a:pt x="348" y="393"/>
                  </a:lnTo>
                  <a:lnTo>
                    <a:pt x="346" y="393"/>
                  </a:lnTo>
                  <a:lnTo>
                    <a:pt x="346" y="393"/>
                  </a:lnTo>
                  <a:lnTo>
                    <a:pt x="345" y="394"/>
                  </a:lnTo>
                  <a:lnTo>
                    <a:pt x="345" y="394"/>
                  </a:lnTo>
                  <a:lnTo>
                    <a:pt x="345" y="396"/>
                  </a:lnTo>
                  <a:lnTo>
                    <a:pt x="345" y="396"/>
                  </a:lnTo>
                  <a:lnTo>
                    <a:pt x="345" y="397"/>
                  </a:lnTo>
                  <a:lnTo>
                    <a:pt x="345" y="397"/>
                  </a:lnTo>
                  <a:lnTo>
                    <a:pt x="343" y="397"/>
                  </a:lnTo>
                  <a:lnTo>
                    <a:pt x="343" y="397"/>
                  </a:lnTo>
                  <a:lnTo>
                    <a:pt x="341" y="399"/>
                  </a:lnTo>
                  <a:lnTo>
                    <a:pt x="341" y="399"/>
                  </a:lnTo>
                  <a:lnTo>
                    <a:pt x="341" y="402"/>
                  </a:lnTo>
                  <a:lnTo>
                    <a:pt x="341" y="402"/>
                  </a:lnTo>
                  <a:lnTo>
                    <a:pt x="340" y="402"/>
                  </a:lnTo>
                  <a:lnTo>
                    <a:pt x="340" y="402"/>
                  </a:lnTo>
                  <a:lnTo>
                    <a:pt x="338" y="405"/>
                  </a:lnTo>
                  <a:lnTo>
                    <a:pt x="338" y="405"/>
                  </a:lnTo>
                  <a:lnTo>
                    <a:pt x="340" y="408"/>
                  </a:lnTo>
                  <a:lnTo>
                    <a:pt x="340" y="408"/>
                  </a:lnTo>
                  <a:lnTo>
                    <a:pt x="337" y="408"/>
                  </a:lnTo>
                  <a:lnTo>
                    <a:pt x="337" y="408"/>
                  </a:lnTo>
                  <a:lnTo>
                    <a:pt x="337" y="412"/>
                  </a:lnTo>
                  <a:lnTo>
                    <a:pt x="337" y="412"/>
                  </a:lnTo>
                  <a:lnTo>
                    <a:pt x="338" y="412"/>
                  </a:lnTo>
                  <a:lnTo>
                    <a:pt x="338" y="412"/>
                  </a:lnTo>
                  <a:lnTo>
                    <a:pt x="340" y="413"/>
                  </a:lnTo>
                  <a:lnTo>
                    <a:pt x="340" y="413"/>
                  </a:lnTo>
                  <a:lnTo>
                    <a:pt x="340" y="415"/>
                  </a:lnTo>
                  <a:lnTo>
                    <a:pt x="340" y="415"/>
                  </a:lnTo>
                  <a:lnTo>
                    <a:pt x="340" y="418"/>
                  </a:lnTo>
                  <a:lnTo>
                    <a:pt x="340" y="418"/>
                  </a:lnTo>
                  <a:lnTo>
                    <a:pt x="340" y="420"/>
                  </a:lnTo>
                  <a:lnTo>
                    <a:pt x="340" y="420"/>
                  </a:lnTo>
                  <a:lnTo>
                    <a:pt x="340" y="421"/>
                  </a:lnTo>
                  <a:lnTo>
                    <a:pt x="340" y="421"/>
                  </a:lnTo>
                  <a:lnTo>
                    <a:pt x="343" y="420"/>
                  </a:lnTo>
                  <a:lnTo>
                    <a:pt x="343" y="420"/>
                  </a:lnTo>
                  <a:lnTo>
                    <a:pt x="346" y="418"/>
                  </a:lnTo>
                  <a:lnTo>
                    <a:pt x="346" y="418"/>
                  </a:lnTo>
                  <a:lnTo>
                    <a:pt x="348" y="418"/>
                  </a:lnTo>
                  <a:lnTo>
                    <a:pt x="348" y="418"/>
                  </a:lnTo>
                  <a:lnTo>
                    <a:pt x="351" y="418"/>
                  </a:lnTo>
                  <a:lnTo>
                    <a:pt x="351" y="418"/>
                  </a:lnTo>
                  <a:lnTo>
                    <a:pt x="353" y="418"/>
                  </a:lnTo>
                  <a:lnTo>
                    <a:pt x="353" y="418"/>
                  </a:lnTo>
                  <a:lnTo>
                    <a:pt x="354" y="416"/>
                  </a:lnTo>
                  <a:lnTo>
                    <a:pt x="354" y="416"/>
                  </a:lnTo>
                  <a:lnTo>
                    <a:pt x="354" y="420"/>
                  </a:lnTo>
                  <a:lnTo>
                    <a:pt x="354" y="420"/>
                  </a:lnTo>
                  <a:lnTo>
                    <a:pt x="354" y="421"/>
                  </a:lnTo>
                  <a:lnTo>
                    <a:pt x="354" y="421"/>
                  </a:lnTo>
                  <a:lnTo>
                    <a:pt x="354" y="424"/>
                  </a:lnTo>
                  <a:lnTo>
                    <a:pt x="354" y="424"/>
                  </a:lnTo>
                  <a:lnTo>
                    <a:pt x="354" y="426"/>
                  </a:lnTo>
                  <a:lnTo>
                    <a:pt x="354" y="426"/>
                  </a:lnTo>
                  <a:lnTo>
                    <a:pt x="357" y="427"/>
                  </a:lnTo>
                  <a:lnTo>
                    <a:pt x="357" y="427"/>
                  </a:lnTo>
                  <a:lnTo>
                    <a:pt x="357" y="431"/>
                  </a:lnTo>
                  <a:lnTo>
                    <a:pt x="357" y="431"/>
                  </a:lnTo>
                  <a:lnTo>
                    <a:pt x="357" y="432"/>
                  </a:lnTo>
                  <a:lnTo>
                    <a:pt x="357" y="432"/>
                  </a:lnTo>
                  <a:lnTo>
                    <a:pt x="360" y="432"/>
                  </a:lnTo>
                  <a:lnTo>
                    <a:pt x="360" y="432"/>
                  </a:lnTo>
                  <a:lnTo>
                    <a:pt x="364" y="432"/>
                  </a:lnTo>
                  <a:lnTo>
                    <a:pt x="364" y="432"/>
                  </a:lnTo>
                  <a:lnTo>
                    <a:pt x="365" y="434"/>
                  </a:lnTo>
                  <a:lnTo>
                    <a:pt x="365" y="434"/>
                  </a:lnTo>
                  <a:lnTo>
                    <a:pt x="364" y="435"/>
                  </a:lnTo>
                  <a:lnTo>
                    <a:pt x="364" y="435"/>
                  </a:lnTo>
                  <a:lnTo>
                    <a:pt x="364" y="437"/>
                  </a:lnTo>
                  <a:lnTo>
                    <a:pt x="364" y="437"/>
                  </a:lnTo>
                  <a:lnTo>
                    <a:pt x="364" y="440"/>
                  </a:lnTo>
                  <a:lnTo>
                    <a:pt x="364" y="440"/>
                  </a:lnTo>
                  <a:lnTo>
                    <a:pt x="364" y="445"/>
                  </a:lnTo>
                  <a:lnTo>
                    <a:pt x="364" y="445"/>
                  </a:lnTo>
                  <a:lnTo>
                    <a:pt x="364" y="447"/>
                  </a:lnTo>
                  <a:lnTo>
                    <a:pt x="364" y="447"/>
                  </a:lnTo>
                  <a:lnTo>
                    <a:pt x="364" y="447"/>
                  </a:lnTo>
                  <a:lnTo>
                    <a:pt x="364" y="447"/>
                  </a:lnTo>
                  <a:lnTo>
                    <a:pt x="368" y="447"/>
                  </a:lnTo>
                  <a:lnTo>
                    <a:pt x="368" y="447"/>
                  </a:lnTo>
                  <a:lnTo>
                    <a:pt x="373" y="447"/>
                  </a:lnTo>
                  <a:lnTo>
                    <a:pt x="373" y="447"/>
                  </a:lnTo>
                  <a:lnTo>
                    <a:pt x="373" y="448"/>
                  </a:lnTo>
                  <a:lnTo>
                    <a:pt x="373" y="448"/>
                  </a:lnTo>
                  <a:lnTo>
                    <a:pt x="373" y="450"/>
                  </a:lnTo>
                  <a:lnTo>
                    <a:pt x="373" y="450"/>
                  </a:lnTo>
                  <a:lnTo>
                    <a:pt x="373" y="451"/>
                  </a:lnTo>
                  <a:lnTo>
                    <a:pt x="373" y="451"/>
                  </a:lnTo>
                  <a:lnTo>
                    <a:pt x="375" y="451"/>
                  </a:lnTo>
                  <a:lnTo>
                    <a:pt x="375" y="451"/>
                  </a:lnTo>
                  <a:lnTo>
                    <a:pt x="376" y="453"/>
                  </a:lnTo>
                  <a:lnTo>
                    <a:pt x="376" y="453"/>
                  </a:lnTo>
                  <a:lnTo>
                    <a:pt x="376" y="454"/>
                  </a:lnTo>
                  <a:lnTo>
                    <a:pt x="376" y="454"/>
                  </a:lnTo>
                  <a:lnTo>
                    <a:pt x="376" y="456"/>
                  </a:lnTo>
                  <a:lnTo>
                    <a:pt x="376" y="456"/>
                  </a:lnTo>
                  <a:lnTo>
                    <a:pt x="378" y="456"/>
                  </a:lnTo>
                  <a:lnTo>
                    <a:pt x="378" y="456"/>
                  </a:lnTo>
                  <a:lnTo>
                    <a:pt x="380" y="456"/>
                  </a:lnTo>
                  <a:lnTo>
                    <a:pt x="380" y="456"/>
                  </a:lnTo>
                  <a:lnTo>
                    <a:pt x="383" y="456"/>
                  </a:lnTo>
                  <a:lnTo>
                    <a:pt x="383" y="456"/>
                  </a:lnTo>
                  <a:lnTo>
                    <a:pt x="384" y="454"/>
                  </a:lnTo>
                  <a:lnTo>
                    <a:pt x="384" y="454"/>
                  </a:lnTo>
                  <a:lnTo>
                    <a:pt x="389" y="451"/>
                  </a:lnTo>
                  <a:lnTo>
                    <a:pt x="389" y="451"/>
                  </a:lnTo>
                  <a:lnTo>
                    <a:pt x="389" y="458"/>
                  </a:lnTo>
                  <a:lnTo>
                    <a:pt x="389" y="458"/>
                  </a:lnTo>
                  <a:lnTo>
                    <a:pt x="392" y="458"/>
                  </a:lnTo>
                  <a:lnTo>
                    <a:pt x="392" y="458"/>
                  </a:lnTo>
                  <a:lnTo>
                    <a:pt x="392" y="458"/>
                  </a:lnTo>
                  <a:lnTo>
                    <a:pt x="392" y="458"/>
                  </a:lnTo>
                  <a:lnTo>
                    <a:pt x="395" y="461"/>
                  </a:lnTo>
                  <a:lnTo>
                    <a:pt x="395" y="461"/>
                  </a:lnTo>
                  <a:lnTo>
                    <a:pt x="399" y="461"/>
                  </a:lnTo>
                  <a:lnTo>
                    <a:pt x="399" y="461"/>
                  </a:lnTo>
                  <a:lnTo>
                    <a:pt x="399" y="458"/>
                  </a:lnTo>
                  <a:lnTo>
                    <a:pt x="399" y="458"/>
                  </a:lnTo>
                  <a:lnTo>
                    <a:pt x="395" y="456"/>
                  </a:lnTo>
                  <a:lnTo>
                    <a:pt x="395" y="456"/>
                  </a:lnTo>
                  <a:lnTo>
                    <a:pt x="399" y="454"/>
                  </a:lnTo>
                  <a:lnTo>
                    <a:pt x="399" y="454"/>
                  </a:lnTo>
                  <a:lnTo>
                    <a:pt x="395" y="453"/>
                  </a:lnTo>
                  <a:lnTo>
                    <a:pt x="395" y="453"/>
                  </a:lnTo>
                  <a:lnTo>
                    <a:pt x="392" y="448"/>
                  </a:lnTo>
                  <a:lnTo>
                    <a:pt x="392" y="448"/>
                  </a:lnTo>
                  <a:lnTo>
                    <a:pt x="392" y="443"/>
                  </a:lnTo>
                  <a:lnTo>
                    <a:pt x="392" y="443"/>
                  </a:lnTo>
                  <a:lnTo>
                    <a:pt x="392" y="442"/>
                  </a:lnTo>
                  <a:lnTo>
                    <a:pt x="392" y="442"/>
                  </a:lnTo>
                  <a:lnTo>
                    <a:pt x="395" y="440"/>
                  </a:lnTo>
                  <a:lnTo>
                    <a:pt x="395" y="440"/>
                  </a:lnTo>
                  <a:lnTo>
                    <a:pt x="395" y="442"/>
                  </a:lnTo>
                  <a:lnTo>
                    <a:pt x="395" y="442"/>
                  </a:lnTo>
                  <a:lnTo>
                    <a:pt x="395" y="442"/>
                  </a:lnTo>
                  <a:lnTo>
                    <a:pt x="395" y="442"/>
                  </a:lnTo>
                  <a:lnTo>
                    <a:pt x="399" y="442"/>
                  </a:lnTo>
                  <a:lnTo>
                    <a:pt x="399" y="442"/>
                  </a:lnTo>
                  <a:lnTo>
                    <a:pt x="399" y="442"/>
                  </a:lnTo>
                  <a:lnTo>
                    <a:pt x="399" y="442"/>
                  </a:lnTo>
                  <a:lnTo>
                    <a:pt x="400" y="442"/>
                  </a:lnTo>
                  <a:lnTo>
                    <a:pt x="400" y="442"/>
                  </a:lnTo>
                  <a:lnTo>
                    <a:pt x="402" y="437"/>
                  </a:lnTo>
                  <a:lnTo>
                    <a:pt x="402" y="437"/>
                  </a:lnTo>
                  <a:lnTo>
                    <a:pt x="403" y="437"/>
                  </a:lnTo>
                  <a:lnTo>
                    <a:pt x="403" y="437"/>
                  </a:lnTo>
                  <a:lnTo>
                    <a:pt x="405" y="437"/>
                  </a:lnTo>
                  <a:lnTo>
                    <a:pt x="405" y="437"/>
                  </a:lnTo>
                  <a:lnTo>
                    <a:pt x="407" y="437"/>
                  </a:lnTo>
                  <a:lnTo>
                    <a:pt x="407" y="437"/>
                  </a:lnTo>
                  <a:lnTo>
                    <a:pt x="408" y="440"/>
                  </a:lnTo>
                  <a:lnTo>
                    <a:pt x="408" y="440"/>
                  </a:lnTo>
                  <a:lnTo>
                    <a:pt x="410" y="440"/>
                  </a:lnTo>
                  <a:lnTo>
                    <a:pt x="410" y="440"/>
                  </a:lnTo>
                  <a:lnTo>
                    <a:pt x="411" y="439"/>
                  </a:lnTo>
                  <a:lnTo>
                    <a:pt x="411" y="439"/>
                  </a:lnTo>
                  <a:lnTo>
                    <a:pt x="413" y="439"/>
                  </a:lnTo>
                  <a:lnTo>
                    <a:pt x="413" y="439"/>
                  </a:lnTo>
                  <a:lnTo>
                    <a:pt x="414" y="437"/>
                  </a:lnTo>
                  <a:lnTo>
                    <a:pt x="414" y="437"/>
                  </a:lnTo>
                  <a:lnTo>
                    <a:pt x="416" y="439"/>
                  </a:lnTo>
                  <a:lnTo>
                    <a:pt x="416" y="439"/>
                  </a:lnTo>
                  <a:lnTo>
                    <a:pt x="418" y="437"/>
                  </a:lnTo>
                  <a:lnTo>
                    <a:pt x="418" y="437"/>
                  </a:lnTo>
                  <a:lnTo>
                    <a:pt x="419" y="437"/>
                  </a:lnTo>
                  <a:lnTo>
                    <a:pt x="419" y="437"/>
                  </a:lnTo>
                  <a:lnTo>
                    <a:pt x="422" y="440"/>
                  </a:lnTo>
                  <a:lnTo>
                    <a:pt x="422" y="440"/>
                  </a:lnTo>
                  <a:lnTo>
                    <a:pt x="422" y="439"/>
                  </a:lnTo>
                  <a:lnTo>
                    <a:pt x="422" y="439"/>
                  </a:lnTo>
                  <a:lnTo>
                    <a:pt x="424" y="435"/>
                  </a:lnTo>
                  <a:lnTo>
                    <a:pt x="424" y="435"/>
                  </a:lnTo>
                  <a:lnTo>
                    <a:pt x="424" y="435"/>
                  </a:lnTo>
                  <a:lnTo>
                    <a:pt x="424" y="435"/>
                  </a:lnTo>
                  <a:lnTo>
                    <a:pt x="424" y="437"/>
                  </a:lnTo>
                  <a:lnTo>
                    <a:pt x="424" y="437"/>
                  </a:lnTo>
                  <a:lnTo>
                    <a:pt x="427" y="437"/>
                  </a:lnTo>
                  <a:lnTo>
                    <a:pt x="427" y="437"/>
                  </a:lnTo>
                  <a:lnTo>
                    <a:pt x="430" y="434"/>
                  </a:lnTo>
                  <a:lnTo>
                    <a:pt x="430" y="434"/>
                  </a:lnTo>
                  <a:lnTo>
                    <a:pt x="434" y="432"/>
                  </a:lnTo>
                  <a:lnTo>
                    <a:pt x="434" y="432"/>
                  </a:lnTo>
                  <a:lnTo>
                    <a:pt x="434" y="432"/>
                  </a:lnTo>
                  <a:lnTo>
                    <a:pt x="434" y="432"/>
                  </a:lnTo>
                  <a:lnTo>
                    <a:pt x="434" y="431"/>
                  </a:lnTo>
                  <a:lnTo>
                    <a:pt x="434" y="431"/>
                  </a:lnTo>
                  <a:lnTo>
                    <a:pt x="437" y="429"/>
                  </a:lnTo>
                  <a:lnTo>
                    <a:pt x="437" y="429"/>
                  </a:lnTo>
                  <a:lnTo>
                    <a:pt x="440" y="432"/>
                  </a:lnTo>
                  <a:lnTo>
                    <a:pt x="440" y="432"/>
                  </a:lnTo>
                  <a:lnTo>
                    <a:pt x="443" y="434"/>
                  </a:lnTo>
                  <a:lnTo>
                    <a:pt x="443" y="434"/>
                  </a:lnTo>
                  <a:lnTo>
                    <a:pt x="445" y="434"/>
                  </a:lnTo>
                  <a:lnTo>
                    <a:pt x="445" y="434"/>
                  </a:lnTo>
                  <a:lnTo>
                    <a:pt x="448" y="434"/>
                  </a:lnTo>
                  <a:lnTo>
                    <a:pt x="448" y="434"/>
                  </a:lnTo>
                  <a:lnTo>
                    <a:pt x="448" y="434"/>
                  </a:lnTo>
                  <a:lnTo>
                    <a:pt x="448" y="434"/>
                  </a:lnTo>
                  <a:lnTo>
                    <a:pt x="451" y="434"/>
                  </a:lnTo>
                  <a:lnTo>
                    <a:pt x="451" y="434"/>
                  </a:lnTo>
                  <a:lnTo>
                    <a:pt x="454" y="434"/>
                  </a:lnTo>
                  <a:lnTo>
                    <a:pt x="454" y="434"/>
                  </a:lnTo>
                  <a:lnTo>
                    <a:pt x="454" y="437"/>
                  </a:lnTo>
                  <a:lnTo>
                    <a:pt x="454" y="437"/>
                  </a:lnTo>
                  <a:lnTo>
                    <a:pt x="454" y="439"/>
                  </a:lnTo>
                  <a:lnTo>
                    <a:pt x="454" y="439"/>
                  </a:lnTo>
                  <a:lnTo>
                    <a:pt x="454" y="439"/>
                  </a:lnTo>
                  <a:lnTo>
                    <a:pt x="454" y="439"/>
                  </a:lnTo>
                  <a:lnTo>
                    <a:pt x="454" y="443"/>
                  </a:lnTo>
                  <a:lnTo>
                    <a:pt x="454" y="443"/>
                  </a:lnTo>
                  <a:lnTo>
                    <a:pt x="456" y="448"/>
                  </a:lnTo>
                  <a:lnTo>
                    <a:pt x="456" y="448"/>
                  </a:lnTo>
                  <a:lnTo>
                    <a:pt x="459" y="448"/>
                  </a:lnTo>
                  <a:lnTo>
                    <a:pt x="459" y="448"/>
                  </a:lnTo>
                  <a:lnTo>
                    <a:pt x="461" y="450"/>
                  </a:lnTo>
                  <a:lnTo>
                    <a:pt x="461" y="450"/>
                  </a:lnTo>
                  <a:lnTo>
                    <a:pt x="461" y="451"/>
                  </a:lnTo>
                  <a:lnTo>
                    <a:pt x="461" y="451"/>
                  </a:lnTo>
                  <a:lnTo>
                    <a:pt x="464" y="453"/>
                  </a:lnTo>
                  <a:lnTo>
                    <a:pt x="464" y="453"/>
                  </a:lnTo>
                  <a:lnTo>
                    <a:pt x="465" y="454"/>
                  </a:lnTo>
                  <a:lnTo>
                    <a:pt x="465" y="454"/>
                  </a:lnTo>
                  <a:lnTo>
                    <a:pt x="467" y="453"/>
                  </a:lnTo>
                  <a:lnTo>
                    <a:pt x="467" y="453"/>
                  </a:lnTo>
                  <a:lnTo>
                    <a:pt x="467" y="454"/>
                  </a:lnTo>
                  <a:lnTo>
                    <a:pt x="467" y="454"/>
                  </a:lnTo>
                  <a:lnTo>
                    <a:pt x="468" y="454"/>
                  </a:lnTo>
                  <a:lnTo>
                    <a:pt x="468" y="454"/>
                  </a:lnTo>
                  <a:lnTo>
                    <a:pt x="470" y="453"/>
                  </a:lnTo>
                  <a:lnTo>
                    <a:pt x="470" y="453"/>
                  </a:lnTo>
                  <a:lnTo>
                    <a:pt x="473" y="453"/>
                  </a:lnTo>
                  <a:lnTo>
                    <a:pt x="473" y="453"/>
                  </a:lnTo>
                  <a:lnTo>
                    <a:pt x="475" y="454"/>
                  </a:lnTo>
                  <a:lnTo>
                    <a:pt x="475" y="454"/>
                  </a:lnTo>
                  <a:lnTo>
                    <a:pt x="476" y="456"/>
                  </a:lnTo>
                  <a:lnTo>
                    <a:pt x="476" y="456"/>
                  </a:lnTo>
                  <a:lnTo>
                    <a:pt x="478" y="454"/>
                  </a:lnTo>
                  <a:lnTo>
                    <a:pt x="478" y="454"/>
                  </a:lnTo>
                  <a:lnTo>
                    <a:pt x="478" y="453"/>
                  </a:lnTo>
                  <a:lnTo>
                    <a:pt x="478" y="453"/>
                  </a:lnTo>
                  <a:lnTo>
                    <a:pt x="480" y="453"/>
                  </a:lnTo>
                  <a:lnTo>
                    <a:pt x="480" y="453"/>
                  </a:lnTo>
                  <a:lnTo>
                    <a:pt x="480" y="454"/>
                  </a:lnTo>
                  <a:lnTo>
                    <a:pt x="480" y="454"/>
                  </a:lnTo>
                  <a:lnTo>
                    <a:pt x="480" y="453"/>
                  </a:lnTo>
                  <a:lnTo>
                    <a:pt x="480" y="453"/>
                  </a:lnTo>
                  <a:lnTo>
                    <a:pt x="480" y="451"/>
                  </a:lnTo>
                  <a:lnTo>
                    <a:pt x="480" y="451"/>
                  </a:lnTo>
                  <a:lnTo>
                    <a:pt x="480" y="450"/>
                  </a:lnTo>
                  <a:lnTo>
                    <a:pt x="480" y="450"/>
                  </a:lnTo>
                  <a:lnTo>
                    <a:pt x="480" y="448"/>
                  </a:lnTo>
                  <a:lnTo>
                    <a:pt x="480" y="448"/>
                  </a:lnTo>
                  <a:lnTo>
                    <a:pt x="480" y="450"/>
                  </a:lnTo>
                  <a:lnTo>
                    <a:pt x="480" y="450"/>
                  </a:lnTo>
                  <a:lnTo>
                    <a:pt x="480" y="451"/>
                  </a:lnTo>
                  <a:lnTo>
                    <a:pt x="480" y="451"/>
                  </a:lnTo>
                  <a:lnTo>
                    <a:pt x="483" y="451"/>
                  </a:lnTo>
                  <a:lnTo>
                    <a:pt x="483" y="451"/>
                  </a:lnTo>
                  <a:lnTo>
                    <a:pt x="483" y="453"/>
                  </a:lnTo>
                  <a:lnTo>
                    <a:pt x="483" y="453"/>
                  </a:lnTo>
                  <a:lnTo>
                    <a:pt x="483" y="451"/>
                  </a:lnTo>
                  <a:lnTo>
                    <a:pt x="483" y="451"/>
                  </a:lnTo>
                  <a:lnTo>
                    <a:pt x="486" y="451"/>
                  </a:lnTo>
                  <a:lnTo>
                    <a:pt x="486" y="451"/>
                  </a:lnTo>
                  <a:lnTo>
                    <a:pt x="483" y="453"/>
                  </a:lnTo>
                  <a:lnTo>
                    <a:pt x="483" y="453"/>
                  </a:lnTo>
                  <a:lnTo>
                    <a:pt x="486" y="453"/>
                  </a:lnTo>
                  <a:lnTo>
                    <a:pt x="486" y="453"/>
                  </a:lnTo>
                  <a:lnTo>
                    <a:pt x="486" y="453"/>
                  </a:lnTo>
                  <a:lnTo>
                    <a:pt x="486" y="453"/>
                  </a:lnTo>
                  <a:lnTo>
                    <a:pt x="489" y="456"/>
                  </a:lnTo>
                  <a:lnTo>
                    <a:pt x="489" y="456"/>
                  </a:lnTo>
                  <a:lnTo>
                    <a:pt x="489" y="458"/>
                  </a:lnTo>
                  <a:lnTo>
                    <a:pt x="489" y="458"/>
                  </a:lnTo>
                  <a:lnTo>
                    <a:pt x="489" y="456"/>
                  </a:lnTo>
                  <a:lnTo>
                    <a:pt x="489" y="456"/>
                  </a:lnTo>
                  <a:lnTo>
                    <a:pt x="491" y="456"/>
                  </a:lnTo>
                  <a:lnTo>
                    <a:pt x="491" y="456"/>
                  </a:lnTo>
                  <a:lnTo>
                    <a:pt x="492" y="454"/>
                  </a:lnTo>
                  <a:lnTo>
                    <a:pt x="492" y="454"/>
                  </a:lnTo>
                  <a:lnTo>
                    <a:pt x="492" y="453"/>
                  </a:lnTo>
                  <a:lnTo>
                    <a:pt x="492" y="453"/>
                  </a:lnTo>
                  <a:lnTo>
                    <a:pt x="492" y="451"/>
                  </a:lnTo>
                  <a:lnTo>
                    <a:pt x="492" y="451"/>
                  </a:lnTo>
                  <a:lnTo>
                    <a:pt x="494" y="454"/>
                  </a:lnTo>
                  <a:lnTo>
                    <a:pt x="494" y="454"/>
                  </a:lnTo>
                  <a:lnTo>
                    <a:pt x="494" y="456"/>
                  </a:lnTo>
                  <a:lnTo>
                    <a:pt x="494" y="456"/>
                  </a:lnTo>
                  <a:lnTo>
                    <a:pt x="495" y="456"/>
                  </a:lnTo>
                  <a:lnTo>
                    <a:pt x="495" y="456"/>
                  </a:lnTo>
                  <a:lnTo>
                    <a:pt x="495" y="454"/>
                  </a:lnTo>
                  <a:lnTo>
                    <a:pt x="495" y="454"/>
                  </a:lnTo>
                  <a:lnTo>
                    <a:pt x="497" y="456"/>
                  </a:lnTo>
                  <a:lnTo>
                    <a:pt x="497" y="456"/>
                  </a:lnTo>
                  <a:lnTo>
                    <a:pt x="499" y="456"/>
                  </a:lnTo>
                  <a:lnTo>
                    <a:pt x="499" y="456"/>
                  </a:lnTo>
                  <a:lnTo>
                    <a:pt x="497" y="458"/>
                  </a:lnTo>
                  <a:lnTo>
                    <a:pt x="497" y="458"/>
                  </a:lnTo>
                  <a:lnTo>
                    <a:pt x="497" y="458"/>
                  </a:lnTo>
                  <a:lnTo>
                    <a:pt x="497" y="458"/>
                  </a:lnTo>
                  <a:lnTo>
                    <a:pt x="495" y="461"/>
                  </a:lnTo>
                  <a:lnTo>
                    <a:pt x="495" y="461"/>
                  </a:lnTo>
                  <a:lnTo>
                    <a:pt x="495" y="461"/>
                  </a:lnTo>
                  <a:lnTo>
                    <a:pt x="495" y="461"/>
                  </a:lnTo>
                  <a:lnTo>
                    <a:pt x="497" y="464"/>
                  </a:lnTo>
                  <a:lnTo>
                    <a:pt x="497" y="464"/>
                  </a:lnTo>
                  <a:lnTo>
                    <a:pt x="497" y="467"/>
                  </a:lnTo>
                  <a:lnTo>
                    <a:pt x="497" y="467"/>
                  </a:lnTo>
                  <a:lnTo>
                    <a:pt x="499" y="467"/>
                  </a:lnTo>
                  <a:lnTo>
                    <a:pt x="499" y="467"/>
                  </a:lnTo>
                  <a:lnTo>
                    <a:pt x="499" y="467"/>
                  </a:lnTo>
                  <a:lnTo>
                    <a:pt x="499" y="467"/>
                  </a:lnTo>
                  <a:lnTo>
                    <a:pt x="499" y="469"/>
                  </a:lnTo>
                  <a:lnTo>
                    <a:pt x="499" y="469"/>
                  </a:lnTo>
                  <a:lnTo>
                    <a:pt x="502" y="470"/>
                  </a:lnTo>
                  <a:lnTo>
                    <a:pt x="502" y="470"/>
                  </a:lnTo>
                  <a:lnTo>
                    <a:pt x="500" y="470"/>
                  </a:lnTo>
                  <a:lnTo>
                    <a:pt x="500" y="470"/>
                  </a:lnTo>
                  <a:lnTo>
                    <a:pt x="500" y="472"/>
                  </a:lnTo>
                  <a:lnTo>
                    <a:pt x="500" y="472"/>
                  </a:lnTo>
                  <a:lnTo>
                    <a:pt x="505" y="472"/>
                  </a:lnTo>
                  <a:lnTo>
                    <a:pt x="505" y="472"/>
                  </a:lnTo>
                  <a:lnTo>
                    <a:pt x="507" y="472"/>
                  </a:lnTo>
                  <a:lnTo>
                    <a:pt x="507" y="472"/>
                  </a:lnTo>
                  <a:lnTo>
                    <a:pt x="508" y="470"/>
                  </a:lnTo>
                  <a:lnTo>
                    <a:pt x="508" y="470"/>
                  </a:lnTo>
                  <a:lnTo>
                    <a:pt x="507" y="467"/>
                  </a:lnTo>
                  <a:lnTo>
                    <a:pt x="507" y="467"/>
                  </a:lnTo>
                  <a:lnTo>
                    <a:pt x="505" y="464"/>
                  </a:lnTo>
                  <a:lnTo>
                    <a:pt x="505" y="464"/>
                  </a:lnTo>
                  <a:lnTo>
                    <a:pt x="503" y="464"/>
                  </a:lnTo>
                  <a:lnTo>
                    <a:pt x="503" y="464"/>
                  </a:lnTo>
                  <a:lnTo>
                    <a:pt x="502" y="464"/>
                  </a:lnTo>
                  <a:lnTo>
                    <a:pt x="502" y="464"/>
                  </a:lnTo>
                  <a:lnTo>
                    <a:pt x="503" y="461"/>
                  </a:lnTo>
                  <a:lnTo>
                    <a:pt x="503" y="461"/>
                  </a:lnTo>
                  <a:lnTo>
                    <a:pt x="505" y="461"/>
                  </a:lnTo>
                  <a:lnTo>
                    <a:pt x="505" y="461"/>
                  </a:lnTo>
                  <a:lnTo>
                    <a:pt x="505" y="458"/>
                  </a:lnTo>
                  <a:lnTo>
                    <a:pt x="505" y="458"/>
                  </a:lnTo>
                  <a:lnTo>
                    <a:pt x="507" y="458"/>
                  </a:lnTo>
                  <a:lnTo>
                    <a:pt x="507" y="458"/>
                  </a:lnTo>
                  <a:lnTo>
                    <a:pt x="508" y="458"/>
                  </a:lnTo>
                  <a:lnTo>
                    <a:pt x="508" y="458"/>
                  </a:lnTo>
                  <a:lnTo>
                    <a:pt x="508" y="458"/>
                  </a:lnTo>
                  <a:lnTo>
                    <a:pt x="508" y="458"/>
                  </a:lnTo>
                  <a:lnTo>
                    <a:pt x="510" y="456"/>
                  </a:lnTo>
                  <a:lnTo>
                    <a:pt x="510" y="456"/>
                  </a:lnTo>
                  <a:lnTo>
                    <a:pt x="513" y="456"/>
                  </a:lnTo>
                  <a:lnTo>
                    <a:pt x="513" y="456"/>
                  </a:lnTo>
                  <a:lnTo>
                    <a:pt x="514" y="456"/>
                  </a:lnTo>
                  <a:lnTo>
                    <a:pt x="514" y="456"/>
                  </a:lnTo>
                  <a:lnTo>
                    <a:pt x="514" y="456"/>
                  </a:lnTo>
                  <a:lnTo>
                    <a:pt x="514" y="456"/>
                  </a:lnTo>
                  <a:lnTo>
                    <a:pt x="518" y="454"/>
                  </a:lnTo>
                  <a:lnTo>
                    <a:pt x="518" y="454"/>
                  </a:lnTo>
                  <a:lnTo>
                    <a:pt x="518" y="454"/>
                  </a:lnTo>
                  <a:lnTo>
                    <a:pt x="518" y="454"/>
                  </a:lnTo>
                  <a:lnTo>
                    <a:pt x="521" y="454"/>
                  </a:lnTo>
                  <a:lnTo>
                    <a:pt x="521" y="454"/>
                  </a:lnTo>
                  <a:lnTo>
                    <a:pt x="521" y="453"/>
                  </a:lnTo>
                  <a:lnTo>
                    <a:pt x="521" y="453"/>
                  </a:lnTo>
                  <a:lnTo>
                    <a:pt x="521" y="451"/>
                  </a:lnTo>
                  <a:lnTo>
                    <a:pt x="521" y="451"/>
                  </a:lnTo>
                  <a:lnTo>
                    <a:pt x="521" y="451"/>
                  </a:lnTo>
                  <a:lnTo>
                    <a:pt x="521" y="451"/>
                  </a:lnTo>
                  <a:lnTo>
                    <a:pt x="524" y="451"/>
                  </a:lnTo>
                  <a:lnTo>
                    <a:pt x="524" y="451"/>
                  </a:lnTo>
                  <a:lnTo>
                    <a:pt x="521" y="450"/>
                  </a:lnTo>
                  <a:lnTo>
                    <a:pt x="521" y="450"/>
                  </a:lnTo>
                  <a:lnTo>
                    <a:pt x="524" y="451"/>
                  </a:lnTo>
                  <a:lnTo>
                    <a:pt x="524" y="451"/>
                  </a:lnTo>
                  <a:lnTo>
                    <a:pt x="526" y="453"/>
                  </a:lnTo>
                  <a:lnTo>
                    <a:pt x="526" y="453"/>
                  </a:lnTo>
                  <a:lnTo>
                    <a:pt x="527" y="451"/>
                  </a:lnTo>
                  <a:lnTo>
                    <a:pt x="527" y="451"/>
                  </a:lnTo>
                  <a:lnTo>
                    <a:pt x="527" y="448"/>
                  </a:lnTo>
                  <a:lnTo>
                    <a:pt x="527" y="448"/>
                  </a:lnTo>
                  <a:lnTo>
                    <a:pt x="529" y="448"/>
                  </a:lnTo>
                  <a:lnTo>
                    <a:pt x="529" y="448"/>
                  </a:lnTo>
                  <a:lnTo>
                    <a:pt x="529" y="450"/>
                  </a:lnTo>
                  <a:lnTo>
                    <a:pt x="529" y="450"/>
                  </a:lnTo>
                  <a:lnTo>
                    <a:pt x="529" y="451"/>
                  </a:lnTo>
                  <a:lnTo>
                    <a:pt x="529" y="451"/>
                  </a:lnTo>
                  <a:lnTo>
                    <a:pt x="530" y="451"/>
                  </a:lnTo>
                  <a:lnTo>
                    <a:pt x="530" y="451"/>
                  </a:lnTo>
                  <a:lnTo>
                    <a:pt x="532" y="450"/>
                  </a:lnTo>
                  <a:lnTo>
                    <a:pt x="532" y="450"/>
                  </a:lnTo>
                  <a:lnTo>
                    <a:pt x="534" y="448"/>
                  </a:lnTo>
                  <a:lnTo>
                    <a:pt x="534" y="448"/>
                  </a:lnTo>
                  <a:lnTo>
                    <a:pt x="535" y="450"/>
                  </a:lnTo>
                  <a:lnTo>
                    <a:pt x="535" y="450"/>
                  </a:lnTo>
                  <a:lnTo>
                    <a:pt x="535" y="447"/>
                  </a:lnTo>
                  <a:lnTo>
                    <a:pt x="535" y="447"/>
                  </a:lnTo>
                  <a:lnTo>
                    <a:pt x="537" y="445"/>
                  </a:lnTo>
                  <a:lnTo>
                    <a:pt x="537" y="445"/>
                  </a:lnTo>
                  <a:lnTo>
                    <a:pt x="538" y="447"/>
                  </a:lnTo>
                  <a:lnTo>
                    <a:pt x="538" y="447"/>
                  </a:lnTo>
                  <a:lnTo>
                    <a:pt x="540" y="445"/>
                  </a:lnTo>
                  <a:lnTo>
                    <a:pt x="540" y="445"/>
                  </a:lnTo>
                  <a:lnTo>
                    <a:pt x="541" y="445"/>
                  </a:lnTo>
                  <a:lnTo>
                    <a:pt x="541" y="445"/>
                  </a:lnTo>
                  <a:lnTo>
                    <a:pt x="543" y="442"/>
                  </a:lnTo>
                  <a:lnTo>
                    <a:pt x="543" y="442"/>
                  </a:lnTo>
                  <a:lnTo>
                    <a:pt x="541" y="440"/>
                  </a:lnTo>
                  <a:lnTo>
                    <a:pt x="541" y="440"/>
                  </a:lnTo>
                  <a:lnTo>
                    <a:pt x="538" y="437"/>
                  </a:lnTo>
                  <a:lnTo>
                    <a:pt x="538" y="437"/>
                  </a:lnTo>
                  <a:lnTo>
                    <a:pt x="540" y="437"/>
                  </a:lnTo>
                  <a:lnTo>
                    <a:pt x="540" y="437"/>
                  </a:lnTo>
                  <a:lnTo>
                    <a:pt x="538" y="435"/>
                  </a:lnTo>
                  <a:lnTo>
                    <a:pt x="538" y="435"/>
                  </a:lnTo>
                  <a:lnTo>
                    <a:pt x="535" y="434"/>
                  </a:lnTo>
                  <a:lnTo>
                    <a:pt x="535" y="434"/>
                  </a:lnTo>
                  <a:lnTo>
                    <a:pt x="538" y="434"/>
                  </a:lnTo>
                  <a:lnTo>
                    <a:pt x="538" y="434"/>
                  </a:lnTo>
                  <a:lnTo>
                    <a:pt x="538" y="432"/>
                  </a:lnTo>
                  <a:lnTo>
                    <a:pt x="538" y="432"/>
                  </a:lnTo>
                  <a:lnTo>
                    <a:pt x="540" y="432"/>
                  </a:lnTo>
                  <a:lnTo>
                    <a:pt x="540" y="432"/>
                  </a:lnTo>
                  <a:lnTo>
                    <a:pt x="541" y="432"/>
                  </a:lnTo>
                  <a:lnTo>
                    <a:pt x="541" y="432"/>
                  </a:lnTo>
                  <a:lnTo>
                    <a:pt x="540" y="432"/>
                  </a:lnTo>
                  <a:lnTo>
                    <a:pt x="540" y="432"/>
                  </a:lnTo>
                  <a:lnTo>
                    <a:pt x="540" y="434"/>
                  </a:lnTo>
                  <a:lnTo>
                    <a:pt x="540" y="434"/>
                  </a:lnTo>
                  <a:lnTo>
                    <a:pt x="541" y="432"/>
                  </a:lnTo>
                  <a:lnTo>
                    <a:pt x="541" y="432"/>
                  </a:lnTo>
                  <a:lnTo>
                    <a:pt x="541" y="435"/>
                  </a:lnTo>
                  <a:lnTo>
                    <a:pt x="541" y="435"/>
                  </a:lnTo>
                  <a:lnTo>
                    <a:pt x="543" y="437"/>
                  </a:lnTo>
                  <a:lnTo>
                    <a:pt x="543" y="437"/>
                  </a:lnTo>
                  <a:lnTo>
                    <a:pt x="545" y="439"/>
                  </a:lnTo>
                  <a:lnTo>
                    <a:pt x="545" y="439"/>
                  </a:lnTo>
                  <a:lnTo>
                    <a:pt x="545" y="440"/>
                  </a:lnTo>
                  <a:lnTo>
                    <a:pt x="545" y="440"/>
                  </a:lnTo>
                  <a:lnTo>
                    <a:pt x="546" y="440"/>
                  </a:lnTo>
                  <a:lnTo>
                    <a:pt x="546" y="440"/>
                  </a:lnTo>
                  <a:lnTo>
                    <a:pt x="549" y="439"/>
                  </a:lnTo>
                  <a:lnTo>
                    <a:pt x="549" y="439"/>
                  </a:lnTo>
                  <a:lnTo>
                    <a:pt x="553" y="440"/>
                  </a:lnTo>
                  <a:lnTo>
                    <a:pt x="553" y="440"/>
                  </a:lnTo>
                  <a:lnTo>
                    <a:pt x="553" y="442"/>
                  </a:lnTo>
                  <a:lnTo>
                    <a:pt x="553" y="442"/>
                  </a:lnTo>
                  <a:lnTo>
                    <a:pt x="556" y="440"/>
                  </a:lnTo>
                  <a:lnTo>
                    <a:pt x="556" y="440"/>
                  </a:lnTo>
                  <a:lnTo>
                    <a:pt x="553" y="439"/>
                  </a:lnTo>
                  <a:lnTo>
                    <a:pt x="553" y="439"/>
                  </a:lnTo>
                  <a:lnTo>
                    <a:pt x="553" y="439"/>
                  </a:lnTo>
                  <a:lnTo>
                    <a:pt x="553" y="439"/>
                  </a:lnTo>
                  <a:lnTo>
                    <a:pt x="553" y="437"/>
                  </a:lnTo>
                  <a:lnTo>
                    <a:pt x="553" y="437"/>
                  </a:lnTo>
                  <a:lnTo>
                    <a:pt x="556" y="435"/>
                  </a:lnTo>
                  <a:lnTo>
                    <a:pt x="556" y="435"/>
                  </a:lnTo>
                  <a:lnTo>
                    <a:pt x="556" y="437"/>
                  </a:lnTo>
                  <a:lnTo>
                    <a:pt x="556" y="437"/>
                  </a:lnTo>
                  <a:lnTo>
                    <a:pt x="556" y="439"/>
                  </a:lnTo>
                  <a:lnTo>
                    <a:pt x="556" y="439"/>
                  </a:lnTo>
                  <a:lnTo>
                    <a:pt x="559" y="439"/>
                  </a:lnTo>
                  <a:lnTo>
                    <a:pt x="559" y="439"/>
                  </a:lnTo>
                  <a:lnTo>
                    <a:pt x="559" y="437"/>
                  </a:lnTo>
                  <a:lnTo>
                    <a:pt x="559" y="437"/>
                  </a:lnTo>
                  <a:lnTo>
                    <a:pt x="559" y="437"/>
                  </a:lnTo>
                  <a:lnTo>
                    <a:pt x="559" y="437"/>
                  </a:lnTo>
                  <a:lnTo>
                    <a:pt x="561" y="435"/>
                  </a:lnTo>
                  <a:lnTo>
                    <a:pt x="561" y="435"/>
                  </a:lnTo>
                  <a:lnTo>
                    <a:pt x="562" y="437"/>
                  </a:lnTo>
                  <a:lnTo>
                    <a:pt x="562" y="437"/>
                  </a:lnTo>
                  <a:lnTo>
                    <a:pt x="564" y="437"/>
                  </a:lnTo>
                  <a:lnTo>
                    <a:pt x="564" y="437"/>
                  </a:lnTo>
                  <a:lnTo>
                    <a:pt x="565" y="439"/>
                  </a:lnTo>
                  <a:lnTo>
                    <a:pt x="565" y="439"/>
                  </a:lnTo>
                  <a:lnTo>
                    <a:pt x="565" y="437"/>
                  </a:lnTo>
                  <a:lnTo>
                    <a:pt x="565" y="437"/>
                  </a:lnTo>
                  <a:lnTo>
                    <a:pt x="565" y="435"/>
                  </a:lnTo>
                  <a:lnTo>
                    <a:pt x="565" y="435"/>
                  </a:lnTo>
                  <a:lnTo>
                    <a:pt x="564" y="434"/>
                  </a:lnTo>
                  <a:lnTo>
                    <a:pt x="564" y="434"/>
                  </a:lnTo>
                  <a:lnTo>
                    <a:pt x="565" y="434"/>
                  </a:lnTo>
                  <a:lnTo>
                    <a:pt x="565" y="434"/>
                  </a:lnTo>
                  <a:lnTo>
                    <a:pt x="567" y="434"/>
                  </a:lnTo>
                  <a:lnTo>
                    <a:pt x="567" y="434"/>
                  </a:lnTo>
                  <a:lnTo>
                    <a:pt x="567" y="435"/>
                  </a:lnTo>
                  <a:lnTo>
                    <a:pt x="567" y="435"/>
                  </a:lnTo>
                  <a:lnTo>
                    <a:pt x="568" y="435"/>
                  </a:lnTo>
                  <a:lnTo>
                    <a:pt x="568" y="435"/>
                  </a:lnTo>
                  <a:lnTo>
                    <a:pt x="570" y="435"/>
                  </a:lnTo>
                  <a:lnTo>
                    <a:pt x="570" y="435"/>
                  </a:lnTo>
                  <a:lnTo>
                    <a:pt x="570" y="434"/>
                  </a:lnTo>
                  <a:lnTo>
                    <a:pt x="570" y="434"/>
                  </a:lnTo>
                  <a:lnTo>
                    <a:pt x="573" y="434"/>
                  </a:lnTo>
                  <a:lnTo>
                    <a:pt x="573" y="434"/>
                  </a:lnTo>
                  <a:lnTo>
                    <a:pt x="576" y="434"/>
                  </a:lnTo>
                  <a:lnTo>
                    <a:pt x="576" y="434"/>
                  </a:lnTo>
                  <a:lnTo>
                    <a:pt x="576" y="432"/>
                  </a:lnTo>
                  <a:lnTo>
                    <a:pt x="576" y="432"/>
                  </a:lnTo>
                  <a:lnTo>
                    <a:pt x="578" y="431"/>
                  </a:lnTo>
                  <a:lnTo>
                    <a:pt x="578" y="431"/>
                  </a:lnTo>
                  <a:lnTo>
                    <a:pt x="580" y="431"/>
                  </a:lnTo>
                  <a:lnTo>
                    <a:pt x="580" y="431"/>
                  </a:lnTo>
                  <a:lnTo>
                    <a:pt x="578" y="429"/>
                  </a:lnTo>
                  <a:lnTo>
                    <a:pt x="578" y="429"/>
                  </a:lnTo>
                  <a:lnTo>
                    <a:pt x="580" y="429"/>
                  </a:lnTo>
                  <a:lnTo>
                    <a:pt x="580" y="429"/>
                  </a:lnTo>
                  <a:lnTo>
                    <a:pt x="580" y="426"/>
                  </a:lnTo>
                  <a:lnTo>
                    <a:pt x="580" y="426"/>
                  </a:lnTo>
                  <a:lnTo>
                    <a:pt x="581" y="424"/>
                  </a:lnTo>
                  <a:lnTo>
                    <a:pt x="581" y="424"/>
                  </a:lnTo>
                  <a:lnTo>
                    <a:pt x="581" y="426"/>
                  </a:lnTo>
                  <a:lnTo>
                    <a:pt x="581" y="426"/>
                  </a:lnTo>
                  <a:lnTo>
                    <a:pt x="584" y="424"/>
                  </a:lnTo>
                  <a:lnTo>
                    <a:pt x="584" y="424"/>
                  </a:lnTo>
                  <a:lnTo>
                    <a:pt x="584" y="423"/>
                  </a:lnTo>
                  <a:lnTo>
                    <a:pt x="584" y="423"/>
                  </a:lnTo>
                  <a:lnTo>
                    <a:pt x="588" y="421"/>
                  </a:lnTo>
                  <a:lnTo>
                    <a:pt x="588" y="421"/>
                  </a:lnTo>
                  <a:lnTo>
                    <a:pt x="588" y="421"/>
                  </a:lnTo>
                  <a:lnTo>
                    <a:pt x="588" y="421"/>
                  </a:lnTo>
                  <a:lnTo>
                    <a:pt x="588" y="418"/>
                  </a:lnTo>
                  <a:lnTo>
                    <a:pt x="588" y="418"/>
                  </a:lnTo>
                  <a:lnTo>
                    <a:pt x="589" y="418"/>
                  </a:lnTo>
                  <a:lnTo>
                    <a:pt x="589" y="418"/>
                  </a:lnTo>
                  <a:lnTo>
                    <a:pt x="589" y="420"/>
                  </a:lnTo>
                  <a:lnTo>
                    <a:pt x="589" y="420"/>
                  </a:lnTo>
                  <a:lnTo>
                    <a:pt x="591" y="418"/>
                  </a:lnTo>
                  <a:lnTo>
                    <a:pt x="591" y="418"/>
                  </a:lnTo>
                  <a:lnTo>
                    <a:pt x="591" y="416"/>
                  </a:lnTo>
                  <a:lnTo>
                    <a:pt x="591" y="416"/>
                  </a:lnTo>
                  <a:lnTo>
                    <a:pt x="592" y="415"/>
                  </a:lnTo>
                  <a:lnTo>
                    <a:pt x="592" y="415"/>
                  </a:lnTo>
                  <a:lnTo>
                    <a:pt x="592" y="413"/>
                  </a:lnTo>
                  <a:lnTo>
                    <a:pt x="592" y="413"/>
                  </a:lnTo>
                  <a:lnTo>
                    <a:pt x="589" y="413"/>
                  </a:lnTo>
                  <a:lnTo>
                    <a:pt x="589" y="413"/>
                  </a:lnTo>
                  <a:lnTo>
                    <a:pt x="588" y="412"/>
                  </a:lnTo>
                  <a:lnTo>
                    <a:pt x="588" y="412"/>
                  </a:lnTo>
                  <a:lnTo>
                    <a:pt x="591" y="412"/>
                  </a:lnTo>
                  <a:lnTo>
                    <a:pt x="591" y="412"/>
                  </a:lnTo>
                  <a:lnTo>
                    <a:pt x="592" y="412"/>
                  </a:lnTo>
                  <a:lnTo>
                    <a:pt x="592" y="412"/>
                  </a:lnTo>
                  <a:lnTo>
                    <a:pt x="594" y="412"/>
                  </a:lnTo>
                  <a:lnTo>
                    <a:pt x="594" y="412"/>
                  </a:lnTo>
                  <a:lnTo>
                    <a:pt x="595" y="412"/>
                  </a:lnTo>
                  <a:lnTo>
                    <a:pt x="595" y="412"/>
                  </a:lnTo>
                  <a:lnTo>
                    <a:pt x="597" y="408"/>
                  </a:lnTo>
                  <a:lnTo>
                    <a:pt x="597" y="408"/>
                  </a:lnTo>
                  <a:lnTo>
                    <a:pt x="599" y="412"/>
                  </a:lnTo>
                  <a:lnTo>
                    <a:pt x="599" y="412"/>
                  </a:lnTo>
                  <a:lnTo>
                    <a:pt x="600" y="412"/>
                  </a:lnTo>
                  <a:lnTo>
                    <a:pt x="600" y="412"/>
                  </a:lnTo>
                  <a:lnTo>
                    <a:pt x="599" y="408"/>
                  </a:lnTo>
                  <a:lnTo>
                    <a:pt x="599" y="408"/>
                  </a:lnTo>
                  <a:lnTo>
                    <a:pt x="600" y="405"/>
                  </a:lnTo>
                  <a:lnTo>
                    <a:pt x="600" y="405"/>
                  </a:lnTo>
                  <a:lnTo>
                    <a:pt x="602" y="405"/>
                  </a:lnTo>
                  <a:lnTo>
                    <a:pt x="602" y="405"/>
                  </a:lnTo>
                  <a:lnTo>
                    <a:pt x="602" y="402"/>
                  </a:lnTo>
                  <a:lnTo>
                    <a:pt x="602" y="402"/>
                  </a:lnTo>
                  <a:lnTo>
                    <a:pt x="600" y="402"/>
                  </a:lnTo>
                  <a:lnTo>
                    <a:pt x="600" y="402"/>
                  </a:lnTo>
                  <a:lnTo>
                    <a:pt x="602" y="402"/>
                  </a:lnTo>
                  <a:lnTo>
                    <a:pt x="602" y="402"/>
                  </a:lnTo>
                  <a:lnTo>
                    <a:pt x="603" y="402"/>
                  </a:lnTo>
                  <a:lnTo>
                    <a:pt x="603" y="402"/>
                  </a:lnTo>
                  <a:lnTo>
                    <a:pt x="603" y="402"/>
                  </a:lnTo>
                  <a:lnTo>
                    <a:pt x="603" y="402"/>
                  </a:lnTo>
                  <a:lnTo>
                    <a:pt x="605" y="402"/>
                  </a:lnTo>
                  <a:lnTo>
                    <a:pt x="605" y="402"/>
                  </a:lnTo>
                  <a:lnTo>
                    <a:pt x="605" y="402"/>
                  </a:lnTo>
                  <a:lnTo>
                    <a:pt x="605" y="402"/>
                  </a:lnTo>
                  <a:lnTo>
                    <a:pt x="605" y="399"/>
                  </a:lnTo>
                  <a:lnTo>
                    <a:pt x="605" y="399"/>
                  </a:lnTo>
                  <a:lnTo>
                    <a:pt x="602" y="399"/>
                  </a:lnTo>
                  <a:lnTo>
                    <a:pt x="602" y="399"/>
                  </a:lnTo>
                  <a:lnTo>
                    <a:pt x="603" y="397"/>
                  </a:lnTo>
                  <a:lnTo>
                    <a:pt x="603" y="397"/>
                  </a:lnTo>
                  <a:lnTo>
                    <a:pt x="605" y="399"/>
                  </a:lnTo>
                  <a:lnTo>
                    <a:pt x="605" y="399"/>
                  </a:lnTo>
                  <a:lnTo>
                    <a:pt x="608" y="399"/>
                  </a:lnTo>
                  <a:lnTo>
                    <a:pt x="608" y="399"/>
                  </a:lnTo>
                  <a:lnTo>
                    <a:pt x="608" y="397"/>
                  </a:lnTo>
                  <a:lnTo>
                    <a:pt x="608" y="397"/>
                  </a:lnTo>
                  <a:lnTo>
                    <a:pt x="605" y="397"/>
                  </a:lnTo>
                  <a:lnTo>
                    <a:pt x="605" y="397"/>
                  </a:lnTo>
                  <a:lnTo>
                    <a:pt x="605" y="396"/>
                  </a:lnTo>
                  <a:lnTo>
                    <a:pt x="605" y="396"/>
                  </a:lnTo>
                  <a:lnTo>
                    <a:pt x="605" y="393"/>
                  </a:lnTo>
                  <a:lnTo>
                    <a:pt x="605" y="393"/>
                  </a:lnTo>
                  <a:lnTo>
                    <a:pt x="608" y="391"/>
                  </a:lnTo>
                  <a:lnTo>
                    <a:pt x="608" y="391"/>
                  </a:lnTo>
                  <a:lnTo>
                    <a:pt x="605" y="391"/>
                  </a:lnTo>
                  <a:lnTo>
                    <a:pt x="605" y="391"/>
                  </a:lnTo>
                  <a:lnTo>
                    <a:pt x="605" y="391"/>
                  </a:lnTo>
                  <a:lnTo>
                    <a:pt x="605" y="391"/>
                  </a:lnTo>
                  <a:lnTo>
                    <a:pt x="603" y="391"/>
                  </a:lnTo>
                  <a:lnTo>
                    <a:pt x="603" y="391"/>
                  </a:lnTo>
                  <a:lnTo>
                    <a:pt x="602" y="391"/>
                  </a:lnTo>
                  <a:lnTo>
                    <a:pt x="602" y="391"/>
                  </a:lnTo>
                  <a:lnTo>
                    <a:pt x="600" y="388"/>
                  </a:lnTo>
                  <a:lnTo>
                    <a:pt x="600" y="388"/>
                  </a:lnTo>
                  <a:lnTo>
                    <a:pt x="605" y="391"/>
                  </a:lnTo>
                  <a:lnTo>
                    <a:pt x="605" y="391"/>
                  </a:lnTo>
                  <a:lnTo>
                    <a:pt x="605" y="386"/>
                  </a:lnTo>
                  <a:lnTo>
                    <a:pt x="605" y="386"/>
                  </a:lnTo>
                  <a:lnTo>
                    <a:pt x="608" y="386"/>
                  </a:lnTo>
                  <a:lnTo>
                    <a:pt x="608" y="386"/>
                  </a:lnTo>
                  <a:lnTo>
                    <a:pt x="608" y="385"/>
                  </a:lnTo>
                  <a:lnTo>
                    <a:pt x="608" y="385"/>
                  </a:lnTo>
                  <a:lnTo>
                    <a:pt x="605" y="385"/>
                  </a:lnTo>
                  <a:lnTo>
                    <a:pt x="605" y="385"/>
                  </a:lnTo>
                  <a:lnTo>
                    <a:pt x="605" y="385"/>
                  </a:lnTo>
                  <a:lnTo>
                    <a:pt x="605" y="385"/>
                  </a:lnTo>
                  <a:lnTo>
                    <a:pt x="605" y="383"/>
                  </a:lnTo>
                  <a:lnTo>
                    <a:pt x="605" y="383"/>
                  </a:lnTo>
                  <a:lnTo>
                    <a:pt x="605" y="381"/>
                  </a:lnTo>
                  <a:lnTo>
                    <a:pt x="605" y="381"/>
                  </a:lnTo>
                  <a:lnTo>
                    <a:pt x="603" y="378"/>
                  </a:lnTo>
                  <a:lnTo>
                    <a:pt x="603" y="378"/>
                  </a:lnTo>
                  <a:lnTo>
                    <a:pt x="605" y="378"/>
                  </a:lnTo>
                  <a:lnTo>
                    <a:pt x="605" y="378"/>
                  </a:lnTo>
                  <a:lnTo>
                    <a:pt x="605" y="378"/>
                  </a:lnTo>
                  <a:lnTo>
                    <a:pt x="605" y="378"/>
                  </a:lnTo>
                  <a:lnTo>
                    <a:pt x="608" y="380"/>
                  </a:lnTo>
                  <a:lnTo>
                    <a:pt x="608" y="380"/>
                  </a:lnTo>
                  <a:lnTo>
                    <a:pt x="608" y="378"/>
                  </a:lnTo>
                  <a:lnTo>
                    <a:pt x="608" y="378"/>
                  </a:lnTo>
                  <a:lnTo>
                    <a:pt x="608" y="380"/>
                  </a:lnTo>
                  <a:lnTo>
                    <a:pt x="608" y="380"/>
                  </a:lnTo>
                  <a:lnTo>
                    <a:pt x="608" y="381"/>
                  </a:lnTo>
                  <a:lnTo>
                    <a:pt x="608" y="381"/>
                  </a:lnTo>
                  <a:lnTo>
                    <a:pt x="608" y="381"/>
                  </a:lnTo>
                  <a:lnTo>
                    <a:pt x="608" y="381"/>
                  </a:lnTo>
                  <a:lnTo>
                    <a:pt x="611" y="381"/>
                  </a:lnTo>
                  <a:lnTo>
                    <a:pt x="611" y="381"/>
                  </a:lnTo>
                  <a:lnTo>
                    <a:pt x="608" y="377"/>
                  </a:lnTo>
                  <a:lnTo>
                    <a:pt x="608" y="377"/>
                  </a:lnTo>
                  <a:lnTo>
                    <a:pt x="611" y="377"/>
                  </a:lnTo>
                  <a:lnTo>
                    <a:pt x="611" y="377"/>
                  </a:lnTo>
                  <a:lnTo>
                    <a:pt x="611" y="373"/>
                  </a:lnTo>
                  <a:lnTo>
                    <a:pt x="611" y="373"/>
                  </a:lnTo>
                  <a:lnTo>
                    <a:pt x="611" y="373"/>
                  </a:lnTo>
                  <a:lnTo>
                    <a:pt x="611" y="373"/>
                  </a:lnTo>
                  <a:lnTo>
                    <a:pt x="611" y="373"/>
                  </a:lnTo>
                  <a:lnTo>
                    <a:pt x="611" y="373"/>
                  </a:lnTo>
                  <a:lnTo>
                    <a:pt x="615" y="373"/>
                  </a:lnTo>
                  <a:lnTo>
                    <a:pt x="615" y="373"/>
                  </a:lnTo>
                  <a:lnTo>
                    <a:pt x="615" y="370"/>
                  </a:lnTo>
                  <a:lnTo>
                    <a:pt x="615" y="370"/>
                  </a:lnTo>
                  <a:lnTo>
                    <a:pt x="615" y="370"/>
                  </a:lnTo>
                  <a:lnTo>
                    <a:pt x="615" y="370"/>
                  </a:lnTo>
                  <a:lnTo>
                    <a:pt x="615" y="367"/>
                  </a:lnTo>
                  <a:lnTo>
                    <a:pt x="615" y="367"/>
                  </a:lnTo>
                  <a:lnTo>
                    <a:pt x="615" y="367"/>
                  </a:lnTo>
                  <a:lnTo>
                    <a:pt x="615" y="367"/>
                  </a:lnTo>
                  <a:lnTo>
                    <a:pt x="615" y="364"/>
                  </a:lnTo>
                  <a:lnTo>
                    <a:pt x="615" y="364"/>
                  </a:lnTo>
                  <a:lnTo>
                    <a:pt x="615" y="362"/>
                  </a:lnTo>
                  <a:lnTo>
                    <a:pt x="615" y="362"/>
                  </a:lnTo>
                  <a:lnTo>
                    <a:pt x="615" y="361"/>
                  </a:lnTo>
                  <a:lnTo>
                    <a:pt x="615" y="361"/>
                  </a:lnTo>
                  <a:lnTo>
                    <a:pt x="616" y="359"/>
                  </a:lnTo>
                  <a:lnTo>
                    <a:pt x="616" y="359"/>
                  </a:lnTo>
                  <a:lnTo>
                    <a:pt x="615" y="358"/>
                  </a:lnTo>
                  <a:lnTo>
                    <a:pt x="615" y="358"/>
                  </a:lnTo>
                  <a:lnTo>
                    <a:pt x="616" y="356"/>
                  </a:lnTo>
                  <a:lnTo>
                    <a:pt x="616" y="356"/>
                  </a:lnTo>
                  <a:lnTo>
                    <a:pt x="618" y="358"/>
                  </a:lnTo>
                  <a:lnTo>
                    <a:pt x="618" y="358"/>
                  </a:lnTo>
                  <a:lnTo>
                    <a:pt x="619" y="359"/>
                  </a:lnTo>
                  <a:lnTo>
                    <a:pt x="619" y="359"/>
                  </a:lnTo>
                  <a:lnTo>
                    <a:pt x="619" y="358"/>
                  </a:lnTo>
                  <a:lnTo>
                    <a:pt x="619" y="358"/>
                  </a:lnTo>
                  <a:lnTo>
                    <a:pt x="621" y="358"/>
                  </a:lnTo>
                  <a:lnTo>
                    <a:pt x="621" y="358"/>
                  </a:lnTo>
                  <a:lnTo>
                    <a:pt x="622" y="356"/>
                  </a:lnTo>
                  <a:lnTo>
                    <a:pt x="622" y="356"/>
                  </a:lnTo>
                  <a:lnTo>
                    <a:pt x="621" y="354"/>
                  </a:lnTo>
                  <a:lnTo>
                    <a:pt x="621" y="354"/>
                  </a:lnTo>
                  <a:lnTo>
                    <a:pt x="619" y="353"/>
                  </a:lnTo>
                  <a:lnTo>
                    <a:pt x="619" y="353"/>
                  </a:lnTo>
                  <a:lnTo>
                    <a:pt x="619" y="351"/>
                  </a:lnTo>
                  <a:lnTo>
                    <a:pt x="619" y="351"/>
                  </a:lnTo>
                  <a:lnTo>
                    <a:pt x="621" y="351"/>
                  </a:lnTo>
                  <a:lnTo>
                    <a:pt x="621" y="351"/>
                  </a:lnTo>
                  <a:lnTo>
                    <a:pt x="621" y="350"/>
                  </a:lnTo>
                  <a:lnTo>
                    <a:pt x="621" y="350"/>
                  </a:lnTo>
                  <a:lnTo>
                    <a:pt x="619" y="348"/>
                  </a:lnTo>
                  <a:lnTo>
                    <a:pt x="619" y="348"/>
                  </a:lnTo>
                  <a:lnTo>
                    <a:pt x="621" y="348"/>
                  </a:lnTo>
                  <a:lnTo>
                    <a:pt x="621" y="348"/>
                  </a:lnTo>
                  <a:lnTo>
                    <a:pt x="619" y="346"/>
                  </a:lnTo>
                  <a:lnTo>
                    <a:pt x="619" y="346"/>
                  </a:lnTo>
                  <a:lnTo>
                    <a:pt x="616" y="345"/>
                  </a:lnTo>
                  <a:lnTo>
                    <a:pt x="616" y="345"/>
                  </a:lnTo>
                  <a:lnTo>
                    <a:pt x="618" y="342"/>
                  </a:lnTo>
                  <a:lnTo>
                    <a:pt x="618" y="342"/>
                  </a:lnTo>
                  <a:lnTo>
                    <a:pt x="618" y="343"/>
                  </a:lnTo>
                  <a:lnTo>
                    <a:pt x="618" y="343"/>
                  </a:lnTo>
                  <a:lnTo>
                    <a:pt x="619" y="342"/>
                  </a:lnTo>
                  <a:lnTo>
                    <a:pt x="619" y="342"/>
                  </a:lnTo>
                  <a:lnTo>
                    <a:pt x="619" y="343"/>
                  </a:lnTo>
                  <a:lnTo>
                    <a:pt x="619" y="343"/>
                  </a:lnTo>
                  <a:lnTo>
                    <a:pt x="621" y="343"/>
                  </a:lnTo>
                  <a:lnTo>
                    <a:pt x="621" y="343"/>
                  </a:lnTo>
                  <a:lnTo>
                    <a:pt x="621" y="342"/>
                  </a:lnTo>
                  <a:lnTo>
                    <a:pt x="621" y="342"/>
                  </a:lnTo>
                  <a:lnTo>
                    <a:pt x="622" y="343"/>
                  </a:lnTo>
                  <a:lnTo>
                    <a:pt x="622" y="343"/>
                  </a:lnTo>
                  <a:lnTo>
                    <a:pt x="622" y="342"/>
                  </a:lnTo>
                  <a:lnTo>
                    <a:pt x="622" y="342"/>
                  </a:lnTo>
                  <a:lnTo>
                    <a:pt x="621" y="339"/>
                  </a:lnTo>
                  <a:lnTo>
                    <a:pt x="621" y="339"/>
                  </a:lnTo>
                  <a:lnTo>
                    <a:pt x="621" y="339"/>
                  </a:lnTo>
                  <a:lnTo>
                    <a:pt x="621" y="339"/>
                  </a:lnTo>
                  <a:lnTo>
                    <a:pt x="619" y="339"/>
                  </a:lnTo>
                  <a:lnTo>
                    <a:pt x="619" y="339"/>
                  </a:lnTo>
                  <a:lnTo>
                    <a:pt x="622" y="335"/>
                  </a:lnTo>
                  <a:lnTo>
                    <a:pt x="622" y="335"/>
                  </a:lnTo>
                  <a:lnTo>
                    <a:pt x="618" y="332"/>
                  </a:lnTo>
                  <a:lnTo>
                    <a:pt x="618" y="332"/>
                  </a:lnTo>
                  <a:lnTo>
                    <a:pt x="615" y="332"/>
                  </a:lnTo>
                  <a:lnTo>
                    <a:pt x="615" y="332"/>
                  </a:lnTo>
                  <a:lnTo>
                    <a:pt x="615" y="331"/>
                  </a:lnTo>
                  <a:lnTo>
                    <a:pt x="615" y="331"/>
                  </a:lnTo>
                  <a:lnTo>
                    <a:pt x="611" y="329"/>
                  </a:lnTo>
                  <a:lnTo>
                    <a:pt x="611" y="329"/>
                  </a:lnTo>
                  <a:lnTo>
                    <a:pt x="608" y="329"/>
                  </a:lnTo>
                  <a:lnTo>
                    <a:pt x="608" y="329"/>
                  </a:lnTo>
                  <a:lnTo>
                    <a:pt x="608" y="331"/>
                  </a:lnTo>
                  <a:lnTo>
                    <a:pt x="608" y="331"/>
                  </a:lnTo>
                  <a:lnTo>
                    <a:pt x="605" y="331"/>
                  </a:lnTo>
                  <a:lnTo>
                    <a:pt x="605" y="331"/>
                  </a:lnTo>
                  <a:lnTo>
                    <a:pt x="605" y="331"/>
                  </a:lnTo>
                  <a:lnTo>
                    <a:pt x="605" y="331"/>
                  </a:lnTo>
                  <a:lnTo>
                    <a:pt x="605" y="332"/>
                  </a:lnTo>
                  <a:lnTo>
                    <a:pt x="605" y="332"/>
                  </a:lnTo>
                  <a:lnTo>
                    <a:pt x="605" y="332"/>
                  </a:lnTo>
                  <a:lnTo>
                    <a:pt x="605" y="332"/>
                  </a:lnTo>
                  <a:lnTo>
                    <a:pt x="603" y="331"/>
                  </a:lnTo>
                  <a:lnTo>
                    <a:pt x="603" y="331"/>
                  </a:lnTo>
                  <a:lnTo>
                    <a:pt x="602" y="327"/>
                  </a:lnTo>
                  <a:lnTo>
                    <a:pt x="602" y="327"/>
                  </a:lnTo>
                  <a:lnTo>
                    <a:pt x="603" y="327"/>
                  </a:lnTo>
                  <a:lnTo>
                    <a:pt x="603" y="327"/>
                  </a:lnTo>
                  <a:lnTo>
                    <a:pt x="605" y="327"/>
                  </a:lnTo>
                  <a:lnTo>
                    <a:pt x="605" y="327"/>
                  </a:lnTo>
                  <a:lnTo>
                    <a:pt x="605" y="327"/>
                  </a:lnTo>
                  <a:lnTo>
                    <a:pt x="605" y="327"/>
                  </a:lnTo>
                  <a:lnTo>
                    <a:pt x="605" y="326"/>
                  </a:lnTo>
                  <a:lnTo>
                    <a:pt x="605" y="326"/>
                  </a:lnTo>
                  <a:lnTo>
                    <a:pt x="605" y="324"/>
                  </a:lnTo>
                  <a:lnTo>
                    <a:pt x="605" y="324"/>
                  </a:lnTo>
                  <a:lnTo>
                    <a:pt x="608" y="323"/>
                  </a:lnTo>
                  <a:lnTo>
                    <a:pt x="608" y="323"/>
                  </a:lnTo>
                  <a:lnTo>
                    <a:pt x="611" y="321"/>
                  </a:lnTo>
                  <a:lnTo>
                    <a:pt x="611" y="321"/>
                  </a:lnTo>
                  <a:lnTo>
                    <a:pt x="611" y="321"/>
                  </a:lnTo>
                  <a:lnTo>
                    <a:pt x="611" y="321"/>
                  </a:lnTo>
                  <a:lnTo>
                    <a:pt x="615" y="321"/>
                  </a:lnTo>
                  <a:lnTo>
                    <a:pt x="615" y="321"/>
                  </a:lnTo>
                  <a:lnTo>
                    <a:pt x="615" y="321"/>
                  </a:lnTo>
                  <a:lnTo>
                    <a:pt x="615" y="321"/>
                  </a:lnTo>
                  <a:lnTo>
                    <a:pt x="615" y="318"/>
                  </a:lnTo>
                  <a:lnTo>
                    <a:pt x="615" y="318"/>
                  </a:lnTo>
                  <a:lnTo>
                    <a:pt x="611" y="315"/>
                  </a:lnTo>
                  <a:lnTo>
                    <a:pt x="611" y="315"/>
                  </a:lnTo>
                  <a:lnTo>
                    <a:pt x="605" y="312"/>
                  </a:lnTo>
                  <a:lnTo>
                    <a:pt x="605" y="312"/>
                  </a:lnTo>
                  <a:lnTo>
                    <a:pt x="602" y="308"/>
                  </a:lnTo>
                  <a:lnTo>
                    <a:pt x="602" y="308"/>
                  </a:lnTo>
                  <a:lnTo>
                    <a:pt x="597" y="308"/>
                  </a:lnTo>
                  <a:lnTo>
                    <a:pt x="597" y="308"/>
                  </a:lnTo>
                  <a:lnTo>
                    <a:pt x="597" y="305"/>
                  </a:lnTo>
                  <a:lnTo>
                    <a:pt x="597" y="305"/>
                  </a:lnTo>
                  <a:lnTo>
                    <a:pt x="594" y="304"/>
                  </a:lnTo>
                  <a:lnTo>
                    <a:pt x="594" y="304"/>
                  </a:lnTo>
                  <a:lnTo>
                    <a:pt x="595" y="304"/>
                  </a:lnTo>
                  <a:lnTo>
                    <a:pt x="595" y="304"/>
                  </a:lnTo>
                  <a:lnTo>
                    <a:pt x="599" y="305"/>
                  </a:lnTo>
                  <a:lnTo>
                    <a:pt x="599" y="305"/>
                  </a:lnTo>
                  <a:lnTo>
                    <a:pt x="600" y="307"/>
                  </a:lnTo>
                  <a:lnTo>
                    <a:pt x="600" y="307"/>
                  </a:lnTo>
                  <a:lnTo>
                    <a:pt x="603" y="307"/>
                  </a:lnTo>
                  <a:lnTo>
                    <a:pt x="603" y="307"/>
                  </a:lnTo>
                  <a:lnTo>
                    <a:pt x="605" y="307"/>
                  </a:lnTo>
                  <a:lnTo>
                    <a:pt x="605" y="307"/>
                  </a:lnTo>
                  <a:lnTo>
                    <a:pt x="605" y="307"/>
                  </a:lnTo>
                  <a:lnTo>
                    <a:pt x="605" y="307"/>
                  </a:lnTo>
                  <a:lnTo>
                    <a:pt x="611" y="308"/>
                  </a:lnTo>
                  <a:lnTo>
                    <a:pt x="611" y="308"/>
                  </a:lnTo>
                  <a:lnTo>
                    <a:pt x="611" y="307"/>
                  </a:lnTo>
                  <a:lnTo>
                    <a:pt x="611" y="307"/>
                  </a:lnTo>
                  <a:lnTo>
                    <a:pt x="608" y="305"/>
                  </a:lnTo>
                  <a:lnTo>
                    <a:pt x="608" y="305"/>
                  </a:lnTo>
                  <a:lnTo>
                    <a:pt x="605" y="304"/>
                  </a:lnTo>
                  <a:lnTo>
                    <a:pt x="605" y="304"/>
                  </a:lnTo>
                  <a:lnTo>
                    <a:pt x="605" y="302"/>
                  </a:lnTo>
                  <a:lnTo>
                    <a:pt x="605" y="302"/>
                  </a:lnTo>
                  <a:lnTo>
                    <a:pt x="603" y="302"/>
                  </a:lnTo>
                  <a:lnTo>
                    <a:pt x="603" y="302"/>
                  </a:lnTo>
                  <a:lnTo>
                    <a:pt x="603" y="299"/>
                  </a:lnTo>
                  <a:lnTo>
                    <a:pt x="603" y="299"/>
                  </a:lnTo>
                  <a:lnTo>
                    <a:pt x="602" y="297"/>
                  </a:lnTo>
                  <a:lnTo>
                    <a:pt x="602" y="297"/>
                  </a:lnTo>
                  <a:lnTo>
                    <a:pt x="597" y="296"/>
                  </a:lnTo>
                  <a:lnTo>
                    <a:pt x="597" y="296"/>
                  </a:lnTo>
                  <a:lnTo>
                    <a:pt x="595" y="296"/>
                  </a:lnTo>
                  <a:lnTo>
                    <a:pt x="595" y="296"/>
                  </a:lnTo>
                  <a:lnTo>
                    <a:pt x="594" y="293"/>
                  </a:lnTo>
                  <a:lnTo>
                    <a:pt x="594" y="293"/>
                  </a:lnTo>
                  <a:lnTo>
                    <a:pt x="592" y="289"/>
                  </a:lnTo>
                  <a:lnTo>
                    <a:pt x="592" y="289"/>
                  </a:lnTo>
                  <a:lnTo>
                    <a:pt x="591" y="286"/>
                  </a:lnTo>
                  <a:lnTo>
                    <a:pt x="591" y="286"/>
                  </a:lnTo>
                  <a:lnTo>
                    <a:pt x="588" y="283"/>
                  </a:lnTo>
                  <a:lnTo>
                    <a:pt x="588" y="283"/>
                  </a:lnTo>
                  <a:lnTo>
                    <a:pt x="584" y="277"/>
                  </a:lnTo>
                  <a:lnTo>
                    <a:pt x="584" y="277"/>
                  </a:lnTo>
                  <a:lnTo>
                    <a:pt x="581" y="275"/>
                  </a:lnTo>
                  <a:lnTo>
                    <a:pt x="581" y="275"/>
                  </a:lnTo>
                  <a:lnTo>
                    <a:pt x="580" y="272"/>
                  </a:lnTo>
                  <a:lnTo>
                    <a:pt x="580" y="272"/>
                  </a:lnTo>
                  <a:lnTo>
                    <a:pt x="575" y="269"/>
                  </a:lnTo>
                  <a:lnTo>
                    <a:pt x="575" y="269"/>
                  </a:lnTo>
                  <a:lnTo>
                    <a:pt x="570" y="267"/>
                  </a:lnTo>
                  <a:lnTo>
                    <a:pt x="570" y="267"/>
                  </a:lnTo>
                  <a:lnTo>
                    <a:pt x="567" y="266"/>
                  </a:lnTo>
                  <a:lnTo>
                    <a:pt x="567" y="266"/>
                  </a:lnTo>
                  <a:lnTo>
                    <a:pt x="565" y="264"/>
                  </a:lnTo>
                  <a:lnTo>
                    <a:pt x="565" y="264"/>
                  </a:lnTo>
                  <a:lnTo>
                    <a:pt x="564" y="266"/>
                  </a:lnTo>
                  <a:lnTo>
                    <a:pt x="564" y="266"/>
                  </a:lnTo>
                  <a:lnTo>
                    <a:pt x="562" y="262"/>
                  </a:lnTo>
                  <a:lnTo>
                    <a:pt x="562" y="262"/>
                  </a:lnTo>
                  <a:lnTo>
                    <a:pt x="564" y="259"/>
                  </a:lnTo>
                  <a:lnTo>
                    <a:pt x="564" y="259"/>
                  </a:lnTo>
                  <a:lnTo>
                    <a:pt x="565" y="251"/>
                  </a:lnTo>
                  <a:lnTo>
                    <a:pt x="565" y="251"/>
                  </a:lnTo>
                  <a:lnTo>
                    <a:pt x="567" y="251"/>
                  </a:lnTo>
                  <a:lnTo>
                    <a:pt x="567" y="251"/>
                  </a:lnTo>
                  <a:lnTo>
                    <a:pt x="568" y="251"/>
                  </a:lnTo>
                  <a:lnTo>
                    <a:pt x="568" y="251"/>
                  </a:lnTo>
                  <a:lnTo>
                    <a:pt x="568" y="248"/>
                  </a:lnTo>
                  <a:lnTo>
                    <a:pt x="568" y="248"/>
                  </a:lnTo>
                  <a:lnTo>
                    <a:pt x="570" y="248"/>
                  </a:lnTo>
                  <a:lnTo>
                    <a:pt x="570" y="248"/>
                  </a:lnTo>
                  <a:lnTo>
                    <a:pt x="568" y="245"/>
                  </a:lnTo>
                  <a:lnTo>
                    <a:pt x="568" y="245"/>
                  </a:lnTo>
                  <a:lnTo>
                    <a:pt x="567" y="242"/>
                  </a:lnTo>
                  <a:lnTo>
                    <a:pt x="567" y="242"/>
                  </a:lnTo>
                  <a:lnTo>
                    <a:pt x="568" y="245"/>
                  </a:lnTo>
                  <a:lnTo>
                    <a:pt x="568" y="245"/>
                  </a:lnTo>
                  <a:lnTo>
                    <a:pt x="568" y="242"/>
                  </a:lnTo>
                  <a:lnTo>
                    <a:pt x="568" y="242"/>
                  </a:lnTo>
                  <a:lnTo>
                    <a:pt x="570" y="245"/>
                  </a:lnTo>
                  <a:lnTo>
                    <a:pt x="570" y="245"/>
                  </a:lnTo>
                  <a:lnTo>
                    <a:pt x="572" y="245"/>
                  </a:lnTo>
                  <a:lnTo>
                    <a:pt x="572" y="245"/>
                  </a:lnTo>
                  <a:lnTo>
                    <a:pt x="573" y="245"/>
                  </a:lnTo>
                  <a:lnTo>
                    <a:pt x="573" y="245"/>
                  </a:lnTo>
                  <a:lnTo>
                    <a:pt x="573" y="242"/>
                  </a:lnTo>
                  <a:lnTo>
                    <a:pt x="573" y="242"/>
                  </a:lnTo>
                  <a:lnTo>
                    <a:pt x="573" y="240"/>
                  </a:lnTo>
                  <a:lnTo>
                    <a:pt x="573" y="240"/>
                  </a:lnTo>
                  <a:lnTo>
                    <a:pt x="575" y="242"/>
                  </a:lnTo>
                  <a:lnTo>
                    <a:pt x="575" y="242"/>
                  </a:lnTo>
                  <a:lnTo>
                    <a:pt x="575" y="239"/>
                  </a:lnTo>
                  <a:lnTo>
                    <a:pt x="575" y="239"/>
                  </a:lnTo>
                  <a:lnTo>
                    <a:pt x="576" y="239"/>
                  </a:lnTo>
                  <a:lnTo>
                    <a:pt x="576" y="239"/>
                  </a:lnTo>
                  <a:lnTo>
                    <a:pt x="580" y="237"/>
                  </a:lnTo>
                  <a:lnTo>
                    <a:pt x="580" y="237"/>
                  </a:lnTo>
                  <a:lnTo>
                    <a:pt x="581" y="234"/>
                  </a:lnTo>
                  <a:lnTo>
                    <a:pt x="581" y="234"/>
                  </a:lnTo>
                  <a:lnTo>
                    <a:pt x="581" y="235"/>
                  </a:lnTo>
                  <a:lnTo>
                    <a:pt x="581" y="235"/>
                  </a:lnTo>
                  <a:lnTo>
                    <a:pt x="584" y="234"/>
                  </a:lnTo>
                  <a:lnTo>
                    <a:pt x="584" y="234"/>
                  </a:lnTo>
                  <a:lnTo>
                    <a:pt x="584" y="232"/>
                  </a:lnTo>
                  <a:lnTo>
                    <a:pt x="584" y="232"/>
                  </a:lnTo>
                  <a:lnTo>
                    <a:pt x="584" y="234"/>
                  </a:lnTo>
                  <a:lnTo>
                    <a:pt x="584" y="234"/>
                  </a:lnTo>
                  <a:lnTo>
                    <a:pt x="588" y="232"/>
                  </a:lnTo>
                  <a:lnTo>
                    <a:pt x="588" y="232"/>
                  </a:lnTo>
                  <a:lnTo>
                    <a:pt x="588" y="234"/>
                  </a:lnTo>
                  <a:lnTo>
                    <a:pt x="588" y="234"/>
                  </a:lnTo>
                  <a:lnTo>
                    <a:pt x="588" y="235"/>
                  </a:lnTo>
                  <a:lnTo>
                    <a:pt x="588" y="235"/>
                  </a:lnTo>
                  <a:lnTo>
                    <a:pt x="589" y="234"/>
                  </a:lnTo>
                  <a:lnTo>
                    <a:pt x="589" y="234"/>
                  </a:lnTo>
                  <a:lnTo>
                    <a:pt x="591" y="234"/>
                  </a:lnTo>
                  <a:lnTo>
                    <a:pt x="591" y="234"/>
                  </a:lnTo>
                  <a:lnTo>
                    <a:pt x="591" y="232"/>
                  </a:lnTo>
                  <a:lnTo>
                    <a:pt x="591" y="232"/>
                  </a:lnTo>
                  <a:lnTo>
                    <a:pt x="589" y="231"/>
                  </a:lnTo>
                  <a:lnTo>
                    <a:pt x="589" y="231"/>
                  </a:lnTo>
                  <a:lnTo>
                    <a:pt x="589" y="229"/>
                  </a:lnTo>
                  <a:lnTo>
                    <a:pt x="589" y="229"/>
                  </a:lnTo>
                  <a:lnTo>
                    <a:pt x="589" y="227"/>
                  </a:lnTo>
                  <a:lnTo>
                    <a:pt x="589" y="227"/>
                  </a:lnTo>
                  <a:lnTo>
                    <a:pt x="591" y="227"/>
                  </a:lnTo>
                  <a:lnTo>
                    <a:pt x="591" y="227"/>
                  </a:lnTo>
                  <a:lnTo>
                    <a:pt x="588" y="227"/>
                  </a:lnTo>
                  <a:lnTo>
                    <a:pt x="588" y="227"/>
                  </a:lnTo>
                  <a:lnTo>
                    <a:pt x="581" y="224"/>
                  </a:lnTo>
                  <a:lnTo>
                    <a:pt x="581" y="224"/>
                  </a:lnTo>
                  <a:lnTo>
                    <a:pt x="581" y="227"/>
                  </a:lnTo>
                  <a:lnTo>
                    <a:pt x="581" y="227"/>
                  </a:lnTo>
                  <a:lnTo>
                    <a:pt x="581" y="224"/>
                  </a:lnTo>
                  <a:lnTo>
                    <a:pt x="581" y="224"/>
                  </a:lnTo>
                  <a:lnTo>
                    <a:pt x="580" y="227"/>
                  </a:lnTo>
                  <a:lnTo>
                    <a:pt x="580" y="227"/>
                  </a:lnTo>
                  <a:lnTo>
                    <a:pt x="578" y="227"/>
                  </a:lnTo>
                  <a:lnTo>
                    <a:pt x="578" y="227"/>
                  </a:lnTo>
                  <a:lnTo>
                    <a:pt x="576" y="224"/>
                  </a:lnTo>
                  <a:lnTo>
                    <a:pt x="576" y="224"/>
                  </a:lnTo>
                  <a:lnTo>
                    <a:pt x="575" y="224"/>
                  </a:lnTo>
                  <a:lnTo>
                    <a:pt x="575" y="224"/>
                  </a:lnTo>
                  <a:lnTo>
                    <a:pt x="573" y="224"/>
                  </a:lnTo>
                  <a:lnTo>
                    <a:pt x="573" y="224"/>
                  </a:lnTo>
                  <a:lnTo>
                    <a:pt x="572" y="224"/>
                  </a:lnTo>
                  <a:lnTo>
                    <a:pt x="572" y="224"/>
                  </a:lnTo>
                  <a:lnTo>
                    <a:pt x="570" y="224"/>
                  </a:lnTo>
                  <a:lnTo>
                    <a:pt x="570" y="224"/>
                  </a:lnTo>
                  <a:lnTo>
                    <a:pt x="568" y="221"/>
                  </a:lnTo>
                  <a:lnTo>
                    <a:pt x="568" y="221"/>
                  </a:lnTo>
                  <a:lnTo>
                    <a:pt x="565" y="221"/>
                  </a:lnTo>
                  <a:lnTo>
                    <a:pt x="565" y="221"/>
                  </a:lnTo>
                  <a:lnTo>
                    <a:pt x="562" y="221"/>
                  </a:lnTo>
                  <a:lnTo>
                    <a:pt x="562" y="221"/>
                  </a:lnTo>
                  <a:lnTo>
                    <a:pt x="559" y="221"/>
                  </a:lnTo>
                  <a:lnTo>
                    <a:pt x="559" y="221"/>
                  </a:lnTo>
                  <a:lnTo>
                    <a:pt x="561" y="224"/>
                  </a:lnTo>
                  <a:lnTo>
                    <a:pt x="561" y="224"/>
                  </a:lnTo>
                  <a:lnTo>
                    <a:pt x="559" y="224"/>
                  </a:lnTo>
                  <a:lnTo>
                    <a:pt x="559" y="224"/>
                  </a:lnTo>
                  <a:lnTo>
                    <a:pt x="559" y="227"/>
                  </a:lnTo>
                  <a:lnTo>
                    <a:pt x="559" y="227"/>
                  </a:lnTo>
                  <a:lnTo>
                    <a:pt x="559" y="227"/>
                  </a:lnTo>
                  <a:lnTo>
                    <a:pt x="559" y="227"/>
                  </a:lnTo>
                  <a:lnTo>
                    <a:pt x="559" y="229"/>
                  </a:lnTo>
                  <a:lnTo>
                    <a:pt x="559" y="229"/>
                  </a:lnTo>
                  <a:lnTo>
                    <a:pt x="556" y="231"/>
                  </a:lnTo>
                  <a:lnTo>
                    <a:pt x="556" y="231"/>
                  </a:lnTo>
                  <a:lnTo>
                    <a:pt x="553" y="231"/>
                  </a:lnTo>
                  <a:lnTo>
                    <a:pt x="553" y="231"/>
                  </a:lnTo>
                  <a:lnTo>
                    <a:pt x="546" y="227"/>
                  </a:lnTo>
                  <a:lnTo>
                    <a:pt x="546" y="227"/>
                  </a:lnTo>
                  <a:lnTo>
                    <a:pt x="546" y="227"/>
                  </a:lnTo>
                  <a:lnTo>
                    <a:pt x="546" y="227"/>
                  </a:lnTo>
                  <a:lnTo>
                    <a:pt x="546" y="224"/>
                  </a:lnTo>
                  <a:lnTo>
                    <a:pt x="546" y="224"/>
                  </a:lnTo>
                  <a:lnTo>
                    <a:pt x="546" y="221"/>
                  </a:lnTo>
                  <a:lnTo>
                    <a:pt x="546" y="221"/>
                  </a:lnTo>
                  <a:lnTo>
                    <a:pt x="543" y="218"/>
                  </a:lnTo>
                  <a:lnTo>
                    <a:pt x="543" y="218"/>
                  </a:lnTo>
                  <a:lnTo>
                    <a:pt x="538" y="216"/>
                  </a:lnTo>
                  <a:lnTo>
                    <a:pt x="538" y="216"/>
                  </a:lnTo>
                  <a:lnTo>
                    <a:pt x="538" y="218"/>
                  </a:lnTo>
                  <a:lnTo>
                    <a:pt x="538" y="218"/>
                  </a:lnTo>
                  <a:lnTo>
                    <a:pt x="537" y="218"/>
                  </a:lnTo>
                  <a:lnTo>
                    <a:pt x="537" y="218"/>
                  </a:lnTo>
                  <a:lnTo>
                    <a:pt x="535" y="216"/>
                  </a:lnTo>
                  <a:lnTo>
                    <a:pt x="535" y="216"/>
                  </a:lnTo>
                  <a:lnTo>
                    <a:pt x="530" y="216"/>
                  </a:lnTo>
                  <a:lnTo>
                    <a:pt x="530" y="216"/>
                  </a:lnTo>
                  <a:lnTo>
                    <a:pt x="526" y="213"/>
                  </a:lnTo>
                  <a:lnTo>
                    <a:pt x="526" y="213"/>
                  </a:lnTo>
                  <a:lnTo>
                    <a:pt x="524" y="212"/>
                  </a:lnTo>
                  <a:lnTo>
                    <a:pt x="524" y="212"/>
                  </a:lnTo>
                  <a:lnTo>
                    <a:pt x="524" y="208"/>
                  </a:lnTo>
                  <a:lnTo>
                    <a:pt x="524" y="208"/>
                  </a:lnTo>
                  <a:lnTo>
                    <a:pt x="521" y="204"/>
                  </a:lnTo>
                  <a:lnTo>
                    <a:pt x="521" y="204"/>
                  </a:lnTo>
                  <a:lnTo>
                    <a:pt x="521" y="202"/>
                  </a:lnTo>
                  <a:lnTo>
                    <a:pt x="521" y="202"/>
                  </a:lnTo>
                  <a:lnTo>
                    <a:pt x="524" y="200"/>
                  </a:lnTo>
                  <a:lnTo>
                    <a:pt x="524" y="200"/>
                  </a:lnTo>
                  <a:lnTo>
                    <a:pt x="526" y="202"/>
                  </a:lnTo>
                  <a:lnTo>
                    <a:pt x="526" y="202"/>
                  </a:lnTo>
                  <a:lnTo>
                    <a:pt x="527" y="202"/>
                  </a:lnTo>
                  <a:lnTo>
                    <a:pt x="527" y="202"/>
                  </a:lnTo>
                  <a:lnTo>
                    <a:pt x="529" y="202"/>
                  </a:lnTo>
                  <a:lnTo>
                    <a:pt x="529" y="202"/>
                  </a:lnTo>
                  <a:lnTo>
                    <a:pt x="534" y="200"/>
                  </a:lnTo>
                  <a:lnTo>
                    <a:pt x="534" y="200"/>
                  </a:lnTo>
                  <a:lnTo>
                    <a:pt x="537" y="200"/>
                  </a:lnTo>
                  <a:lnTo>
                    <a:pt x="537" y="200"/>
                  </a:lnTo>
                  <a:lnTo>
                    <a:pt x="538" y="197"/>
                  </a:lnTo>
                  <a:lnTo>
                    <a:pt x="538" y="197"/>
                  </a:lnTo>
                  <a:lnTo>
                    <a:pt x="537" y="196"/>
                  </a:lnTo>
                  <a:lnTo>
                    <a:pt x="537" y="196"/>
                  </a:lnTo>
                  <a:lnTo>
                    <a:pt x="537" y="192"/>
                  </a:lnTo>
                  <a:lnTo>
                    <a:pt x="537" y="192"/>
                  </a:lnTo>
                  <a:lnTo>
                    <a:pt x="540" y="189"/>
                  </a:lnTo>
                  <a:lnTo>
                    <a:pt x="540" y="189"/>
                  </a:lnTo>
                  <a:lnTo>
                    <a:pt x="545" y="189"/>
                  </a:lnTo>
                  <a:lnTo>
                    <a:pt x="545" y="189"/>
                  </a:lnTo>
                  <a:lnTo>
                    <a:pt x="546" y="186"/>
                  </a:lnTo>
                  <a:lnTo>
                    <a:pt x="546" y="186"/>
                  </a:lnTo>
                  <a:lnTo>
                    <a:pt x="546" y="186"/>
                  </a:lnTo>
                  <a:lnTo>
                    <a:pt x="546" y="186"/>
                  </a:lnTo>
                  <a:lnTo>
                    <a:pt x="546" y="181"/>
                  </a:lnTo>
                  <a:lnTo>
                    <a:pt x="546" y="181"/>
                  </a:lnTo>
                  <a:lnTo>
                    <a:pt x="549" y="180"/>
                  </a:lnTo>
                  <a:lnTo>
                    <a:pt x="549" y="180"/>
                  </a:lnTo>
                  <a:lnTo>
                    <a:pt x="549" y="180"/>
                  </a:lnTo>
                  <a:lnTo>
                    <a:pt x="549" y="180"/>
                  </a:lnTo>
                  <a:lnTo>
                    <a:pt x="549" y="178"/>
                  </a:lnTo>
                  <a:lnTo>
                    <a:pt x="549" y="178"/>
                  </a:lnTo>
                  <a:lnTo>
                    <a:pt x="549" y="177"/>
                  </a:lnTo>
                  <a:lnTo>
                    <a:pt x="549" y="177"/>
                  </a:lnTo>
                  <a:lnTo>
                    <a:pt x="553" y="177"/>
                  </a:lnTo>
                  <a:lnTo>
                    <a:pt x="553" y="177"/>
                  </a:lnTo>
                  <a:lnTo>
                    <a:pt x="556" y="177"/>
                  </a:lnTo>
                  <a:lnTo>
                    <a:pt x="556" y="177"/>
                  </a:lnTo>
                  <a:lnTo>
                    <a:pt x="559" y="177"/>
                  </a:lnTo>
                  <a:lnTo>
                    <a:pt x="559" y="177"/>
                  </a:lnTo>
                  <a:lnTo>
                    <a:pt x="559" y="175"/>
                  </a:lnTo>
                  <a:lnTo>
                    <a:pt x="559" y="175"/>
                  </a:lnTo>
                  <a:lnTo>
                    <a:pt x="559" y="178"/>
                  </a:lnTo>
                  <a:lnTo>
                    <a:pt x="559" y="178"/>
                  </a:lnTo>
                  <a:lnTo>
                    <a:pt x="562" y="180"/>
                  </a:lnTo>
                  <a:lnTo>
                    <a:pt x="562" y="180"/>
                  </a:lnTo>
                  <a:lnTo>
                    <a:pt x="565" y="181"/>
                  </a:lnTo>
                  <a:lnTo>
                    <a:pt x="565" y="181"/>
                  </a:lnTo>
                  <a:lnTo>
                    <a:pt x="565" y="183"/>
                  </a:lnTo>
                  <a:lnTo>
                    <a:pt x="565" y="183"/>
                  </a:lnTo>
                  <a:lnTo>
                    <a:pt x="565" y="186"/>
                  </a:lnTo>
                  <a:lnTo>
                    <a:pt x="565" y="186"/>
                  </a:lnTo>
                  <a:lnTo>
                    <a:pt x="564" y="189"/>
                  </a:lnTo>
                  <a:lnTo>
                    <a:pt x="564" y="189"/>
                  </a:lnTo>
                  <a:lnTo>
                    <a:pt x="562" y="192"/>
                  </a:lnTo>
                  <a:lnTo>
                    <a:pt x="562" y="192"/>
                  </a:lnTo>
                  <a:lnTo>
                    <a:pt x="562" y="196"/>
                  </a:lnTo>
                  <a:lnTo>
                    <a:pt x="562" y="196"/>
                  </a:lnTo>
                  <a:lnTo>
                    <a:pt x="559" y="196"/>
                  </a:lnTo>
                  <a:lnTo>
                    <a:pt x="559" y="196"/>
                  </a:lnTo>
                  <a:lnTo>
                    <a:pt x="564" y="197"/>
                  </a:lnTo>
                  <a:lnTo>
                    <a:pt x="564" y="197"/>
                  </a:lnTo>
                  <a:lnTo>
                    <a:pt x="567" y="197"/>
                  </a:lnTo>
                  <a:lnTo>
                    <a:pt x="567" y="197"/>
                  </a:lnTo>
                  <a:lnTo>
                    <a:pt x="568" y="197"/>
                  </a:lnTo>
                  <a:lnTo>
                    <a:pt x="568" y="197"/>
                  </a:lnTo>
                  <a:lnTo>
                    <a:pt x="568" y="199"/>
                  </a:lnTo>
                  <a:lnTo>
                    <a:pt x="568" y="199"/>
                  </a:lnTo>
                  <a:lnTo>
                    <a:pt x="567" y="200"/>
                  </a:lnTo>
                  <a:lnTo>
                    <a:pt x="567" y="200"/>
                  </a:lnTo>
                  <a:lnTo>
                    <a:pt x="567" y="202"/>
                  </a:lnTo>
                  <a:lnTo>
                    <a:pt x="567" y="202"/>
                  </a:lnTo>
                  <a:lnTo>
                    <a:pt x="565" y="204"/>
                  </a:lnTo>
                  <a:lnTo>
                    <a:pt x="565" y="204"/>
                  </a:lnTo>
                  <a:lnTo>
                    <a:pt x="564" y="204"/>
                  </a:lnTo>
                  <a:lnTo>
                    <a:pt x="564" y="204"/>
                  </a:lnTo>
                  <a:lnTo>
                    <a:pt x="564" y="205"/>
                  </a:lnTo>
                  <a:lnTo>
                    <a:pt x="564" y="205"/>
                  </a:lnTo>
                  <a:lnTo>
                    <a:pt x="565" y="207"/>
                  </a:lnTo>
                  <a:lnTo>
                    <a:pt x="565" y="207"/>
                  </a:lnTo>
                  <a:lnTo>
                    <a:pt x="567" y="207"/>
                  </a:lnTo>
                  <a:lnTo>
                    <a:pt x="567" y="207"/>
                  </a:lnTo>
                  <a:lnTo>
                    <a:pt x="568" y="205"/>
                  </a:lnTo>
                  <a:lnTo>
                    <a:pt x="568" y="205"/>
                  </a:lnTo>
                  <a:lnTo>
                    <a:pt x="568" y="204"/>
                  </a:lnTo>
                  <a:lnTo>
                    <a:pt x="568" y="204"/>
                  </a:lnTo>
                  <a:lnTo>
                    <a:pt x="572" y="204"/>
                  </a:lnTo>
                  <a:lnTo>
                    <a:pt x="572" y="204"/>
                  </a:lnTo>
                  <a:lnTo>
                    <a:pt x="572" y="202"/>
                  </a:lnTo>
                  <a:lnTo>
                    <a:pt x="572" y="202"/>
                  </a:lnTo>
                  <a:lnTo>
                    <a:pt x="573" y="200"/>
                  </a:lnTo>
                  <a:lnTo>
                    <a:pt x="573" y="200"/>
                  </a:lnTo>
                  <a:lnTo>
                    <a:pt x="575" y="199"/>
                  </a:lnTo>
                  <a:lnTo>
                    <a:pt x="575" y="199"/>
                  </a:lnTo>
                  <a:lnTo>
                    <a:pt x="576" y="197"/>
                  </a:lnTo>
                  <a:lnTo>
                    <a:pt x="576" y="197"/>
                  </a:lnTo>
                  <a:lnTo>
                    <a:pt x="578" y="196"/>
                  </a:lnTo>
                  <a:lnTo>
                    <a:pt x="578" y="196"/>
                  </a:lnTo>
                  <a:lnTo>
                    <a:pt x="581" y="196"/>
                  </a:lnTo>
                  <a:lnTo>
                    <a:pt x="581" y="196"/>
                  </a:lnTo>
                  <a:lnTo>
                    <a:pt x="581" y="192"/>
                  </a:lnTo>
                  <a:lnTo>
                    <a:pt x="581" y="192"/>
                  </a:lnTo>
                  <a:lnTo>
                    <a:pt x="584" y="192"/>
                  </a:lnTo>
                  <a:lnTo>
                    <a:pt x="584" y="192"/>
                  </a:lnTo>
                  <a:lnTo>
                    <a:pt x="588" y="192"/>
                  </a:lnTo>
                  <a:lnTo>
                    <a:pt x="588" y="192"/>
                  </a:lnTo>
                  <a:lnTo>
                    <a:pt x="588" y="192"/>
                  </a:lnTo>
                  <a:lnTo>
                    <a:pt x="588" y="192"/>
                  </a:lnTo>
                  <a:lnTo>
                    <a:pt x="591" y="192"/>
                  </a:lnTo>
                  <a:lnTo>
                    <a:pt x="591" y="192"/>
                  </a:lnTo>
                  <a:lnTo>
                    <a:pt x="592" y="192"/>
                  </a:lnTo>
                  <a:lnTo>
                    <a:pt x="592" y="192"/>
                  </a:lnTo>
                  <a:lnTo>
                    <a:pt x="595" y="191"/>
                  </a:lnTo>
                  <a:lnTo>
                    <a:pt x="595" y="191"/>
                  </a:lnTo>
                  <a:lnTo>
                    <a:pt x="594" y="189"/>
                  </a:lnTo>
                  <a:lnTo>
                    <a:pt x="594" y="189"/>
                  </a:lnTo>
                  <a:lnTo>
                    <a:pt x="594" y="189"/>
                  </a:lnTo>
                  <a:lnTo>
                    <a:pt x="594" y="189"/>
                  </a:lnTo>
                  <a:lnTo>
                    <a:pt x="592" y="189"/>
                  </a:lnTo>
                  <a:lnTo>
                    <a:pt x="592" y="189"/>
                  </a:lnTo>
                  <a:lnTo>
                    <a:pt x="595" y="183"/>
                  </a:lnTo>
                  <a:lnTo>
                    <a:pt x="595" y="183"/>
                  </a:lnTo>
                  <a:lnTo>
                    <a:pt x="597" y="183"/>
                  </a:lnTo>
                  <a:lnTo>
                    <a:pt x="597" y="183"/>
                  </a:lnTo>
                  <a:lnTo>
                    <a:pt x="599" y="183"/>
                  </a:lnTo>
                  <a:lnTo>
                    <a:pt x="599" y="183"/>
                  </a:lnTo>
                  <a:lnTo>
                    <a:pt x="599" y="181"/>
                  </a:lnTo>
                  <a:lnTo>
                    <a:pt x="599" y="181"/>
                  </a:lnTo>
                  <a:lnTo>
                    <a:pt x="602" y="180"/>
                  </a:lnTo>
                  <a:lnTo>
                    <a:pt x="602" y="180"/>
                  </a:lnTo>
                  <a:lnTo>
                    <a:pt x="603" y="180"/>
                  </a:lnTo>
                  <a:lnTo>
                    <a:pt x="603" y="180"/>
                  </a:lnTo>
                  <a:lnTo>
                    <a:pt x="603" y="178"/>
                  </a:lnTo>
                  <a:lnTo>
                    <a:pt x="603" y="178"/>
                  </a:lnTo>
                  <a:lnTo>
                    <a:pt x="605" y="177"/>
                  </a:lnTo>
                  <a:lnTo>
                    <a:pt x="605" y="177"/>
                  </a:lnTo>
                  <a:lnTo>
                    <a:pt x="605" y="177"/>
                  </a:lnTo>
                  <a:lnTo>
                    <a:pt x="605" y="177"/>
                  </a:lnTo>
                  <a:lnTo>
                    <a:pt x="608" y="175"/>
                  </a:lnTo>
                  <a:lnTo>
                    <a:pt x="608" y="175"/>
                  </a:lnTo>
                  <a:lnTo>
                    <a:pt x="608" y="173"/>
                  </a:lnTo>
                  <a:lnTo>
                    <a:pt x="608" y="173"/>
                  </a:lnTo>
                  <a:lnTo>
                    <a:pt x="608" y="169"/>
                  </a:lnTo>
                  <a:lnTo>
                    <a:pt x="608" y="169"/>
                  </a:lnTo>
                  <a:lnTo>
                    <a:pt x="608" y="165"/>
                  </a:lnTo>
                  <a:lnTo>
                    <a:pt x="608" y="165"/>
                  </a:lnTo>
                  <a:lnTo>
                    <a:pt x="608" y="164"/>
                  </a:lnTo>
                  <a:lnTo>
                    <a:pt x="608" y="164"/>
                  </a:lnTo>
                  <a:lnTo>
                    <a:pt x="611" y="164"/>
                  </a:lnTo>
                  <a:lnTo>
                    <a:pt x="611" y="164"/>
                  </a:lnTo>
                  <a:lnTo>
                    <a:pt x="611" y="164"/>
                  </a:lnTo>
                  <a:lnTo>
                    <a:pt x="611" y="164"/>
                  </a:lnTo>
                  <a:lnTo>
                    <a:pt x="616" y="167"/>
                  </a:lnTo>
                  <a:lnTo>
                    <a:pt x="616" y="167"/>
                  </a:lnTo>
                  <a:lnTo>
                    <a:pt x="619" y="169"/>
                  </a:lnTo>
                  <a:lnTo>
                    <a:pt x="619" y="169"/>
                  </a:lnTo>
                  <a:lnTo>
                    <a:pt x="624" y="169"/>
                  </a:lnTo>
                  <a:lnTo>
                    <a:pt x="624" y="169"/>
                  </a:lnTo>
                  <a:lnTo>
                    <a:pt x="627" y="169"/>
                  </a:lnTo>
                  <a:lnTo>
                    <a:pt x="627" y="169"/>
                  </a:lnTo>
                  <a:lnTo>
                    <a:pt x="629" y="169"/>
                  </a:lnTo>
                  <a:lnTo>
                    <a:pt x="629" y="169"/>
                  </a:lnTo>
                  <a:lnTo>
                    <a:pt x="629" y="167"/>
                  </a:lnTo>
                  <a:lnTo>
                    <a:pt x="629" y="167"/>
                  </a:lnTo>
                  <a:lnTo>
                    <a:pt x="627" y="165"/>
                  </a:lnTo>
                  <a:lnTo>
                    <a:pt x="627" y="165"/>
                  </a:lnTo>
                  <a:lnTo>
                    <a:pt x="626" y="164"/>
                  </a:lnTo>
                  <a:lnTo>
                    <a:pt x="626" y="164"/>
                  </a:lnTo>
                  <a:lnTo>
                    <a:pt x="622" y="161"/>
                  </a:lnTo>
                  <a:lnTo>
                    <a:pt x="622" y="161"/>
                  </a:lnTo>
                  <a:lnTo>
                    <a:pt x="630" y="161"/>
                  </a:lnTo>
                  <a:lnTo>
                    <a:pt x="630" y="161"/>
                  </a:lnTo>
                  <a:lnTo>
                    <a:pt x="634" y="161"/>
                  </a:lnTo>
                  <a:lnTo>
                    <a:pt x="634" y="161"/>
                  </a:lnTo>
                  <a:lnTo>
                    <a:pt x="634" y="158"/>
                  </a:lnTo>
                  <a:lnTo>
                    <a:pt x="634" y="158"/>
                  </a:lnTo>
                  <a:lnTo>
                    <a:pt x="634" y="154"/>
                  </a:lnTo>
                  <a:lnTo>
                    <a:pt x="634" y="154"/>
                  </a:lnTo>
                  <a:lnTo>
                    <a:pt x="635" y="154"/>
                  </a:lnTo>
                  <a:lnTo>
                    <a:pt x="635" y="154"/>
                  </a:lnTo>
                  <a:lnTo>
                    <a:pt x="638" y="154"/>
                  </a:lnTo>
                  <a:lnTo>
                    <a:pt x="638" y="154"/>
                  </a:lnTo>
                  <a:lnTo>
                    <a:pt x="638" y="154"/>
                  </a:lnTo>
                  <a:lnTo>
                    <a:pt x="638" y="154"/>
                  </a:lnTo>
                  <a:lnTo>
                    <a:pt x="638" y="151"/>
                  </a:lnTo>
                  <a:lnTo>
                    <a:pt x="638" y="151"/>
                  </a:lnTo>
                  <a:lnTo>
                    <a:pt x="637" y="146"/>
                  </a:lnTo>
                  <a:lnTo>
                    <a:pt x="637" y="146"/>
                  </a:lnTo>
                  <a:lnTo>
                    <a:pt x="640" y="148"/>
                  </a:lnTo>
                  <a:lnTo>
                    <a:pt x="640" y="148"/>
                  </a:lnTo>
                  <a:lnTo>
                    <a:pt x="643" y="150"/>
                  </a:lnTo>
                  <a:lnTo>
                    <a:pt x="643" y="150"/>
                  </a:lnTo>
                  <a:lnTo>
                    <a:pt x="643" y="151"/>
                  </a:lnTo>
                  <a:lnTo>
                    <a:pt x="643" y="151"/>
                  </a:lnTo>
                  <a:lnTo>
                    <a:pt x="646" y="154"/>
                  </a:lnTo>
                  <a:lnTo>
                    <a:pt x="646" y="154"/>
                  </a:lnTo>
                  <a:lnTo>
                    <a:pt x="651" y="158"/>
                  </a:lnTo>
                  <a:lnTo>
                    <a:pt x="651" y="158"/>
                  </a:lnTo>
                  <a:lnTo>
                    <a:pt x="649" y="154"/>
                  </a:lnTo>
                  <a:lnTo>
                    <a:pt x="649" y="154"/>
                  </a:lnTo>
                  <a:lnTo>
                    <a:pt x="645" y="151"/>
                  </a:lnTo>
                  <a:lnTo>
                    <a:pt x="645" y="151"/>
                  </a:lnTo>
                  <a:lnTo>
                    <a:pt x="645" y="151"/>
                  </a:lnTo>
                  <a:lnTo>
                    <a:pt x="643" y="151"/>
                  </a:lnTo>
                  <a:lnTo>
                    <a:pt x="643" y="151"/>
                  </a:lnTo>
                  <a:lnTo>
                    <a:pt x="646" y="150"/>
                  </a:lnTo>
                  <a:lnTo>
                    <a:pt x="646" y="150"/>
                  </a:lnTo>
                  <a:lnTo>
                    <a:pt x="649" y="148"/>
                  </a:lnTo>
                  <a:lnTo>
                    <a:pt x="649" y="148"/>
                  </a:lnTo>
                  <a:lnTo>
                    <a:pt x="649" y="146"/>
                  </a:lnTo>
                  <a:lnTo>
                    <a:pt x="649" y="146"/>
                  </a:lnTo>
                  <a:lnTo>
                    <a:pt x="649" y="143"/>
                  </a:lnTo>
                  <a:lnTo>
                    <a:pt x="649" y="143"/>
                  </a:lnTo>
                  <a:lnTo>
                    <a:pt x="649" y="140"/>
                  </a:lnTo>
                  <a:lnTo>
                    <a:pt x="649" y="140"/>
                  </a:lnTo>
                  <a:lnTo>
                    <a:pt x="646" y="135"/>
                  </a:lnTo>
                  <a:lnTo>
                    <a:pt x="646" y="135"/>
                  </a:lnTo>
                  <a:lnTo>
                    <a:pt x="640" y="131"/>
                  </a:lnTo>
                  <a:lnTo>
                    <a:pt x="640" y="131"/>
                  </a:lnTo>
                  <a:lnTo>
                    <a:pt x="637" y="124"/>
                  </a:lnTo>
                  <a:lnTo>
                    <a:pt x="637" y="124"/>
                  </a:lnTo>
                  <a:lnTo>
                    <a:pt x="635" y="123"/>
                  </a:lnTo>
                  <a:lnTo>
                    <a:pt x="635" y="123"/>
                  </a:lnTo>
                  <a:lnTo>
                    <a:pt x="634" y="121"/>
                  </a:lnTo>
                  <a:lnTo>
                    <a:pt x="634" y="121"/>
                  </a:lnTo>
                  <a:lnTo>
                    <a:pt x="634" y="119"/>
                  </a:lnTo>
                  <a:lnTo>
                    <a:pt x="634" y="119"/>
                  </a:lnTo>
                  <a:lnTo>
                    <a:pt x="637" y="119"/>
                  </a:lnTo>
                  <a:lnTo>
                    <a:pt x="637" y="119"/>
                  </a:lnTo>
                  <a:lnTo>
                    <a:pt x="638" y="118"/>
                  </a:lnTo>
                  <a:lnTo>
                    <a:pt x="638" y="118"/>
                  </a:lnTo>
                  <a:lnTo>
                    <a:pt x="640" y="116"/>
                  </a:lnTo>
                  <a:lnTo>
                    <a:pt x="640" y="116"/>
                  </a:lnTo>
                  <a:lnTo>
                    <a:pt x="640" y="115"/>
                  </a:lnTo>
                  <a:lnTo>
                    <a:pt x="640" y="115"/>
                  </a:lnTo>
                  <a:lnTo>
                    <a:pt x="643" y="115"/>
                  </a:lnTo>
                  <a:lnTo>
                    <a:pt x="643" y="115"/>
                  </a:lnTo>
                  <a:lnTo>
                    <a:pt x="646" y="116"/>
                  </a:lnTo>
                  <a:lnTo>
                    <a:pt x="646" y="116"/>
                  </a:lnTo>
                  <a:lnTo>
                    <a:pt x="651" y="118"/>
                  </a:lnTo>
                  <a:lnTo>
                    <a:pt x="651" y="118"/>
                  </a:lnTo>
                  <a:lnTo>
                    <a:pt x="654" y="118"/>
                  </a:lnTo>
                  <a:lnTo>
                    <a:pt x="654" y="118"/>
                  </a:lnTo>
                  <a:lnTo>
                    <a:pt x="654" y="116"/>
                  </a:lnTo>
                  <a:lnTo>
                    <a:pt x="654" y="116"/>
                  </a:lnTo>
                  <a:lnTo>
                    <a:pt x="653" y="113"/>
                  </a:lnTo>
                  <a:lnTo>
                    <a:pt x="653" y="113"/>
                  </a:lnTo>
                  <a:lnTo>
                    <a:pt x="653" y="112"/>
                  </a:lnTo>
                  <a:lnTo>
                    <a:pt x="653" y="112"/>
                  </a:lnTo>
                  <a:lnTo>
                    <a:pt x="654" y="110"/>
                  </a:lnTo>
                  <a:lnTo>
                    <a:pt x="654" y="110"/>
                  </a:lnTo>
                  <a:lnTo>
                    <a:pt x="654" y="108"/>
                  </a:lnTo>
                  <a:lnTo>
                    <a:pt x="654" y="108"/>
                  </a:lnTo>
                  <a:lnTo>
                    <a:pt x="654" y="107"/>
                  </a:lnTo>
                  <a:lnTo>
                    <a:pt x="654" y="107"/>
                  </a:lnTo>
                  <a:lnTo>
                    <a:pt x="654" y="105"/>
                  </a:lnTo>
                  <a:lnTo>
                    <a:pt x="654" y="105"/>
                  </a:lnTo>
                  <a:lnTo>
                    <a:pt x="654" y="102"/>
                  </a:lnTo>
                  <a:lnTo>
                    <a:pt x="654" y="102"/>
                  </a:lnTo>
                  <a:lnTo>
                    <a:pt x="653" y="102"/>
                  </a:lnTo>
                  <a:lnTo>
                    <a:pt x="653" y="102"/>
                  </a:lnTo>
                  <a:lnTo>
                    <a:pt x="654" y="102"/>
                  </a:lnTo>
                  <a:lnTo>
                    <a:pt x="654" y="99"/>
                  </a:lnTo>
                  <a:lnTo>
                    <a:pt x="654" y="99"/>
                  </a:lnTo>
                  <a:lnTo>
                    <a:pt x="654" y="99"/>
                  </a:lnTo>
                  <a:close/>
                  <a:moveTo>
                    <a:pt x="537" y="439"/>
                  </a:moveTo>
                  <a:lnTo>
                    <a:pt x="537" y="439"/>
                  </a:lnTo>
                  <a:lnTo>
                    <a:pt x="538" y="443"/>
                  </a:lnTo>
                  <a:lnTo>
                    <a:pt x="538" y="443"/>
                  </a:lnTo>
                  <a:lnTo>
                    <a:pt x="537" y="442"/>
                  </a:lnTo>
                  <a:lnTo>
                    <a:pt x="537" y="439"/>
                  </a:lnTo>
                  <a:lnTo>
                    <a:pt x="537" y="439"/>
                  </a:lnTo>
                  <a:lnTo>
                    <a:pt x="537" y="439"/>
                  </a:lnTo>
                  <a:close/>
                  <a:moveTo>
                    <a:pt x="608" y="312"/>
                  </a:moveTo>
                  <a:lnTo>
                    <a:pt x="608" y="312"/>
                  </a:lnTo>
                  <a:lnTo>
                    <a:pt x="611" y="312"/>
                  </a:lnTo>
                  <a:lnTo>
                    <a:pt x="611" y="312"/>
                  </a:lnTo>
                  <a:lnTo>
                    <a:pt x="611" y="312"/>
                  </a:lnTo>
                  <a:lnTo>
                    <a:pt x="611" y="312"/>
                  </a:lnTo>
                  <a:lnTo>
                    <a:pt x="608" y="308"/>
                  </a:lnTo>
                  <a:lnTo>
                    <a:pt x="608" y="308"/>
                  </a:lnTo>
                  <a:lnTo>
                    <a:pt x="605" y="307"/>
                  </a:lnTo>
                  <a:lnTo>
                    <a:pt x="605" y="307"/>
                  </a:lnTo>
                  <a:lnTo>
                    <a:pt x="603" y="308"/>
                  </a:lnTo>
                  <a:lnTo>
                    <a:pt x="608" y="312"/>
                  </a:lnTo>
                  <a:lnTo>
                    <a:pt x="608" y="312"/>
                  </a:lnTo>
                  <a:lnTo>
                    <a:pt x="608" y="31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5" name="Freeform 365">
              <a:extLst>
                <a:ext uri="{FF2B5EF4-FFF2-40B4-BE49-F238E27FC236}">
                  <a16:creationId xmlns:a16="http://schemas.microsoft.com/office/drawing/2014/main" id="{B9C5BC4A-3C34-5526-3E84-632A039B473C}"/>
                </a:ext>
              </a:extLst>
            </p:cNvPr>
            <p:cNvSpPr>
              <a:spLocks noEditPoints="1"/>
            </p:cNvSpPr>
            <p:nvPr/>
          </p:nvSpPr>
          <p:spPr bwMode="auto">
            <a:xfrm>
              <a:off x="7202494" y="1633995"/>
              <a:ext cx="2723089" cy="1018354"/>
            </a:xfrm>
            <a:custGeom>
              <a:avLst/>
              <a:gdLst>
                <a:gd name="T0" fmla="*/ 1203 w 1214"/>
                <a:gd name="T1" fmla="*/ 135 h 454"/>
                <a:gd name="T2" fmla="*/ 1162 w 1214"/>
                <a:gd name="T3" fmla="*/ 132 h 454"/>
                <a:gd name="T4" fmla="*/ 1043 w 1214"/>
                <a:gd name="T5" fmla="*/ 95 h 454"/>
                <a:gd name="T6" fmla="*/ 965 w 1214"/>
                <a:gd name="T7" fmla="*/ 102 h 454"/>
                <a:gd name="T8" fmla="*/ 801 w 1214"/>
                <a:gd name="T9" fmla="*/ 76 h 454"/>
                <a:gd name="T10" fmla="*/ 706 w 1214"/>
                <a:gd name="T11" fmla="*/ 62 h 454"/>
                <a:gd name="T12" fmla="*/ 647 w 1214"/>
                <a:gd name="T13" fmla="*/ 70 h 454"/>
                <a:gd name="T14" fmla="*/ 585 w 1214"/>
                <a:gd name="T15" fmla="*/ 78 h 454"/>
                <a:gd name="T16" fmla="*/ 533 w 1214"/>
                <a:gd name="T17" fmla="*/ 56 h 454"/>
                <a:gd name="T18" fmla="*/ 485 w 1214"/>
                <a:gd name="T19" fmla="*/ 54 h 454"/>
                <a:gd name="T20" fmla="*/ 368 w 1214"/>
                <a:gd name="T21" fmla="*/ 41 h 454"/>
                <a:gd name="T22" fmla="*/ 346 w 1214"/>
                <a:gd name="T23" fmla="*/ 43 h 454"/>
                <a:gd name="T24" fmla="*/ 355 w 1214"/>
                <a:gd name="T25" fmla="*/ 19 h 454"/>
                <a:gd name="T26" fmla="*/ 282 w 1214"/>
                <a:gd name="T27" fmla="*/ 5 h 454"/>
                <a:gd name="T28" fmla="*/ 230 w 1214"/>
                <a:gd name="T29" fmla="*/ 19 h 454"/>
                <a:gd name="T30" fmla="*/ 150 w 1214"/>
                <a:gd name="T31" fmla="*/ 32 h 454"/>
                <a:gd name="T32" fmla="*/ 107 w 1214"/>
                <a:gd name="T33" fmla="*/ 51 h 454"/>
                <a:gd name="T34" fmla="*/ 84 w 1214"/>
                <a:gd name="T35" fmla="*/ 65 h 454"/>
                <a:gd name="T36" fmla="*/ 68 w 1214"/>
                <a:gd name="T37" fmla="*/ 56 h 454"/>
                <a:gd name="T38" fmla="*/ 122 w 1214"/>
                <a:gd name="T39" fmla="*/ 110 h 454"/>
                <a:gd name="T40" fmla="*/ 92 w 1214"/>
                <a:gd name="T41" fmla="*/ 119 h 454"/>
                <a:gd name="T42" fmla="*/ 79 w 1214"/>
                <a:gd name="T43" fmla="*/ 116 h 454"/>
                <a:gd name="T44" fmla="*/ 47 w 1214"/>
                <a:gd name="T45" fmla="*/ 64 h 454"/>
                <a:gd name="T46" fmla="*/ 9 w 1214"/>
                <a:gd name="T47" fmla="*/ 84 h 454"/>
                <a:gd name="T48" fmla="*/ 34 w 1214"/>
                <a:gd name="T49" fmla="*/ 113 h 454"/>
                <a:gd name="T50" fmla="*/ 44 w 1214"/>
                <a:gd name="T51" fmla="*/ 237 h 454"/>
                <a:gd name="T52" fmla="*/ 55 w 1214"/>
                <a:gd name="T53" fmla="*/ 286 h 454"/>
                <a:gd name="T54" fmla="*/ 90 w 1214"/>
                <a:gd name="T55" fmla="*/ 286 h 454"/>
                <a:gd name="T56" fmla="*/ 142 w 1214"/>
                <a:gd name="T57" fmla="*/ 294 h 454"/>
                <a:gd name="T58" fmla="*/ 181 w 1214"/>
                <a:gd name="T59" fmla="*/ 300 h 454"/>
                <a:gd name="T60" fmla="*/ 260 w 1214"/>
                <a:gd name="T61" fmla="*/ 337 h 454"/>
                <a:gd name="T62" fmla="*/ 308 w 1214"/>
                <a:gd name="T63" fmla="*/ 346 h 454"/>
                <a:gd name="T64" fmla="*/ 360 w 1214"/>
                <a:gd name="T65" fmla="*/ 356 h 454"/>
                <a:gd name="T66" fmla="*/ 401 w 1214"/>
                <a:gd name="T67" fmla="*/ 341 h 454"/>
                <a:gd name="T68" fmla="*/ 450 w 1214"/>
                <a:gd name="T69" fmla="*/ 330 h 454"/>
                <a:gd name="T70" fmla="*/ 541 w 1214"/>
                <a:gd name="T71" fmla="*/ 345 h 454"/>
                <a:gd name="T72" fmla="*/ 628 w 1214"/>
                <a:gd name="T73" fmla="*/ 353 h 454"/>
                <a:gd name="T74" fmla="*/ 690 w 1214"/>
                <a:gd name="T75" fmla="*/ 338 h 454"/>
                <a:gd name="T76" fmla="*/ 730 w 1214"/>
                <a:gd name="T77" fmla="*/ 307 h 454"/>
                <a:gd name="T78" fmla="*/ 812 w 1214"/>
                <a:gd name="T79" fmla="*/ 359 h 454"/>
                <a:gd name="T80" fmla="*/ 873 w 1214"/>
                <a:gd name="T81" fmla="*/ 375 h 454"/>
                <a:gd name="T82" fmla="*/ 882 w 1214"/>
                <a:gd name="T83" fmla="*/ 418 h 454"/>
                <a:gd name="T84" fmla="*/ 892 w 1214"/>
                <a:gd name="T85" fmla="*/ 443 h 454"/>
                <a:gd name="T86" fmla="*/ 938 w 1214"/>
                <a:gd name="T87" fmla="*/ 408 h 454"/>
                <a:gd name="T88" fmla="*/ 920 w 1214"/>
                <a:gd name="T89" fmla="*/ 334 h 454"/>
                <a:gd name="T90" fmla="*/ 870 w 1214"/>
                <a:gd name="T91" fmla="*/ 292 h 454"/>
                <a:gd name="T92" fmla="*/ 841 w 1214"/>
                <a:gd name="T93" fmla="*/ 288 h 454"/>
                <a:gd name="T94" fmla="*/ 839 w 1214"/>
                <a:gd name="T95" fmla="*/ 237 h 454"/>
                <a:gd name="T96" fmla="*/ 906 w 1214"/>
                <a:gd name="T97" fmla="*/ 221 h 454"/>
                <a:gd name="T98" fmla="*/ 973 w 1214"/>
                <a:gd name="T99" fmla="*/ 226 h 454"/>
                <a:gd name="T100" fmla="*/ 962 w 1214"/>
                <a:gd name="T101" fmla="*/ 191 h 454"/>
                <a:gd name="T102" fmla="*/ 1011 w 1214"/>
                <a:gd name="T103" fmla="*/ 195 h 454"/>
                <a:gd name="T104" fmla="*/ 1025 w 1214"/>
                <a:gd name="T105" fmla="*/ 191 h 454"/>
                <a:gd name="T106" fmla="*/ 1027 w 1214"/>
                <a:gd name="T107" fmla="*/ 234 h 454"/>
                <a:gd name="T108" fmla="*/ 1076 w 1214"/>
                <a:gd name="T109" fmla="*/ 316 h 454"/>
                <a:gd name="T110" fmla="*/ 1103 w 1214"/>
                <a:gd name="T111" fmla="*/ 303 h 454"/>
                <a:gd name="T112" fmla="*/ 1095 w 1214"/>
                <a:gd name="T113" fmla="*/ 268 h 454"/>
                <a:gd name="T114" fmla="*/ 1055 w 1214"/>
                <a:gd name="T115" fmla="*/ 226 h 454"/>
                <a:gd name="T116" fmla="*/ 1076 w 1214"/>
                <a:gd name="T117" fmla="*/ 216 h 454"/>
                <a:gd name="T118" fmla="*/ 1122 w 1214"/>
                <a:gd name="T119" fmla="*/ 197 h 454"/>
                <a:gd name="T120" fmla="*/ 1165 w 1214"/>
                <a:gd name="T121" fmla="*/ 183 h 454"/>
                <a:gd name="T122" fmla="*/ 1124 w 1214"/>
                <a:gd name="T123" fmla="*/ 156 h 454"/>
                <a:gd name="T124" fmla="*/ 1154 w 1214"/>
                <a:gd name="T125" fmla="*/ 143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4" h="454">
                  <a:moveTo>
                    <a:pt x="1212" y="157"/>
                  </a:moveTo>
                  <a:lnTo>
                    <a:pt x="1212" y="157"/>
                  </a:lnTo>
                  <a:lnTo>
                    <a:pt x="1214" y="157"/>
                  </a:lnTo>
                  <a:lnTo>
                    <a:pt x="1214" y="157"/>
                  </a:lnTo>
                  <a:lnTo>
                    <a:pt x="1211" y="154"/>
                  </a:lnTo>
                  <a:lnTo>
                    <a:pt x="1211" y="154"/>
                  </a:lnTo>
                  <a:lnTo>
                    <a:pt x="1208" y="154"/>
                  </a:lnTo>
                  <a:lnTo>
                    <a:pt x="1208" y="154"/>
                  </a:lnTo>
                  <a:lnTo>
                    <a:pt x="1205" y="154"/>
                  </a:lnTo>
                  <a:lnTo>
                    <a:pt x="1205" y="154"/>
                  </a:lnTo>
                  <a:lnTo>
                    <a:pt x="1205" y="153"/>
                  </a:lnTo>
                  <a:lnTo>
                    <a:pt x="1205" y="153"/>
                  </a:lnTo>
                  <a:lnTo>
                    <a:pt x="1203" y="153"/>
                  </a:lnTo>
                  <a:lnTo>
                    <a:pt x="1203" y="153"/>
                  </a:lnTo>
                  <a:lnTo>
                    <a:pt x="1203" y="151"/>
                  </a:lnTo>
                  <a:lnTo>
                    <a:pt x="1203" y="151"/>
                  </a:lnTo>
                  <a:lnTo>
                    <a:pt x="1206" y="151"/>
                  </a:lnTo>
                  <a:lnTo>
                    <a:pt x="1206" y="151"/>
                  </a:lnTo>
                  <a:lnTo>
                    <a:pt x="1206" y="149"/>
                  </a:lnTo>
                  <a:lnTo>
                    <a:pt x="1206" y="149"/>
                  </a:lnTo>
                  <a:lnTo>
                    <a:pt x="1203" y="148"/>
                  </a:lnTo>
                  <a:lnTo>
                    <a:pt x="1203" y="148"/>
                  </a:lnTo>
                  <a:lnTo>
                    <a:pt x="1200" y="146"/>
                  </a:lnTo>
                  <a:lnTo>
                    <a:pt x="1200" y="146"/>
                  </a:lnTo>
                  <a:lnTo>
                    <a:pt x="1203" y="146"/>
                  </a:lnTo>
                  <a:lnTo>
                    <a:pt x="1203" y="146"/>
                  </a:lnTo>
                  <a:lnTo>
                    <a:pt x="1200" y="143"/>
                  </a:lnTo>
                  <a:lnTo>
                    <a:pt x="1200" y="143"/>
                  </a:lnTo>
                  <a:lnTo>
                    <a:pt x="1197" y="143"/>
                  </a:lnTo>
                  <a:lnTo>
                    <a:pt x="1197" y="143"/>
                  </a:lnTo>
                  <a:lnTo>
                    <a:pt x="1193" y="143"/>
                  </a:lnTo>
                  <a:lnTo>
                    <a:pt x="1193" y="143"/>
                  </a:lnTo>
                  <a:lnTo>
                    <a:pt x="1197" y="143"/>
                  </a:lnTo>
                  <a:lnTo>
                    <a:pt x="1197" y="143"/>
                  </a:lnTo>
                  <a:lnTo>
                    <a:pt x="1200" y="143"/>
                  </a:lnTo>
                  <a:lnTo>
                    <a:pt x="1200" y="143"/>
                  </a:lnTo>
                  <a:lnTo>
                    <a:pt x="1205" y="143"/>
                  </a:lnTo>
                  <a:lnTo>
                    <a:pt x="1205" y="143"/>
                  </a:lnTo>
                  <a:lnTo>
                    <a:pt x="1209" y="143"/>
                  </a:lnTo>
                  <a:lnTo>
                    <a:pt x="1209" y="143"/>
                  </a:lnTo>
                  <a:lnTo>
                    <a:pt x="1206" y="143"/>
                  </a:lnTo>
                  <a:lnTo>
                    <a:pt x="1206" y="143"/>
                  </a:lnTo>
                  <a:lnTo>
                    <a:pt x="1205" y="141"/>
                  </a:lnTo>
                  <a:lnTo>
                    <a:pt x="1205" y="141"/>
                  </a:lnTo>
                  <a:lnTo>
                    <a:pt x="1211" y="143"/>
                  </a:lnTo>
                  <a:lnTo>
                    <a:pt x="1211" y="143"/>
                  </a:lnTo>
                  <a:lnTo>
                    <a:pt x="1208" y="140"/>
                  </a:lnTo>
                  <a:lnTo>
                    <a:pt x="1208" y="140"/>
                  </a:lnTo>
                  <a:lnTo>
                    <a:pt x="1208" y="138"/>
                  </a:lnTo>
                  <a:lnTo>
                    <a:pt x="1208" y="138"/>
                  </a:lnTo>
                  <a:lnTo>
                    <a:pt x="1209" y="137"/>
                  </a:lnTo>
                  <a:lnTo>
                    <a:pt x="1209" y="137"/>
                  </a:lnTo>
                  <a:lnTo>
                    <a:pt x="1206" y="137"/>
                  </a:lnTo>
                  <a:lnTo>
                    <a:pt x="1206" y="137"/>
                  </a:lnTo>
                  <a:lnTo>
                    <a:pt x="1203" y="135"/>
                  </a:lnTo>
                  <a:lnTo>
                    <a:pt x="1203" y="135"/>
                  </a:lnTo>
                  <a:lnTo>
                    <a:pt x="1200" y="134"/>
                  </a:lnTo>
                  <a:lnTo>
                    <a:pt x="1200" y="134"/>
                  </a:lnTo>
                  <a:lnTo>
                    <a:pt x="1200" y="135"/>
                  </a:lnTo>
                  <a:lnTo>
                    <a:pt x="1200" y="135"/>
                  </a:lnTo>
                  <a:lnTo>
                    <a:pt x="1197" y="134"/>
                  </a:lnTo>
                  <a:lnTo>
                    <a:pt x="1197" y="134"/>
                  </a:lnTo>
                  <a:lnTo>
                    <a:pt x="1193" y="132"/>
                  </a:lnTo>
                  <a:lnTo>
                    <a:pt x="1193" y="132"/>
                  </a:lnTo>
                  <a:lnTo>
                    <a:pt x="1187" y="130"/>
                  </a:lnTo>
                  <a:lnTo>
                    <a:pt x="1187" y="130"/>
                  </a:lnTo>
                  <a:lnTo>
                    <a:pt x="1179" y="127"/>
                  </a:lnTo>
                  <a:lnTo>
                    <a:pt x="1179" y="127"/>
                  </a:lnTo>
                  <a:lnTo>
                    <a:pt x="1171" y="126"/>
                  </a:lnTo>
                  <a:lnTo>
                    <a:pt x="1171" y="126"/>
                  </a:lnTo>
                  <a:lnTo>
                    <a:pt x="1168" y="126"/>
                  </a:lnTo>
                  <a:lnTo>
                    <a:pt x="1168" y="126"/>
                  </a:lnTo>
                  <a:lnTo>
                    <a:pt x="1162" y="124"/>
                  </a:lnTo>
                  <a:lnTo>
                    <a:pt x="1162" y="124"/>
                  </a:lnTo>
                  <a:lnTo>
                    <a:pt x="1165" y="126"/>
                  </a:lnTo>
                  <a:lnTo>
                    <a:pt x="1165" y="126"/>
                  </a:lnTo>
                  <a:lnTo>
                    <a:pt x="1162" y="126"/>
                  </a:lnTo>
                  <a:lnTo>
                    <a:pt x="1162" y="126"/>
                  </a:lnTo>
                  <a:lnTo>
                    <a:pt x="1165" y="127"/>
                  </a:lnTo>
                  <a:lnTo>
                    <a:pt x="1165" y="127"/>
                  </a:lnTo>
                  <a:lnTo>
                    <a:pt x="1162" y="126"/>
                  </a:lnTo>
                  <a:lnTo>
                    <a:pt x="1162" y="126"/>
                  </a:lnTo>
                  <a:lnTo>
                    <a:pt x="1159" y="124"/>
                  </a:lnTo>
                  <a:lnTo>
                    <a:pt x="1159" y="124"/>
                  </a:lnTo>
                  <a:lnTo>
                    <a:pt x="1157" y="124"/>
                  </a:lnTo>
                  <a:lnTo>
                    <a:pt x="1157" y="124"/>
                  </a:lnTo>
                  <a:lnTo>
                    <a:pt x="1155" y="124"/>
                  </a:lnTo>
                  <a:lnTo>
                    <a:pt x="1155" y="124"/>
                  </a:lnTo>
                  <a:lnTo>
                    <a:pt x="1146" y="124"/>
                  </a:lnTo>
                  <a:lnTo>
                    <a:pt x="1146" y="124"/>
                  </a:lnTo>
                  <a:lnTo>
                    <a:pt x="1154" y="126"/>
                  </a:lnTo>
                  <a:lnTo>
                    <a:pt x="1154" y="126"/>
                  </a:lnTo>
                  <a:lnTo>
                    <a:pt x="1159" y="129"/>
                  </a:lnTo>
                  <a:lnTo>
                    <a:pt x="1159" y="129"/>
                  </a:lnTo>
                  <a:lnTo>
                    <a:pt x="1159" y="129"/>
                  </a:lnTo>
                  <a:lnTo>
                    <a:pt x="1159" y="129"/>
                  </a:lnTo>
                  <a:lnTo>
                    <a:pt x="1159" y="130"/>
                  </a:lnTo>
                  <a:lnTo>
                    <a:pt x="1159" y="130"/>
                  </a:lnTo>
                  <a:lnTo>
                    <a:pt x="1162" y="130"/>
                  </a:lnTo>
                  <a:lnTo>
                    <a:pt x="1162" y="130"/>
                  </a:lnTo>
                  <a:lnTo>
                    <a:pt x="1165" y="132"/>
                  </a:lnTo>
                  <a:lnTo>
                    <a:pt x="1165" y="132"/>
                  </a:lnTo>
                  <a:lnTo>
                    <a:pt x="1168" y="134"/>
                  </a:lnTo>
                  <a:lnTo>
                    <a:pt x="1168" y="134"/>
                  </a:lnTo>
                  <a:lnTo>
                    <a:pt x="1168" y="135"/>
                  </a:lnTo>
                  <a:lnTo>
                    <a:pt x="1168" y="135"/>
                  </a:lnTo>
                  <a:lnTo>
                    <a:pt x="1165" y="134"/>
                  </a:lnTo>
                  <a:lnTo>
                    <a:pt x="1165" y="134"/>
                  </a:lnTo>
                  <a:lnTo>
                    <a:pt x="1162" y="132"/>
                  </a:lnTo>
                  <a:lnTo>
                    <a:pt x="1162" y="132"/>
                  </a:lnTo>
                  <a:lnTo>
                    <a:pt x="1162" y="134"/>
                  </a:lnTo>
                  <a:lnTo>
                    <a:pt x="1162" y="134"/>
                  </a:lnTo>
                  <a:lnTo>
                    <a:pt x="1159" y="132"/>
                  </a:lnTo>
                  <a:lnTo>
                    <a:pt x="1159" y="132"/>
                  </a:lnTo>
                  <a:lnTo>
                    <a:pt x="1154" y="130"/>
                  </a:lnTo>
                  <a:lnTo>
                    <a:pt x="1154" y="130"/>
                  </a:lnTo>
                  <a:lnTo>
                    <a:pt x="1151" y="129"/>
                  </a:lnTo>
                  <a:lnTo>
                    <a:pt x="1151" y="129"/>
                  </a:lnTo>
                  <a:lnTo>
                    <a:pt x="1152" y="129"/>
                  </a:lnTo>
                  <a:lnTo>
                    <a:pt x="1152" y="129"/>
                  </a:lnTo>
                  <a:lnTo>
                    <a:pt x="1143" y="122"/>
                  </a:lnTo>
                  <a:lnTo>
                    <a:pt x="1143" y="122"/>
                  </a:lnTo>
                  <a:lnTo>
                    <a:pt x="1138" y="122"/>
                  </a:lnTo>
                  <a:lnTo>
                    <a:pt x="1138" y="122"/>
                  </a:lnTo>
                  <a:lnTo>
                    <a:pt x="1136" y="119"/>
                  </a:lnTo>
                  <a:lnTo>
                    <a:pt x="1136" y="119"/>
                  </a:lnTo>
                  <a:lnTo>
                    <a:pt x="1133" y="119"/>
                  </a:lnTo>
                  <a:lnTo>
                    <a:pt x="1133" y="119"/>
                  </a:lnTo>
                  <a:lnTo>
                    <a:pt x="1130" y="119"/>
                  </a:lnTo>
                  <a:lnTo>
                    <a:pt x="1130" y="119"/>
                  </a:lnTo>
                  <a:lnTo>
                    <a:pt x="1127" y="116"/>
                  </a:lnTo>
                  <a:lnTo>
                    <a:pt x="1127" y="116"/>
                  </a:lnTo>
                  <a:lnTo>
                    <a:pt x="1114" y="113"/>
                  </a:lnTo>
                  <a:lnTo>
                    <a:pt x="1114" y="113"/>
                  </a:lnTo>
                  <a:lnTo>
                    <a:pt x="1106" y="111"/>
                  </a:lnTo>
                  <a:lnTo>
                    <a:pt x="1106" y="111"/>
                  </a:lnTo>
                  <a:lnTo>
                    <a:pt x="1101" y="111"/>
                  </a:lnTo>
                  <a:lnTo>
                    <a:pt x="1101" y="111"/>
                  </a:lnTo>
                  <a:lnTo>
                    <a:pt x="1101" y="111"/>
                  </a:lnTo>
                  <a:lnTo>
                    <a:pt x="1101" y="111"/>
                  </a:lnTo>
                  <a:lnTo>
                    <a:pt x="1098" y="110"/>
                  </a:lnTo>
                  <a:lnTo>
                    <a:pt x="1098" y="110"/>
                  </a:lnTo>
                  <a:lnTo>
                    <a:pt x="1087" y="107"/>
                  </a:lnTo>
                  <a:lnTo>
                    <a:pt x="1087" y="107"/>
                  </a:lnTo>
                  <a:lnTo>
                    <a:pt x="1095" y="110"/>
                  </a:lnTo>
                  <a:lnTo>
                    <a:pt x="1095" y="110"/>
                  </a:lnTo>
                  <a:lnTo>
                    <a:pt x="1092" y="110"/>
                  </a:lnTo>
                  <a:lnTo>
                    <a:pt x="1092" y="110"/>
                  </a:lnTo>
                  <a:lnTo>
                    <a:pt x="1092" y="110"/>
                  </a:lnTo>
                  <a:lnTo>
                    <a:pt x="1092" y="110"/>
                  </a:lnTo>
                  <a:lnTo>
                    <a:pt x="1087" y="108"/>
                  </a:lnTo>
                  <a:lnTo>
                    <a:pt x="1087" y="108"/>
                  </a:lnTo>
                  <a:lnTo>
                    <a:pt x="1082" y="107"/>
                  </a:lnTo>
                  <a:lnTo>
                    <a:pt x="1082" y="107"/>
                  </a:lnTo>
                  <a:lnTo>
                    <a:pt x="1068" y="102"/>
                  </a:lnTo>
                  <a:lnTo>
                    <a:pt x="1068" y="102"/>
                  </a:lnTo>
                  <a:lnTo>
                    <a:pt x="1055" y="99"/>
                  </a:lnTo>
                  <a:lnTo>
                    <a:pt x="1055" y="99"/>
                  </a:lnTo>
                  <a:lnTo>
                    <a:pt x="1051" y="97"/>
                  </a:lnTo>
                  <a:lnTo>
                    <a:pt x="1051" y="97"/>
                  </a:lnTo>
                  <a:lnTo>
                    <a:pt x="1046" y="97"/>
                  </a:lnTo>
                  <a:lnTo>
                    <a:pt x="1046" y="97"/>
                  </a:lnTo>
                  <a:lnTo>
                    <a:pt x="1043" y="97"/>
                  </a:lnTo>
                  <a:lnTo>
                    <a:pt x="1043" y="97"/>
                  </a:lnTo>
                  <a:lnTo>
                    <a:pt x="1043" y="95"/>
                  </a:lnTo>
                  <a:lnTo>
                    <a:pt x="1043" y="95"/>
                  </a:lnTo>
                  <a:lnTo>
                    <a:pt x="1039" y="95"/>
                  </a:lnTo>
                  <a:lnTo>
                    <a:pt x="1039" y="95"/>
                  </a:lnTo>
                  <a:lnTo>
                    <a:pt x="1030" y="94"/>
                  </a:lnTo>
                  <a:lnTo>
                    <a:pt x="1030" y="94"/>
                  </a:lnTo>
                  <a:lnTo>
                    <a:pt x="1012" y="91"/>
                  </a:lnTo>
                  <a:lnTo>
                    <a:pt x="1012" y="91"/>
                  </a:lnTo>
                  <a:lnTo>
                    <a:pt x="1005" y="89"/>
                  </a:lnTo>
                  <a:lnTo>
                    <a:pt x="1005" y="89"/>
                  </a:lnTo>
                  <a:lnTo>
                    <a:pt x="998" y="89"/>
                  </a:lnTo>
                  <a:lnTo>
                    <a:pt x="998" y="89"/>
                  </a:lnTo>
                  <a:lnTo>
                    <a:pt x="990" y="89"/>
                  </a:lnTo>
                  <a:lnTo>
                    <a:pt x="990" y="89"/>
                  </a:lnTo>
                  <a:lnTo>
                    <a:pt x="985" y="89"/>
                  </a:lnTo>
                  <a:lnTo>
                    <a:pt x="985" y="89"/>
                  </a:lnTo>
                  <a:lnTo>
                    <a:pt x="982" y="89"/>
                  </a:lnTo>
                  <a:lnTo>
                    <a:pt x="982" y="89"/>
                  </a:lnTo>
                  <a:lnTo>
                    <a:pt x="985" y="91"/>
                  </a:lnTo>
                  <a:lnTo>
                    <a:pt x="985" y="91"/>
                  </a:lnTo>
                  <a:lnTo>
                    <a:pt x="984" y="91"/>
                  </a:lnTo>
                  <a:lnTo>
                    <a:pt x="984" y="91"/>
                  </a:lnTo>
                  <a:lnTo>
                    <a:pt x="982" y="91"/>
                  </a:lnTo>
                  <a:lnTo>
                    <a:pt x="982" y="91"/>
                  </a:lnTo>
                  <a:lnTo>
                    <a:pt x="979" y="89"/>
                  </a:lnTo>
                  <a:lnTo>
                    <a:pt x="979" y="89"/>
                  </a:lnTo>
                  <a:lnTo>
                    <a:pt x="973" y="87"/>
                  </a:lnTo>
                  <a:lnTo>
                    <a:pt x="973" y="87"/>
                  </a:lnTo>
                  <a:lnTo>
                    <a:pt x="963" y="87"/>
                  </a:lnTo>
                  <a:lnTo>
                    <a:pt x="963" y="87"/>
                  </a:lnTo>
                  <a:lnTo>
                    <a:pt x="952" y="87"/>
                  </a:lnTo>
                  <a:lnTo>
                    <a:pt x="952" y="87"/>
                  </a:lnTo>
                  <a:lnTo>
                    <a:pt x="957" y="87"/>
                  </a:lnTo>
                  <a:lnTo>
                    <a:pt x="957" y="87"/>
                  </a:lnTo>
                  <a:lnTo>
                    <a:pt x="960" y="91"/>
                  </a:lnTo>
                  <a:lnTo>
                    <a:pt x="960" y="91"/>
                  </a:lnTo>
                  <a:lnTo>
                    <a:pt x="958" y="92"/>
                  </a:lnTo>
                  <a:lnTo>
                    <a:pt x="958" y="92"/>
                  </a:lnTo>
                  <a:lnTo>
                    <a:pt x="960" y="94"/>
                  </a:lnTo>
                  <a:lnTo>
                    <a:pt x="960" y="94"/>
                  </a:lnTo>
                  <a:lnTo>
                    <a:pt x="966" y="94"/>
                  </a:lnTo>
                  <a:lnTo>
                    <a:pt x="966" y="94"/>
                  </a:lnTo>
                  <a:lnTo>
                    <a:pt x="973" y="97"/>
                  </a:lnTo>
                  <a:lnTo>
                    <a:pt x="973" y="97"/>
                  </a:lnTo>
                  <a:lnTo>
                    <a:pt x="976" y="100"/>
                  </a:lnTo>
                  <a:lnTo>
                    <a:pt x="976" y="100"/>
                  </a:lnTo>
                  <a:lnTo>
                    <a:pt x="976" y="102"/>
                  </a:lnTo>
                  <a:lnTo>
                    <a:pt x="976" y="102"/>
                  </a:lnTo>
                  <a:lnTo>
                    <a:pt x="978" y="103"/>
                  </a:lnTo>
                  <a:lnTo>
                    <a:pt x="978" y="103"/>
                  </a:lnTo>
                  <a:lnTo>
                    <a:pt x="973" y="103"/>
                  </a:lnTo>
                  <a:lnTo>
                    <a:pt x="973" y="103"/>
                  </a:lnTo>
                  <a:lnTo>
                    <a:pt x="966" y="103"/>
                  </a:lnTo>
                  <a:lnTo>
                    <a:pt x="966" y="103"/>
                  </a:lnTo>
                  <a:lnTo>
                    <a:pt x="965" y="102"/>
                  </a:lnTo>
                  <a:lnTo>
                    <a:pt x="965" y="102"/>
                  </a:lnTo>
                  <a:lnTo>
                    <a:pt x="962" y="100"/>
                  </a:lnTo>
                  <a:lnTo>
                    <a:pt x="962" y="100"/>
                  </a:lnTo>
                  <a:lnTo>
                    <a:pt x="952" y="99"/>
                  </a:lnTo>
                  <a:lnTo>
                    <a:pt x="952" y="99"/>
                  </a:lnTo>
                  <a:lnTo>
                    <a:pt x="949" y="97"/>
                  </a:lnTo>
                  <a:lnTo>
                    <a:pt x="949" y="97"/>
                  </a:lnTo>
                  <a:lnTo>
                    <a:pt x="944" y="95"/>
                  </a:lnTo>
                  <a:lnTo>
                    <a:pt x="944" y="95"/>
                  </a:lnTo>
                  <a:lnTo>
                    <a:pt x="938" y="92"/>
                  </a:lnTo>
                  <a:lnTo>
                    <a:pt x="938" y="92"/>
                  </a:lnTo>
                  <a:lnTo>
                    <a:pt x="935" y="91"/>
                  </a:lnTo>
                  <a:lnTo>
                    <a:pt x="935" y="91"/>
                  </a:lnTo>
                  <a:lnTo>
                    <a:pt x="935" y="92"/>
                  </a:lnTo>
                  <a:lnTo>
                    <a:pt x="935" y="92"/>
                  </a:lnTo>
                  <a:lnTo>
                    <a:pt x="931" y="94"/>
                  </a:lnTo>
                  <a:lnTo>
                    <a:pt x="931" y="94"/>
                  </a:lnTo>
                  <a:lnTo>
                    <a:pt x="930" y="94"/>
                  </a:lnTo>
                  <a:lnTo>
                    <a:pt x="930" y="94"/>
                  </a:lnTo>
                  <a:lnTo>
                    <a:pt x="924" y="94"/>
                  </a:lnTo>
                  <a:lnTo>
                    <a:pt x="924" y="94"/>
                  </a:lnTo>
                  <a:lnTo>
                    <a:pt x="914" y="94"/>
                  </a:lnTo>
                  <a:lnTo>
                    <a:pt x="914" y="94"/>
                  </a:lnTo>
                  <a:lnTo>
                    <a:pt x="904" y="92"/>
                  </a:lnTo>
                  <a:lnTo>
                    <a:pt x="904" y="92"/>
                  </a:lnTo>
                  <a:lnTo>
                    <a:pt x="900" y="92"/>
                  </a:lnTo>
                  <a:lnTo>
                    <a:pt x="900" y="92"/>
                  </a:lnTo>
                  <a:lnTo>
                    <a:pt x="893" y="92"/>
                  </a:lnTo>
                  <a:lnTo>
                    <a:pt x="893" y="92"/>
                  </a:lnTo>
                  <a:lnTo>
                    <a:pt x="885" y="92"/>
                  </a:lnTo>
                  <a:lnTo>
                    <a:pt x="885" y="92"/>
                  </a:lnTo>
                  <a:lnTo>
                    <a:pt x="879" y="94"/>
                  </a:lnTo>
                  <a:lnTo>
                    <a:pt x="879" y="94"/>
                  </a:lnTo>
                  <a:lnTo>
                    <a:pt x="876" y="94"/>
                  </a:lnTo>
                  <a:lnTo>
                    <a:pt x="876" y="94"/>
                  </a:lnTo>
                  <a:lnTo>
                    <a:pt x="866" y="91"/>
                  </a:lnTo>
                  <a:lnTo>
                    <a:pt x="866" y="91"/>
                  </a:lnTo>
                  <a:lnTo>
                    <a:pt x="863" y="91"/>
                  </a:lnTo>
                  <a:lnTo>
                    <a:pt x="863" y="91"/>
                  </a:lnTo>
                  <a:lnTo>
                    <a:pt x="858" y="89"/>
                  </a:lnTo>
                  <a:lnTo>
                    <a:pt x="858" y="89"/>
                  </a:lnTo>
                  <a:lnTo>
                    <a:pt x="858" y="87"/>
                  </a:lnTo>
                  <a:lnTo>
                    <a:pt x="858" y="87"/>
                  </a:lnTo>
                  <a:lnTo>
                    <a:pt x="855" y="87"/>
                  </a:lnTo>
                  <a:lnTo>
                    <a:pt x="855" y="87"/>
                  </a:lnTo>
                  <a:lnTo>
                    <a:pt x="857" y="87"/>
                  </a:lnTo>
                  <a:lnTo>
                    <a:pt x="857" y="87"/>
                  </a:lnTo>
                  <a:lnTo>
                    <a:pt x="854" y="84"/>
                  </a:lnTo>
                  <a:lnTo>
                    <a:pt x="854" y="84"/>
                  </a:lnTo>
                  <a:lnTo>
                    <a:pt x="847" y="81"/>
                  </a:lnTo>
                  <a:lnTo>
                    <a:pt x="847" y="81"/>
                  </a:lnTo>
                  <a:lnTo>
                    <a:pt x="838" y="78"/>
                  </a:lnTo>
                  <a:lnTo>
                    <a:pt x="838" y="78"/>
                  </a:lnTo>
                  <a:lnTo>
                    <a:pt x="812" y="76"/>
                  </a:lnTo>
                  <a:lnTo>
                    <a:pt x="812" y="76"/>
                  </a:lnTo>
                  <a:lnTo>
                    <a:pt x="801" y="76"/>
                  </a:lnTo>
                  <a:lnTo>
                    <a:pt x="801" y="76"/>
                  </a:lnTo>
                  <a:lnTo>
                    <a:pt x="789" y="78"/>
                  </a:lnTo>
                  <a:lnTo>
                    <a:pt x="789" y="78"/>
                  </a:lnTo>
                  <a:lnTo>
                    <a:pt x="779" y="78"/>
                  </a:lnTo>
                  <a:lnTo>
                    <a:pt x="779" y="78"/>
                  </a:lnTo>
                  <a:lnTo>
                    <a:pt x="768" y="76"/>
                  </a:lnTo>
                  <a:lnTo>
                    <a:pt x="768" y="76"/>
                  </a:lnTo>
                  <a:lnTo>
                    <a:pt x="773" y="76"/>
                  </a:lnTo>
                  <a:lnTo>
                    <a:pt x="773" y="76"/>
                  </a:lnTo>
                  <a:lnTo>
                    <a:pt x="766" y="75"/>
                  </a:lnTo>
                  <a:lnTo>
                    <a:pt x="766" y="75"/>
                  </a:lnTo>
                  <a:lnTo>
                    <a:pt x="762" y="73"/>
                  </a:lnTo>
                  <a:lnTo>
                    <a:pt x="762" y="73"/>
                  </a:lnTo>
                  <a:lnTo>
                    <a:pt x="757" y="72"/>
                  </a:lnTo>
                  <a:lnTo>
                    <a:pt x="757" y="72"/>
                  </a:lnTo>
                  <a:lnTo>
                    <a:pt x="754" y="73"/>
                  </a:lnTo>
                  <a:lnTo>
                    <a:pt x="754" y="73"/>
                  </a:lnTo>
                  <a:lnTo>
                    <a:pt x="750" y="75"/>
                  </a:lnTo>
                  <a:lnTo>
                    <a:pt x="750" y="75"/>
                  </a:lnTo>
                  <a:lnTo>
                    <a:pt x="750" y="72"/>
                  </a:lnTo>
                  <a:lnTo>
                    <a:pt x="750" y="72"/>
                  </a:lnTo>
                  <a:lnTo>
                    <a:pt x="750" y="70"/>
                  </a:lnTo>
                  <a:lnTo>
                    <a:pt x="750" y="70"/>
                  </a:lnTo>
                  <a:lnTo>
                    <a:pt x="746" y="70"/>
                  </a:lnTo>
                  <a:lnTo>
                    <a:pt x="746" y="70"/>
                  </a:lnTo>
                  <a:lnTo>
                    <a:pt x="744" y="70"/>
                  </a:lnTo>
                  <a:lnTo>
                    <a:pt x="744" y="70"/>
                  </a:lnTo>
                  <a:lnTo>
                    <a:pt x="741" y="68"/>
                  </a:lnTo>
                  <a:lnTo>
                    <a:pt x="741" y="68"/>
                  </a:lnTo>
                  <a:lnTo>
                    <a:pt x="736" y="68"/>
                  </a:lnTo>
                  <a:lnTo>
                    <a:pt x="736" y="68"/>
                  </a:lnTo>
                  <a:lnTo>
                    <a:pt x="733" y="68"/>
                  </a:lnTo>
                  <a:lnTo>
                    <a:pt x="733" y="68"/>
                  </a:lnTo>
                  <a:lnTo>
                    <a:pt x="730" y="67"/>
                  </a:lnTo>
                  <a:lnTo>
                    <a:pt x="730" y="67"/>
                  </a:lnTo>
                  <a:lnTo>
                    <a:pt x="733" y="67"/>
                  </a:lnTo>
                  <a:lnTo>
                    <a:pt x="733" y="67"/>
                  </a:lnTo>
                  <a:lnTo>
                    <a:pt x="738" y="67"/>
                  </a:lnTo>
                  <a:lnTo>
                    <a:pt x="738" y="67"/>
                  </a:lnTo>
                  <a:lnTo>
                    <a:pt x="739" y="67"/>
                  </a:lnTo>
                  <a:lnTo>
                    <a:pt x="739" y="67"/>
                  </a:lnTo>
                  <a:lnTo>
                    <a:pt x="738" y="65"/>
                  </a:lnTo>
                  <a:lnTo>
                    <a:pt x="738" y="65"/>
                  </a:lnTo>
                  <a:lnTo>
                    <a:pt x="736" y="64"/>
                  </a:lnTo>
                  <a:lnTo>
                    <a:pt x="736" y="64"/>
                  </a:lnTo>
                  <a:lnTo>
                    <a:pt x="727" y="62"/>
                  </a:lnTo>
                  <a:lnTo>
                    <a:pt x="727" y="62"/>
                  </a:lnTo>
                  <a:lnTo>
                    <a:pt x="719" y="60"/>
                  </a:lnTo>
                  <a:lnTo>
                    <a:pt x="719" y="60"/>
                  </a:lnTo>
                  <a:lnTo>
                    <a:pt x="709" y="60"/>
                  </a:lnTo>
                  <a:lnTo>
                    <a:pt x="709" y="60"/>
                  </a:lnTo>
                  <a:lnTo>
                    <a:pt x="708" y="60"/>
                  </a:lnTo>
                  <a:lnTo>
                    <a:pt x="708" y="60"/>
                  </a:lnTo>
                  <a:lnTo>
                    <a:pt x="706" y="62"/>
                  </a:lnTo>
                  <a:lnTo>
                    <a:pt x="706" y="62"/>
                  </a:lnTo>
                  <a:lnTo>
                    <a:pt x="706" y="65"/>
                  </a:lnTo>
                  <a:lnTo>
                    <a:pt x="706" y="65"/>
                  </a:lnTo>
                  <a:lnTo>
                    <a:pt x="704" y="67"/>
                  </a:lnTo>
                  <a:lnTo>
                    <a:pt x="704" y="67"/>
                  </a:lnTo>
                  <a:lnTo>
                    <a:pt x="704" y="62"/>
                  </a:lnTo>
                  <a:lnTo>
                    <a:pt x="704" y="62"/>
                  </a:lnTo>
                  <a:lnTo>
                    <a:pt x="703" y="60"/>
                  </a:lnTo>
                  <a:lnTo>
                    <a:pt x="703" y="60"/>
                  </a:lnTo>
                  <a:lnTo>
                    <a:pt x="695" y="59"/>
                  </a:lnTo>
                  <a:lnTo>
                    <a:pt x="695" y="59"/>
                  </a:lnTo>
                  <a:lnTo>
                    <a:pt x="687" y="57"/>
                  </a:lnTo>
                  <a:lnTo>
                    <a:pt x="687" y="57"/>
                  </a:lnTo>
                  <a:lnTo>
                    <a:pt x="671" y="56"/>
                  </a:lnTo>
                  <a:lnTo>
                    <a:pt x="671" y="56"/>
                  </a:lnTo>
                  <a:lnTo>
                    <a:pt x="655" y="56"/>
                  </a:lnTo>
                  <a:lnTo>
                    <a:pt x="655" y="56"/>
                  </a:lnTo>
                  <a:lnTo>
                    <a:pt x="647" y="56"/>
                  </a:lnTo>
                  <a:lnTo>
                    <a:pt x="647" y="56"/>
                  </a:lnTo>
                  <a:lnTo>
                    <a:pt x="639" y="56"/>
                  </a:lnTo>
                  <a:lnTo>
                    <a:pt x="639" y="56"/>
                  </a:lnTo>
                  <a:lnTo>
                    <a:pt x="644" y="56"/>
                  </a:lnTo>
                  <a:lnTo>
                    <a:pt x="644" y="56"/>
                  </a:lnTo>
                  <a:lnTo>
                    <a:pt x="647" y="57"/>
                  </a:lnTo>
                  <a:lnTo>
                    <a:pt x="647" y="57"/>
                  </a:lnTo>
                  <a:lnTo>
                    <a:pt x="649" y="57"/>
                  </a:lnTo>
                  <a:lnTo>
                    <a:pt x="649" y="57"/>
                  </a:lnTo>
                  <a:lnTo>
                    <a:pt x="643" y="59"/>
                  </a:lnTo>
                  <a:lnTo>
                    <a:pt x="643" y="59"/>
                  </a:lnTo>
                  <a:lnTo>
                    <a:pt x="636" y="59"/>
                  </a:lnTo>
                  <a:lnTo>
                    <a:pt x="636" y="59"/>
                  </a:lnTo>
                  <a:lnTo>
                    <a:pt x="636" y="60"/>
                  </a:lnTo>
                  <a:lnTo>
                    <a:pt x="636" y="60"/>
                  </a:lnTo>
                  <a:lnTo>
                    <a:pt x="639" y="64"/>
                  </a:lnTo>
                  <a:lnTo>
                    <a:pt x="639" y="64"/>
                  </a:lnTo>
                  <a:lnTo>
                    <a:pt x="639" y="62"/>
                  </a:lnTo>
                  <a:lnTo>
                    <a:pt x="639" y="62"/>
                  </a:lnTo>
                  <a:lnTo>
                    <a:pt x="643" y="62"/>
                  </a:lnTo>
                  <a:lnTo>
                    <a:pt x="643" y="62"/>
                  </a:lnTo>
                  <a:lnTo>
                    <a:pt x="644" y="62"/>
                  </a:lnTo>
                  <a:lnTo>
                    <a:pt x="644" y="62"/>
                  </a:lnTo>
                  <a:lnTo>
                    <a:pt x="644" y="64"/>
                  </a:lnTo>
                  <a:lnTo>
                    <a:pt x="644" y="64"/>
                  </a:lnTo>
                  <a:lnTo>
                    <a:pt x="646" y="65"/>
                  </a:lnTo>
                  <a:lnTo>
                    <a:pt x="646" y="65"/>
                  </a:lnTo>
                  <a:lnTo>
                    <a:pt x="643" y="65"/>
                  </a:lnTo>
                  <a:lnTo>
                    <a:pt x="643" y="65"/>
                  </a:lnTo>
                  <a:lnTo>
                    <a:pt x="650" y="67"/>
                  </a:lnTo>
                  <a:lnTo>
                    <a:pt x="650" y="67"/>
                  </a:lnTo>
                  <a:lnTo>
                    <a:pt x="655" y="72"/>
                  </a:lnTo>
                  <a:lnTo>
                    <a:pt x="655" y="72"/>
                  </a:lnTo>
                  <a:lnTo>
                    <a:pt x="652" y="72"/>
                  </a:lnTo>
                  <a:lnTo>
                    <a:pt x="652" y="72"/>
                  </a:lnTo>
                  <a:lnTo>
                    <a:pt x="649" y="72"/>
                  </a:lnTo>
                  <a:lnTo>
                    <a:pt x="649" y="72"/>
                  </a:lnTo>
                  <a:lnTo>
                    <a:pt x="647" y="70"/>
                  </a:lnTo>
                  <a:lnTo>
                    <a:pt x="647" y="70"/>
                  </a:lnTo>
                  <a:lnTo>
                    <a:pt x="644" y="70"/>
                  </a:lnTo>
                  <a:lnTo>
                    <a:pt x="644" y="70"/>
                  </a:lnTo>
                  <a:lnTo>
                    <a:pt x="643" y="68"/>
                  </a:lnTo>
                  <a:lnTo>
                    <a:pt x="643" y="68"/>
                  </a:lnTo>
                  <a:lnTo>
                    <a:pt x="641" y="70"/>
                  </a:lnTo>
                  <a:lnTo>
                    <a:pt x="641" y="70"/>
                  </a:lnTo>
                  <a:lnTo>
                    <a:pt x="639" y="70"/>
                  </a:lnTo>
                  <a:lnTo>
                    <a:pt x="639" y="70"/>
                  </a:lnTo>
                  <a:lnTo>
                    <a:pt x="638" y="70"/>
                  </a:lnTo>
                  <a:lnTo>
                    <a:pt x="638" y="70"/>
                  </a:lnTo>
                  <a:lnTo>
                    <a:pt x="639" y="72"/>
                  </a:lnTo>
                  <a:lnTo>
                    <a:pt x="639" y="72"/>
                  </a:lnTo>
                  <a:lnTo>
                    <a:pt x="644" y="73"/>
                  </a:lnTo>
                  <a:lnTo>
                    <a:pt x="644" y="73"/>
                  </a:lnTo>
                  <a:lnTo>
                    <a:pt x="641" y="73"/>
                  </a:lnTo>
                  <a:lnTo>
                    <a:pt x="641" y="73"/>
                  </a:lnTo>
                  <a:lnTo>
                    <a:pt x="643" y="75"/>
                  </a:lnTo>
                  <a:lnTo>
                    <a:pt x="643" y="75"/>
                  </a:lnTo>
                  <a:lnTo>
                    <a:pt x="631" y="73"/>
                  </a:lnTo>
                  <a:lnTo>
                    <a:pt x="631" y="73"/>
                  </a:lnTo>
                  <a:lnTo>
                    <a:pt x="622" y="70"/>
                  </a:lnTo>
                  <a:lnTo>
                    <a:pt x="622" y="70"/>
                  </a:lnTo>
                  <a:lnTo>
                    <a:pt x="616" y="68"/>
                  </a:lnTo>
                  <a:lnTo>
                    <a:pt x="616" y="68"/>
                  </a:lnTo>
                  <a:lnTo>
                    <a:pt x="611" y="72"/>
                  </a:lnTo>
                  <a:lnTo>
                    <a:pt x="611" y="72"/>
                  </a:lnTo>
                  <a:lnTo>
                    <a:pt x="609" y="72"/>
                  </a:lnTo>
                  <a:lnTo>
                    <a:pt x="609" y="72"/>
                  </a:lnTo>
                  <a:lnTo>
                    <a:pt x="606" y="72"/>
                  </a:lnTo>
                  <a:lnTo>
                    <a:pt x="606" y="72"/>
                  </a:lnTo>
                  <a:lnTo>
                    <a:pt x="601" y="72"/>
                  </a:lnTo>
                  <a:lnTo>
                    <a:pt x="601" y="72"/>
                  </a:lnTo>
                  <a:lnTo>
                    <a:pt x="596" y="70"/>
                  </a:lnTo>
                  <a:lnTo>
                    <a:pt x="596" y="70"/>
                  </a:lnTo>
                  <a:lnTo>
                    <a:pt x="590" y="68"/>
                  </a:lnTo>
                  <a:lnTo>
                    <a:pt x="590" y="68"/>
                  </a:lnTo>
                  <a:lnTo>
                    <a:pt x="585" y="67"/>
                  </a:lnTo>
                  <a:lnTo>
                    <a:pt x="585" y="67"/>
                  </a:lnTo>
                  <a:lnTo>
                    <a:pt x="584" y="67"/>
                  </a:lnTo>
                  <a:lnTo>
                    <a:pt x="584" y="67"/>
                  </a:lnTo>
                  <a:lnTo>
                    <a:pt x="584" y="68"/>
                  </a:lnTo>
                  <a:lnTo>
                    <a:pt x="584" y="68"/>
                  </a:lnTo>
                  <a:lnTo>
                    <a:pt x="585" y="72"/>
                  </a:lnTo>
                  <a:lnTo>
                    <a:pt x="585" y="72"/>
                  </a:lnTo>
                  <a:lnTo>
                    <a:pt x="589" y="75"/>
                  </a:lnTo>
                  <a:lnTo>
                    <a:pt x="589" y="75"/>
                  </a:lnTo>
                  <a:lnTo>
                    <a:pt x="589" y="76"/>
                  </a:lnTo>
                  <a:lnTo>
                    <a:pt x="589" y="76"/>
                  </a:lnTo>
                  <a:lnTo>
                    <a:pt x="589" y="78"/>
                  </a:lnTo>
                  <a:lnTo>
                    <a:pt x="589" y="78"/>
                  </a:lnTo>
                  <a:lnTo>
                    <a:pt x="587" y="78"/>
                  </a:lnTo>
                  <a:lnTo>
                    <a:pt x="587" y="78"/>
                  </a:lnTo>
                  <a:lnTo>
                    <a:pt x="585" y="78"/>
                  </a:lnTo>
                  <a:lnTo>
                    <a:pt x="585" y="78"/>
                  </a:lnTo>
                  <a:lnTo>
                    <a:pt x="574" y="76"/>
                  </a:lnTo>
                  <a:lnTo>
                    <a:pt x="574" y="76"/>
                  </a:lnTo>
                  <a:lnTo>
                    <a:pt x="568" y="75"/>
                  </a:lnTo>
                  <a:lnTo>
                    <a:pt x="568" y="75"/>
                  </a:lnTo>
                  <a:lnTo>
                    <a:pt x="562" y="72"/>
                  </a:lnTo>
                  <a:lnTo>
                    <a:pt x="562" y="72"/>
                  </a:lnTo>
                  <a:lnTo>
                    <a:pt x="558" y="70"/>
                  </a:lnTo>
                  <a:lnTo>
                    <a:pt x="558" y="70"/>
                  </a:lnTo>
                  <a:lnTo>
                    <a:pt x="555" y="70"/>
                  </a:lnTo>
                  <a:lnTo>
                    <a:pt x="555" y="70"/>
                  </a:lnTo>
                  <a:lnTo>
                    <a:pt x="555" y="70"/>
                  </a:lnTo>
                  <a:lnTo>
                    <a:pt x="555" y="70"/>
                  </a:lnTo>
                  <a:lnTo>
                    <a:pt x="554" y="68"/>
                  </a:lnTo>
                  <a:lnTo>
                    <a:pt x="554" y="68"/>
                  </a:lnTo>
                  <a:lnTo>
                    <a:pt x="555" y="68"/>
                  </a:lnTo>
                  <a:lnTo>
                    <a:pt x="555" y="68"/>
                  </a:lnTo>
                  <a:lnTo>
                    <a:pt x="558" y="68"/>
                  </a:lnTo>
                  <a:lnTo>
                    <a:pt x="558" y="68"/>
                  </a:lnTo>
                  <a:lnTo>
                    <a:pt x="550" y="65"/>
                  </a:lnTo>
                  <a:lnTo>
                    <a:pt x="550" y="65"/>
                  </a:lnTo>
                  <a:lnTo>
                    <a:pt x="554" y="67"/>
                  </a:lnTo>
                  <a:lnTo>
                    <a:pt x="554" y="67"/>
                  </a:lnTo>
                  <a:lnTo>
                    <a:pt x="552" y="67"/>
                  </a:lnTo>
                  <a:lnTo>
                    <a:pt x="552" y="67"/>
                  </a:lnTo>
                  <a:lnTo>
                    <a:pt x="547" y="67"/>
                  </a:lnTo>
                  <a:lnTo>
                    <a:pt x="547" y="67"/>
                  </a:lnTo>
                  <a:lnTo>
                    <a:pt x="539" y="62"/>
                  </a:lnTo>
                  <a:lnTo>
                    <a:pt x="539" y="62"/>
                  </a:lnTo>
                  <a:lnTo>
                    <a:pt x="546" y="64"/>
                  </a:lnTo>
                  <a:lnTo>
                    <a:pt x="546" y="64"/>
                  </a:lnTo>
                  <a:lnTo>
                    <a:pt x="549" y="64"/>
                  </a:lnTo>
                  <a:lnTo>
                    <a:pt x="549" y="64"/>
                  </a:lnTo>
                  <a:lnTo>
                    <a:pt x="552" y="64"/>
                  </a:lnTo>
                  <a:lnTo>
                    <a:pt x="552" y="64"/>
                  </a:lnTo>
                  <a:lnTo>
                    <a:pt x="550" y="62"/>
                  </a:lnTo>
                  <a:lnTo>
                    <a:pt x="550" y="62"/>
                  </a:lnTo>
                  <a:lnTo>
                    <a:pt x="552" y="62"/>
                  </a:lnTo>
                  <a:lnTo>
                    <a:pt x="552" y="62"/>
                  </a:lnTo>
                  <a:lnTo>
                    <a:pt x="544" y="59"/>
                  </a:lnTo>
                  <a:lnTo>
                    <a:pt x="544" y="59"/>
                  </a:lnTo>
                  <a:lnTo>
                    <a:pt x="541" y="59"/>
                  </a:lnTo>
                  <a:lnTo>
                    <a:pt x="541" y="59"/>
                  </a:lnTo>
                  <a:lnTo>
                    <a:pt x="536" y="57"/>
                  </a:lnTo>
                  <a:lnTo>
                    <a:pt x="536" y="57"/>
                  </a:lnTo>
                  <a:lnTo>
                    <a:pt x="539" y="57"/>
                  </a:lnTo>
                  <a:lnTo>
                    <a:pt x="539" y="57"/>
                  </a:lnTo>
                  <a:lnTo>
                    <a:pt x="541" y="57"/>
                  </a:lnTo>
                  <a:lnTo>
                    <a:pt x="541" y="57"/>
                  </a:lnTo>
                  <a:lnTo>
                    <a:pt x="539" y="56"/>
                  </a:lnTo>
                  <a:lnTo>
                    <a:pt x="539" y="56"/>
                  </a:lnTo>
                  <a:lnTo>
                    <a:pt x="536" y="56"/>
                  </a:lnTo>
                  <a:lnTo>
                    <a:pt x="536" y="56"/>
                  </a:lnTo>
                  <a:lnTo>
                    <a:pt x="541" y="56"/>
                  </a:lnTo>
                  <a:lnTo>
                    <a:pt x="541" y="56"/>
                  </a:lnTo>
                  <a:lnTo>
                    <a:pt x="533" y="56"/>
                  </a:lnTo>
                  <a:lnTo>
                    <a:pt x="533" y="56"/>
                  </a:lnTo>
                  <a:lnTo>
                    <a:pt x="535" y="54"/>
                  </a:lnTo>
                  <a:lnTo>
                    <a:pt x="535" y="54"/>
                  </a:lnTo>
                  <a:lnTo>
                    <a:pt x="535" y="53"/>
                  </a:lnTo>
                  <a:lnTo>
                    <a:pt x="535" y="53"/>
                  </a:lnTo>
                  <a:lnTo>
                    <a:pt x="533" y="53"/>
                  </a:lnTo>
                  <a:lnTo>
                    <a:pt x="533" y="53"/>
                  </a:lnTo>
                  <a:lnTo>
                    <a:pt x="533" y="51"/>
                  </a:lnTo>
                  <a:lnTo>
                    <a:pt x="533" y="51"/>
                  </a:lnTo>
                  <a:lnTo>
                    <a:pt x="523" y="49"/>
                  </a:lnTo>
                  <a:lnTo>
                    <a:pt x="523" y="49"/>
                  </a:lnTo>
                  <a:lnTo>
                    <a:pt x="520" y="48"/>
                  </a:lnTo>
                  <a:lnTo>
                    <a:pt x="520" y="48"/>
                  </a:lnTo>
                  <a:lnTo>
                    <a:pt x="516" y="48"/>
                  </a:lnTo>
                  <a:lnTo>
                    <a:pt x="516" y="48"/>
                  </a:lnTo>
                  <a:lnTo>
                    <a:pt x="511" y="48"/>
                  </a:lnTo>
                  <a:lnTo>
                    <a:pt x="511" y="48"/>
                  </a:lnTo>
                  <a:lnTo>
                    <a:pt x="512" y="49"/>
                  </a:lnTo>
                  <a:lnTo>
                    <a:pt x="512" y="49"/>
                  </a:lnTo>
                  <a:lnTo>
                    <a:pt x="509" y="49"/>
                  </a:lnTo>
                  <a:lnTo>
                    <a:pt x="509" y="49"/>
                  </a:lnTo>
                  <a:lnTo>
                    <a:pt x="506" y="49"/>
                  </a:lnTo>
                  <a:lnTo>
                    <a:pt x="506" y="49"/>
                  </a:lnTo>
                  <a:lnTo>
                    <a:pt x="506" y="48"/>
                  </a:lnTo>
                  <a:lnTo>
                    <a:pt x="506" y="48"/>
                  </a:lnTo>
                  <a:lnTo>
                    <a:pt x="503" y="48"/>
                  </a:lnTo>
                  <a:lnTo>
                    <a:pt x="503" y="48"/>
                  </a:lnTo>
                  <a:lnTo>
                    <a:pt x="500" y="49"/>
                  </a:lnTo>
                  <a:lnTo>
                    <a:pt x="500" y="49"/>
                  </a:lnTo>
                  <a:lnTo>
                    <a:pt x="500" y="48"/>
                  </a:lnTo>
                  <a:lnTo>
                    <a:pt x="500" y="48"/>
                  </a:lnTo>
                  <a:lnTo>
                    <a:pt x="496" y="46"/>
                  </a:lnTo>
                  <a:lnTo>
                    <a:pt x="496" y="46"/>
                  </a:lnTo>
                  <a:lnTo>
                    <a:pt x="489" y="45"/>
                  </a:lnTo>
                  <a:lnTo>
                    <a:pt x="489" y="45"/>
                  </a:lnTo>
                  <a:lnTo>
                    <a:pt x="484" y="45"/>
                  </a:lnTo>
                  <a:lnTo>
                    <a:pt x="484" y="45"/>
                  </a:lnTo>
                  <a:lnTo>
                    <a:pt x="481" y="45"/>
                  </a:lnTo>
                  <a:lnTo>
                    <a:pt x="481" y="45"/>
                  </a:lnTo>
                  <a:lnTo>
                    <a:pt x="482" y="46"/>
                  </a:lnTo>
                  <a:lnTo>
                    <a:pt x="482" y="46"/>
                  </a:lnTo>
                  <a:lnTo>
                    <a:pt x="481" y="46"/>
                  </a:lnTo>
                  <a:lnTo>
                    <a:pt x="481" y="46"/>
                  </a:lnTo>
                  <a:lnTo>
                    <a:pt x="479" y="45"/>
                  </a:lnTo>
                  <a:lnTo>
                    <a:pt x="479" y="45"/>
                  </a:lnTo>
                  <a:lnTo>
                    <a:pt x="479" y="48"/>
                  </a:lnTo>
                  <a:lnTo>
                    <a:pt x="479" y="48"/>
                  </a:lnTo>
                  <a:lnTo>
                    <a:pt x="481" y="49"/>
                  </a:lnTo>
                  <a:lnTo>
                    <a:pt x="481" y="49"/>
                  </a:lnTo>
                  <a:lnTo>
                    <a:pt x="485" y="51"/>
                  </a:lnTo>
                  <a:lnTo>
                    <a:pt x="485" y="51"/>
                  </a:lnTo>
                  <a:lnTo>
                    <a:pt x="485" y="53"/>
                  </a:lnTo>
                  <a:lnTo>
                    <a:pt x="485" y="53"/>
                  </a:lnTo>
                  <a:lnTo>
                    <a:pt x="485" y="54"/>
                  </a:lnTo>
                  <a:lnTo>
                    <a:pt x="485" y="54"/>
                  </a:lnTo>
                  <a:lnTo>
                    <a:pt x="479" y="54"/>
                  </a:lnTo>
                  <a:lnTo>
                    <a:pt x="479" y="54"/>
                  </a:lnTo>
                  <a:lnTo>
                    <a:pt x="465" y="54"/>
                  </a:lnTo>
                  <a:lnTo>
                    <a:pt x="465" y="54"/>
                  </a:lnTo>
                  <a:lnTo>
                    <a:pt x="449" y="53"/>
                  </a:lnTo>
                  <a:lnTo>
                    <a:pt x="449" y="53"/>
                  </a:lnTo>
                  <a:lnTo>
                    <a:pt x="442" y="53"/>
                  </a:lnTo>
                  <a:lnTo>
                    <a:pt x="442" y="53"/>
                  </a:lnTo>
                  <a:lnTo>
                    <a:pt x="439" y="51"/>
                  </a:lnTo>
                  <a:lnTo>
                    <a:pt x="439" y="51"/>
                  </a:lnTo>
                  <a:lnTo>
                    <a:pt x="436" y="49"/>
                  </a:lnTo>
                  <a:lnTo>
                    <a:pt x="436" y="49"/>
                  </a:lnTo>
                  <a:lnTo>
                    <a:pt x="439" y="48"/>
                  </a:lnTo>
                  <a:lnTo>
                    <a:pt x="439" y="48"/>
                  </a:lnTo>
                  <a:lnTo>
                    <a:pt x="442" y="48"/>
                  </a:lnTo>
                  <a:lnTo>
                    <a:pt x="442" y="48"/>
                  </a:lnTo>
                  <a:lnTo>
                    <a:pt x="436" y="46"/>
                  </a:lnTo>
                  <a:lnTo>
                    <a:pt x="436" y="46"/>
                  </a:lnTo>
                  <a:lnTo>
                    <a:pt x="433" y="46"/>
                  </a:lnTo>
                  <a:lnTo>
                    <a:pt x="433" y="46"/>
                  </a:lnTo>
                  <a:lnTo>
                    <a:pt x="423" y="46"/>
                  </a:lnTo>
                  <a:lnTo>
                    <a:pt x="423" y="46"/>
                  </a:lnTo>
                  <a:lnTo>
                    <a:pt x="408" y="46"/>
                  </a:lnTo>
                  <a:lnTo>
                    <a:pt x="408" y="46"/>
                  </a:lnTo>
                  <a:lnTo>
                    <a:pt x="393" y="48"/>
                  </a:lnTo>
                  <a:lnTo>
                    <a:pt x="393" y="48"/>
                  </a:lnTo>
                  <a:lnTo>
                    <a:pt x="396" y="49"/>
                  </a:lnTo>
                  <a:lnTo>
                    <a:pt x="396" y="49"/>
                  </a:lnTo>
                  <a:lnTo>
                    <a:pt x="393" y="49"/>
                  </a:lnTo>
                  <a:lnTo>
                    <a:pt x="393" y="49"/>
                  </a:lnTo>
                  <a:lnTo>
                    <a:pt x="392" y="48"/>
                  </a:lnTo>
                  <a:lnTo>
                    <a:pt x="392" y="48"/>
                  </a:lnTo>
                  <a:lnTo>
                    <a:pt x="392" y="46"/>
                  </a:lnTo>
                  <a:lnTo>
                    <a:pt x="392" y="46"/>
                  </a:lnTo>
                  <a:lnTo>
                    <a:pt x="387" y="45"/>
                  </a:lnTo>
                  <a:lnTo>
                    <a:pt x="387" y="45"/>
                  </a:lnTo>
                  <a:lnTo>
                    <a:pt x="382" y="41"/>
                  </a:lnTo>
                  <a:lnTo>
                    <a:pt x="382" y="41"/>
                  </a:lnTo>
                  <a:lnTo>
                    <a:pt x="385" y="45"/>
                  </a:lnTo>
                  <a:lnTo>
                    <a:pt x="385" y="45"/>
                  </a:lnTo>
                  <a:lnTo>
                    <a:pt x="384" y="46"/>
                  </a:lnTo>
                  <a:lnTo>
                    <a:pt x="384" y="46"/>
                  </a:lnTo>
                  <a:lnTo>
                    <a:pt x="381" y="46"/>
                  </a:lnTo>
                  <a:lnTo>
                    <a:pt x="381" y="46"/>
                  </a:lnTo>
                  <a:lnTo>
                    <a:pt x="376" y="46"/>
                  </a:lnTo>
                  <a:lnTo>
                    <a:pt x="376" y="46"/>
                  </a:lnTo>
                  <a:lnTo>
                    <a:pt x="373" y="43"/>
                  </a:lnTo>
                  <a:lnTo>
                    <a:pt x="373" y="43"/>
                  </a:lnTo>
                  <a:lnTo>
                    <a:pt x="369" y="43"/>
                  </a:lnTo>
                  <a:lnTo>
                    <a:pt x="369" y="43"/>
                  </a:lnTo>
                  <a:lnTo>
                    <a:pt x="371" y="41"/>
                  </a:lnTo>
                  <a:lnTo>
                    <a:pt x="371" y="41"/>
                  </a:lnTo>
                  <a:lnTo>
                    <a:pt x="369" y="41"/>
                  </a:lnTo>
                  <a:lnTo>
                    <a:pt x="369" y="41"/>
                  </a:lnTo>
                  <a:lnTo>
                    <a:pt x="368" y="41"/>
                  </a:lnTo>
                  <a:lnTo>
                    <a:pt x="368" y="41"/>
                  </a:lnTo>
                  <a:lnTo>
                    <a:pt x="368" y="43"/>
                  </a:lnTo>
                  <a:lnTo>
                    <a:pt x="368" y="43"/>
                  </a:lnTo>
                  <a:lnTo>
                    <a:pt x="366" y="43"/>
                  </a:lnTo>
                  <a:lnTo>
                    <a:pt x="366" y="43"/>
                  </a:lnTo>
                  <a:lnTo>
                    <a:pt x="363" y="41"/>
                  </a:lnTo>
                  <a:lnTo>
                    <a:pt x="363" y="41"/>
                  </a:lnTo>
                  <a:lnTo>
                    <a:pt x="360" y="41"/>
                  </a:lnTo>
                  <a:lnTo>
                    <a:pt x="360" y="41"/>
                  </a:lnTo>
                  <a:lnTo>
                    <a:pt x="357" y="41"/>
                  </a:lnTo>
                  <a:lnTo>
                    <a:pt x="357" y="41"/>
                  </a:lnTo>
                  <a:lnTo>
                    <a:pt x="357" y="43"/>
                  </a:lnTo>
                  <a:lnTo>
                    <a:pt x="357" y="43"/>
                  </a:lnTo>
                  <a:lnTo>
                    <a:pt x="355" y="45"/>
                  </a:lnTo>
                  <a:lnTo>
                    <a:pt x="355" y="45"/>
                  </a:lnTo>
                  <a:lnTo>
                    <a:pt x="357" y="45"/>
                  </a:lnTo>
                  <a:lnTo>
                    <a:pt x="357" y="45"/>
                  </a:lnTo>
                  <a:lnTo>
                    <a:pt x="358" y="46"/>
                  </a:lnTo>
                  <a:lnTo>
                    <a:pt x="358" y="46"/>
                  </a:lnTo>
                  <a:lnTo>
                    <a:pt x="362" y="45"/>
                  </a:lnTo>
                  <a:lnTo>
                    <a:pt x="362" y="45"/>
                  </a:lnTo>
                  <a:lnTo>
                    <a:pt x="366" y="45"/>
                  </a:lnTo>
                  <a:lnTo>
                    <a:pt x="366" y="45"/>
                  </a:lnTo>
                  <a:lnTo>
                    <a:pt x="369" y="46"/>
                  </a:lnTo>
                  <a:lnTo>
                    <a:pt x="369" y="46"/>
                  </a:lnTo>
                  <a:lnTo>
                    <a:pt x="363" y="48"/>
                  </a:lnTo>
                  <a:lnTo>
                    <a:pt x="363" y="48"/>
                  </a:lnTo>
                  <a:lnTo>
                    <a:pt x="355" y="48"/>
                  </a:lnTo>
                  <a:lnTo>
                    <a:pt x="355" y="48"/>
                  </a:lnTo>
                  <a:lnTo>
                    <a:pt x="358" y="49"/>
                  </a:lnTo>
                  <a:lnTo>
                    <a:pt x="358" y="49"/>
                  </a:lnTo>
                  <a:lnTo>
                    <a:pt x="355" y="49"/>
                  </a:lnTo>
                  <a:lnTo>
                    <a:pt x="355" y="49"/>
                  </a:lnTo>
                  <a:lnTo>
                    <a:pt x="354" y="49"/>
                  </a:lnTo>
                  <a:lnTo>
                    <a:pt x="354" y="49"/>
                  </a:lnTo>
                  <a:lnTo>
                    <a:pt x="349" y="51"/>
                  </a:lnTo>
                  <a:lnTo>
                    <a:pt x="349" y="51"/>
                  </a:lnTo>
                  <a:lnTo>
                    <a:pt x="346" y="53"/>
                  </a:lnTo>
                  <a:lnTo>
                    <a:pt x="346" y="53"/>
                  </a:lnTo>
                  <a:lnTo>
                    <a:pt x="339" y="53"/>
                  </a:lnTo>
                  <a:lnTo>
                    <a:pt x="339" y="53"/>
                  </a:lnTo>
                  <a:lnTo>
                    <a:pt x="335" y="51"/>
                  </a:lnTo>
                  <a:lnTo>
                    <a:pt x="335" y="51"/>
                  </a:lnTo>
                  <a:lnTo>
                    <a:pt x="336" y="49"/>
                  </a:lnTo>
                  <a:lnTo>
                    <a:pt x="336" y="49"/>
                  </a:lnTo>
                  <a:lnTo>
                    <a:pt x="338" y="48"/>
                  </a:lnTo>
                  <a:lnTo>
                    <a:pt x="338" y="48"/>
                  </a:lnTo>
                  <a:lnTo>
                    <a:pt x="339" y="46"/>
                  </a:lnTo>
                  <a:lnTo>
                    <a:pt x="339" y="46"/>
                  </a:lnTo>
                  <a:lnTo>
                    <a:pt x="346" y="46"/>
                  </a:lnTo>
                  <a:lnTo>
                    <a:pt x="346" y="46"/>
                  </a:lnTo>
                  <a:lnTo>
                    <a:pt x="346" y="45"/>
                  </a:lnTo>
                  <a:lnTo>
                    <a:pt x="346" y="45"/>
                  </a:lnTo>
                  <a:lnTo>
                    <a:pt x="346" y="43"/>
                  </a:lnTo>
                  <a:lnTo>
                    <a:pt x="346" y="43"/>
                  </a:lnTo>
                  <a:lnTo>
                    <a:pt x="352" y="41"/>
                  </a:lnTo>
                  <a:lnTo>
                    <a:pt x="352" y="41"/>
                  </a:lnTo>
                  <a:lnTo>
                    <a:pt x="352" y="40"/>
                  </a:lnTo>
                  <a:lnTo>
                    <a:pt x="352" y="40"/>
                  </a:lnTo>
                  <a:lnTo>
                    <a:pt x="354" y="38"/>
                  </a:lnTo>
                  <a:lnTo>
                    <a:pt x="354" y="38"/>
                  </a:lnTo>
                  <a:lnTo>
                    <a:pt x="349" y="38"/>
                  </a:lnTo>
                  <a:lnTo>
                    <a:pt x="349" y="38"/>
                  </a:lnTo>
                  <a:lnTo>
                    <a:pt x="355" y="37"/>
                  </a:lnTo>
                  <a:lnTo>
                    <a:pt x="355" y="37"/>
                  </a:lnTo>
                  <a:lnTo>
                    <a:pt x="354" y="37"/>
                  </a:lnTo>
                  <a:lnTo>
                    <a:pt x="354" y="37"/>
                  </a:lnTo>
                  <a:lnTo>
                    <a:pt x="360" y="33"/>
                  </a:lnTo>
                  <a:lnTo>
                    <a:pt x="360" y="33"/>
                  </a:lnTo>
                  <a:lnTo>
                    <a:pt x="363" y="33"/>
                  </a:lnTo>
                  <a:lnTo>
                    <a:pt x="363" y="33"/>
                  </a:lnTo>
                  <a:lnTo>
                    <a:pt x="365" y="33"/>
                  </a:lnTo>
                  <a:lnTo>
                    <a:pt x="365" y="33"/>
                  </a:lnTo>
                  <a:lnTo>
                    <a:pt x="365" y="32"/>
                  </a:lnTo>
                  <a:lnTo>
                    <a:pt x="365" y="32"/>
                  </a:lnTo>
                  <a:lnTo>
                    <a:pt x="366" y="32"/>
                  </a:lnTo>
                  <a:lnTo>
                    <a:pt x="366" y="32"/>
                  </a:lnTo>
                  <a:lnTo>
                    <a:pt x="368" y="32"/>
                  </a:lnTo>
                  <a:lnTo>
                    <a:pt x="368" y="32"/>
                  </a:lnTo>
                  <a:lnTo>
                    <a:pt x="369" y="32"/>
                  </a:lnTo>
                  <a:lnTo>
                    <a:pt x="369" y="32"/>
                  </a:lnTo>
                  <a:lnTo>
                    <a:pt x="373" y="29"/>
                  </a:lnTo>
                  <a:lnTo>
                    <a:pt x="373" y="29"/>
                  </a:lnTo>
                  <a:lnTo>
                    <a:pt x="373" y="26"/>
                  </a:lnTo>
                  <a:lnTo>
                    <a:pt x="373" y="26"/>
                  </a:lnTo>
                  <a:lnTo>
                    <a:pt x="371" y="26"/>
                  </a:lnTo>
                  <a:lnTo>
                    <a:pt x="371" y="26"/>
                  </a:lnTo>
                  <a:lnTo>
                    <a:pt x="366" y="22"/>
                  </a:lnTo>
                  <a:lnTo>
                    <a:pt x="366" y="22"/>
                  </a:lnTo>
                  <a:lnTo>
                    <a:pt x="363" y="22"/>
                  </a:lnTo>
                  <a:lnTo>
                    <a:pt x="363" y="22"/>
                  </a:lnTo>
                  <a:lnTo>
                    <a:pt x="362" y="22"/>
                  </a:lnTo>
                  <a:lnTo>
                    <a:pt x="362" y="22"/>
                  </a:lnTo>
                  <a:lnTo>
                    <a:pt x="358" y="22"/>
                  </a:lnTo>
                  <a:lnTo>
                    <a:pt x="358" y="22"/>
                  </a:lnTo>
                  <a:lnTo>
                    <a:pt x="362" y="22"/>
                  </a:lnTo>
                  <a:lnTo>
                    <a:pt x="362" y="22"/>
                  </a:lnTo>
                  <a:lnTo>
                    <a:pt x="369" y="22"/>
                  </a:lnTo>
                  <a:lnTo>
                    <a:pt x="369" y="22"/>
                  </a:lnTo>
                  <a:lnTo>
                    <a:pt x="368" y="22"/>
                  </a:lnTo>
                  <a:lnTo>
                    <a:pt x="368" y="22"/>
                  </a:lnTo>
                  <a:lnTo>
                    <a:pt x="366" y="21"/>
                  </a:lnTo>
                  <a:lnTo>
                    <a:pt x="366" y="21"/>
                  </a:lnTo>
                  <a:lnTo>
                    <a:pt x="363" y="21"/>
                  </a:lnTo>
                  <a:lnTo>
                    <a:pt x="363" y="21"/>
                  </a:lnTo>
                  <a:lnTo>
                    <a:pt x="358" y="18"/>
                  </a:lnTo>
                  <a:lnTo>
                    <a:pt x="358" y="18"/>
                  </a:lnTo>
                  <a:lnTo>
                    <a:pt x="357" y="18"/>
                  </a:lnTo>
                  <a:lnTo>
                    <a:pt x="357" y="18"/>
                  </a:lnTo>
                  <a:lnTo>
                    <a:pt x="355" y="19"/>
                  </a:lnTo>
                  <a:lnTo>
                    <a:pt x="355" y="19"/>
                  </a:lnTo>
                  <a:lnTo>
                    <a:pt x="352" y="18"/>
                  </a:lnTo>
                  <a:lnTo>
                    <a:pt x="352" y="18"/>
                  </a:lnTo>
                  <a:lnTo>
                    <a:pt x="352" y="16"/>
                  </a:lnTo>
                  <a:lnTo>
                    <a:pt x="352" y="16"/>
                  </a:lnTo>
                  <a:lnTo>
                    <a:pt x="349" y="14"/>
                  </a:lnTo>
                  <a:lnTo>
                    <a:pt x="349" y="14"/>
                  </a:lnTo>
                  <a:lnTo>
                    <a:pt x="346" y="14"/>
                  </a:lnTo>
                  <a:lnTo>
                    <a:pt x="346" y="14"/>
                  </a:lnTo>
                  <a:lnTo>
                    <a:pt x="346" y="16"/>
                  </a:lnTo>
                  <a:lnTo>
                    <a:pt x="346" y="16"/>
                  </a:lnTo>
                  <a:lnTo>
                    <a:pt x="342" y="14"/>
                  </a:lnTo>
                  <a:lnTo>
                    <a:pt x="342" y="14"/>
                  </a:lnTo>
                  <a:lnTo>
                    <a:pt x="342" y="13"/>
                  </a:lnTo>
                  <a:lnTo>
                    <a:pt x="342" y="13"/>
                  </a:lnTo>
                  <a:lnTo>
                    <a:pt x="338" y="11"/>
                  </a:lnTo>
                  <a:lnTo>
                    <a:pt x="338" y="11"/>
                  </a:lnTo>
                  <a:lnTo>
                    <a:pt x="328" y="11"/>
                  </a:lnTo>
                  <a:lnTo>
                    <a:pt x="328" y="11"/>
                  </a:lnTo>
                  <a:lnTo>
                    <a:pt x="317" y="11"/>
                  </a:lnTo>
                  <a:lnTo>
                    <a:pt x="317" y="11"/>
                  </a:lnTo>
                  <a:lnTo>
                    <a:pt x="308" y="11"/>
                  </a:lnTo>
                  <a:lnTo>
                    <a:pt x="308" y="11"/>
                  </a:lnTo>
                  <a:lnTo>
                    <a:pt x="308" y="13"/>
                  </a:lnTo>
                  <a:lnTo>
                    <a:pt x="308" y="13"/>
                  </a:lnTo>
                  <a:lnTo>
                    <a:pt x="304" y="14"/>
                  </a:lnTo>
                  <a:lnTo>
                    <a:pt x="304" y="14"/>
                  </a:lnTo>
                  <a:lnTo>
                    <a:pt x="300" y="14"/>
                  </a:lnTo>
                  <a:lnTo>
                    <a:pt x="300" y="14"/>
                  </a:lnTo>
                  <a:lnTo>
                    <a:pt x="295" y="14"/>
                  </a:lnTo>
                  <a:lnTo>
                    <a:pt x="295" y="14"/>
                  </a:lnTo>
                  <a:lnTo>
                    <a:pt x="296" y="13"/>
                  </a:lnTo>
                  <a:lnTo>
                    <a:pt x="296" y="13"/>
                  </a:lnTo>
                  <a:lnTo>
                    <a:pt x="298" y="11"/>
                  </a:lnTo>
                  <a:lnTo>
                    <a:pt x="298" y="11"/>
                  </a:lnTo>
                  <a:lnTo>
                    <a:pt x="298" y="10"/>
                  </a:lnTo>
                  <a:lnTo>
                    <a:pt x="298" y="10"/>
                  </a:lnTo>
                  <a:lnTo>
                    <a:pt x="296" y="8"/>
                  </a:lnTo>
                  <a:lnTo>
                    <a:pt x="296" y="8"/>
                  </a:lnTo>
                  <a:lnTo>
                    <a:pt x="288" y="8"/>
                  </a:lnTo>
                  <a:lnTo>
                    <a:pt x="288" y="8"/>
                  </a:lnTo>
                  <a:lnTo>
                    <a:pt x="282" y="10"/>
                  </a:lnTo>
                  <a:lnTo>
                    <a:pt x="282" y="10"/>
                  </a:lnTo>
                  <a:lnTo>
                    <a:pt x="282" y="8"/>
                  </a:lnTo>
                  <a:lnTo>
                    <a:pt x="282" y="8"/>
                  </a:lnTo>
                  <a:lnTo>
                    <a:pt x="282" y="7"/>
                  </a:lnTo>
                  <a:lnTo>
                    <a:pt x="282" y="7"/>
                  </a:lnTo>
                  <a:lnTo>
                    <a:pt x="269" y="8"/>
                  </a:lnTo>
                  <a:lnTo>
                    <a:pt x="269" y="8"/>
                  </a:lnTo>
                  <a:lnTo>
                    <a:pt x="276" y="7"/>
                  </a:lnTo>
                  <a:lnTo>
                    <a:pt x="276" y="7"/>
                  </a:lnTo>
                  <a:lnTo>
                    <a:pt x="279" y="5"/>
                  </a:lnTo>
                  <a:lnTo>
                    <a:pt x="279" y="5"/>
                  </a:lnTo>
                  <a:lnTo>
                    <a:pt x="282" y="5"/>
                  </a:lnTo>
                  <a:lnTo>
                    <a:pt x="282" y="5"/>
                  </a:lnTo>
                  <a:lnTo>
                    <a:pt x="279" y="3"/>
                  </a:lnTo>
                  <a:lnTo>
                    <a:pt x="279" y="3"/>
                  </a:lnTo>
                  <a:lnTo>
                    <a:pt x="273" y="2"/>
                  </a:lnTo>
                  <a:lnTo>
                    <a:pt x="273" y="2"/>
                  </a:lnTo>
                  <a:lnTo>
                    <a:pt x="263" y="0"/>
                  </a:lnTo>
                  <a:lnTo>
                    <a:pt x="263" y="0"/>
                  </a:lnTo>
                  <a:lnTo>
                    <a:pt x="258" y="0"/>
                  </a:lnTo>
                  <a:lnTo>
                    <a:pt x="258" y="0"/>
                  </a:lnTo>
                  <a:lnTo>
                    <a:pt x="254" y="2"/>
                  </a:lnTo>
                  <a:lnTo>
                    <a:pt x="254" y="2"/>
                  </a:lnTo>
                  <a:lnTo>
                    <a:pt x="250" y="3"/>
                  </a:lnTo>
                  <a:lnTo>
                    <a:pt x="250" y="3"/>
                  </a:lnTo>
                  <a:lnTo>
                    <a:pt x="247" y="5"/>
                  </a:lnTo>
                  <a:lnTo>
                    <a:pt x="247" y="5"/>
                  </a:lnTo>
                  <a:lnTo>
                    <a:pt x="249" y="5"/>
                  </a:lnTo>
                  <a:lnTo>
                    <a:pt x="249" y="5"/>
                  </a:lnTo>
                  <a:lnTo>
                    <a:pt x="244" y="8"/>
                  </a:lnTo>
                  <a:lnTo>
                    <a:pt x="244" y="8"/>
                  </a:lnTo>
                  <a:lnTo>
                    <a:pt x="244" y="10"/>
                  </a:lnTo>
                  <a:lnTo>
                    <a:pt x="244" y="10"/>
                  </a:lnTo>
                  <a:lnTo>
                    <a:pt x="247" y="11"/>
                  </a:lnTo>
                  <a:lnTo>
                    <a:pt x="247" y="11"/>
                  </a:lnTo>
                  <a:lnTo>
                    <a:pt x="249" y="11"/>
                  </a:lnTo>
                  <a:lnTo>
                    <a:pt x="249" y="11"/>
                  </a:lnTo>
                  <a:lnTo>
                    <a:pt x="249" y="13"/>
                  </a:lnTo>
                  <a:lnTo>
                    <a:pt x="249" y="13"/>
                  </a:lnTo>
                  <a:lnTo>
                    <a:pt x="255" y="14"/>
                  </a:lnTo>
                  <a:lnTo>
                    <a:pt x="255" y="14"/>
                  </a:lnTo>
                  <a:lnTo>
                    <a:pt x="263" y="16"/>
                  </a:lnTo>
                  <a:lnTo>
                    <a:pt x="263" y="16"/>
                  </a:lnTo>
                  <a:lnTo>
                    <a:pt x="254" y="14"/>
                  </a:lnTo>
                  <a:lnTo>
                    <a:pt x="254" y="14"/>
                  </a:lnTo>
                  <a:lnTo>
                    <a:pt x="249" y="14"/>
                  </a:lnTo>
                  <a:lnTo>
                    <a:pt x="249" y="14"/>
                  </a:lnTo>
                  <a:lnTo>
                    <a:pt x="241" y="14"/>
                  </a:lnTo>
                  <a:lnTo>
                    <a:pt x="241" y="14"/>
                  </a:lnTo>
                  <a:lnTo>
                    <a:pt x="234" y="14"/>
                  </a:lnTo>
                  <a:lnTo>
                    <a:pt x="234" y="14"/>
                  </a:lnTo>
                  <a:lnTo>
                    <a:pt x="236" y="16"/>
                  </a:lnTo>
                  <a:lnTo>
                    <a:pt x="236" y="16"/>
                  </a:lnTo>
                  <a:lnTo>
                    <a:pt x="241" y="16"/>
                  </a:lnTo>
                  <a:lnTo>
                    <a:pt x="241" y="16"/>
                  </a:lnTo>
                  <a:lnTo>
                    <a:pt x="244" y="18"/>
                  </a:lnTo>
                  <a:lnTo>
                    <a:pt x="244" y="18"/>
                  </a:lnTo>
                  <a:lnTo>
                    <a:pt x="247" y="19"/>
                  </a:lnTo>
                  <a:lnTo>
                    <a:pt x="247" y="19"/>
                  </a:lnTo>
                  <a:lnTo>
                    <a:pt x="238" y="18"/>
                  </a:lnTo>
                  <a:lnTo>
                    <a:pt x="238" y="18"/>
                  </a:lnTo>
                  <a:lnTo>
                    <a:pt x="234" y="18"/>
                  </a:lnTo>
                  <a:lnTo>
                    <a:pt x="234" y="18"/>
                  </a:lnTo>
                  <a:lnTo>
                    <a:pt x="230" y="18"/>
                  </a:lnTo>
                  <a:lnTo>
                    <a:pt x="230" y="18"/>
                  </a:lnTo>
                  <a:lnTo>
                    <a:pt x="231" y="19"/>
                  </a:lnTo>
                  <a:lnTo>
                    <a:pt x="231" y="19"/>
                  </a:lnTo>
                  <a:lnTo>
                    <a:pt x="230" y="19"/>
                  </a:lnTo>
                  <a:lnTo>
                    <a:pt x="230" y="19"/>
                  </a:lnTo>
                  <a:lnTo>
                    <a:pt x="227" y="21"/>
                  </a:lnTo>
                  <a:lnTo>
                    <a:pt x="227" y="21"/>
                  </a:lnTo>
                  <a:lnTo>
                    <a:pt x="223" y="21"/>
                  </a:lnTo>
                  <a:lnTo>
                    <a:pt x="223" y="21"/>
                  </a:lnTo>
                  <a:lnTo>
                    <a:pt x="220" y="21"/>
                  </a:lnTo>
                  <a:lnTo>
                    <a:pt x="220" y="21"/>
                  </a:lnTo>
                  <a:lnTo>
                    <a:pt x="220" y="21"/>
                  </a:lnTo>
                  <a:lnTo>
                    <a:pt x="220" y="21"/>
                  </a:lnTo>
                  <a:lnTo>
                    <a:pt x="217" y="21"/>
                  </a:lnTo>
                  <a:lnTo>
                    <a:pt x="217" y="21"/>
                  </a:lnTo>
                  <a:lnTo>
                    <a:pt x="214" y="21"/>
                  </a:lnTo>
                  <a:lnTo>
                    <a:pt x="214" y="21"/>
                  </a:lnTo>
                  <a:lnTo>
                    <a:pt x="214" y="19"/>
                  </a:lnTo>
                  <a:lnTo>
                    <a:pt x="214" y="19"/>
                  </a:lnTo>
                  <a:lnTo>
                    <a:pt x="211" y="18"/>
                  </a:lnTo>
                  <a:lnTo>
                    <a:pt x="211" y="18"/>
                  </a:lnTo>
                  <a:lnTo>
                    <a:pt x="204" y="18"/>
                  </a:lnTo>
                  <a:lnTo>
                    <a:pt x="204" y="18"/>
                  </a:lnTo>
                  <a:lnTo>
                    <a:pt x="193" y="19"/>
                  </a:lnTo>
                  <a:lnTo>
                    <a:pt x="193" y="19"/>
                  </a:lnTo>
                  <a:lnTo>
                    <a:pt x="192" y="19"/>
                  </a:lnTo>
                  <a:lnTo>
                    <a:pt x="192" y="19"/>
                  </a:lnTo>
                  <a:lnTo>
                    <a:pt x="188" y="19"/>
                  </a:lnTo>
                  <a:lnTo>
                    <a:pt x="188" y="19"/>
                  </a:lnTo>
                  <a:lnTo>
                    <a:pt x="188" y="21"/>
                  </a:lnTo>
                  <a:lnTo>
                    <a:pt x="188" y="21"/>
                  </a:lnTo>
                  <a:lnTo>
                    <a:pt x="192" y="21"/>
                  </a:lnTo>
                  <a:lnTo>
                    <a:pt x="192" y="21"/>
                  </a:lnTo>
                  <a:lnTo>
                    <a:pt x="193" y="21"/>
                  </a:lnTo>
                  <a:lnTo>
                    <a:pt x="193" y="21"/>
                  </a:lnTo>
                  <a:lnTo>
                    <a:pt x="200" y="21"/>
                  </a:lnTo>
                  <a:lnTo>
                    <a:pt x="200" y="21"/>
                  </a:lnTo>
                  <a:lnTo>
                    <a:pt x="192" y="22"/>
                  </a:lnTo>
                  <a:lnTo>
                    <a:pt x="192" y="22"/>
                  </a:lnTo>
                  <a:lnTo>
                    <a:pt x="185" y="22"/>
                  </a:lnTo>
                  <a:lnTo>
                    <a:pt x="185" y="22"/>
                  </a:lnTo>
                  <a:lnTo>
                    <a:pt x="168" y="26"/>
                  </a:lnTo>
                  <a:lnTo>
                    <a:pt x="168" y="26"/>
                  </a:lnTo>
                  <a:lnTo>
                    <a:pt x="165" y="26"/>
                  </a:lnTo>
                  <a:lnTo>
                    <a:pt x="165" y="26"/>
                  </a:lnTo>
                  <a:lnTo>
                    <a:pt x="161" y="26"/>
                  </a:lnTo>
                  <a:lnTo>
                    <a:pt x="161" y="26"/>
                  </a:lnTo>
                  <a:lnTo>
                    <a:pt x="158" y="29"/>
                  </a:lnTo>
                  <a:lnTo>
                    <a:pt x="158" y="29"/>
                  </a:lnTo>
                  <a:lnTo>
                    <a:pt x="157" y="29"/>
                  </a:lnTo>
                  <a:lnTo>
                    <a:pt x="157" y="29"/>
                  </a:lnTo>
                  <a:lnTo>
                    <a:pt x="150" y="29"/>
                  </a:lnTo>
                  <a:lnTo>
                    <a:pt x="150" y="29"/>
                  </a:lnTo>
                  <a:lnTo>
                    <a:pt x="154" y="32"/>
                  </a:lnTo>
                  <a:lnTo>
                    <a:pt x="154" y="32"/>
                  </a:lnTo>
                  <a:lnTo>
                    <a:pt x="150" y="32"/>
                  </a:lnTo>
                  <a:lnTo>
                    <a:pt x="150" y="32"/>
                  </a:lnTo>
                  <a:lnTo>
                    <a:pt x="150" y="32"/>
                  </a:lnTo>
                  <a:lnTo>
                    <a:pt x="150" y="32"/>
                  </a:lnTo>
                  <a:lnTo>
                    <a:pt x="150" y="32"/>
                  </a:lnTo>
                  <a:lnTo>
                    <a:pt x="150" y="32"/>
                  </a:lnTo>
                  <a:lnTo>
                    <a:pt x="150" y="33"/>
                  </a:lnTo>
                  <a:lnTo>
                    <a:pt x="150" y="33"/>
                  </a:lnTo>
                  <a:lnTo>
                    <a:pt x="147" y="35"/>
                  </a:lnTo>
                  <a:lnTo>
                    <a:pt x="147" y="35"/>
                  </a:lnTo>
                  <a:lnTo>
                    <a:pt x="150" y="35"/>
                  </a:lnTo>
                  <a:lnTo>
                    <a:pt x="150" y="35"/>
                  </a:lnTo>
                  <a:lnTo>
                    <a:pt x="154" y="37"/>
                  </a:lnTo>
                  <a:lnTo>
                    <a:pt x="154" y="37"/>
                  </a:lnTo>
                  <a:lnTo>
                    <a:pt x="157" y="37"/>
                  </a:lnTo>
                  <a:lnTo>
                    <a:pt x="157" y="37"/>
                  </a:lnTo>
                  <a:lnTo>
                    <a:pt x="154" y="38"/>
                  </a:lnTo>
                  <a:lnTo>
                    <a:pt x="154" y="38"/>
                  </a:lnTo>
                  <a:lnTo>
                    <a:pt x="154" y="38"/>
                  </a:lnTo>
                  <a:lnTo>
                    <a:pt x="154" y="38"/>
                  </a:lnTo>
                  <a:lnTo>
                    <a:pt x="150" y="37"/>
                  </a:lnTo>
                  <a:lnTo>
                    <a:pt x="150" y="37"/>
                  </a:lnTo>
                  <a:lnTo>
                    <a:pt x="146" y="37"/>
                  </a:lnTo>
                  <a:lnTo>
                    <a:pt x="146" y="37"/>
                  </a:lnTo>
                  <a:lnTo>
                    <a:pt x="147" y="38"/>
                  </a:lnTo>
                  <a:lnTo>
                    <a:pt x="147" y="38"/>
                  </a:lnTo>
                  <a:lnTo>
                    <a:pt x="154" y="40"/>
                  </a:lnTo>
                  <a:lnTo>
                    <a:pt x="154" y="40"/>
                  </a:lnTo>
                  <a:lnTo>
                    <a:pt x="160" y="41"/>
                  </a:lnTo>
                  <a:lnTo>
                    <a:pt x="160" y="41"/>
                  </a:lnTo>
                  <a:lnTo>
                    <a:pt x="157" y="41"/>
                  </a:lnTo>
                  <a:lnTo>
                    <a:pt x="157" y="41"/>
                  </a:lnTo>
                  <a:lnTo>
                    <a:pt x="160" y="43"/>
                  </a:lnTo>
                  <a:lnTo>
                    <a:pt x="160" y="43"/>
                  </a:lnTo>
                  <a:lnTo>
                    <a:pt x="157" y="43"/>
                  </a:lnTo>
                  <a:lnTo>
                    <a:pt x="157" y="43"/>
                  </a:lnTo>
                  <a:lnTo>
                    <a:pt x="150" y="43"/>
                  </a:lnTo>
                  <a:lnTo>
                    <a:pt x="150" y="43"/>
                  </a:lnTo>
                  <a:lnTo>
                    <a:pt x="146" y="46"/>
                  </a:lnTo>
                  <a:lnTo>
                    <a:pt x="146" y="46"/>
                  </a:lnTo>
                  <a:lnTo>
                    <a:pt x="138" y="45"/>
                  </a:lnTo>
                  <a:lnTo>
                    <a:pt x="138" y="45"/>
                  </a:lnTo>
                  <a:lnTo>
                    <a:pt x="128" y="46"/>
                  </a:lnTo>
                  <a:lnTo>
                    <a:pt x="128" y="46"/>
                  </a:lnTo>
                  <a:lnTo>
                    <a:pt x="119" y="46"/>
                  </a:lnTo>
                  <a:lnTo>
                    <a:pt x="119" y="46"/>
                  </a:lnTo>
                  <a:lnTo>
                    <a:pt x="112" y="46"/>
                  </a:lnTo>
                  <a:lnTo>
                    <a:pt x="112" y="46"/>
                  </a:lnTo>
                  <a:lnTo>
                    <a:pt x="107" y="46"/>
                  </a:lnTo>
                  <a:lnTo>
                    <a:pt x="107" y="46"/>
                  </a:lnTo>
                  <a:lnTo>
                    <a:pt x="106" y="48"/>
                  </a:lnTo>
                  <a:lnTo>
                    <a:pt x="106" y="48"/>
                  </a:lnTo>
                  <a:lnTo>
                    <a:pt x="106" y="49"/>
                  </a:lnTo>
                  <a:lnTo>
                    <a:pt x="106" y="49"/>
                  </a:lnTo>
                  <a:lnTo>
                    <a:pt x="104" y="49"/>
                  </a:lnTo>
                  <a:lnTo>
                    <a:pt x="104" y="49"/>
                  </a:lnTo>
                  <a:lnTo>
                    <a:pt x="106" y="51"/>
                  </a:lnTo>
                  <a:lnTo>
                    <a:pt x="106" y="51"/>
                  </a:lnTo>
                  <a:lnTo>
                    <a:pt x="107" y="51"/>
                  </a:lnTo>
                  <a:lnTo>
                    <a:pt x="107" y="51"/>
                  </a:lnTo>
                  <a:lnTo>
                    <a:pt x="106" y="53"/>
                  </a:lnTo>
                  <a:lnTo>
                    <a:pt x="106" y="53"/>
                  </a:lnTo>
                  <a:lnTo>
                    <a:pt x="111" y="53"/>
                  </a:lnTo>
                  <a:lnTo>
                    <a:pt x="111" y="53"/>
                  </a:lnTo>
                  <a:lnTo>
                    <a:pt x="112" y="56"/>
                  </a:lnTo>
                  <a:lnTo>
                    <a:pt x="112" y="56"/>
                  </a:lnTo>
                  <a:lnTo>
                    <a:pt x="112" y="57"/>
                  </a:lnTo>
                  <a:lnTo>
                    <a:pt x="112" y="57"/>
                  </a:lnTo>
                  <a:lnTo>
                    <a:pt x="115" y="59"/>
                  </a:lnTo>
                  <a:lnTo>
                    <a:pt x="115" y="59"/>
                  </a:lnTo>
                  <a:lnTo>
                    <a:pt x="122" y="60"/>
                  </a:lnTo>
                  <a:lnTo>
                    <a:pt x="122" y="60"/>
                  </a:lnTo>
                  <a:lnTo>
                    <a:pt x="127" y="60"/>
                  </a:lnTo>
                  <a:lnTo>
                    <a:pt x="127" y="60"/>
                  </a:lnTo>
                  <a:lnTo>
                    <a:pt x="131" y="62"/>
                  </a:lnTo>
                  <a:lnTo>
                    <a:pt x="131" y="62"/>
                  </a:lnTo>
                  <a:lnTo>
                    <a:pt x="136" y="65"/>
                  </a:lnTo>
                  <a:lnTo>
                    <a:pt x="136" y="65"/>
                  </a:lnTo>
                  <a:lnTo>
                    <a:pt x="139" y="67"/>
                  </a:lnTo>
                  <a:lnTo>
                    <a:pt x="139" y="67"/>
                  </a:lnTo>
                  <a:lnTo>
                    <a:pt x="133" y="68"/>
                  </a:lnTo>
                  <a:lnTo>
                    <a:pt x="133" y="68"/>
                  </a:lnTo>
                  <a:lnTo>
                    <a:pt x="127" y="67"/>
                  </a:lnTo>
                  <a:lnTo>
                    <a:pt x="127" y="67"/>
                  </a:lnTo>
                  <a:lnTo>
                    <a:pt x="119" y="64"/>
                  </a:lnTo>
                  <a:lnTo>
                    <a:pt x="119" y="64"/>
                  </a:lnTo>
                  <a:lnTo>
                    <a:pt x="112" y="62"/>
                  </a:lnTo>
                  <a:lnTo>
                    <a:pt x="112" y="62"/>
                  </a:lnTo>
                  <a:lnTo>
                    <a:pt x="104" y="60"/>
                  </a:lnTo>
                  <a:lnTo>
                    <a:pt x="104" y="60"/>
                  </a:lnTo>
                  <a:lnTo>
                    <a:pt x="95" y="60"/>
                  </a:lnTo>
                  <a:lnTo>
                    <a:pt x="95" y="60"/>
                  </a:lnTo>
                  <a:lnTo>
                    <a:pt x="92" y="62"/>
                  </a:lnTo>
                  <a:lnTo>
                    <a:pt x="92" y="62"/>
                  </a:lnTo>
                  <a:lnTo>
                    <a:pt x="90" y="62"/>
                  </a:lnTo>
                  <a:lnTo>
                    <a:pt x="90" y="62"/>
                  </a:lnTo>
                  <a:lnTo>
                    <a:pt x="90" y="62"/>
                  </a:lnTo>
                  <a:lnTo>
                    <a:pt x="90" y="62"/>
                  </a:lnTo>
                  <a:lnTo>
                    <a:pt x="90" y="64"/>
                  </a:lnTo>
                  <a:lnTo>
                    <a:pt x="90" y="64"/>
                  </a:lnTo>
                  <a:lnTo>
                    <a:pt x="92" y="64"/>
                  </a:lnTo>
                  <a:lnTo>
                    <a:pt x="92" y="64"/>
                  </a:lnTo>
                  <a:lnTo>
                    <a:pt x="95" y="64"/>
                  </a:lnTo>
                  <a:lnTo>
                    <a:pt x="95" y="64"/>
                  </a:lnTo>
                  <a:lnTo>
                    <a:pt x="96" y="65"/>
                  </a:lnTo>
                  <a:lnTo>
                    <a:pt x="96" y="65"/>
                  </a:lnTo>
                  <a:lnTo>
                    <a:pt x="95" y="67"/>
                  </a:lnTo>
                  <a:lnTo>
                    <a:pt x="95" y="67"/>
                  </a:lnTo>
                  <a:lnTo>
                    <a:pt x="92" y="67"/>
                  </a:lnTo>
                  <a:lnTo>
                    <a:pt x="92" y="67"/>
                  </a:lnTo>
                  <a:lnTo>
                    <a:pt x="88" y="65"/>
                  </a:lnTo>
                  <a:lnTo>
                    <a:pt x="88" y="65"/>
                  </a:lnTo>
                  <a:lnTo>
                    <a:pt x="84" y="65"/>
                  </a:lnTo>
                  <a:lnTo>
                    <a:pt x="84" y="65"/>
                  </a:lnTo>
                  <a:lnTo>
                    <a:pt x="79" y="65"/>
                  </a:lnTo>
                  <a:lnTo>
                    <a:pt x="79" y="65"/>
                  </a:lnTo>
                  <a:lnTo>
                    <a:pt x="80" y="68"/>
                  </a:lnTo>
                  <a:lnTo>
                    <a:pt x="80" y="68"/>
                  </a:lnTo>
                  <a:lnTo>
                    <a:pt x="85" y="70"/>
                  </a:lnTo>
                  <a:lnTo>
                    <a:pt x="85" y="70"/>
                  </a:lnTo>
                  <a:lnTo>
                    <a:pt x="90" y="72"/>
                  </a:lnTo>
                  <a:lnTo>
                    <a:pt x="90" y="72"/>
                  </a:lnTo>
                  <a:lnTo>
                    <a:pt x="93" y="73"/>
                  </a:lnTo>
                  <a:lnTo>
                    <a:pt x="93" y="73"/>
                  </a:lnTo>
                  <a:lnTo>
                    <a:pt x="96" y="73"/>
                  </a:lnTo>
                  <a:lnTo>
                    <a:pt x="96" y="73"/>
                  </a:lnTo>
                  <a:lnTo>
                    <a:pt x="100" y="73"/>
                  </a:lnTo>
                  <a:lnTo>
                    <a:pt x="100" y="73"/>
                  </a:lnTo>
                  <a:lnTo>
                    <a:pt x="101" y="73"/>
                  </a:lnTo>
                  <a:lnTo>
                    <a:pt x="101" y="73"/>
                  </a:lnTo>
                  <a:lnTo>
                    <a:pt x="103" y="73"/>
                  </a:lnTo>
                  <a:lnTo>
                    <a:pt x="103" y="73"/>
                  </a:lnTo>
                  <a:lnTo>
                    <a:pt x="104" y="76"/>
                  </a:lnTo>
                  <a:lnTo>
                    <a:pt x="104" y="76"/>
                  </a:lnTo>
                  <a:lnTo>
                    <a:pt x="107" y="76"/>
                  </a:lnTo>
                  <a:lnTo>
                    <a:pt x="107" y="76"/>
                  </a:lnTo>
                  <a:lnTo>
                    <a:pt x="107" y="78"/>
                  </a:lnTo>
                  <a:lnTo>
                    <a:pt x="107" y="78"/>
                  </a:lnTo>
                  <a:lnTo>
                    <a:pt x="101" y="76"/>
                  </a:lnTo>
                  <a:lnTo>
                    <a:pt x="101" y="76"/>
                  </a:lnTo>
                  <a:lnTo>
                    <a:pt x="95" y="75"/>
                  </a:lnTo>
                  <a:lnTo>
                    <a:pt x="95" y="75"/>
                  </a:lnTo>
                  <a:lnTo>
                    <a:pt x="93" y="75"/>
                  </a:lnTo>
                  <a:lnTo>
                    <a:pt x="93" y="75"/>
                  </a:lnTo>
                  <a:lnTo>
                    <a:pt x="92" y="76"/>
                  </a:lnTo>
                  <a:lnTo>
                    <a:pt x="92" y="76"/>
                  </a:lnTo>
                  <a:lnTo>
                    <a:pt x="90" y="75"/>
                  </a:lnTo>
                  <a:lnTo>
                    <a:pt x="90" y="75"/>
                  </a:lnTo>
                  <a:lnTo>
                    <a:pt x="88" y="75"/>
                  </a:lnTo>
                  <a:lnTo>
                    <a:pt x="88" y="75"/>
                  </a:lnTo>
                  <a:lnTo>
                    <a:pt x="84" y="75"/>
                  </a:lnTo>
                  <a:lnTo>
                    <a:pt x="84" y="75"/>
                  </a:lnTo>
                  <a:lnTo>
                    <a:pt x="79" y="73"/>
                  </a:lnTo>
                  <a:lnTo>
                    <a:pt x="79" y="73"/>
                  </a:lnTo>
                  <a:lnTo>
                    <a:pt x="74" y="72"/>
                  </a:lnTo>
                  <a:lnTo>
                    <a:pt x="74" y="72"/>
                  </a:lnTo>
                  <a:lnTo>
                    <a:pt x="76" y="72"/>
                  </a:lnTo>
                  <a:lnTo>
                    <a:pt x="76" y="72"/>
                  </a:lnTo>
                  <a:lnTo>
                    <a:pt x="76" y="70"/>
                  </a:lnTo>
                  <a:lnTo>
                    <a:pt x="76" y="70"/>
                  </a:lnTo>
                  <a:lnTo>
                    <a:pt x="74" y="68"/>
                  </a:lnTo>
                  <a:lnTo>
                    <a:pt x="74" y="68"/>
                  </a:lnTo>
                  <a:lnTo>
                    <a:pt x="73" y="67"/>
                  </a:lnTo>
                  <a:lnTo>
                    <a:pt x="73" y="67"/>
                  </a:lnTo>
                  <a:lnTo>
                    <a:pt x="73" y="64"/>
                  </a:lnTo>
                  <a:lnTo>
                    <a:pt x="73" y="64"/>
                  </a:lnTo>
                  <a:lnTo>
                    <a:pt x="71" y="60"/>
                  </a:lnTo>
                  <a:lnTo>
                    <a:pt x="71" y="60"/>
                  </a:lnTo>
                  <a:lnTo>
                    <a:pt x="68" y="56"/>
                  </a:lnTo>
                  <a:lnTo>
                    <a:pt x="68" y="56"/>
                  </a:lnTo>
                  <a:lnTo>
                    <a:pt x="63" y="56"/>
                  </a:lnTo>
                  <a:lnTo>
                    <a:pt x="63" y="56"/>
                  </a:lnTo>
                  <a:lnTo>
                    <a:pt x="60" y="56"/>
                  </a:lnTo>
                  <a:lnTo>
                    <a:pt x="60" y="56"/>
                  </a:lnTo>
                  <a:lnTo>
                    <a:pt x="66" y="59"/>
                  </a:lnTo>
                  <a:lnTo>
                    <a:pt x="66" y="59"/>
                  </a:lnTo>
                  <a:lnTo>
                    <a:pt x="66" y="62"/>
                  </a:lnTo>
                  <a:lnTo>
                    <a:pt x="66" y="62"/>
                  </a:lnTo>
                  <a:lnTo>
                    <a:pt x="66" y="64"/>
                  </a:lnTo>
                  <a:lnTo>
                    <a:pt x="66" y="64"/>
                  </a:lnTo>
                  <a:lnTo>
                    <a:pt x="63" y="65"/>
                  </a:lnTo>
                  <a:lnTo>
                    <a:pt x="63" y="65"/>
                  </a:lnTo>
                  <a:lnTo>
                    <a:pt x="57" y="67"/>
                  </a:lnTo>
                  <a:lnTo>
                    <a:pt x="57" y="67"/>
                  </a:lnTo>
                  <a:lnTo>
                    <a:pt x="57" y="68"/>
                  </a:lnTo>
                  <a:lnTo>
                    <a:pt x="57" y="68"/>
                  </a:lnTo>
                  <a:lnTo>
                    <a:pt x="55" y="72"/>
                  </a:lnTo>
                  <a:lnTo>
                    <a:pt x="55" y="72"/>
                  </a:lnTo>
                  <a:lnTo>
                    <a:pt x="63" y="75"/>
                  </a:lnTo>
                  <a:lnTo>
                    <a:pt x="63" y="75"/>
                  </a:lnTo>
                  <a:lnTo>
                    <a:pt x="68" y="78"/>
                  </a:lnTo>
                  <a:lnTo>
                    <a:pt x="68" y="78"/>
                  </a:lnTo>
                  <a:lnTo>
                    <a:pt x="71" y="81"/>
                  </a:lnTo>
                  <a:lnTo>
                    <a:pt x="71" y="81"/>
                  </a:lnTo>
                  <a:lnTo>
                    <a:pt x="73" y="81"/>
                  </a:lnTo>
                  <a:lnTo>
                    <a:pt x="73" y="81"/>
                  </a:lnTo>
                  <a:lnTo>
                    <a:pt x="71" y="84"/>
                  </a:lnTo>
                  <a:lnTo>
                    <a:pt x="71" y="84"/>
                  </a:lnTo>
                  <a:lnTo>
                    <a:pt x="71" y="89"/>
                  </a:lnTo>
                  <a:lnTo>
                    <a:pt x="71" y="89"/>
                  </a:lnTo>
                  <a:lnTo>
                    <a:pt x="73" y="92"/>
                  </a:lnTo>
                  <a:lnTo>
                    <a:pt x="73" y="92"/>
                  </a:lnTo>
                  <a:lnTo>
                    <a:pt x="76" y="94"/>
                  </a:lnTo>
                  <a:lnTo>
                    <a:pt x="76" y="94"/>
                  </a:lnTo>
                  <a:lnTo>
                    <a:pt x="77" y="97"/>
                  </a:lnTo>
                  <a:lnTo>
                    <a:pt x="77" y="97"/>
                  </a:lnTo>
                  <a:lnTo>
                    <a:pt x="79" y="99"/>
                  </a:lnTo>
                  <a:lnTo>
                    <a:pt x="79" y="99"/>
                  </a:lnTo>
                  <a:lnTo>
                    <a:pt x="90" y="99"/>
                  </a:lnTo>
                  <a:lnTo>
                    <a:pt x="90" y="99"/>
                  </a:lnTo>
                  <a:lnTo>
                    <a:pt x="92" y="97"/>
                  </a:lnTo>
                  <a:lnTo>
                    <a:pt x="92" y="97"/>
                  </a:lnTo>
                  <a:lnTo>
                    <a:pt x="96" y="97"/>
                  </a:lnTo>
                  <a:lnTo>
                    <a:pt x="96" y="97"/>
                  </a:lnTo>
                  <a:lnTo>
                    <a:pt x="106" y="99"/>
                  </a:lnTo>
                  <a:lnTo>
                    <a:pt x="106" y="99"/>
                  </a:lnTo>
                  <a:lnTo>
                    <a:pt x="112" y="102"/>
                  </a:lnTo>
                  <a:lnTo>
                    <a:pt x="112" y="102"/>
                  </a:lnTo>
                  <a:lnTo>
                    <a:pt x="115" y="103"/>
                  </a:lnTo>
                  <a:lnTo>
                    <a:pt x="115" y="103"/>
                  </a:lnTo>
                  <a:lnTo>
                    <a:pt x="119" y="107"/>
                  </a:lnTo>
                  <a:lnTo>
                    <a:pt x="119" y="107"/>
                  </a:lnTo>
                  <a:lnTo>
                    <a:pt x="122" y="110"/>
                  </a:lnTo>
                  <a:lnTo>
                    <a:pt x="122" y="110"/>
                  </a:lnTo>
                  <a:lnTo>
                    <a:pt x="122" y="111"/>
                  </a:lnTo>
                  <a:lnTo>
                    <a:pt x="122" y="111"/>
                  </a:lnTo>
                  <a:lnTo>
                    <a:pt x="119" y="111"/>
                  </a:lnTo>
                  <a:lnTo>
                    <a:pt x="119" y="111"/>
                  </a:lnTo>
                  <a:lnTo>
                    <a:pt x="122" y="113"/>
                  </a:lnTo>
                  <a:lnTo>
                    <a:pt x="122" y="113"/>
                  </a:lnTo>
                  <a:lnTo>
                    <a:pt x="122" y="116"/>
                  </a:lnTo>
                  <a:lnTo>
                    <a:pt x="122" y="116"/>
                  </a:lnTo>
                  <a:lnTo>
                    <a:pt x="131" y="116"/>
                  </a:lnTo>
                  <a:lnTo>
                    <a:pt x="131" y="116"/>
                  </a:lnTo>
                  <a:lnTo>
                    <a:pt x="133" y="116"/>
                  </a:lnTo>
                  <a:lnTo>
                    <a:pt x="133" y="116"/>
                  </a:lnTo>
                  <a:lnTo>
                    <a:pt x="134" y="116"/>
                  </a:lnTo>
                  <a:lnTo>
                    <a:pt x="134" y="116"/>
                  </a:lnTo>
                  <a:lnTo>
                    <a:pt x="136" y="119"/>
                  </a:lnTo>
                  <a:lnTo>
                    <a:pt x="136" y="119"/>
                  </a:lnTo>
                  <a:lnTo>
                    <a:pt x="127" y="119"/>
                  </a:lnTo>
                  <a:lnTo>
                    <a:pt x="127" y="119"/>
                  </a:lnTo>
                  <a:lnTo>
                    <a:pt x="122" y="116"/>
                  </a:lnTo>
                  <a:lnTo>
                    <a:pt x="122" y="116"/>
                  </a:lnTo>
                  <a:lnTo>
                    <a:pt x="119" y="116"/>
                  </a:lnTo>
                  <a:lnTo>
                    <a:pt x="119" y="116"/>
                  </a:lnTo>
                  <a:lnTo>
                    <a:pt x="119" y="113"/>
                  </a:lnTo>
                  <a:lnTo>
                    <a:pt x="119" y="113"/>
                  </a:lnTo>
                  <a:lnTo>
                    <a:pt x="119" y="113"/>
                  </a:lnTo>
                  <a:lnTo>
                    <a:pt x="119" y="113"/>
                  </a:lnTo>
                  <a:lnTo>
                    <a:pt x="115" y="110"/>
                  </a:lnTo>
                  <a:lnTo>
                    <a:pt x="115" y="110"/>
                  </a:lnTo>
                  <a:lnTo>
                    <a:pt x="112" y="107"/>
                  </a:lnTo>
                  <a:lnTo>
                    <a:pt x="112" y="107"/>
                  </a:lnTo>
                  <a:lnTo>
                    <a:pt x="111" y="105"/>
                  </a:lnTo>
                  <a:lnTo>
                    <a:pt x="111" y="105"/>
                  </a:lnTo>
                  <a:lnTo>
                    <a:pt x="104" y="102"/>
                  </a:lnTo>
                  <a:lnTo>
                    <a:pt x="104" y="102"/>
                  </a:lnTo>
                  <a:lnTo>
                    <a:pt x="98" y="102"/>
                  </a:lnTo>
                  <a:lnTo>
                    <a:pt x="98" y="102"/>
                  </a:lnTo>
                  <a:lnTo>
                    <a:pt x="92" y="103"/>
                  </a:lnTo>
                  <a:lnTo>
                    <a:pt x="92" y="103"/>
                  </a:lnTo>
                  <a:lnTo>
                    <a:pt x="90" y="103"/>
                  </a:lnTo>
                  <a:lnTo>
                    <a:pt x="90" y="103"/>
                  </a:lnTo>
                  <a:lnTo>
                    <a:pt x="88" y="103"/>
                  </a:lnTo>
                  <a:lnTo>
                    <a:pt x="88" y="103"/>
                  </a:lnTo>
                  <a:lnTo>
                    <a:pt x="88" y="105"/>
                  </a:lnTo>
                  <a:lnTo>
                    <a:pt x="88" y="105"/>
                  </a:lnTo>
                  <a:lnTo>
                    <a:pt x="88" y="108"/>
                  </a:lnTo>
                  <a:lnTo>
                    <a:pt x="88" y="108"/>
                  </a:lnTo>
                  <a:lnTo>
                    <a:pt x="90" y="110"/>
                  </a:lnTo>
                  <a:lnTo>
                    <a:pt x="90" y="110"/>
                  </a:lnTo>
                  <a:lnTo>
                    <a:pt x="95" y="113"/>
                  </a:lnTo>
                  <a:lnTo>
                    <a:pt x="95" y="113"/>
                  </a:lnTo>
                  <a:lnTo>
                    <a:pt x="96" y="116"/>
                  </a:lnTo>
                  <a:lnTo>
                    <a:pt x="96" y="116"/>
                  </a:lnTo>
                  <a:lnTo>
                    <a:pt x="93" y="119"/>
                  </a:lnTo>
                  <a:lnTo>
                    <a:pt x="93" y="119"/>
                  </a:lnTo>
                  <a:lnTo>
                    <a:pt x="92" y="119"/>
                  </a:lnTo>
                  <a:lnTo>
                    <a:pt x="92" y="119"/>
                  </a:lnTo>
                  <a:lnTo>
                    <a:pt x="92" y="122"/>
                  </a:lnTo>
                  <a:lnTo>
                    <a:pt x="92" y="122"/>
                  </a:lnTo>
                  <a:lnTo>
                    <a:pt x="92" y="124"/>
                  </a:lnTo>
                  <a:lnTo>
                    <a:pt x="92" y="124"/>
                  </a:lnTo>
                  <a:lnTo>
                    <a:pt x="90" y="126"/>
                  </a:lnTo>
                  <a:lnTo>
                    <a:pt x="90" y="126"/>
                  </a:lnTo>
                  <a:lnTo>
                    <a:pt x="90" y="127"/>
                  </a:lnTo>
                  <a:lnTo>
                    <a:pt x="90" y="127"/>
                  </a:lnTo>
                  <a:lnTo>
                    <a:pt x="87" y="129"/>
                  </a:lnTo>
                  <a:lnTo>
                    <a:pt x="87" y="129"/>
                  </a:lnTo>
                  <a:lnTo>
                    <a:pt x="84" y="130"/>
                  </a:lnTo>
                  <a:lnTo>
                    <a:pt x="84" y="130"/>
                  </a:lnTo>
                  <a:lnTo>
                    <a:pt x="82" y="130"/>
                  </a:lnTo>
                  <a:lnTo>
                    <a:pt x="82" y="130"/>
                  </a:lnTo>
                  <a:lnTo>
                    <a:pt x="82" y="132"/>
                  </a:lnTo>
                  <a:lnTo>
                    <a:pt x="82" y="132"/>
                  </a:lnTo>
                  <a:lnTo>
                    <a:pt x="82" y="134"/>
                  </a:lnTo>
                  <a:lnTo>
                    <a:pt x="82" y="134"/>
                  </a:lnTo>
                  <a:lnTo>
                    <a:pt x="80" y="135"/>
                  </a:lnTo>
                  <a:lnTo>
                    <a:pt x="80" y="135"/>
                  </a:lnTo>
                  <a:lnTo>
                    <a:pt x="74" y="134"/>
                  </a:lnTo>
                  <a:lnTo>
                    <a:pt x="74" y="134"/>
                  </a:lnTo>
                  <a:lnTo>
                    <a:pt x="66" y="134"/>
                  </a:lnTo>
                  <a:lnTo>
                    <a:pt x="66" y="134"/>
                  </a:lnTo>
                  <a:lnTo>
                    <a:pt x="55" y="132"/>
                  </a:lnTo>
                  <a:lnTo>
                    <a:pt x="55" y="132"/>
                  </a:lnTo>
                  <a:lnTo>
                    <a:pt x="52" y="130"/>
                  </a:lnTo>
                  <a:lnTo>
                    <a:pt x="52" y="130"/>
                  </a:lnTo>
                  <a:lnTo>
                    <a:pt x="47" y="127"/>
                  </a:lnTo>
                  <a:lnTo>
                    <a:pt x="47" y="127"/>
                  </a:lnTo>
                  <a:lnTo>
                    <a:pt x="52" y="127"/>
                  </a:lnTo>
                  <a:lnTo>
                    <a:pt x="52" y="127"/>
                  </a:lnTo>
                  <a:lnTo>
                    <a:pt x="57" y="127"/>
                  </a:lnTo>
                  <a:lnTo>
                    <a:pt x="57" y="127"/>
                  </a:lnTo>
                  <a:lnTo>
                    <a:pt x="60" y="129"/>
                  </a:lnTo>
                  <a:lnTo>
                    <a:pt x="60" y="129"/>
                  </a:lnTo>
                  <a:lnTo>
                    <a:pt x="63" y="129"/>
                  </a:lnTo>
                  <a:lnTo>
                    <a:pt x="63" y="129"/>
                  </a:lnTo>
                  <a:lnTo>
                    <a:pt x="69" y="126"/>
                  </a:lnTo>
                  <a:lnTo>
                    <a:pt x="69" y="126"/>
                  </a:lnTo>
                  <a:lnTo>
                    <a:pt x="74" y="126"/>
                  </a:lnTo>
                  <a:lnTo>
                    <a:pt x="74" y="126"/>
                  </a:lnTo>
                  <a:lnTo>
                    <a:pt x="74" y="124"/>
                  </a:lnTo>
                  <a:lnTo>
                    <a:pt x="74" y="124"/>
                  </a:lnTo>
                  <a:lnTo>
                    <a:pt x="76" y="122"/>
                  </a:lnTo>
                  <a:lnTo>
                    <a:pt x="76" y="122"/>
                  </a:lnTo>
                  <a:lnTo>
                    <a:pt x="74" y="122"/>
                  </a:lnTo>
                  <a:lnTo>
                    <a:pt x="74" y="122"/>
                  </a:lnTo>
                  <a:lnTo>
                    <a:pt x="76" y="122"/>
                  </a:lnTo>
                  <a:lnTo>
                    <a:pt x="76" y="122"/>
                  </a:lnTo>
                  <a:lnTo>
                    <a:pt x="77" y="119"/>
                  </a:lnTo>
                  <a:lnTo>
                    <a:pt x="77" y="119"/>
                  </a:lnTo>
                  <a:lnTo>
                    <a:pt x="79" y="116"/>
                  </a:lnTo>
                  <a:lnTo>
                    <a:pt x="79" y="116"/>
                  </a:lnTo>
                  <a:lnTo>
                    <a:pt x="80" y="116"/>
                  </a:lnTo>
                  <a:lnTo>
                    <a:pt x="80" y="116"/>
                  </a:lnTo>
                  <a:lnTo>
                    <a:pt x="80" y="113"/>
                  </a:lnTo>
                  <a:lnTo>
                    <a:pt x="80" y="113"/>
                  </a:lnTo>
                  <a:lnTo>
                    <a:pt x="79" y="113"/>
                  </a:lnTo>
                  <a:lnTo>
                    <a:pt x="79" y="113"/>
                  </a:lnTo>
                  <a:lnTo>
                    <a:pt x="79" y="111"/>
                  </a:lnTo>
                  <a:lnTo>
                    <a:pt x="79" y="111"/>
                  </a:lnTo>
                  <a:lnTo>
                    <a:pt x="79" y="110"/>
                  </a:lnTo>
                  <a:lnTo>
                    <a:pt x="79" y="110"/>
                  </a:lnTo>
                  <a:lnTo>
                    <a:pt x="80" y="108"/>
                  </a:lnTo>
                  <a:lnTo>
                    <a:pt x="80" y="108"/>
                  </a:lnTo>
                  <a:lnTo>
                    <a:pt x="79" y="107"/>
                  </a:lnTo>
                  <a:lnTo>
                    <a:pt x="79" y="107"/>
                  </a:lnTo>
                  <a:lnTo>
                    <a:pt x="74" y="105"/>
                  </a:lnTo>
                  <a:lnTo>
                    <a:pt x="74" y="105"/>
                  </a:lnTo>
                  <a:lnTo>
                    <a:pt x="69" y="102"/>
                  </a:lnTo>
                  <a:lnTo>
                    <a:pt x="69" y="102"/>
                  </a:lnTo>
                  <a:lnTo>
                    <a:pt x="66" y="100"/>
                  </a:lnTo>
                  <a:lnTo>
                    <a:pt x="66" y="100"/>
                  </a:lnTo>
                  <a:lnTo>
                    <a:pt x="66" y="99"/>
                  </a:lnTo>
                  <a:lnTo>
                    <a:pt x="66" y="99"/>
                  </a:lnTo>
                  <a:lnTo>
                    <a:pt x="66" y="97"/>
                  </a:lnTo>
                  <a:lnTo>
                    <a:pt x="66" y="97"/>
                  </a:lnTo>
                  <a:lnTo>
                    <a:pt x="66" y="94"/>
                  </a:lnTo>
                  <a:lnTo>
                    <a:pt x="66" y="94"/>
                  </a:lnTo>
                  <a:lnTo>
                    <a:pt x="63" y="92"/>
                  </a:lnTo>
                  <a:lnTo>
                    <a:pt x="63" y="92"/>
                  </a:lnTo>
                  <a:lnTo>
                    <a:pt x="63" y="91"/>
                  </a:lnTo>
                  <a:lnTo>
                    <a:pt x="63" y="91"/>
                  </a:lnTo>
                  <a:lnTo>
                    <a:pt x="60" y="87"/>
                  </a:lnTo>
                  <a:lnTo>
                    <a:pt x="60" y="87"/>
                  </a:lnTo>
                  <a:lnTo>
                    <a:pt x="57" y="84"/>
                  </a:lnTo>
                  <a:lnTo>
                    <a:pt x="57" y="84"/>
                  </a:lnTo>
                  <a:lnTo>
                    <a:pt x="60" y="84"/>
                  </a:lnTo>
                  <a:lnTo>
                    <a:pt x="60" y="84"/>
                  </a:lnTo>
                  <a:lnTo>
                    <a:pt x="60" y="81"/>
                  </a:lnTo>
                  <a:lnTo>
                    <a:pt x="60" y="81"/>
                  </a:lnTo>
                  <a:lnTo>
                    <a:pt x="57" y="78"/>
                  </a:lnTo>
                  <a:lnTo>
                    <a:pt x="57" y="78"/>
                  </a:lnTo>
                  <a:lnTo>
                    <a:pt x="55" y="76"/>
                  </a:lnTo>
                  <a:lnTo>
                    <a:pt x="55" y="76"/>
                  </a:lnTo>
                  <a:lnTo>
                    <a:pt x="50" y="75"/>
                  </a:lnTo>
                  <a:lnTo>
                    <a:pt x="50" y="75"/>
                  </a:lnTo>
                  <a:lnTo>
                    <a:pt x="47" y="73"/>
                  </a:lnTo>
                  <a:lnTo>
                    <a:pt x="47" y="73"/>
                  </a:lnTo>
                  <a:lnTo>
                    <a:pt x="44" y="70"/>
                  </a:lnTo>
                  <a:lnTo>
                    <a:pt x="44" y="70"/>
                  </a:lnTo>
                  <a:lnTo>
                    <a:pt x="46" y="70"/>
                  </a:lnTo>
                  <a:lnTo>
                    <a:pt x="46" y="70"/>
                  </a:lnTo>
                  <a:lnTo>
                    <a:pt x="46" y="68"/>
                  </a:lnTo>
                  <a:lnTo>
                    <a:pt x="46" y="68"/>
                  </a:lnTo>
                  <a:lnTo>
                    <a:pt x="46" y="67"/>
                  </a:lnTo>
                  <a:lnTo>
                    <a:pt x="46" y="67"/>
                  </a:lnTo>
                  <a:lnTo>
                    <a:pt x="47" y="64"/>
                  </a:lnTo>
                  <a:lnTo>
                    <a:pt x="47" y="64"/>
                  </a:lnTo>
                  <a:lnTo>
                    <a:pt x="47" y="62"/>
                  </a:lnTo>
                  <a:lnTo>
                    <a:pt x="47" y="62"/>
                  </a:lnTo>
                  <a:lnTo>
                    <a:pt x="46" y="59"/>
                  </a:lnTo>
                  <a:lnTo>
                    <a:pt x="46" y="59"/>
                  </a:lnTo>
                  <a:lnTo>
                    <a:pt x="44" y="57"/>
                  </a:lnTo>
                  <a:lnTo>
                    <a:pt x="44" y="57"/>
                  </a:lnTo>
                  <a:lnTo>
                    <a:pt x="39" y="56"/>
                  </a:lnTo>
                  <a:lnTo>
                    <a:pt x="39" y="56"/>
                  </a:lnTo>
                  <a:lnTo>
                    <a:pt x="33" y="56"/>
                  </a:lnTo>
                  <a:lnTo>
                    <a:pt x="33" y="56"/>
                  </a:lnTo>
                  <a:lnTo>
                    <a:pt x="28" y="56"/>
                  </a:lnTo>
                  <a:lnTo>
                    <a:pt x="28" y="56"/>
                  </a:lnTo>
                  <a:lnTo>
                    <a:pt x="20" y="56"/>
                  </a:lnTo>
                  <a:lnTo>
                    <a:pt x="20" y="56"/>
                  </a:lnTo>
                  <a:lnTo>
                    <a:pt x="14" y="56"/>
                  </a:lnTo>
                  <a:lnTo>
                    <a:pt x="14" y="56"/>
                  </a:lnTo>
                  <a:lnTo>
                    <a:pt x="15" y="54"/>
                  </a:lnTo>
                  <a:lnTo>
                    <a:pt x="15" y="54"/>
                  </a:lnTo>
                  <a:lnTo>
                    <a:pt x="14" y="54"/>
                  </a:lnTo>
                  <a:lnTo>
                    <a:pt x="14" y="54"/>
                  </a:lnTo>
                  <a:lnTo>
                    <a:pt x="12" y="56"/>
                  </a:lnTo>
                  <a:lnTo>
                    <a:pt x="12" y="56"/>
                  </a:lnTo>
                  <a:lnTo>
                    <a:pt x="11" y="57"/>
                  </a:lnTo>
                  <a:lnTo>
                    <a:pt x="11" y="57"/>
                  </a:lnTo>
                  <a:lnTo>
                    <a:pt x="11" y="64"/>
                  </a:lnTo>
                  <a:lnTo>
                    <a:pt x="11" y="64"/>
                  </a:lnTo>
                  <a:lnTo>
                    <a:pt x="11" y="67"/>
                  </a:lnTo>
                  <a:lnTo>
                    <a:pt x="11" y="67"/>
                  </a:lnTo>
                  <a:lnTo>
                    <a:pt x="11" y="68"/>
                  </a:lnTo>
                  <a:lnTo>
                    <a:pt x="11" y="68"/>
                  </a:lnTo>
                  <a:lnTo>
                    <a:pt x="7" y="72"/>
                  </a:lnTo>
                  <a:lnTo>
                    <a:pt x="7" y="72"/>
                  </a:lnTo>
                  <a:lnTo>
                    <a:pt x="3" y="73"/>
                  </a:lnTo>
                  <a:lnTo>
                    <a:pt x="3" y="73"/>
                  </a:lnTo>
                  <a:lnTo>
                    <a:pt x="0" y="75"/>
                  </a:lnTo>
                  <a:lnTo>
                    <a:pt x="0" y="75"/>
                  </a:lnTo>
                  <a:lnTo>
                    <a:pt x="0" y="76"/>
                  </a:lnTo>
                  <a:lnTo>
                    <a:pt x="0" y="76"/>
                  </a:lnTo>
                  <a:lnTo>
                    <a:pt x="1" y="76"/>
                  </a:lnTo>
                  <a:lnTo>
                    <a:pt x="1" y="76"/>
                  </a:lnTo>
                  <a:lnTo>
                    <a:pt x="1" y="78"/>
                  </a:lnTo>
                  <a:lnTo>
                    <a:pt x="1" y="78"/>
                  </a:lnTo>
                  <a:lnTo>
                    <a:pt x="1" y="78"/>
                  </a:lnTo>
                  <a:lnTo>
                    <a:pt x="1" y="78"/>
                  </a:lnTo>
                  <a:lnTo>
                    <a:pt x="4" y="78"/>
                  </a:lnTo>
                  <a:lnTo>
                    <a:pt x="4" y="78"/>
                  </a:lnTo>
                  <a:lnTo>
                    <a:pt x="6" y="78"/>
                  </a:lnTo>
                  <a:lnTo>
                    <a:pt x="6" y="78"/>
                  </a:lnTo>
                  <a:lnTo>
                    <a:pt x="7" y="78"/>
                  </a:lnTo>
                  <a:lnTo>
                    <a:pt x="7" y="78"/>
                  </a:lnTo>
                  <a:lnTo>
                    <a:pt x="9" y="84"/>
                  </a:lnTo>
                  <a:lnTo>
                    <a:pt x="9" y="84"/>
                  </a:lnTo>
                  <a:lnTo>
                    <a:pt x="9" y="84"/>
                  </a:lnTo>
                  <a:lnTo>
                    <a:pt x="9" y="84"/>
                  </a:lnTo>
                  <a:lnTo>
                    <a:pt x="12" y="87"/>
                  </a:lnTo>
                  <a:lnTo>
                    <a:pt x="12" y="87"/>
                  </a:lnTo>
                  <a:lnTo>
                    <a:pt x="12" y="87"/>
                  </a:lnTo>
                  <a:lnTo>
                    <a:pt x="12" y="87"/>
                  </a:lnTo>
                  <a:lnTo>
                    <a:pt x="11" y="87"/>
                  </a:lnTo>
                  <a:lnTo>
                    <a:pt x="11" y="87"/>
                  </a:lnTo>
                  <a:lnTo>
                    <a:pt x="9" y="87"/>
                  </a:lnTo>
                  <a:lnTo>
                    <a:pt x="9" y="87"/>
                  </a:lnTo>
                  <a:lnTo>
                    <a:pt x="9" y="91"/>
                  </a:lnTo>
                  <a:lnTo>
                    <a:pt x="9" y="91"/>
                  </a:lnTo>
                  <a:lnTo>
                    <a:pt x="9" y="92"/>
                  </a:lnTo>
                  <a:lnTo>
                    <a:pt x="9" y="92"/>
                  </a:lnTo>
                  <a:lnTo>
                    <a:pt x="11" y="94"/>
                  </a:lnTo>
                  <a:lnTo>
                    <a:pt x="11" y="94"/>
                  </a:lnTo>
                  <a:lnTo>
                    <a:pt x="12" y="92"/>
                  </a:lnTo>
                  <a:lnTo>
                    <a:pt x="12" y="92"/>
                  </a:lnTo>
                  <a:lnTo>
                    <a:pt x="14" y="92"/>
                  </a:lnTo>
                  <a:lnTo>
                    <a:pt x="14" y="92"/>
                  </a:lnTo>
                  <a:lnTo>
                    <a:pt x="17" y="94"/>
                  </a:lnTo>
                  <a:lnTo>
                    <a:pt x="17" y="94"/>
                  </a:lnTo>
                  <a:lnTo>
                    <a:pt x="20" y="94"/>
                  </a:lnTo>
                  <a:lnTo>
                    <a:pt x="20" y="94"/>
                  </a:lnTo>
                  <a:lnTo>
                    <a:pt x="22" y="94"/>
                  </a:lnTo>
                  <a:lnTo>
                    <a:pt x="22" y="94"/>
                  </a:lnTo>
                  <a:lnTo>
                    <a:pt x="22" y="95"/>
                  </a:lnTo>
                  <a:lnTo>
                    <a:pt x="22" y="95"/>
                  </a:lnTo>
                  <a:lnTo>
                    <a:pt x="25" y="97"/>
                  </a:lnTo>
                  <a:lnTo>
                    <a:pt x="25" y="97"/>
                  </a:lnTo>
                  <a:lnTo>
                    <a:pt x="28" y="100"/>
                  </a:lnTo>
                  <a:lnTo>
                    <a:pt x="28" y="100"/>
                  </a:lnTo>
                  <a:lnTo>
                    <a:pt x="31" y="102"/>
                  </a:lnTo>
                  <a:lnTo>
                    <a:pt x="31" y="102"/>
                  </a:lnTo>
                  <a:lnTo>
                    <a:pt x="33" y="102"/>
                  </a:lnTo>
                  <a:lnTo>
                    <a:pt x="33" y="102"/>
                  </a:lnTo>
                  <a:lnTo>
                    <a:pt x="34" y="102"/>
                  </a:lnTo>
                  <a:lnTo>
                    <a:pt x="34" y="102"/>
                  </a:lnTo>
                  <a:lnTo>
                    <a:pt x="34" y="103"/>
                  </a:lnTo>
                  <a:lnTo>
                    <a:pt x="34" y="103"/>
                  </a:lnTo>
                  <a:lnTo>
                    <a:pt x="36" y="105"/>
                  </a:lnTo>
                  <a:lnTo>
                    <a:pt x="36" y="105"/>
                  </a:lnTo>
                  <a:lnTo>
                    <a:pt x="34" y="107"/>
                  </a:lnTo>
                  <a:lnTo>
                    <a:pt x="34" y="107"/>
                  </a:lnTo>
                  <a:lnTo>
                    <a:pt x="34" y="108"/>
                  </a:lnTo>
                  <a:lnTo>
                    <a:pt x="34" y="108"/>
                  </a:lnTo>
                  <a:lnTo>
                    <a:pt x="34" y="111"/>
                  </a:lnTo>
                  <a:lnTo>
                    <a:pt x="34" y="111"/>
                  </a:lnTo>
                  <a:lnTo>
                    <a:pt x="31" y="110"/>
                  </a:lnTo>
                  <a:lnTo>
                    <a:pt x="31" y="110"/>
                  </a:lnTo>
                  <a:lnTo>
                    <a:pt x="33" y="111"/>
                  </a:lnTo>
                  <a:lnTo>
                    <a:pt x="33" y="111"/>
                  </a:lnTo>
                  <a:lnTo>
                    <a:pt x="33" y="111"/>
                  </a:lnTo>
                  <a:lnTo>
                    <a:pt x="33" y="113"/>
                  </a:lnTo>
                  <a:lnTo>
                    <a:pt x="33" y="113"/>
                  </a:lnTo>
                  <a:lnTo>
                    <a:pt x="33" y="113"/>
                  </a:lnTo>
                  <a:lnTo>
                    <a:pt x="34" y="113"/>
                  </a:lnTo>
                  <a:lnTo>
                    <a:pt x="34" y="113"/>
                  </a:lnTo>
                  <a:lnTo>
                    <a:pt x="36" y="116"/>
                  </a:lnTo>
                  <a:lnTo>
                    <a:pt x="36" y="116"/>
                  </a:lnTo>
                  <a:lnTo>
                    <a:pt x="39" y="129"/>
                  </a:lnTo>
                  <a:lnTo>
                    <a:pt x="39" y="129"/>
                  </a:lnTo>
                  <a:lnTo>
                    <a:pt x="38" y="138"/>
                  </a:lnTo>
                  <a:lnTo>
                    <a:pt x="38" y="138"/>
                  </a:lnTo>
                  <a:lnTo>
                    <a:pt x="36" y="140"/>
                  </a:lnTo>
                  <a:lnTo>
                    <a:pt x="36" y="140"/>
                  </a:lnTo>
                  <a:lnTo>
                    <a:pt x="34" y="143"/>
                  </a:lnTo>
                  <a:lnTo>
                    <a:pt x="33" y="146"/>
                  </a:lnTo>
                  <a:lnTo>
                    <a:pt x="33" y="146"/>
                  </a:lnTo>
                  <a:lnTo>
                    <a:pt x="30" y="153"/>
                  </a:lnTo>
                  <a:lnTo>
                    <a:pt x="30" y="157"/>
                  </a:lnTo>
                  <a:lnTo>
                    <a:pt x="30" y="157"/>
                  </a:lnTo>
                  <a:lnTo>
                    <a:pt x="30" y="161"/>
                  </a:lnTo>
                  <a:lnTo>
                    <a:pt x="31" y="164"/>
                  </a:lnTo>
                  <a:lnTo>
                    <a:pt x="33" y="167"/>
                  </a:lnTo>
                  <a:lnTo>
                    <a:pt x="33" y="167"/>
                  </a:lnTo>
                  <a:lnTo>
                    <a:pt x="34" y="172"/>
                  </a:lnTo>
                  <a:lnTo>
                    <a:pt x="34" y="172"/>
                  </a:lnTo>
                  <a:lnTo>
                    <a:pt x="34" y="175"/>
                  </a:lnTo>
                  <a:lnTo>
                    <a:pt x="34" y="175"/>
                  </a:lnTo>
                  <a:lnTo>
                    <a:pt x="34" y="175"/>
                  </a:lnTo>
                  <a:lnTo>
                    <a:pt x="34" y="175"/>
                  </a:lnTo>
                  <a:lnTo>
                    <a:pt x="36" y="181"/>
                  </a:lnTo>
                  <a:lnTo>
                    <a:pt x="36" y="181"/>
                  </a:lnTo>
                  <a:lnTo>
                    <a:pt x="38" y="186"/>
                  </a:lnTo>
                  <a:lnTo>
                    <a:pt x="38" y="186"/>
                  </a:lnTo>
                  <a:lnTo>
                    <a:pt x="39" y="191"/>
                  </a:lnTo>
                  <a:lnTo>
                    <a:pt x="39" y="191"/>
                  </a:lnTo>
                  <a:lnTo>
                    <a:pt x="38" y="192"/>
                  </a:lnTo>
                  <a:lnTo>
                    <a:pt x="38" y="195"/>
                  </a:lnTo>
                  <a:lnTo>
                    <a:pt x="38" y="195"/>
                  </a:lnTo>
                  <a:lnTo>
                    <a:pt x="38" y="200"/>
                  </a:lnTo>
                  <a:lnTo>
                    <a:pt x="38" y="200"/>
                  </a:lnTo>
                  <a:lnTo>
                    <a:pt x="38" y="203"/>
                  </a:lnTo>
                  <a:lnTo>
                    <a:pt x="38" y="203"/>
                  </a:lnTo>
                  <a:lnTo>
                    <a:pt x="38" y="207"/>
                  </a:lnTo>
                  <a:lnTo>
                    <a:pt x="38" y="210"/>
                  </a:lnTo>
                  <a:lnTo>
                    <a:pt x="41" y="210"/>
                  </a:lnTo>
                  <a:lnTo>
                    <a:pt x="41" y="210"/>
                  </a:lnTo>
                  <a:lnTo>
                    <a:pt x="41" y="213"/>
                  </a:lnTo>
                  <a:lnTo>
                    <a:pt x="41" y="213"/>
                  </a:lnTo>
                  <a:lnTo>
                    <a:pt x="44" y="222"/>
                  </a:lnTo>
                  <a:lnTo>
                    <a:pt x="44" y="222"/>
                  </a:lnTo>
                  <a:lnTo>
                    <a:pt x="46" y="224"/>
                  </a:lnTo>
                  <a:lnTo>
                    <a:pt x="46" y="224"/>
                  </a:lnTo>
                  <a:lnTo>
                    <a:pt x="41" y="222"/>
                  </a:lnTo>
                  <a:lnTo>
                    <a:pt x="41" y="222"/>
                  </a:lnTo>
                  <a:lnTo>
                    <a:pt x="41" y="227"/>
                  </a:lnTo>
                  <a:lnTo>
                    <a:pt x="42" y="232"/>
                  </a:lnTo>
                  <a:lnTo>
                    <a:pt x="44" y="235"/>
                  </a:lnTo>
                  <a:lnTo>
                    <a:pt x="44" y="235"/>
                  </a:lnTo>
                  <a:lnTo>
                    <a:pt x="44" y="237"/>
                  </a:lnTo>
                  <a:lnTo>
                    <a:pt x="44" y="238"/>
                  </a:lnTo>
                  <a:lnTo>
                    <a:pt x="41" y="237"/>
                  </a:lnTo>
                  <a:lnTo>
                    <a:pt x="41" y="237"/>
                  </a:lnTo>
                  <a:lnTo>
                    <a:pt x="44" y="240"/>
                  </a:lnTo>
                  <a:lnTo>
                    <a:pt x="44" y="240"/>
                  </a:lnTo>
                  <a:lnTo>
                    <a:pt x="50" y="240"/>
                  </a:lnTo>
                  <a:lnTo>
                    <a:pt x="50" y="240"/>
                  </a:lnTo>
                  <a:lnTo>
                    <a:pt x="54" y="243"/>
                  </a:lnTo>
                  <a:lnTo>
                    <a:pt x="54" y="243"/>
                  </a:lnTo>
                  <a:lnTo>
                    <a:pt x="52" y="243"/>
                  </a:lnTo>
                  <a:lnTo>
                    <a:pt x="52" y="243"/>
                  </a:lnTo>
                  <a:lnTo>
                    <a:pt x="47" y="246"/>
                  </a:lnTo>
                  <a:lnTo>
                    <a:pt x="47" y="246"/>
                  </a:lnTo>
                  <a:lnTo>
                    <a:pt x="44" y="246"/>
                  </a:lnTo>
                  <a:lnTo>
                    <a:pt x="44" y="246"/>
                  </a:lnTo>
                  <a:lnTo>
                    <a:pt x="41" y="246"/>
                  </a:lnTo>
                  <a:lnTo>
                    <a:pt x="41" y="246"/>
                  </a:lnTo>
                  <a:lnTo>
                    <a:pt x="41" y="246"/>
                  </a:lnTo>
                  <a:lnTo>
                    <a:pt x="34" y="246"/>
                  </a:lnTo>
                  <a:lnTo>
                    <a:pt x="34" y="246"/>
                  </a:lnTo>
                  <a:lnTo>
                    <a:pt x="34" y="249"/>
                  </a:lnTo>
                  <a:lnTo>
                    <a:pt x="34" y="249"/>
                  </a:lnTo>
                  <a:lnTo>
                    <a:pt x="33" y="253"/>
                  </a:lnTo>
                  <a:lnTo>
                    <a:pt x="33" y="253"/>
                  </a:lnTo>
                  <a:lnTo>
                    <a:pt x="30" y="257"/>
                  </a:lnTo>
                  <a:lnTo>
                    <a:pt x="30" y="257"/>
                  </a:lnTo>
                  <a:lnTo>
                    <a:pt x="31" y="264"/>
                  </a:lnTo>
                  <a:lnTo>
                    <a:pt x="31" y="264"/>
                  </a:lnTo>
                  <a:lnTo>
                    <a:pt x="36" y="264"/>
                  </a:lnTo>
                  <a:lnTo>
                    <a:pt x="36" y="264"/>
                  </a:lnTo>
                  <a:lnTo>
                    <a:pt x="41" y="264"/>
                  </a:lnTo>
                  <a:lnTo>
                    <a:pt x="41" y="264"/>
                  </a:lnTo>
                  <a:lnTo>
                    <a:pt x="46" y="262"/>
                  </a:lnTo>
                  <a:lnTo>
                    <a:pt x="46" y="262"/>
                  </a:lnTo>
                  <a:lnTo>
                    <a:pt x="50" y="261"/>
                  </a:lnTo>
                  <a:lnTo>
                    <a:pt x="50" y="261"/>
                  </a:lnTo>
                  <a:lnTo>
                    <a:pt x="57" y="257"/>
                  </a:lnTo>
                  <a:lnTo>
                    <a:pt x="57" y="257"/>
                  </a:lnTo>
                  <a:lnTo>
                    <a:pt x="58" y="262"/>
                  </a:lnTo>
                  <a:lnTo>
                    <a:pt x="58" y="262"/>
                  </a:lnTo>
                  <a:lnTo>
                    <a:pt x="50" y="270"/>
                  </a:lnTo>
                  <a:lnTo>
                    <a:pt x="50" y="270"/>
                  </a:lnTo>
                  <a:lnTo>
                    <a:pt x="49" y="276"/>
                  </a:lnTo>
                  <a:lnTo>
                    <a:pt x="49" y="276"/>
                  </a:lnTo>
                  <a:lnTo>
                    <a:pt x="49" y="276"/>
                  </a:lnTo>
                  <a:lnTo>
                    <a:pt x="50" y="281"/>
                  </a:lnTo>
                  <a:lnTo>
                    <a:pt x="50" y="281"/>
                  </a:lnTo>
                  <a:lnTo>
                    <a:pt x="55" y="283"/>
                  </a:lnTo>
                  <a:lnTo>
                    <a:pt x="55" y="283"/>
                  </a:lnTo>
                  <a:lnTo>
                    <a:pt x="55" y="283"/>
                  </a:lnTo>
                  <a:lnTo>
                    <a:pt x="54" y="284"/>
                  </a:lnTo>
                  <a:lnTo>
                    <a:pt x="54" y="284"/>
                  </a:lnTo>
                  <a:lnTo>
                    <a:pt x="54" y="284"/>
                  </a:lnTo>
                  <a:lnTo>
                    <a:pt x="55" y="286"/>
                  </a:lnTo>
                  <a:lnTo>
                    <a:pt x="55" y="286"/>
                  </a:lnTo>
                  <a:lnTo>
                    <a:pt x="55" y="286"/>
                  </a:lnTo>
                  <a:lnTo>
                    <a:pt x="55" y="288"/>
                  </a:lnTo>
                  <a:lnTo>
                    <a:pt x="55" y="288"/>
                  </a:lnTo>
                  <a:lnTo>
                    <a:pt x="57" y="288"/>
                  </a:lnTo>
                  <a:lnTo>
                    <a:pt x="57" y="288"/>
                  </a:lnTo>
                  <a:lnTo>
                    <a:pt x="57" y="288"/>
                  </a:lnTo>
                  <a:lnTo>
                    <a:pt x="57" y="288"/>
                  </a:lnTo>
                  <a:lnTo>
                    <a:pt x="57" y="288"/>
                  </a:lnTo>
                  <a:lnTo>
                    <a:pt x="58" y="288"/>
                  </a:lnTo>
                  <a:lnTo>
                    <a:pt x="58" y="288"/>
                  </a:lnTo>
                  <a:lnTo>
                    <a:pt x="58" y="288"/>
                  </a:lnTo>
                  <a:lnTo>
                    <a:pt x="58" y="288"/>
                  </a:lnTo>
                  <a:lnTo>
                    <a:pt x="57" y="288"/>
                  </a:lnTo>
                  <a:lnTo>
                    <a:pt x="57" y="288"/>
                  </a:lnTo>
                  <a:lnTo>
                    <a:pt x="57" y="289"/>
                  </a:lnTo>
                  <a:lnTo>
                    <a:pt x="57" y="289"/>
                  </a:lnTo>
                  <a:lnTo>
                    <a:pt x="57" y="289"/>
                  </a:lnTo>
                  <a:lnTo>
                    <a:pt x="57" y="289"/>
                  </a:lnTo>
                  <a:lnTo>
                    <a:pt x="57" y="291"/>
                  </a:lnTo>
                  <a:lnTo>
                    <a:pt x="57" y="291"/>
                  </a:lnTo>
                  <a:lnTo>
                    <a:pt x="60" y="289"/>
                  </a:lnTo>
                  <a:lnTo>
                    <a:pt x="60" y="289"/>
                  </a:lnTo>
                  <a:lnTo>
                    <a:pt x="61" y="289"/>
                  </a:lnTo>
                  <a:lnTo>
                    <a:pt x="61" y="289"/>
                  </a:lnTo>
                  <a:lnTo>
                    <a:pt x="63" y="291"/>
                  </a:lnTo>
                  <a:lnTo>
                    <a:pt x="63" y="291"/>
                  </a:lnTo>
                  <a:lnTo>
                    <a:pt x="63" y="291"/>
                  </a:lnTo>
                  <a:lnTo>
                    <a:pt x="63" y="291"/>
                  </a:lnTo>
                  <a:lnTo>
                    <a:pt x="61" y="292"/>
                  </a:lnTo>
                  <a:lnTo>
                    <a:pt x="61" y="292"/>
                  </a:lnTo>
                  <a:lnTo>
                    <a:pt x="60" y="292"/>
                  </a:lnTo>
                  <a:lnTo>
                    <a:pt x="60" y="292"/>
                  </a:lnTo>
                  <a:lnTo>
                    <a:pt x="63" y="292"/>
                  </a:lnTo>
                  <a:lnTo>
                    <a:pt x="63" y="292"/>
                  </a:lnTo>
                  <a:lnTo>
                    <a:pt x="66" y="292"/>
                  </a:lnTo>
                  <a:lnTo>
                    <a:pt x="66" y="292"/>
                  </a:lnTo>
                  <a:lnTo>
                    <a:pt x="66" y="291"/>
                  </a:lnTo>
                  <a:lnTo>
                    <a:pt x="66" y="291"/>
                  </a:lnTo>
                  <a:lnTo>
                    <a:pt x="68" y="291"/>
                  </a:lnTo>
                  <a:lnTo>
                    <a:pt x="68" y="291"/>
                  </a:lnTo>
                  <a:lnTo>
                    <a:pt x="73" y="291"/>
                  </a:lnTo>
                  <a:lnTo>
                    <a:pt x="73" y="291"/>
                  </a:lnTo>
                  <a:lnTo>
                    <a:pt x="74" y="291"/>
                  </a:lnTo>
                  <a:lnTo>
                    <a:pt x="74" y="291"/>
                  </a:lnTo>
                  <a:lnTo>
                    <a:pt x="76" y="291"/>
                  </a:lnTo>
                  <a:lnTo>
                    <a:pt x="76" y="291"/>
                  </a:lnTo>
                  <a:lnTo>
                    <a:pt x="77" y="291"/>
                  </a:lnTo>
                  <a:lnTo>
                    <a:pt x="77" y="291"/>
                  </a:lnTo>
                  <a:lnTo>
                    <a:pt x="77" y="289"/>
                  </a:lnTo>
                  <a:lnTo>
                    <a:pt x="77" y="289"/>
                  </a:lnTo>
                  <a:lnTo>
                    <a:pt x="79" y="288"/>
                  </a:lnTo>
                  <a:lnTo>
                    <a:pt x="79" y="288"/>
                  </a:lnTo>
                  <a:lnTo>
                    <a:pt x="84" y="286"/>
                  </a:lnTo>
                  <a:lnTo>
                    <a:pt x="84" y="286"/>
                  </a:lnTo>
                  <a:lnTo>
                    <a:pt x="90" y="286"/>
                  </a:lnTo>
                  <a:lnTo>
                    <a:pt x="90" y="286"/>
                  </a:lnTo>
                  <a:lnTo>
                    <a:pt x="98" y="284"/>
                  </a:lnTo>
                  <a:lnTo>
                    <a:pt x="98" y="284"/>
                  </a:lnTo>
                  <a:lnTo>
                    <a:pt x="103" y="283"/>
                  </a:lnTo>
                  <a:lnTo>
                    <a:pt x="103" y="283"/>
                  </a:lnTo>
                  <a:lnTo>
                    <a:pt x="107" y="281"/>
                  </a:lnTo>
                  <a:lnTo>
                    <a:pt x="107" y="281"/>
                  </a:lnTo>
                  <a:lnTo>
                    <a:pt x="106" y="280"/>
                  </a:lnTo>
                  <a:lnTo>
                    <a:pt x="106" y="280"/>
                  </a:lnTo>
                  <a:lnTo>
                    <a:pt x="107" y="280"/>
                  </a:lnTo>
                  <a:lnTo>
                    <a:pt x="107" y="280"/>
                  </a:lnTo>
                  <a:lnTo>
                    <a:pt x="109" y="278"/>
                  </a:lnTo>
                  <a:lnTo>
                    <a:pt x="109" y="278"/>
                  </a:lnTo>
                  <a:lnTo>
                    <a:pt x="111" y="278"/>
                  </a:lnTo>
                  <a:lnTo>
                    <a:pt x="111" y="278"/>
                  </a:lnTo>
                  <a:lnTo>
                    <a:pt x="111" y="276"/>
                  </a:lnTo>
                  <a:lnTo>
                    <a:pt x="111" y="276"/>
                  </a:lnTo>
                  <a:lnTo>
                    <a:pt x="112" y="276"/>
                  </a:lnTo>
                  <a:lnTo>
                    <a:pt x="112" y="276"/>
                  </a:lnTo>
                  <a:lnTo>
                    <a:pt x="112" y="275"/>
                  </a:lnTo>
                  <a:lnTo>
                    <a:pt x="112" y="275"/>
                  </a:lnTo>
                  <a:lnTo>
                    <a:pt x="115" y="276"/>
                  </a:lnTo>
                  <a:lnTo>
                    <a:pt x="115" y="276"/>
                  </a:lnTo>
                  <a:lnTo>
                    <a:pt x="115" y="276"/>
                  </a:lnTo>
                  <a:lnTo>
                    <a:pt x="115" y="276"/>
                  </a:lnTo>
                  <a:lnTo>
                    <a:pt x="122" y="276"/>
                  </a:lnTo>
                  <a:lnTo>
                    <a:pt x="122" y="276"/>
                  </a:lnTo>
                  <a:lnTo>
                    <a:pt x="123" y="278"/>
                  </a:lnTo>
                  <a:lnTo>
                    <a:pt x="123" y="278"/>
                  </a:lnTo>
                  <a:lnTo>
                    <a:pt x="127" y="280"/>
                  </a:lnTo>
                  <a:lnTo>
                    <a:pt x="127" y="280"/>
                  </a:lnTo>
                  <a:lnTo>
                    <a:pt x="128" y="278"/>
                  </a:lnTo>
                  <a:lnTo>
                    <a:pt x="128" y="278"/>
                  </a:lnTo>
                  <a:lnTo>
                    <a:pt x="131" y="276"/>
                  </a:lnTo>
                  <a:lnTo>
                    <a:pt x="131" y="276"/>
                  </a:lnTo>
                  <a:lnTo>
                    <a:pt x="133" y="278"/>
                  </a:lnTo>
                  <a:lnTo>
                    <a:pt x="133" y="278"/>
                  </a:lnTo>
                  <a:lnTo>
                    <a:pt x="136" y="280"/>
                  </a:lnTo>
                  <a:lnTo>
                    <a:pt x="136" y="280"/>
                  </a:lnTo>
                  <a:lnTo>
                    <a:pt x="138" y="283"/>
                  </a:lnTo>
                  <a:lnTo>
                    <a:pt x="138" y="283"/>
                  </a:lnTo>
                  <a:lnTo>
                    <a:pt x="139" y="284"/>
                  </a:lnTo>
                  <a:lnTo>
                    <a:pt x="139" y="284"/>
                  </a:lnTo>
                  <a:lnTo>
                    <a:pt x="141" y="286"/>
                  </a:lnTo>
                  <a:lnTo>
                    <a:pt x="141" y="286"/>
                  </a:lnTo>
                  <a:lnTo>
                    <a:pt x="141" y="288"/>
                  </a:lnTo>
                  <a:lnTo>
                    <a:pt x="141" y="288"/>
                  </a:lnTo>
                  <a:lnTo>
                    <a:pt x="142" y="289"/>
                  </a:lnTo>
                  <a:lnTo>
                    <a:pt x="142" y="289"/>
                  </a:lnTo>
                  <a:lnTo>
                    <a:pt x="142" y="291"/>
                  </a:lnTo>
                  <a:lnTo>
                    <a:pt x="142" y="291"/>
                  </a:lnTo>
                  <a:lnTo>
                    <a:pt x="141" y="292"/>
                  </a:lnTo>
                  <a:lnTo>
                    <a:pt x="141" y="292"/>
                  </a:lnTo>
                  <a:lnTo>
                    <a:pt x="142" y="294"/>
                  </a:lnTo>
                  <a:lnTo>
                    <a:pt x="142" y="294"/>
                  </a:lnTo>
                  <a:lnTo>
                    <a:pt x="144" y="294"/>
                  </a:lnTo>
                  <a:lnTo>
                    <a:pt x="144" y="294"/>
                  </a:lnTo>
                  <a:lnTo>
                    <a:pt x="147" y="294"/>
                  </a:lnTo>
                  <a:lnTo>
                    <a:pt x="147" y="294"/>
                  </a:lnTo>
                  <a:lnTo>
                    <a:pt x="147" y="294"/>
                  </a:lnTo>
                  <a:lnTo>
                    <a:pt x="147" y="294"/>
                  </a:lnTo>
                  <a:lnTo>
                    <a:pt x="150" y="292"/>
                  </a:lnTo>
                  <a:lnTo>
                    <a:pt x="150" y="292"/>
                  </a:lnTo>
                  <a:lnTo>
                    <a:pt x="150" y="292"/>
                  </a:lnTo>
                  <a:lnTo>
                    <a:pt x="150" y="292"/>
                  </a:lnTo>
                  <a:lnTo>
                    <a:pt x="154" y="292"/>
                  </a:lnTo>
                  <a:lnTo>
                    <a:pt x="154" y="292"/>
                  </a:lnTo>
                  <a:lnTo>
                    <a:pt x="154" y="291"/>
                  </a:lnTo>
                  <a:lnTo>
                    <a:pt x="154" y="291"/>
                  </a:lnTo>
                  <a:lnTo>
                    <a:pt x="154" y="292"/>
                  </a:lnTo>
                  <a:lnTo>
                    <a:pt x="154" y="292"/>
                  </a:lnTo>
                  <a:lnTo>
                    <a:pt x="157" y="294"/>
                  </a:lnTo>
                  <a:lnTo>
                    <a:pt x="157" y="294"/>
                  </a:lnTo>
                  <a:lnTo>
                    <a:pt x="157" y="294"/>
                  </a:lnTo>
                  <a:lnTo>
                    <a:pt x="157" y="294"/>
                  </a:lnTo>
                  <a:lnTo>
                    <a:pt x="157" y="297"/>
                  </a:lnTo>
                  <a:lnTo>
                    <a:pt x="157" y="297"/>
                  </a:lnTo>
                  <a:lnTo>
                    <a:pt x="160" y="294"/>
                  </a:lnTo>
                  <a:lnTo>
                    <a:pt x="160" y="294"/>
                  </a:lnTo>
                  <a:lnTo>
                    <a:pt x="158" y="294"/>
                  </a:lnTo>
                  <a:lnTo>
                    <a:pt x="158" y="294"/>
                  </a:lnTo>
                  <a:lnTo>
                    <a:pt x="158" y="294"/>
                  </a:lnTo>
                  <a:lnTo>
                    <a:pt x="158" y="294"/>
                  </a:lnTo>
                  <a:lnTo>
                    <a:pt x="160" y="294"/>
                  </a:lnTo>
                  <a:lnTo>
                    <a:pt x="160" y="294"/>
                  </a:lnTo>
                  <a:lnTo>
                    <a:pt x="163" y="294"/>
                  </a:lnTo>
                  <a:lnTo>
                    <a:pt x="163" y="294"/>
                  </a:lnTo>
                  <a:lnTo>
                    <a:pt x="168" y="297"/>
                  </a:lnTo>
                  <a:lnTo>
                    <a:pt x="168" y="297"/>
                  </a:lnTo>
                  <a:lnTo>
                    <a:pt x="169" y="294"/>
                  </a:lnTo>
                  <a:lnTo>
                    <a:pt x="169" y="294"/>
                  </a:lnTo>
                  <a:lnTo>
                    <a:pt x="171" y="294"/>
                  </a:lnTo>
                  <a:lnTo>
                    <a:pt x="171" y="294"/>
                  </a:lnTo>
                  <a:lnTo>
                    <a:pt x="173" y="297"/>
                  </a:lnTo>
                  <a:lnTo>
                    <a:pt x="173" y="297"/>
                  </a:lnTo>
                  <a:lnTo>
                    <a:pt x="169" y="297"/>
                  </a:lnTo>
                  <a:lnTo>
                    <a:pt x="169" y="297"/>
                  </a:lnTo>
                  <a:lnTo>
                    <a:pt x="168" y="300"/>
                  </a:lnTo>
                  <a:lnTo>
                    <a:pt x="168" y="300"/>
                  </a:lnTo>
                  <a:lnTo>
                    <a:pt x="169" y="300"/>
                  </a:lnTo>
                  <a:lnTo>
                    <a:pt x="169" y="300"/>
                  </a:lnTo>
                  <a:lnTo>
                    <a:pt x="171" y="303"/>
                  </a:lnTo>
                  <a:lnTo>
                    <a:pt x="171" y="303"/>
                  </a:lnTo>
                  <a:lnTo>
                    <a:pt x="174" y="300"/>
                  </a:lnTo>
                  <a:lnTo>
                    <a:pt x="174" y="300"/>
                  </a:lnTo>
                  <a:lnTo>
                    <a:pt x="177" y="300"/>
                  </a:lnTo>
                  <a:lnTo>
                    <a:pt x="177" y="300"/>
                  </a:lnTo>
                  <a:lnTo>
                    <a:pt x="179" y="300"/>
                  </a:lnTo>
                  <a:lnTo>
                    <a:pt x="179" y="300"/>
                  </a:lnTo>
                  <a:lnTo>
                    <a:pt x="181" y="300"/>
                  </a:lnTo>
                  <a:lnTo>
                    <a:pt x="181" y="300"/>
                  </a:lnTo>
                  <a:lnTo>
                    <a:pt x="182" y="303"/>
                  </a:lnTo>
                  <a:lnTo>
                    <a:pt x="182" y="303"/>
                  </a:lnTo>
                  <a:lnTo>
                    <a:pt x="182" y="300"/>
                  </a:lnTo>
                  <a:lnTo>
                    <a:pt x="182" y="300"/>
                  </a:lnTo>
                  <a:lnTo>
                    <a:pt x="182" y="300"/>
                  </a:lnTo>
                  <a:lnTo>
                    <a:pt x="182" y="300"/>
                  </a:lnTo>
                  <a:lnTo>
                    <a:pt x="185" y="297"/>
                  </a:lnTo>
                  <a:lnTo>
                    <a:pt x="185" y="297"/>
                  </a:lnTo>
                  <a:lnTo>
                    <a:pt x="188" y="297"/>
                  </a:lnTo>
                  <a:lnTo>
                    <a:pt x="188" y="297"/>
                  </a:lnTo>
                  <a:lnTo>
                    <a:pt x="188" y="294"/>
                  </a:lnTo>
                  <a:lnTo>
                    <a:pt x="188" y="294"/>
                  </a:lnTo>
                  <a:lnTo>
                    <a:pt x="188" y="294"/>
                  </a:lnTo>
                  <a:lnTo>
                    <a:pt x="188" y="294"/>
                  </a:lnTo>
                  <a:lnTo>
                    <a:pt x="195" y="292"/>
                  </a:lnTo>
                  <a:lnTo>
                    <a:pt x="195" y="292"/>
                  </a:lnTo>
                  <a:lnTo>
                    <a:pt x="196" y="291"/>
                  </a:lnTo>
                  <a:lnTo>
                    <a:pt x="196" y="291"/>
                  </a:lnTo>
                  <a:lnTo>
                    <a:pt x="200" y="291"/>
                  </a:lnTo>
                  <a:lnTo>
                    <a:pt x="200" y="291"/>
                  </a:lnTo>
                  <a:lnTo>
                    <a:pt x="203" y="289"/>
                  </a:lnTo>
                  <a:lnTo>
                    <a:pt x="203" y="289"/>
                  </a:lnTo>
                  <a:lnTo>
                    <a:pt x="201" y="291"/>
                  </a:lnTo>
                  <a:lnTo>
                    <a:pt x="201" y="291"/>
                  </a:lnTo>
                  <a:lnTo>
                    <a:pt x="203" y="292"/>
                  </a:lnTo>
                  <a:lnTo>
                    <a:pt x="203" y="292"/>
                  </a:lnTo>
                  <a:lnTo>
                    <a:pt x="203" y="294"/>
                  </a:lnTo>
                  <a:lnTo>
                    <a:pt x="203" y="294"/>
                  </a:lnTo>
                  <a:lnTo>
                    <a:pt x="201" y="294"/>
                  </a:lnTo>
                  <a:lnTo>
                    <a:pt x="201" y="294"/>
                  </a:lnTo>
                  <a:lnTo>
                    <a:pt x="200" y="294"/>
                  </a:lnTo>
                  <a:lnTo>
                    <a:pt x="200" y="294"/>
                  </a:lnTo>
                  <a:lnTo>
                    <a:pt x="208" y="297"/>
                  </a:lnTo>
                  <a:lnTo>
                    <a:pt x="208" y="297"/>
                  </a:lnTo>
                  <a:lnTo>
                    <a:pt x="217" y="303"/>
                  </a:lnTo>
                  <a:lnTo>
                    <a:pt x="217" y="303"/>
                  </a:lnTo>
                  <a:lnTo>
                    <a:pt x="223" y="308"/>
                  </a:lnTo>
                  <a:lnTo>
                    <a:pt x="223" y="308"/>
                  </a:lnTo>
                  <a:lnTo>
                    <a:pt x="231" y="314"/>
                  </a:lnTo>
                  <a:lnTo>
                    <a:pt x="231" y="314"/>
                  </a:lnTo>
                  <a:lnTo>
                    <a:pt x="233" y="316"/>
                  </a:lnTo>
                  <a:lnTo>
                    <a:pt x="233" y="316"/>
                  </a:lnTo>
                  <a:lnTo>
                    <a:pt x="247" y="329"/>
                  </a:lnTo>
                  <a:lnTo>
                    <a:pt x="247" y="329"/>
                  </a:lnTo>
                  <a:lnTo>
                    <a:pt x="252" y="335"/>
                  </a:lnTo>
                  <a:lnTo>
                    <a:pt x="252" y="335"/>
                  </a:lnTo>
                  <a:lnTo>
                    <a:pt x="255" y="338"/>
                  </a:lnTo>
                  <a:lnTo>
                    <a:pt x="255" y="338"/>
                  </a:lnTo>
                  <a:lnTo>
                    <a:pt x="258" y="340"/>
                  </a:lnTo>
                  <a:lnTo>
                    <a:pt x="258" y="340"/>
                  </a:lnTo>
                  <a:lnTo>
                    <a:pt x="258" y="338"/>
                  </a:lnTo>
                  <a:lnTo>
                    <a:pt x="258" y="338"/>
                  </a:lnTo>
                  <a:lnTo>
                    <a:pt x="260" y="337"/>
                  </a:lnTo>
                  <a:lnTo>
                    <a:pt x="260" y="337"/>
                  </a:lnTo>
                  <a:lnTo>
                    <a:pt x="260" y="335"/>
                  </a:lnTo>
                  <a:lnTo>
                    <a:pt x="260" y="335"/>
                  </a:lnTo>
                  <a:lnTo>
                    <a:pt x="260" y="334"/>
                  </a:lnTo>
                  <a:lnTo>
                    <a:pt x="260" y="334"/>
                  </a:lnTo>
                  <a:lnTo>
                    <a:pt x="260" y="332"/>
                  </a:lnTo>
                  <a:lnTo>
                    <a:pt x="260" y="332"/>
                  </a:lnTo>
                  <a:lnTo>
                    <a:pt x="261" y="332"/>
                  </a:lnTo>
                  <a:lnTo>
                    <a:pt x="261" y="332"/>
                  </a:lnTo>
                  <a:lnTo>
                    <a:pt x="265" y="332"/>
                  </a:lnTo>
                  <a:lnTo>
                    <a:pt x="265" y="332"/>
                  </a:lnTo>
                  <a:lnTo>
                    <a:pt x="266" y="334"/>
                  </a:lnTo>
                  <a:lnTo>
                    <a:pt x="266" y="334"/>
                  </a:lnTo>
                  <a:lnTo>
                    <a:pt x="268" y="334"/>
                  </a:lnTo>
                  <a:lnTo>
                    <a:pt x="268" y="334"/>
                  </a:lnTo>
                  <a:lnTo>
                    <a:pt x="268" y="337"/>
                  </a:lnTo>
                  <a:lnTo>
                    <a:pt x="268" y="337"/>
                  </a:lnTo>
                  <a:lnTo>
                    <a:pt x="269" y="337"/>
                  </a:lnTo>
                  <a:lnTo>
                    <a:pt x="269" y="337"/>
                  </a:lnTo>
                  <a:lnTo>
                    <a:pt x="271" y="337"/>
                  </a:lnTo>
                  <a:lnTo>
                    <a:pt x="271" y="337"/>
                  </a:lnTo>
                  <a:lnTo>
                    <a:pt x="273" y="337"/>
                  </a:lnTo>
                  <a:lnTo>
                    <a:pt x="273" y="337"/>
                  </a:lnTo>
                  <a:lnTo>
                    <a:pt x="273" y="338"/>
                  </a:lnTo>
                  <a:lnTo>
                    <a:pt x="273" y="338"/>
                  </a:lnTo>
                  <a:lnTo>
                    <a:pt x="276" y="340"/>
                  </a:lnTo>
                  <a:lnTo>
                    <a:pt x="276" y="340"/>
                  </a:lnTo>
                  <a:lnTo>
                    <a:pt x="276" y="340"/>
                  </a:lnTo>
                  <a:lnTo>
                    <a:pt x="276" y="340"/>
                  </a:lnTo>
                  <a:lnTo>
                    <a:pt x="279" y="340"/>
                  </a:lnTo>
                  <a:lnTo>
                    <a:pt x="279" y="340"/>
                  </a:lnTo>
                  <a:lnTo>
                    <a:pt x="279" y="340"/>
                  </a:lnTo>
                  <a:lnTo>
                    <a:pt x="279" y="340"/>
                  </a:lnTo>
                  <a:lnTo>
                    <a:pt x="282" y="340"/>
                  </a:lnTo>
                  <a:lnTo>
                    <a:pt x="282" y="340"/>
                  </a:lnTo>
                  <a:lnTo>
                    <a:pt x="282" y="340"/>
                  </a:lnTo>
                  <a:lnTo>
                    <a:pt x="282" y="340"/>
                  </a:lnTo>
                  <a:lnTo>
                    <a:pt x="284" y="340"/>
                  </a:lnTo>
                  <a:lnTo>
                    <a:pt x="284" y="340"/>
                  </a:lnTo>
                  <a:lnTo>
                    <a:pt x="285" y="338"/>
                  </a:lnTo>
                  <a:lnTo>
                    <a:pt x="285" y="338"/>
                  </a:lnTo>
                  <a:lnTo>
                    <a:pt x="287" y="337"/>
                  </a:lnTo>
                  <a:lnTo>
                    <a:pt x="287" y="337"/>
                  </a:lnTo>
                  <a:lnTo>
                    <a:pt x="288" y="337"/>
                  </a:lnTo>
                  <a:lnTo>
                    <a:pt x="288" y="337"/>
                  </a:lnTo>
                  <a:lnTo>
                    <a:pt x="290" y="335"/>
                  </a:lnTo>
                  <a:lnTo>
                    <a:pt x="290" y="335"/>
                  </a:lnTo>
                  <a:lnTo>
                    <a:pt x="295" y="337"/>
                  </a:lnTo>
                  <a:lnTo>
                    <a:pt x="295" y="337"/>
                  </a:lnTo>
                  <a:lnTo>
                    <a:pt x="300" y="338"/>
                  </a:lnTo>
                  <a:lnTo>
                    <a:pt x="300" y="338"/>
                  </a:lnTo>
                  <a:lnTo>
                    <a:pt x="304" y="343"/>
                  </a:lnTo>
                  <a:lnTo>
                    <a:pt x="304" y="343"/>
                  </a:lnTo>
                  <a:lnTo>
                    <a:pt x="308" y="345"/>
                  </a:lnTo>
                  <a:lnTo>
                    <a:pt x="308" y="345"/>
                  </a:lnTo>
                  <a:lnTo>
                    <a:pt x="308" y="346"/>
                  </a:lnTo>
                  <a:lnTo>
                    <a:pt x="308" y="346"/>
                  </a:lnTo>
                  <a:lnTo>
                    <a:pt x="311" y="348"/>
                  </a:lnTo>
                  <a:lnTo>
                    <a:pt x="311" y="348"/>
                  </a:lnTo>
                  <a:lnTo>
                    <a:pt x="314" y="348"/>
                  </a:lnTo>
                  <a:lnTo>
                    <a:pt x="314" y="348"/>
                  </a:lnTo>
                  <a:lnTo>
                    <a:pt x="317" y="349"/>
                  </a:lnTo>
                  <a:lnTo>
                    <a:pt x="317" y="349"/>
                  </a:lnTo>
                  <a:lnTo>
                    <a:pt x="317" y="349"/>
                  </a:lnTo>
                  <a:lnTo>
                    <a:pt x="317" y="349"/>
                  </a:lnTo>
                  <a:lnTo>
                    <a:pt x="319" y="353"/>
                  </a:lnTo>
                  <a:lnTo>
                    <a:pt x="319" y="353"/>
                  </a:lnTo>
                  <a:lnTo>
                    <a:pt x="320" y="356"/>
                  </a:lnTo>
                  <a:lnTo>
                    <a:pt x="320" y="356"/>
                  </a:lnTo>
                  <a:lnTo>
                    <a:pt x="327" y="356"/>
                  </a:lnTo>
                  <a:lnTo>
                    <a:pt x="327" y="356"/>
                  </a:lnTo>
                  <a:lnTo>
                    <a:pt x="330" y="356"/>
                  </a:lnTo>
                  <a:lnTo>
                    <a:pt x="330" y="356"/>
                  </a:lnTo>
                  <a:lnTo>
                    <a:pt x="331" y="356"/>
                  </a:lnTo>
                  <a:lnTo>
                    <a:pt x="331" y="356"/>
                  </a:lnTo>
                  <a:lnTo>
                    <a:pt x="333" y="356"/>
                  </a:lnTo>
                  <a:lnTo>
                    <a:pt x="333" y="356"/>
                  </a:lnTo>
                  <a:lnTo>
                    <a:pt x="335" y="356"/>
                  </a:lnTo>
                  <a:lnTo>
                    <a:pt x="335" y="356"/>
                  </a:lnTo>
                  <a:lnTo>
                    <a:pt x="336" y="353"/>
                  </a:lnTo>
                  <a:lnTo>
                    <a:pt x="336" y="353"/>
                  </a:lnTo>
                  <a:lnTo>
                    <a:pt x="338" y="353"/>
                  </a:lnTo>
                  <a:lnTo>
                    <a:pt x="338" y="353"/>
                  </a:lnTo>
                  <a:lnTo>
                    <a:pt x="338" y="356"/>
                  </a:lnTo>
                  <a:lnTo>
                    <a:pt x="338" y="356"/>
                  </a:lnTo>
                  <a:lnTo>
                    <a:pt x="339" y="356"/>
                  </a:lnTo>
                  <a:lnTo>
                    <a:pt x="339" y="356"/>
                  </a:lnTo>
                  <a:lnTo>
                    <a:pt x="339" y="356"/>
                  </a:lnTo>
                  <a:lnTo>
                    <a:pt x="339" y="356"/>
                  </a:lnTo>
                  <a:lnTo>
                    <a:pt x="342" y="359"/>
                  </a:lnTo>
                  <a:lnTo>
                    <a:pt x="342" y="359"/>
                  </a:lnTo>
                  <a:lnTo>
                    <a:pt x="344" y="361"/>
                  </a:lnTo>
                  <a:lnTo>
                    <a:pt x="344" y="361"/>
                  </a:lnTo>
                  <a:lnTo>
                    <a:pt x="346" y="362"/>
                  </a:lnTo>
                  <a:lnTo>
                    <a:pt x="346" y="362"/>
                  </a:lnTo>
                  <a:lnTo>
                    <a:pt x="346" y="362"/>
                  </a:lnTo>
                  <a:lnTo>
                    <a:pt x="346" y="362"/>
                  </a:lnTo>
                  <a:lnTo>
                    <a:pt x="349" y="362"/>
                  </a:lnTo>
                  <a:lnTo>
                    <a:pt x="349" y="362"/>
                  </a:lnTo>
                  <a:lnTo>
                    <a:pt x="352" y="362"/>
                  </a:lnTo>
                  <a:lnTo>
                    <a:pt x="352" y="362"/>
                  </a:lnTo>
                  <a:lnTo>
                    <a:pt x="354" y="362"/>
                  </a:lnTo>
                  <a:lnTo>
                    <a:pt x="354" y="362"/>
                  </a:lnTo>
                  <a:lnTo>
                    <a:pt x="355" y="359"/>
                  </a:lnTo>
                  <a:lnTo>
                    <a:pt x="355" y="359"/>
                  </a:lnTo>
                  <a:lnTo>
                    <a:pt x="355" y="359"/>
                  </a:lnTo>
                  <a:lnTo>
                    <a:pt x="355" y="359"/>
                  </a:lnTo>
                  <a:lnTo>
                    <a:pt x="357" y="356"/>
                  </a:lnTo>
                  <a:lnTo>
                    <a:pt x="357" y="356"/>
                  </a:lnTo>
                  <a:lnTo>
                    <a:pt x="360" y="356"/>
                  </a:lnTo>
                  <a:lnTo>
                    <a:pt x="360" y="356"/>
                  </a:lnTo>
                  <a:lnTo>
                    <a:pt x="362" y="359"/>
                  </a:lnTo>
                  <a:lnTo>
                    <a:pt x="362" y="359"/>
                  </a:lnTo>
                  <a:lnTo>
                    <a:pt x="362" y="356"/>
                  </a:lnTo>
                  <a:lnTo>
                    <a:pt x="362" y="356"/>
                  </a:lnTo>
                  <a:lnTo>
                    <a:pt x="365" y="356"/>
                  </a:lnTo>
                  <a:lnTo>
                    <a:pt x="365" y="356"/>
                  </a:lnTo>
                  <a:lnTo>
                    <a:pt x="366" y="356"/>
                  </a:lnTo>
                  <a:lnTo>
                    <a:pt x="366" y="356"/>
                  </a:lnTo>
                  <a:lnTo>
                    <a:pt x="365" y="356"/>
                  </a:lnTo>
                  <a:lnTo>
                    <a:pt x="365" y="356"/>
                  </a:lnTo>
                  <a:lnTo>
                    <a:pt x="371" y="353"/>
                  </a:lnTo>
                  <a:lnTo>
                    <a:pt x="371" y="353"/>
                  </a:lnTo>
                  <a:lnTo>
                    <a:pt x="369" y="353"/>
                  </a:lnTo>
                  <a:lnTo>
                    <a:pt x="369" y="353"/>
                  </a:lnTo>
                  <a:lnTo>
                    <a:pt x="371" y="349"/>
                  </a:lnTo>
                  <a:lnTo>
                    <a:pt x="371" y="349"/>
                  </a:lnTo>
                  <a:lnTo>
                    <a:pt x="373" y="349"/>
                  </a:lnTo>
                  <a:lnTo>
                    <a:pt x="373" y="349"/>
                  </a:lnTo>
                  <a:lnTo>
                    <a:pt x="373" y="349"/>
                  </a:lnTo>
                  <a:lnTo>
                    <a:pt x="373" y="349"/>
                  </a:lnTo>
                  <a:lnTo>
                    <a:pt x="373" y="348"/>
                  </a:lnTo>
                  <a:lnTo>
                    <a:pt x="373" y="348"/>
                  </a:lnTo>
                  <a:lnTo>
                    <a:pt x="374" y="348"/>
                  </a:lnTo>
                  <a:lnTo>
                    <a:pt x="374" y="348"/>
                  </a:lnTo>
                  <a:lnTo>
                    <a:pt x="377" y="348"/>
                  </a:lnTo>
                  <a:lnTo>
                    <a:pt x="377" y="348"/>
                  </a:lnTo>
                  <a:lnTo>
                    <a:pt x="379" y="346"/>
                  </a:lnTo>
                  <a:lnTo>
                    <a:pt x="379" y="346"/>
                  </a:lnTo>
                  <a:lnTo>
                    <a:pt x="382" y="345"/>
                  </a:lnTo>
                  <a:lnTo>
                    <a:pt x="382" y="345"/>
                  </a:lnTo>
                  <a:lnTo>
                    <a:pt x="384" y="343"/>
                  </a:lnTo>
                  <a:lnTo>
                    <a:pt x="384" y="343"/>
                  </a:lnTo>
                  <a:lnTo>
                    <a:pt x="385" y="341"/>
                  </a:lnTo>
                  <a:lnTo>
                    <a:pt x="385" y="341"/>
                  </a:lnTo>
                  <a:lnTo>
                    <a:pt x="387" y="341"/>
                  </a:lnTo>
                  <a:lnTo>
                    <a:pt x="387" y="341"/>
                  </a:lnTo>
                  <a:lnTo>
                    <a:pt x="390" y="340"/>
                  </a:lnTo>
                  <a:lnTo>
                    <a:pt x="390" y="340"/>
                  </a:lnTo>
                  <a:lnTo>
                    <a:pt x="392" y="340"/>
                  </a:lnTo>
                  <a:lnTo>
                    <a:pt x="392" y="340"/>
                  </a:lnTo>
                  <a:lnTo>
                    <a:pt x="392" y="338"/>
                  </a:lnTo>
                  <a:lnTo>
                    <a:pt x="392" y="338"/>
                  </a:lnTo>
                  <a:lnTo>
                    <a:pt x="395" y="340"/>
                  </a:lnTo>
                  <a:lnTo>
                    <a:pt x="395" y="340"/>
                  </a:lnTo>
                  <a:lnTo>
                    <a:pt x="396" y="340"/>
                  </a:lnTo>
                  <a:lnTo>
                    <a:pt x="396" y="340"/>
                  </a:lnTo>
                  <a:lnTo>
                    <a:pt x="398" y="340"/>
                  </a:lnTo>
                  <a:lnTo>
                    <a:pt x="398" y="340"/>
                  </a:lnTo>
                  <a:lnTo>
                    <a:pt x="398" y="340"/>
                  </a:lnTo>
                  <a:lnTo>
                    <a:pt x="398" y="340"/>
                  </a:lnTo>
                  <a:lnTo>
                    <a:pt x="401" y="340"/>
                  </a:lnTo>
                  <a:lnTo>
                    <a:pt x="401" y="340"/>
                  </a:lnTo>
                  <a:lnTo>
                    <a:pt x="401" y="341"/>
                  </a:lnTo>
                  <a:lnTo>
                    <a:pt x="401" y="341"/>
                  </a:lnTo>
                  <a:lnTo>
                    <a:pt x="401" y="341"/>
                  </a:lnTo>
                  <a:lnTo>
                    <a:pt x="401" y="341"/>
                  </a:lnTo>
                  <a:lnTo>
                    <a:pt x="404" y="341"/>
                  </a:lnTo>
                  <a:lnTo>
                    <a:pt x="404" y="341"/>
                  </a:lnTo>
                  <a:lnTo>
                    <a:pt x="408" y="341"/>
                  </a:lnTo>
                  <a:lnTo>
                    <a:pt x="408" y="341"/>
                  </a:lnTo>
                  <a:lnTo>
                    <a:pt x="409" y="341"/>
                  </a:lnTo>
                  <a:lnTo>
                    <a:pt x="409" y="341"/>
                  </a:lnTo>
                  <a:lnTo>
                    <a:pt x="411" y="341"/>
                  </a:lnTo>
                  <a:lnTo>
                    <a:pt x="411" y="341"/>
                  </a:lnTo>
                  <a:lnTo>
                    <a:pt x="414" y="341"/>
                  </a:lnTo>
                  <a:lnTo>
                    <a:pt x="414" y="341"/>
                  </a:lnTo>
                  <a:lnTo>
                    <a:pt x="417" y="345"/>
                  </a:lnTo>
                  <a:lnTo>
                    <a:pt x="417" y="345"/>
                  </a:lnTo>
                  <a:lnTo>
                    <a:pt x="420" y="348"/>
                  </a:lnTo>
                  <a:lnTo>
                    <a:pt x="420" y="348"/>
                  </a:lnTo>
                  <a:lnTo>
                    <a:pt x="423" y="349"/>
                  </a:lnTo>
                  <a:lnTo>
                    <a:pt x="423" y="349"/>
                  </a:lnTo>
                  <a:lnTo>
                    <a:pt x="430" y="349"/>
                  </a:lnTo>
                  <a:lnTo>
                    <a:pt x="430" y="349"/>
                  </a:lnTo>
                  <a:lnTo>
                    <a:pt x="430" y="349"/>
                  </a:lnTo>
                  <a:lnTo>
                    <a:pt x="430" y="349"/>
                  </a:lnTo>
                  <a:lnTo>
                    <a:pt x="433" y="349"/>
                  </a:lnTo>
                  <a:lnTo>
                    <a:pt x="433" y="349"/>
                  </a:lnTo>
                  <a:lnTo>
                    <a:pt x="436" y="349"/>
                  </a:lnTo>
                  <a:lnTo>
                    <a:pt x="436" y="349"/>
                  </a:lnTo>
                  <a:lnTo>
                    <a:pt x="439" y="349"/>
                  </a:lnTo>
                  <a:lnTo>
                    <a:pt x="439" y="349"/>
                  </a:lnTo>
                  <a:lnTo>
                    <a:pt x="439" y="349"/>
                  </a:lnTo>
                  <a:lnTo>
                    <a:pt x="439" y="349"/>
                  </a:lnTo>
                  <a:lnTo>
                    <a:pt x="449" y="353"/>
                  </a:lnTo>
                  <a:lnTo>
                    <a:pt x="449" y="353"/>
                  </a:lnTo>
                  <a:lnTo>
                    <a:pt x="454" y="353"/>
                  </a:lnTo>
                  <a:lnTo>
                    <a:pt x="454" y="353"/>
                  </a:lnTo>
                  <a:lnTo>
                    <a:pt x="455" y="353"/>
                  </a:lnTo>
                  <a:lnTo>
                    <a:pt x="455" y="353"/>
                  </a:lnTo>
                  <a:lnTo>
                    <a:pt x="457" y="349"/>
                  </a:lnTo>
                  <a:lnTo>
                    <a:pt x="457" y="349"/>
                  </a:lnTo>
                  <a:lnTo>
                    <a:pt x="460" y="349"/>
                  </a:lnTo>
                  <a:lnTo>
                    <a:pt x="460" y="349"/>
                  </a:lnTo>
                  <a:lnTo>
                    <a:pt x="462" y="349"/>
                  </a:lnTo>
                  <a:lnTo>
                    <a:pt x="462" y="349"/>
                  </a:lnTo>
                  <a:lnTo>
                    <a:pt x="462" y="346"/>
                  </a:lnTo>
                  <a:lnTo>
                    <a:pt x="462" y="346"/>
                  </a:lnTo>
                  <a:lnTo>
                    <a:pt x="460" y="343"/>
                  </a:lnTo>
                  <a:lnTo>
                    <a:pt x="460" y="343"/>
                  </a:lnTo>
                  <a:lnTo>
                    <a:pt x="458" y="343"/>
                  </a:lnTo>
                  <a:lnTo>
                    <a:pt x="458" y="343"/>
                  </a:lnTo>
                  <a:lnTo>
                    <a:pt x="455" y="340"/>
                  </a:lnTo>
                  <a:lnTo>
                    <a:pt x="455" y="340"/>
                  </a:lnTo>
                  <a:lnTo>
                    <a:pt x="452" y="337"/>
                  </a:lnTo>
                  <a:lnTo>
                    <a:pt x="452" y="337"/>
                  </a:lnTo>
                  <a:lnTo>
                    <a:pt x="450" y="332"/>
                  </a:lnTo>
                  <a:lnTo>
                    <a:pt x="450" y="332"/>
                  </a:lnTo>
                  <a:lnTo>
                    <a:pt x="450" y="330"/>
                  </a:lnTo>
                  <a:lnTo>
                    <a:pt x="450" y="330"/>
                  </a:lnTo>
                  <a:lnTo>
                    <a:pt x="452" y="329"/>
                  </a:lnTo>
                  <a:lnTo>
                    <a:pt x="452" y="329"/>
                  </a:lnTo>
                  <a:lnTo>
                    <a:pt x="452" y="327"/>
                  </a:lnTo>
                  <a:lnTo>
                    <a:pt x="452" y="327"/>
                  </a:lnTo>
                  <a:lnTo>
                    <a:pt x="454" y="327"/>
                  </a:lnTo>
                  <a:lnTo>
                    <a:pt x="454" y="327"/>
                  </a:lnTo>
                  <a:lnTo>
                    <a:pt x="455" y="324"/>
                  </a:lnTo>
                  <a:lnTo>
                    <a:pt x="455" y="324"/>
                  </a:lnTo>
                  <a:lnTo>
                    <a:pt x="455" y="324"/>
                  </a:lnTo>
                  <a:lnTo>
                    <a:pt x="455" y="324"/>
                  </a:lnTo>
                  <a:lnTo>
                    <a:pt x="455" y="321"/>
                  </a:lnTo>
                  <a:lnTo>
                    <a:pt x="455" y="321"/>
                  </a:lnTo>
                  <a:lnTo>
                    <a:pt x="468" y="324"/>
                  </a:lnTo>
                  <a:lnTo>
                    <a:pt x="468" y="324"/>
                  </a:lnTo>
                  <a:lnTo>
                    <a:pt x="476" y="327"/>
                  </a:lnTo>
                  <a:lnTo>
                    <a:pt x="476" y="327"/>
                  </a:lnTo>
                  <a:lnTo>
                    <a:pt x="482" y="327"/>
                  </a:lnTo>
                  <a:lnTo>
                    <a:pt x="482" y="327"/>
                  </a:lnTo>
                  <a:lnTo>
                    <a:pt x="489" y="329"/>
                  </a:lnTo>
                  <a:lnTo>
                    <a:pt x="489" y="329"/>
                  </a:lnTo>
                  <a:lnTo>
                    <a:pt x="492" y="329"/>
                  </a:lnTo>
                  <a:lnTo>
                    <a:pt x="492" y="329"/>
                  </a:lnTo>
                  <a:lnTo>
                    <a:pt x="496" y="330"/>
                  </a:lnTo>
                  <a:lnTo>
                    <a:pt x="496" y="330"/>
                  </a:lnTo>
                  <a:lnTo>
                    <a:pt x="498" y="332"/>
                  </a:lnTo>
                  <a:lnTo>
                    <a:pt x="498" y="332"/>
                  </a:lnTo>
                  <a:lnTo>
                    <a:pt x="500" y="335"/>
                  </a:lnTo>
                  <a:lnTo>
                    <a:pt x="500" y="335"/>
                  </a:lnTo>
                  <a:lnTo>
                    <a:pt x="500" y="338"/>
                  </a:lnTo>
                  <a:lnTo>
                    <a:pt x="500" y="338"/>
                  </a:lnTo>
                  <a:lnTo>
                    <a:pt x="503" y="340"/>
                  </a:lnTo>
                  <a:lnTo>
                    <a:pt x="503" y="340"/>
                  </a:lnTo>
                  <a:lnTo>
                    <a:pt x="506" y="343"/>
                  </a:lnTo>
                  <a:lnTo>
                    <a:pt x="506" y="343"/>
                  </a:lnTo>
                  <a:lnTo>
                    <a:pt x="509" y="345"/>
                  </a:lnTo>
                  <a:lnTo>
                    <a:pt x="509" y="345"/>
                  </a:lnTo>
                  <a:lnTo>
                    <a:pt x="512" y="346"/>
                  </a:lnTo>
                  <a:lnTo>
                    <a:pt x="512" y="346"/>
                  </a:lnTo>
                  <a:lnTo>
                    <a:pt x="517" y="348"/>
                  </a:lnTo>
                  <a:lnTo>
                    <a:pt x="517" y="348"/>
                  </a:lnTo>
                  <a:lnTo>
                    <a:pt x="519" y="348"/>
                  </a:lnTo>
                  <a:lnTo>
                    <a:pt x="519" y="348"/>
                  </a:lnTo>
                  <a:lnTo>
                    <a:pt x="520" y="348"/>
                  </a:lnTo>
                  <a:lnTo>
                    <a:pt x="520" y="348"/>
                  </a:lnTo>
                  <a:lnTo>
                    <a:pt x="523" y="348"/>
                  </a:lnTo>
                  <a:lnTo>
                    <a:pt x="523" y="348"/>
                  </a:lnTo>
                  <a:lnTo>
                    <a:pt x="523" y="348"/>
                  </a:lnTo>
                  <a:lnTo>
                    <a:pt x="523" y="348"/>
                  </a:lnTo>
                  <a:lnTo>
                    <a:pt x="527" y="346"/>
                  </a:lnTo>
                  <a:lnTo>
                    <a:pt x="527" y="346"/>
                  </a:lnTo>
                  <a:lnTo>
                    <a:pt x="535" y="345"/>
                  </a:lnTo>
                  <a:lnTo>
                    <a:pt x="535" y="345"/>
                  </a:lnTo>
                  <a:lnTo>
                    <a:pt x="536" y="345"/>
                  </a:lnTo>
                  <a:lnTo>
                    <a:pt x="536" y="345"/>
                  </a:lnTo>
                  <a:lnTo>
                    <a:pt x="541" y="345"/>
                  </a:lnTo>
                  <a:lnTo>
                    <a:pt x="541" y="345"/>
                  </a:lnTo>
                  <a:lnTo>
                    <a:pt x="544" y="345"/>
                  </a:lnTo>
                  <a:lnTo>
                    <a:pt x="544" y="345"/>
                  </a:lnTo>
                  <a:lnTo>
                    <a:pt x="546" y="345"/>
                  </a:lnTo>
                  <a:lnTo>
                    <a:pt x="546" y="345"/>
                  </a:lnTo>
                  <a:lnTo>
                    <a:pt x="554" y="345"/>
                  </a:lnTo>
                  <a:lnTo>
                    <a:pt x="554" y="345"/>
                  </a:lnTo>
                  <a:lnTo>
                    <a:pt x="555" y="346"/>
                  </a:lnTo>
                  <a:lnTo>
                    <a:pt x="555" y="346"/>
                  </a:lnTo>
                  <a:lnTo>
                    <a:pt x="558" y="349"/>
                  </a:lnTo>
                  <a:lnTo>
                    <a:pt x="558" y="349"/>
                  </a:lnTo>
                  <a:lnTo>
                    <a:pt x="565" y="349"/>
                  </a:lnTo>
                  <a:lnTo>
                    <a:pt x="565" y="349"/>
                  </a:lnTo>
                  <a:lnTo>
                    <a:pt x="568" y="349"/>
                  </a:lnTo>
                  <a:lnTo>
                    <a:pt x="568" y="349"/>
                  </a:lnTo>
                  <a:lnTo>
                    <a:pt x="568" y="349"/>
                  </a:lnTo>
                  <a:lnTo>
                    <a:pt x="568" y="349"/>
                  </a:lnTo>
                  <a:lnTo>
                    <a:pt x="571" y="353"/>
                  </a:lnTo>
                  <a:lnTo>
                    <a:pt x="571" y="353"/>
                  </a:lnTo>
                  <a:lnTo>
                    <a:pt x="573" y="353"/>
                  </a:lnTo>
                  <a:lnTo>
                    <a:pt x="573" y="353"/>
                  </a:lnTo>
                  <a:lnTo>
                    <a:pt x="574" y="356"/>
                  </a:lnTo>
                  <a:lnTo>
                    <a:pt x="574" y="356"/>
                  </a:lnTo>
                  <a:lnTo>
                    <a:pt x="577" y="356"/>
                  </a:lnTo>
                  <a:lnTo>
                    <a:pt x="577" y="356"/>
                  </a:lnTo>
                  <a:lnTo>
                    <a:pt x="582" y="359"/>
                  </a:lnTo>
                  <a:lnTo>
                    <a:pt x="582" y="359"/>
                  </a:lnTo>
                  <a:lnTo>
                    <a:pt x="585" y="359"/>
                  </a:lnTo>
                  <a:lnTo>
                    <a:pt x="585" y="359"/>
                  </a:lnTo>
                  <a:lnTo>
                    <a:pt x="590" y="359"/>
                  </a:lnTo>
                  <a:lnTo>
                    <a:pt x="590" y="359"/>
                  </a:lnTo>
                  <a:lnTo>
                    <a:pt x="593" y="359"/>
                  </a:lnTo>
                  <a:lnTo>
                    <a:pt x="593" y="359"/>
                  </a:lnTo>
                  <a:lnTo>
                    <a:pt x="596" y="362"/>
                  </a:lnTo>
                  <a:lnTo>
                    <a:pt x="596" y="362"/>
                  </a:lnTo>
                  <a:lnTo>
                    <a:pt x="603" y="362"/>
                  </a:lnTo>
                  <a:lnTo>
                    <a:pt x="603" y="362"/>
                  </a:lnTo>
                  <a:lnTo>
                    <a:pt x="606" y="362"/>
                  </a:lnTo>
                  <a:lnTo>
                    <a:pt x="606" y="362"/>
                  </a:lnTo>
                  <a:lnTo>
                    <a:pt x="609" y="362"/>
                  </a:lnTo>
                  <a:lnTo>
                    <a:pt x="609" y="362"/>
                  </a:lnTo>
                  <a:lnTo>
                    <a:pt x="612" y="359"/>
                  </a:lnTo>
                  <a:lnTo>
                    <a:pt x="612" y="359"/>
                  </a:lnTo>
                  <a:lnTo>
                    <a:pt x="616" y="359"/>
                  </a:lnTo>
                  <a:lnTo>
                    <a:pt x="616" y="359"/>
                  </a:lnTo>
                  <a:lnTo>
                    <a:pt x="623" y="356"/>
                  </a:lnTo>
                  <a:lnTo>
                    <a:pt x="623" y="356"/>
                  </a:lnTo>
                  <a:lnTo>
                    <a:pt x="625" y="356"/>
                  </a:lnTo>
                  <a:lnTo>
                    <a:pt x="625" y="356"/>
                  </a:lnTo>
                  <a:lnTo>
                    <a:pt x="625" y="356"/>
                  </a:lnTo>
                  <a:lnTo>
                    <a:pt x="625" y="356"/>
                  </a:lnTo>
                  <a:lnTo>
                    <a:pt x="628" y="356"/>
                  </a:lnTo>
                  <a:lnTo>
                    <a:pt x="628" y="356"/>
                  </a:lnTo>
                  <a:lnTo>
                    <a:pt x="628" y="353"/>
                  </a:lnTo>
                  <a:lnTo>
                    <a:pt x="628" y="353"/>
                  </a:lnTo>
                  <a:lnTo>
                    <a:pt x="631" y="349"/>
                  </a:lnTo>
                  <a:lnTo>
                    <a:pt x="631" y="349"/>
                  </a:lnTo>
                  <a:lnTo>
                    <a:pt x="635" y="349"/>
                  </a:lnTo>
                  <a:lnTo>
                    <a:pt x="635" y="349"/>
                  </a:lnTo>
                  <a:lnTo>
                    <a:pt x="636" y="348"/>
                  </a:lnTo>
                  <a:lnTo>
                    <a:pt x="636" y="348"/>
                  </a:lnTo>
                  <a:lnTo>
                    <a:pt x="639" y="346"/>
                  </a:lnTo>
                  <a:lnTo>
                    <a:pt x="639" y="346"/>
                  </a:lnTo>
                  <a:lnTo>
                    <a:pt x="643" y="346"/>
                  </a:lnTo>
                  <a:lnTo>
                    <a:pt x="643" y="346"/>
                  </a:lnTo>
                  <a:lnTo>
                    <a:pt x="647" y="348"/>
                  </a:lnTo>
                  <a:lnTo>
                    <a:pt x="647" y="348"/>
                  </a:lnTo>
                  <a:lnTo>
                    <a:pt x="652" y="349"/>
                  </a:lnTo>
                  <a:lnTo>
                    <a:pt x="652" y="349"/>
                  </a:lnTo>
                  <a:lnTo>
                    <a:pt x="655" y="353"/>
                  </a:lnTo>
                  <a:lnTo>
                    <a:pt x="655" y="353"/>
                  </a:lnTo>
                  <a:lnTo>
                    <a:pt x="658" y="353"/>
                  </a:lnTo>
                  <a:lnTo>
                    <a:pt x="658" y="353"/>
                  </a:lnTo>
                  <a:lnTo>
                    <a:pt x="660" y="349"/>
                  </a:lnTo>
                  <a:lnTo>
                    <a:pt x="660" y="349"/>
                  </a:lnTo>
                  <a:lnTo>
                    <a:pt x="662" y="349"/>
                  </a:lnTo>
                  <a:lnTo>
                    <a:pt x="662" y="349"/>
                  </a:lnTo>
                  <a:lnTo>
                    <a:pt x="665" y="349"/>
                  </a:lnTo>
                  <a:lnTo>
                    <a:pt x="665" y="349"/>
                  </a:lnTo>
                  <a:lnTo>
                    <a:pt x="668" y="353"/>
                  </a:lnTo>
                  <a:lnTo>
                    <a:pt x="668" y="353"/>
                  </a:lnTo>
                  <a:lnTo>
                    <a:pt x="670" y="353"/>
                  </a:lnTo>
                  <a:lnTo>
                    <a:pt x="670" y="353"/>
                  </a:lnTo>
                  <a:lnTo>
                    <a:pt x="673" y="356"/>
                  </a:lnTo>
                  <a:lnTo>
                    <a:pt x="673" y="356"/>
                  </a:lnTo>
                  <a:lnTo>
                    <a:pt x="677" y="356"/>
                  </a:lnTo>
                  <a:lnTo>
                    <a:pt x="677" y="356"/>
                  </a:lnTo>
                  <a:lnTo>
                    <a:pt x="681" y="356"/>
                  </a:lnTo>
                  <a:lnTo>
                    <a:pt x="681" y="356"/>
                  </a:lnTo>
                  <a:lnTo>
                    <a:pt x="684" y="356"/>
                  </a:lnTo>
                  <a:lnTo>
                    <a:pt x="684" y="356"/>
                  </a:lnTo>
                  <a:lnTo>
                    <a:pt x="684" y="356"/>
                  </a:lnTo>
                  <a:lnTo>
                    <a:pt x="684" y="356"/>
                  </a:lnTo>
                  <a:lnTo>
                    <a:pt x="687" y="353"/>
                  </a:lnTo>
                  <a:lnTo>
                    <a:pt x="687" y="353"/>
                  </a:lnTo>
                  <a:lnTo>
                    <a:pt x="690" y="353"/>
                  </a:lnTo>
                  <a:lnTo>
                    <a:pt x="690" y="353"/>
                  </a:lnTo>
                  <a:lnTo>
                    <a:pt x="692" y="349"/>
                  </a:lnTo>
                  <a:lnTo>
                    <a:pt x="692" y="349"/>
                  </a:lnTo>
                  <a:lnTo>
                    <a:pt x="693" y="349"/>
                  </a:lnTo>
                  <a:lnTo>
                    <a:pt x="693" y="349"/>
                  </a:lnTo>
                  <a:lnTo>
                    <a:pt x="693" y="348"/>
                  </a:lnTo>
                  <a:lnTo>
                    <a:pt x="693" y="348"/>
                  </a:lnTo>
                  <a:lnTo>
                    <a:pt x="692" y="346"/>
                  </a:lnTo>
                  <a:lnTo>
                    <a:pt x="692" y="346"/>
                  </a:lnTo>
                  <a:lnTo>
                    <a:pt x="690" y="345"/>
                  </a:lnTo>
                  <a:lnTo>
                    <a:pt x="690" y="345"/>
                  </a:lnTo>
                  <a:lnTo>
                    <a:pt x="690" y="340"/>
                  </a:lnTo>
                  <a:lnTo>
                    <a:pt x="690" y="340"/>
                  </a:lnTo>
                  <a:lnTo>
                    <a:pt x="690" y="338"/>
                  </a:lnTo>
                  <a:lnTo>
                    <a:pt x="690" y="338"/>
                  </a:lnTo>
                  <a:lnTo>
                    <a:pt x="690" y="337"/>
                  </a:lnTo>
                  <a:lnTo>
                    <a:pt x="690" y="337"/>
                  </a:lnTo>
                  <a:lnTo>
                    <a:pt x="690" y="334"/>
                  </a:lnTo>
                  <a:lnTo>
                    <a:pt x="690" y="334"/>
                  </a:lnTo>
                  <a:lnTo>
                    <a:pt x="690" y="330"/>
                  </a:lnTo>
                  <a:lnTo>
                    <a:pt x="690" y="330"/>
                  </a:lnTo>
                  <a:lnTo>
                    <a:pt x="690" y="327"/>
                  </a:lnTo>
                  <a:lnTo>
                    <a:pt x="690" y="327"/>
                  </a:lnTo>
                  <a:lnTo>
                    <a:pt x="692" y="324"/>
                  </a:lnTo>
                  <a:lnTo>
                    <a:pt x="692" y="324"/>
                  </a:lnTo>
                  <a:lnTo>
                    <a:pt x="692" y="324"/>
                  </a:lnTo>
                  <a:lnTo>
                    <a:pt x="692" y="324"/>
                  </a:lnTo>
                  <a:lnTo>
                    <a:pt x="692" y="321"/>
                  </a:lnTo>
                  <a:lnTo>
                    <a:pt x="692" y="321"/>
                  </a:lnTo>
                  <a:lnTo>
                    <a:pt x="690" y="318"/>
                  </a:lnTo>
                  <a:lnTo>
                    <a:pt x="690" y="318"/>
                  </a:lnTo>
                  <a:lnTo>
                    <a:pt x="690" y="316"/>
                  </a:lnTo>
                  <a:lnTo>
                    <a:pt x="690" y="316"/>
                  </a:lnTo>
                  <a:lnTo>
                    <a:pt x="687" y="314"/>
                  </a:lnTo>
                  <a:lnTo>
                    <a:pt x="687" y="314"/>
                  </a:lnTo>
                  <a:lnTo>
                    <a:pt x="684" y="314"/>
                  </a:lnTo>
                  <a:lnTo>
                    <a:pt x="684" y="314"/>
                  </a:lnTo>
                  <a:lnTo>
                    <a:pt x="681" y="314"/>
                  </a:lnTo>
                  <a:lnTo>
                    <a:pt x="681" y="314"/>
                  </a:lnTo>
                  <a:lnTo>
                    <a:pt x="679" y="313"/>
                  </a:lnTo>
                  <a:lnTo>
                    <a:pt x="679" y="313"/>
                  </a:lnTo>
                  <a:lnTo>
                    <a:pt x="681" y="310"/>
                  </a:lnTo>
                  <a:lnTo>
                    <a:pt x="681" y="310"/>
                  </a:lnTo>
                  <a:lnTo>
                    <a:pt x="681" y="308"/>
                  </a:lnTo>
                  <a:lnTo>
                    <a:pt x="681" y="308"/>
                  </a:lnTo>
                  <a:lnTo>
                    <a:pt x="684" y="305"/>
                  </a:lnTo>
                  <a:lnTo>
                    <a:pt x="684" y="305"/>
                  </a:lnTo>
                  <a:lnTo>
                    <a:pt x="687" y="305"/>
                  </a:lnTo>
                  <a:lnTo>
                    <a:pt x="687" y="305"/>
                  </a:lnTo>
                  <a:lnTo>
                    <a:pt x="692" y="303"/>
                  </a:lnTo>
                  <a:lnTo>
                    <a:pt x="692" y="303"/>
                  </a:lnTo>
                  <a:lnTo>
                    <a:pt x="700" y="303"/>
                  </a:lnTo>
                  <a:lnTo>
                    <a:pt x="700" y="303"/>
                  </a:lnTo>
                  <a:lnTo>
                    <a:pt x="708" y="303"/>
                  </a:lnTo>
                  <a:lnTo>
                    <a:pt x="708" y="303"/>
                  </a:lnTo>
                  <a:lnTo>
                    <a:pt x="711" y="303"/>
                  </a:lnTo>
                  <a:lnTo>
                    <a:pt x="711" y="303"/>
                  </a:lnTo>
                  <a:lnTo>
                    <a:pt x="716" y="303"/>
                  </a:lnTo>
                  <a:lnTo>
                    <a:pt x="716" y="303"/>
                  </a:lnTo>
                  <a:lnTo>
                    <a:pt x="719" y="303"/>
                  </a:lnTo>
                  <a:lnTo>
                    <a:pt x="719" y="303"/>
                  </a:lnTo>
                  <a:lnTo>
                    <a:pt x="722" y="305"/>
                  </a:lnTo>
                  <a:lnTo>
                    <a:pt x="722" y="305"/>
                  </a:lnTo>
                  <a:lnTo>
                    <a:pt x="728" y="308"/>
                  </a:lnTo>
                  <a:lnTo>
                    <a:pt x="728" y="308"/>
                  </a:lnTo>
                  <a:lnTo>
                    <a:pt x="728" y="307"/>
                  </a:lnTo>
                  <a:lnTo>
                    <a:pt x="728" y="307"/>
                  </a:lnTo>
                  <a:lnTo>
                    <a:pt x="730" y="307"/>
                  </a:lnTo>
                  <a:lnTo>
                    <a:pt x="730" y="307"/>
                  </a:lnTo>
                  <a:lnTo>
                    <a:pt x="731" y="307"/>
                  </a:lnTo>
                  <a:lnTo>
                    <a:pt x="731" y="307"/>
                  </a:lnTo>
                  <a:lnTo>
                    <a:pt x="735" y="308"/>
                  </a:lnTo>
                  <a:lnTo>
                    <a:pt x="735" y="308"/>
                  </a:lnTo>
                  <a:lnTo>
                    <a:pt x="738" y="308"/>
                  </a:lnTo>
                  <a:lnTo>
                    <a:pt x="738" y="308"/>
                  </a:lnTo>
                  <a:lnTo>
                    <a:pt x="739" y="311"/>
                  </a:lnTo>
                  <a:lnTo>
                    <a:pt x="739" y="311"/>
                  </a:lnTo>
                  <a:lnTo>
                    <a:pt x="743" y="311"/>
                  </a:lnTo>
                  <a:lnTo>
                    <a:pt x="743" y="311"/>
                  </a:lnTo>
                  <a:lnTo>
                    <a:pt x="746" y="314"/>
                  </a:lnTo>
                  <a:lnTo>
                    <a:pt x="746" y="314"/>
                  </a:lnTo>
                  <a:lnTo>
                    <a:pt x="747" y="314"/>
                  </a:lnTo>
                  <a:lnTo>
                    <a:pt x="747" y="314"/>
                  </a:lnTo>
                  <a:lnTo>
                    <a:pt x="749" y="316"/>
                  </a:lnTo>
                  <a:lnTo>
                    <a:pt x="749" y="316"/>
                  </a:lnTo>
                  <a:lnTo>
                    <a:pt x="754" y="321"/>
                  </a:lnTo>
                  <a:lnTo>
                    <a:pt x="754" y="321"/>
                  </a:lnTo>
                  <a:lnTo>
                    <a:pt x="757" y="321"/>
                  </a:lnTo>
                  <a:lnTo>
                    <a:pt x="757" y="321"/>
                  </a:lnTo>
                  <a:lnTo>
                    <a:pt x="760" y="324"/>
                  </a:lnTo>
                  <a:lnTo>
                    <a:pt x="760" y="324"/>
                  </a:lnTo>
                  <a:lnTo>
                    <a:pt x="763" y="329"/>
                  </a:lnTo>
                  <a:lnTo>
                    <a:pt x="763" y="329"/>
                  </a:lnTo>
                  <a:lnTo>
                    <a:pt x="768" y="332"/>
                  </a:lnTo>
                  <a:lnTo>
                    <a:pt x="768" y="332"/>
                  </a:lnTo>
                  <a:lnTo>
                    <a:pt x="771" y="335"/>
                  </a:lnTo>
                  <a:lnTo>
                    <a:pt x="771" y="335"/>
                  </a:lnTo>
                  <a:lnTo>
                    <a:pt x="774" y="337"/>
                  </a:lnTo>
                  <a:lnTo>
                    <a:pt x="774" y="337"/>
                  </a:lnTo>
                  <a:lnTo>
                    <a:pt x="777" y="340"/>
                  </a:lnTo>
                  <a:lnTo>
                    <a:pt x="777" y="340"/>
                  </a:lnTo>
                  <a:lnTo>
                    <a:pt x="779" y="343"/>
                  </a:lnTo>
                  <a:lnTo>
                    <a:pt x="779" y="343"/>
                  </a:lnTo>
                  <a:lnTo>
                    <a:pt x="782" y="346"/>
                  </a:lnTo>
                  <a:lnTo>
                    <a:pt x="782" y="346"/>
                  </a:lnTo>
                  <a:lnTo>
                    <a:pt x="785" y="348"/>
                  </a:lnTo>
                  <a:lnTo>
                    <a:pt x="785" y="348"/>
                  </a:lnTo>
                  <a:lnTo>
                    <a:pt x="785" y="349"/>
                  </a:lnTo>
                  <a:lnTo>
                    <a:pt x="785" y="349"/>
                  </a:lnTo>
                  <a:lnTo>
                    <a:pt x="789" y="353"/>
                  </a:lnTo>
                  <a:lnTo>
                    <a:pt x="789" y="353"/>
                  </a:lnTo>
                  <a:lnTo>
                    <a:pt x="792" y="356"/>
                  </a:lnTo>
                  <a:lnTo>
                    <a:pt x="792" y="356"/>
                  </a:lnTo>
                  <a:lnTo>
                    <a:pt x="793" y="356"/>
                  </a:lnTo>
                  <a:lnTo>
                    <a:pt x="793" y="356"/>
                  </a:lnTo>
                  <a:lnTo>
                    <a:pt x="801" y="356"/>
                  </a:lnTo>
                  <a:lnTo>
                    <a:pt x="801" y="356"/>
                  </a:lnTo>
                  <a:lnTo>
                    <a:pt x="804" y="356"/>
                  </a:lnTo>
                  <a:lnTo>
                    <a:pt x="804" y="356"/>
                  </a:lnTo>
                  <a:lnTo>
                    <a:pt x="806" y="359"/>
                  </a:lnTo>
                  <a:lnTo>
                    <a:pt x="806" y="359"/>
                  </a:lnTo>
                  <a:lnTo>
                    <a:pt x="809" y="359"/>
                  </a:lnTo>
                  <a:lnTo>
                    <a:pt x="809" y="359"/>
                  </a:lnTo>
                  <a:lnTo>
                    <a:pt x="812" y="359"/>
                  </a:lnTo>
                  <a:lnTo>
                    <a:pt x="812" y="359"/>
                  </a:lnTo>
                  <a:lnTo>
                    <a:pt x="812" y="359"/>
                  </a:lnTo>
                  <a:lnTo>
                    <a:pt x="812" y="359"/>
                  </a:lnTo>
                  <a:lnTo>
                    <a:pt x="812" y="359"/>
                  </a:lnTo>
                  <a:lnTo>
                    <a:pt x="812" y="359"/>
                  </a:lnTo>
                  <a:lnTo>
                    <a:pt x="816" y="359"/>
                  </a:lnTo>
                  <a:lnTo>
                    <a:pt x="816" y="359"/>
                  </a:lnTo>
                  <a:lnTo>
                    <a:pt x="819" y="362"/>
                  </a:lnTo>
                  <a:lnTo>
                    <a:pt x="819" y="362"/>
                  </a:lnTo>
                  <a:lnTo>
                    <a:pt x="824" y="365"/>
                  </a:lnTo>
                  <a:lnTo>
                    <a:pt x="824" y="365"/>
                  </a:lnTo>
                  <a:lnTo>
                    <a:pt x="828" y="365"/>
                  </a:lnTo>
                  <a:lnTo>
                    <a:pt x="828" y="365"/>
                  </a:lnTo>
                  <a:lnTo>
                    <a:pt x="831" y="365"/>
                  </a:lnTo>
                  <a:lnTo>
                    <a:pt x="831" y="365"/>
                  </a:lnTo>
                  <a:lnTo>
                    <a:pt x="831" y="367"/>
                  </a:lnTo>
                  <a:lnTo>
                    <a:pt x="831" y="367"/>
                  </a:lnTo>
                  <a:lnTo>
                    <a:pt x="831" y="368"/>
                  </a:lnTo>
                  <a:lnTo>
                    <a:pt x="831" y="368"/>
                  </a:lnTo>
                  <a:lnTo>
                    <a:pt x="833" y="370"/>
                  </a:lnTo>
                  <a:lnTo>
                    <a:pt x="833" y="370"/>
                  </a:lnTo>
                  <a:lnTo>
                    <a:pt x="836" y="373"/>
                  </a:lnTo>
                  <a:lnTo>
                    <a:pt x="836" y="373"/>
                  </a:lnTo>
                  <a:lnTo>
                    <a:pt x="838" y="375"/>
                  </a:lnTo>
                  <a:lnTo>
                    <a:pt x="838" y="375"/>
                  </a:lnTo>
                  <a:lnTo>
                    <a:pt x="838" y="376"/>
                  </a:lnTo>
                  <a:lnTo>
                    <a:pt x="838" y="376"/>
                  </a:lnTo>
                  <a:lnTo>
                    <a:pt x="839" y="378"/>
                  </a:lnTo>
                  <a:lnTo>
                    <a:pt x="839" y="378"/>
                  </a:lnTo>
                  <a:lnTo>
                    <a:pt x="841" y="381"/>
                  </a:lnTo>
                  <a:lnTo>
                    <a:pt x="841" y="381"/>
                  </a:lnTo>
                  <a:lnTo>
                    <a:pt x="847" y="383"/>
                  </a:lnTo>
                  <a:lnTo>
                    <a:pt x="847" y="383"/>
                  </a:lnTo>
                  <a:lnTo>
                    <a:pt x="851" y="383"/>
                  </a:lnTo>
                  <a:lnTo>
                    <a:pt x="851" y="383"/>
                  </a:lnTo>
                  <a:lnTo>
                    <a:pt x="851" y="383"/>
                  </a:lnTo>
                  <a:lnTo>
                    <a:pt x="851" y="383"/>
                  </a:lnTo>
                  <a:lnTo>
                    <a:pt x="852" y="383"/>
                  </a:lnTo>
                  <a:lnTo>
                    <a:pt x="852" y="383"/>
                  </a:lnTo>
                  <a:lnTo>
                    <a:pt x="854" y="383"/>
                  </a:lnTo>
                  <a:lnTo>
                    <a:pt x="854" y="383"/>
                  </a:lnTo>
                  <a:lnTo>
                    <a:pt x="858" y="383"/>
                  </a:lnTo>
                  <a:lnTo>
                    <a:pt x="858" y="383"/>
                  </a:lnTo>
                  <a:lnTo>
                    <a:pt x="862" y="383"/>
                  </a:lnTo>
                  <a:lnTo>
                    <a:pt x="862" y="383"/>
                  </a:lnTo>
                  <a:lnTo>
                    <a:pt x="862" y="381"/>
                  </a:lnTo>
                  <a:lnTo>
                    <a:pt x="862" y="381"/>
                  </a:lnTo>
                  <a:lnTo>
                    <a:pt x="863" y="380"/>
                  </a:lnTo>
                  <a:lnTo>
                    <a:pt x="863" y="380"/>
                  </a:lnTo>
                  <a:lnTo>
                    <a:pt x="865" y="378"/>
                  </a:lnTo>
                  <a:lnTo>
                    <a:pt x="865" y="378"/>
                  </a:lnTo>
                  <a:lnTo>
                    <a:pt x="870" y="378"/>
                  </a:lnTo>
                  <a:lnTo>
                    <a:pt x="870" y="378"/>
                  </a:lnTo>
                  <a:lnTo>
                    <a:pt x="873" y="375"/>
                  </a:lnTo>
                  <a:lnTo>
                    <a:pt x="873" y="375"/>
                  </a:lnTo>
                  <a:lnTo>
                    <a:pt x="876" y="373"/>
                  </a:lnTo>
                  <a:lnTo>
                    <a:pt x="876" y="373"/>
                  </a:lnTo>
                  <a:lnTo>
                    <a:pt x="879" y="373"/>
                  </a:lnTo>
                  <a:lnTo>
                    <a:pt x="879" y="373"/>
                  </a:lnTo>
                  <a:lnTo>
                    <a:pt x="882" y="375"/>
                  </a:lnTo>
                  <a:lnTo>
                    <a:pt x="882" y="375"/>
                  </a:lnTo>
                  <a:lnTo>
                    <a:pt x="882" y="376"/>
                  </a:lnTo>
                  <a:lnTo>
                    <a:pt x="882" y="376"/>
                  </a:lnTo>
                  <a:lnTo>
                    <a:pt x="882" y="380"/>
                  </a:lnTo>
                  <a:lnTo>
                    <a:pt x="882" y="380"/>
                  </a:lnTo>
                  <a:lnTo>
                    <a:pt x="885" y="381"/>
                  </a:lnTo>
                  <a:lnTo>
                    <a:pt x="885" y="381"/>
                  </a:lnTo>
                  <a:lnTo>
                    <a:pt x="887" y="384"/>
                  </a:lnTo>
                  <a:lnTo>
                    <a:pt x="887" y="384"/>
                  </a:lnTo>
                  <a:lnTo>
                    <a:pt x="887" y="384"/>
                  </a:lnTo>
                  <a:lnTo>
                    <a:pt x="887" y="384"/>
                  </a:lnTo>
                  <a:lnTo>
                    <a:pt x="885" y="388"/>
                  </a:lnTo>
                  <a:lnTo>
                    <a:pt x="885" y="388"/>
                  </a:lnTo>
                  <a:lnTo>
                    <a:pt x="885" y="388"/>
                  </a:lnTo>
                  <a:lnTo>
                    <a:pt x="885" y="388"/>
                  </a:lnTo>
                  <a:lnTo>
                    <a:pt x="885" y="391"/>
                  </a:lnTo>
                  <a:lnTo>
                    <a:pt x="885" y="391"/>
                  </a:lnTo>
                  <a:lnTo>
                    <a:pt x="885" y="394"/>
                  </a:lnTo>
                  <a:lnTo>
                    <a:pt x="885" y="394"/>
                  </a:lnTo>
                  <a:lnTo>
                    <a:pt x="889" y="397"/>
                  </a:lnTo>
                  <a:lnTo>
                    <a:pt x="889" y="397"/>
                  </a:lnTo>
                  <a:lnTo>
                    <a:pt x="889" y="400"/>
                  </a:lnTo>
                  <a:lnTo>
                    <a:pt x="889" y="400"/>
                  </a:lnTo>
                  <a:lnTo>
                    <a:pt x="890" y="402"/>
                  </a:lnTo>
                  <a:lnTo>
                    <a:pt x="890" y="402"/>
                  </a:lnTo>
                  <a:lnTo>
                    <a:pt x="890" y="403"/>
                  </a:lnTo>
                  <a:lnTo>
                    <a:pt x="890" y="403"/>
                  </a:lnTo>
                  <a:lnTo>
                    <a:pt x="889" y="405"/>
                  </a:lnTo>
                  <a:lnTo>
                    <a:pt x="889" y="405"/>
                  </a:lnTo>
                  <a:lnTo>
                    <a:pt x="890" y="405"/>
                  </a:lnTo>
                  <a:lnTo>
                    <a:pt x="890" y="405"/>
                  </a:lnTo>
                  <a:lnTo>
                    <a:pt x="890" y="407"/>
                  </a:lnTo>
                  <a:lnTo>
                    <a:pt x="890" y="407"/>
                  </a:lnTo>
                  <a:lnTo>
                    <a:pt x="890" y="408"/>
                  </a:lnTo>
                  <a:lnTo>
                    <a:pt x="890" y="408"/>
                  </a:lnTo>
                  <a:lnTo>
                    <a:pt x="890" y="411"/>
                  </a:lnTo>
                  <a:lnTo>
                    <a:pt x="890" y="411"/>
                  </a:lnTo>
                  <a:lnTo>
                    <a:pt x="890" y="411"/>
                  </a:lnTo>
                  <a:lnTo>
                    <a:pt x="890" y="411"/>
                  </a:lnTo>
                  <a:lnTo>
                    <a:pt x="889" y="415"/>
                  </a:lnTo>
                  <a:lnTo>
                    <a:pt x="889" y="415"/>
                  </a:lnTo>
                  <a:lnTo>
                    <a:pt x="889" y="415"/>
                  </a:lnTo>
                  <a:lnTo>
                    <a:pt x="889" y="415"/>
                  </a:lnTo>
                  <a:lnTo>
                    <a:pt x="890" y="418"/>
                  </a:lnTo>
                  <a:lnTo>
                    <a:pt x="890" y="418"/>
                  </a:lnTo>
                  <a:lnTo>
                    <a:pt x="890" y="419"/>
                  </a:lnTo>
                  <a:lnTo>
                    <a:pt x="890" y="419"/>
                  </a:lnTo>
                  <a:lnTo>
                    <a:pt x="887" y="419"/>
                  </a:lnTo>
                  <a:lnTo>
                    <a:pt x="887" y="419"/>
                  </a:lnTo>
                  <a:lnTo>
                    <a:pt x="882" y="418"/>
                  </a:lnTo>
                  <a:lnTo>
                    <a:pt x="882" y="418"/>
                  </a:lnTo>
                  <a:lnTo>
                    <a:pt x="879" y="418"/>
                  </a:lnTo>
                  <a:lnTo>
                    <a:pt x="879" y="418"/>
                  </a:lnTo>
                  <a:lnTo>
                    <a:pt x="876" y="418"/>
                  </a:lnTo>
                  <a:lnTo>
                    <a:pt x="876" y="418"/>
                  </a:lnTo>
                  <a:lnTo>
                    <a:pt x="876" y="418"/>
                  </a:lnTo>
                  <a:lnTo>
                    <a:pt x="876" y="418"/>
                  </a:lnTo>
                  <a:lnTo>
                    <a:pt x="874" y="419"/>
                  </a:lnTo>
                  <a:lnTo>
                    <a:pt x="874" y="419"/>
                  </a:lnTo>
                  <a:lnTo>
                    <a:pt x="873" y="421"/>
                  </a:lnTo>
                  <a:lnTo>
                    <a:pt x="873" y="421"/>
                  </a:lnTo>
                  <a:lnTo>
                    <a:pt x="870" y="421"/>
                  </a:lnTo>
                  <a:lnTo>
                    <a:pt x="870" y="421"/>
                  </a:lnTo>
                  <a:lnTo>
                    <a:pt x="870" y="422"/>
                  </a:lnTo>
                  <a:lnTo>
                    <a:pt x="870" y="422"/>
                  </a:lnTo>
                  <a:lnTo>
                    <a:pt x="871" y="424"/>
                  </a:lnTo>
                  <a:lnTo>
                    <a:pt x="871" y="424"/>
                  </a:lnTo>
                  <a:lnTo>
                    <a:pt x="873" y="426"/>
                  </a:lnTo>
                  <a:lnTo>
                    <a:pt x="873" y="426"/>
                  </a:lnTo>
                  <a:lnTo>
                    <a:pt x="876" y="432"/>
                  </a:lnTo>
                  <a:lnTo>
                    <a:pt x="876" y="432"/>
                  </a:lnTo>
                  <a:lnTo>
                    <a:pt x="882" y="438"/>
                  </a:lnTo>
                  <a:lnTo>
                    <a:pt x="882" y="438"/>
                  </a:lnTo>
                  <a:lnTo>
                    <a:pt x="885" y="443"/>
                  </a:lnTo>
                  <a:lnTo>
                    <a:pt x="885" y="443"/>
                  </a:lnTo>
                  <a:lnTo>
                    <a:pt x="885" y="446"/>
                  </a:lnTo>
                  <a:lnTo>
                    <a:pt x="885" y="446"/>
                  </a:lnTo>
                  <a:lnTo>
                    <a:pt x="885" y="449"/>
                  </a:lnTo>
                  <a:lnTo>
                    <a:pt x="885" y="449"/>
                  </a:lnTo>
                  <a:lnTo>
                    <a:pt x="885" y="449"/>
                  </a:lnTo>
                  <a:lnTo>
                    <a:pt x="885" y="449"/>
                  </a:lnTo>
                  <a:lnTo>
                    <a:pt x="882" y="453"/>
                  </a:lnTo>
                  <a:lnTo>
                    <a:pt x="882" y="453"/>
                  </a:lnTo>
                  <a:lnTo>
                    <a:pt x="879" y="453"/>
                  </a:lnTo>
                  <a:lnTo>
                    <a:pt x="879" y="453"/>
                  </a:lnTo>
                  <a:lnTo>
                    <a:pt x="881" y="453"/>
                  </a:lnTo>
                  <a:lnTo>
                    <a:pt x="881" y="453"/>
                  </a:lnTo>
                  <a:lnTo>
                    <a:pt x="885" y="454"/>
                  </a:lnTo>
                  <a:lnTo>
                    <a:pt x="885" y="454"/>
                  </a:lnTo>
                  <a:lnTo>
                    <a:pt x="887" y="453"/>
                  </a:lnTo>
                  <a:lnTo>
                    <a:pt x="887" y="453"/>
                  </a:lnTo>
                  <a:lnTo>
                    <a:pt x="890" y="454"/>
                  </a:lnTo>
                  <a:lnTo>
                    <a:pt x="890" y="454"/>
                  </a:lnTo>
                  <a:lnTo>
                    <a:pt x="890" y="453"/>
                  </a:lnTo>
                  <a:lnTo>
                    <a:pt x="890" y="453"/>
                  </a:lnTo>
                  <a:lnTo>
                    <a:pt x="889" y="449"/>
                  </a:lnTo>
                  <a:lnTo>
                    <a:pt x="889" y="449"/>
                  </a:lnTo>
                  <a:lnTo>
                    <a:pt x="890" y="449"/>
                  </a:lnTo>
                  <a:lnTo>
                    <a:pt x="890" y="449"/>
                  </a:lnTo>
                  <a:lnTo>
                    <a:pt x="890" y="446"/>
                  </a:lnTo>
                  <a:lnTo>
                    <a:pt x="890" y="446"/>
                  </a:lnTo>
                  <a:lnTo>
                    <a:pt x="892" y="446"/>
                  </a:lnTo>
                  <a:lnTo>
                    <a:pt x="892" y="446"/>
                  </a:lnTo>
                  <a:lnTo>
                    <a:pt x="892" y="443"/>
                  </a:lnTo>
                  <a:lnTo>
                    <a:pt x="892" y="443"/>
                  </a:lnTo>
                  <a:lnTo>
                    <a:pt x="893" y="446"/>
                  </a:lnTo>
                  <a:lnTo>
                    <a:pt x="893" y="446"/>
                  </a:lnTo>
                  <a:lnTo>
                    <a:pt x="893" y="446"/>
                  </a:lnTo>
                  <a:lnTo>
                    <a:pt x="893" y="446"/>
                  </a:lnTo>
                  <a:lnTo>
                    <a:pt x="895" y="449"/>
                  </a:lnTo>
                  <a:lnTo>
                    <a:pt x="895" y="449"/>
                  </a:lnTo>
                  <a:lnTo>
                    <a:pt x="897" y="446"/>
                  </a:lnTo>
                  <a:lnTo>
                    <a:pt x="897" y="446"/>
                  </a:lnTo>
                  <a:lnTo>
                    <a:pt x="897" y="443"/>
                  </a:lnTo>
                  <a:lnTo>
                    <a:pt x="897" y="443"/>
                  </a:lnTo>
                  <a:lnTo>
                    <a:pt x="900" y="446"/>
                  </a:lnTo>
                  <a:lnTo>
                    <a:pt x="900" y="446"/>
                  </a:lnTo>
                  <a:lnTo>
                    <a:pt x="901" y="449"/>
                  </a:lnTo>
                  <a:lnTo>
                    <a:pt x="901" y="449"/>
                  </a:lnTo>
                  <a:lnTo>
                    <a:pt x="903" y="449"/>
                  </a:lnTo>
                  <a:lnTo>
                    <a:pt x="903" y="449"/>
                  </a:lnTo>
                  <a:lnTo>
                    <a:pt x="906" y="453"/>
                  </a:lnTo>
                  <a:lnTo>
                    <a:pt x="906" y="453"/>
                  </a:lnTo>
                  <a:lnTo>
                    <a:pt x="911" y="453"/>
                  </a:lnTo>
                  <a:lnTo>
                    <a:pt x="911" y="453"/>
                  </a:lnTo>
                  <a:lnTo>
                    <a:pt x="911" y="453"/>
                  </a:lnTo>
                  <a:lnTo>
                    <a:pt x="911" y="453"/>
                  </a:lnTo>
                  <a:lnTo>
                    <a:pt x="914" y="453"/>
                  </a:lnTo>
                  <a:lnTo>
                    <a:pt x="914" y="453"/>
                  </a:lnTo>
                  <a:lnTo>
                    <a:pt x="920" y="449"/>
                  </a:lnTo>
                  <a:lnTo>
                    <a:pt x="920" y="449"/>
                  </a:lnTo>
                  <a:lnTo>
                    <a:pt x="927" y="443"/>
                  </a:lnTo>
                  <a:lnTo>
                    <a:pt x="927" y="443"/>
                  </a:lnTo>
                  <a:lnTo>
                    <a:pt x="928" y="440"/>
                  </a:lnTo>
                  <a:lnTo>
                    <a:pt x="928" y="440"/>
                  </a:lnTo>
                  <a:lnTo>
                    <a:pt x="930" y="437"/>
                  </a:lnTo>
                  <a:lnTo>
                    <a:pt x="930" y="437"/>
                  </a:lnTo>
                  <a:lnTo>
                    <a:pt x="928" y="435"/>
                  </a:lnTo>
                  <a:lnTo>
                    <a:pt x="928" y="435"/>
                  </a:lnTo>
                  <a:lnTo>
                    <a:pt x="930" y="434"/>
                  </a:lnTo>
                  <a:lnTo>
                    <a:pt x="930" y="434"/>
                  </a:lnTo>
                  <a:lnTo>
                    <a:pt x="930" y="430"/>
                  </a:lnTo>
                  <a:lnTo>
                    <a:pt x="930" y="430"/>
                  </a:lnTo>
                  <a:lnTo>
                    <a:pt x="930" y="429"/>
                  </a:lnTo>
                  <a:lnTo>
                    <a:pt x="930" y="429"/>
                  </a:lnTo>
                  <a:lnTo>
                    <a:pt x="931" y="427"/>
                  </a:lnTo>
                  <a:lnTo>
                    <a:pt x="931" y="427"/>
                  </a:lnTo>
                  <a:lnTo>
                    <a:pt x="931" y="426"/>
                  </a:lnTo>
                  <a:lnTo>
                    <a:pt x="931" y="426"/>
                  </a:lnTo>
                  <a:lnTo>
                    <a:pt x="931" y="424"/>
                  </a:lnTo>
                  <a:lnTo>
                    <a:pt x="931" y="424"/>
                  </a:lnTo>
                  <a:lnTo>
                    <a:pt x="933" y="422"/>
                  </a:lnTo>
                  <a:lnTo>
                    <a:pt x="933" y="422"/>
                  </a:lnTo>
                  <a:lnTo>
                    <a:pt x="933" y="419"/>
                  </a:lnTo>
                  <a:lnTo>
                    <a:pt x="933" y="419"/>
                  </a:lnTo>
                  <a:lnTo>
                    <a:pt x="935" y="415"/>
                  </a:lnTo>
                  <a:lnTo>
                    <a:pt x="935" y="415"/>
                  </a:lnTo>
                  <a:lnTo>
                    <a:pt x="935" y="411"/>
                  </a:lnTo>
                  <a:lnTo>
                    <a:pt x="935" y="411"/>
                  </a:lnTo>
                  <a:lnTo>
                    <a:pt x="938" y="408"/>
                  </a:lnTo>
                  <a:lnTo>
                    <a:pt x="938" y="408"/>
                  </a:lnTo>
                  <a:lnTo>
                    <a:pt x="938" y="402"/>
                  </a:lnTo>
                  <a:lnTo>
                    <a:pt x="938" y="402"/>
                  </a:lnTo>
                  <a:lnTo>
                    <a:pt x="938" y="399"/>
                  </a:lnTo>
                  <a:lnTo>
                    <a:pt x="938" y="399"/>
                  </a:lnTo>
                  <a:lnTo>
                    <a:pt x="938" y="395"/>
                  </a:lnTo>
                  <a:lnTo>
                    <a:pt x="938" y="395"/>
                  </a:lnTo>
                  <a:lnTo>
                    <a:pt x="935" y="394"/>
                  </a:lnTo>
                  <a:lnTo>
                    <a:pt x="935" y="394"/>
                  </a:lnTo>
                  <a:lnTo>
                    <a:pt x="938" y="391"/>
                  </a:lnTo>
                  <a:lnTo>
                    <a:pt x="938" y="391"/>
                  </a:lnTo>
                  <a:lnTo>
                    <a:pt x="938" y="388"/>
                  </a:lnTo>
                  <a:lnTo>
                    <a:pt x="938" y="388"/>
                  </a:lnTo>
                  <a:lnTo>
                    <a:pt x="938" y="384"/>
                  </a:lnTo>
                  <a:lnTo>
                    <a:pt x="938" y="384"/>
                  </a:lnTo>
                  <a:lnTo>
                    <a:pt x="938" y="383"/>
                  </a:lnTo>
                  <a:lnTo>
                    <a:pt x="938" y="383"/>
                  </a:lnTo>
                  <a:lnTo>
                    <a:pt x="938" y="380"/>
                  </a:lnTo>
                  <a:lnTo>
                    <a:pt x="938" y="380"/>
                  </a:lnTo>
                  <a:lnTo>
                    <a:pt x="941" y="375"/>
                  </a:lnTo>
                  <a:lnTo>
                    <a:pt x="941" y="375"/>
                  </a:lnTo>
                  <a:lnTo>
                    <a:pt x="941" y="372"/>
                  </a:lnTo>
                  <a:lnTo>
                    <a:pt x="941" y="372"/>
                  </a:lnTo>
                  <a:lnTo>
                    <a:pt x="941" y="368"/>
                  </a:lnTo>
                  <a:lnTo>
                    <a:pt x="941" y="368"/>
                  </a:lnTo>
                  <a:lnTo>
                    <a:pt x="938" y="365"/>
                  </a:lnTo>
                  <a:lnTo>
                    <a:pt x="938" y="365"/>
                  </a:lnTo>
                  <a:lnTo>
                    <a:pt x="938" y="364"/>
                  </a:lnTo>
                  <a:lnTo>
                    <a:pt x="938" y="364"/>
                  </a:lnTo>
                  <a:lnTo>
                    <a:pt x="938" y="362"/>
                  </a:lnTo>
                  <a:lnTo>
                    <a:pt x="938" y="362"/>
                  </a:lnTo>
                  <a:lnTo>
                    <a:pt x="935" y="362"/>
                  </a:lnTo>
                  <a:lnTo>
                    <a:pt x="935" y="362"/>
                  </a:lnTo>
                  <a:lnTo>
                    <a:pt x="935" y="359"/>
                  </a:lnTo>
                  <a:lnTo>
                    <a:pt x="935" y="359"/>
                  </a:lnTo>
                  <a:lnTo>
                    <a:pt x="935" y="356"/>
                  </a:lnTo>
                  <a:lnTo>
                    <a:pt x="935" y="356"/>
                  </a:lnTo>
                  <a:lnTo>
                    <a:pt x="931" y="353"/>
                  </a:lnTo>
                  <a:lnTo>
                    <a:pt x="931" y="353"/>
                  </a:lnTo>
                  <a:lnTo>
                    <a:pt x="930" y="349"/>
                  </a:lnTo>
                  <a:lnTo>
                    <a:pt x="930" y="349"/>
                  </a:lnTo>
                  <a:lnTo>
                    <a:pt x="931" y="349"/>
                  </a:lnTo>
                  <a:lnTo>
                    <a:pt x="931" y="349"/>
                  </a:lnTo>
                  <a:lnTo>
                    <a:pt x="928" y="349"/>
                  </a:lnTo>
                  <a:lnTo>
                    <a:pt x="928" y="349"/>
                  </a:lnTo>
                  <a:lnTo>
                    <a:pt x="927" y="346"/>
                  </a:lnTo>
                  <a:lnTo>
                    <a:pt x="927" y="346"/>
                  </a:lnTo>
                  <a:lnTo>
                    <a:pt x="922" y="341"/>
                  </a:lnTo>
                  <a:lnTo>
                    <a:pt x="922" y="341"/>
                  </a:lnTo>
                  <a:lnTo>
                    <a:pt x="922" y="338"/>
                  </a:lnTo>
                  <a:lnTo>
                    <a:pt x="922" y="338"/>
                  </a:lnTo>
                  <a:lnTo>
                    <a:pt x="920" y="335"/>
                  </a:lnTo>
                  <a:lnTo>
                    <a:pt x="920" y="335"/>
                  </a:lnTo>
                  <a:lnTo>
                    <a:pt x="920" y="334"/>
                  </a:lnTo>
                  <a:lnTo>
                    <a:pt x="920" y="334"/>
                  </a:lnTo>
                  <a:lnTo>
                    <a:pt x="920" y="332"/>
                  </a:lnTo>
                  <a:lnTo>
                    <a:pt x="920" y="332"/>
                  </a:lnTo>
                  <a:lnTo>
                    <a:pt x="920" y="330"/>
                  </a:lnTo>
                  <a:lnTo>
                    <a:pt x="920" y="330"/>
                  </a:lnTo>
                  <a:lnTo>
                    <a:pt x="917" y="329"/>
                  </a:lnTo>
                  <a:lnTo>
                    <a:pt x="917" y="329"/>
                  </a:lnTo>
                  <a:lnTo>
                    <a:pt x="917" y="327"/>
                  </a:lnTo>
                  <a:lnTo>
                    <a:pt x="917" y="327"/>
                  </a:lnTo>
                  <a:lnTo>
                    <a:pt x="920" y="324"/>
                  </a:lnTo>
                  <a:lnTo>
                    <a:pt x="920" y="324"/>
                  </a:lnTo>
                  <a:lnTo>
                    <a:pt x="920" y="324"/>
                  </a:lnTo>
                  <a:lnTo>
                    <a:pt x="920" y="324"/>
                  </a:lnTo>
                  <a:lnTo>
                    <a:pt x="917" y="321"/>
                  </a:lnTo>
                  <a:lnTo>
                    <a:pt x="917" y="321"/>
                  </a:lnTo>
                  <a:lnTo>
                    <a:pt x="917" y="321"/>
                  </a:lnTo>
                  <a:lnTo>
                    <a:pt x="917" y="321"/>
                  </a:lnTo>
                  <a:lnTo>
                    <a:pt x="917" y="318"/>
                  </a:lnTo>
                  <a:lnTo>
                    <a:pt x="917" y="318"/>
                  </a:lnTo>
                  <a:lnTo>
                    <a:pt x="914" y="318"/>
                  </a:lnTo>
                  <a:lnTo>
                    <a:pt x="914" y="318"/>
                  </a:lnTo>
                  <a:lnTo>
                    <a:pt x="911" y="318"/>
                  </a:lnTo>
                  <a:lnTo>
                    <a:pt x="911" y="318"/>
                  </a:lnTo>
                  <a:lnTo>
                    <a:pt x="911" y="316"/>
                  </a:lnTo>
                  <a:lnTo>
                    <a:pt x="911" y="316"/>
                  </a:lnTo>
                  <a:lnTo>
                    <a:pt x="911" y="313"/>
                  </a:lnTo>
                  <a:lnTo>
                    <a:pt x="911" y="313"/>
                  </a:lnTo>
                  <a:lnTo>
                    <a:pt x="906" y="311"/>
                  </a:lnTo>
                  <a:lnTo>
                    <a:pt x="906" y="311"/>
                  </a:lnTo>
                  <a:lnTo>
                    <a:pt x="900" y="307"/>
                  </a:lnTo>
                  <a:lnTo>
                    <a:pt x="900" y="307"/>
                  </a:lnTo>
                  <a:lnTo>
                    <a:pt x="903" y="308"/>
                  </a:lnTo>
                  <a:lnTo>
                    <a:pt x="903" y="308"/>
                  </a:lnTo>
                  <a:lnTo>
                    <a:pt x="906" y="310"/>
                  </a:lnTo>
                  <a:lnTo>
                    <a:pt x="906" y="310"/>
                  </a:lnTo>
                  <a:lnTo>
                    <a:pt x="906" y="308"/>
                  </a:lnTo>
                  <a:lnTo>
                    <a:pt x="906" y="308"/>
                  </a:lnTo>
                  <a:lnTo>
                    <a:pt x="906" y="305"/>
                  </a:lnTo>
                  <a:lnTo>
                    <a:pt x="906" y="305"/>
                  </a:lnTo>
                  <a:lnTo>
                    <a:pt x="903" y="305"/>
                  </a:lnTo>
                  <a:lnTo>
                    <a:pt x="903" y="305"/>
                  </a:lnTo>
                  <a:lnTo>
                    <a:pt x="898" y="303"/>
                  </a:lnTo>
                  <a:lnTo>
                    <a:pt x="898" y="303"/>
                  </a:lnTo>
                  <a:lnTo>
                    <a:pt x="892" y="300"/>
                  </a:lnTo>
                  <a:lnTo>
                    <a:pt x="892" y="300"/>
                  </a:lnTo>
                  <a:lnTo>
                    <a:pt x="885" y="297"/>
                  </a:lnTo>
                  <a:lnTo>
                    <a:pt x="885" y="297"/>
                  </a:lnTo>
                  <a:lnTo>
                    <a:pt x="882" y="294"/>
                  </a:lnTo>
                  <a:lnTo>
                    <a:pt x="882" y="294"/>
                  </a:lnTo>
                  <a:lnTo>
                    <a:pt x="879" y="292"/>
                  </a:lnTo>
                  <a:lnTo>
                    <a:pt x="879" y="292"/>
                  </a:lnTo>
                  <a:lnTo>
                    <a:pt x="876" y="292"/>
                  </a:lnTo>
                  <a:lnTo>
                    <a:pt x="876" y="292"/>
                  </a:lnTo>
                  <a:lnTo>
                    <a:pt x="873" y="292"/>
                  </a:lnTo>
                  <a:lnTo>
                    <a:pt x="873" y="292"/>
                  </a:lnTo>
                  <a:lnTo>
                    <a:pt x="870" y="292"/>
                  </a:lnTo>
                  <a:lnTo>
                    <a:pt x="870" y="292"/>
                  </a:lnTo>
                  <a:lnTo>
                    <a:pt x="866" y="292"/>
                  </a:lnTo>
                  <a:lnTo>
                    <a:pt x="866" y="292"/>
                  </a:lnTo>
                  <a:lnTo>
                    <a:pt x="865" y="292"/>
                  </a:lnTo>
                  <a:lnTo>
                    <a:pt x="865" y="292"/>
                  </a:lnTo>
                  <a:lnTo>
                    <a:pt x="866" y="294"/>
                  </a:lnTo>
                  <a:lnTo>
                    <a:pt x="866" y="294"/>
                  </a:lnTo>
                  <a:lnTo>
                    <a:pt x="868" y="297"/>
                  </a:lnTo>
                  <a:lnTo>
                    <a:pt x="868" y="297"/>
                  </a:lnTo>
                  <a:lnTo>
                    <a:pt x="866" y="297"/>
                  </a:lnTo>
                  <a:lnTo>
                    <a:pt x="866" y="297"/>
                  </a:lnTo>
                  <a:lnTo>
                    <a:pt x="865" y="297"/>
                  </a:lnTo>
                  <a:lnTo>
                    <a:pt x="865" y="297"/>
                  </a:lnTo>
                  <a:lnTo>
                    <a:pt x="865" y="300"/>
                  </a:lnTo>
                  <a:lnTo>
                    <a:pt x="865" y="300"/>
                  </a:lnTo>
                  <a:lnTo>
                    <a:pt x="865" y="300"/>
                  </a:lnTo>
                  <a:lnTo>
                    <a:pt x="865" y="300"/>
                  </a:lnTo>
                  <a:lnTo>
                    <a:pt x="860" y="303"/>
                  </a:lnTo>
                  <a:lnTo>
                    <a:pt x="860" y="303"/>
                  </a:lnTo>
                  <a:lnTo>
                    <a:pt x="857" y="300"/>
                  </a:lnTo>
                  <a:lnTo>
                    <a:pt x="857" y="300"/>
                  </a:lnTo>
                  <a:lnTo>
                    <a:pt x="857" y="300"/>
                  </a:lnTo>
                  <a:lnTo>
                    <a:pt x="857" y="300"/>
                  </a:lnTo>
                  <a:lnTo>
                    <a:pt x="858" y="297"/>
                  </a:lnTo>
                  <a:lnTo>
                    <a:pt x="858" y="297"/>
                  </a:lnTo>
                  <a:lnTo>
                    <a:pt x="854" y="294"/>
                  </a:lnTo>
                  <a:lnTo>
                    <a:pt x="854" y="294"/>
                  </a:lnTo>
                  <a:lnTo>
                    <a:pt x="851" y="294"/>
                  </a:lnTo>
                  <a:lnTo>
                    <a:pt x="851" y="294"/>
                  </a:lnTo>
                  <a:lnTo>
                    <a:pt x="852" y="294"/>
                  </a:lnTo>
                  <a:lnTo>
                    <a:pt x="852" y="294"/>
                  </a:lnTo>
                  <a:lnTo>
                    <a:pt x="854" y="291"/>
                  </a:lnTo>
                  <a:lnTo>
                    <a:pt x="854" y="291"/>
                  </a:lnTo>
                  <a:lnTo>
                    <a:pt x="851" y="292"/>
                  </a:lnTo>
                  <a:lnTo>
                    <a:pt x="851" y="292"/>
                  </a:lnTo>
                  <a:lnTo>
                    <a:pt x="851" y="294"/>
                  </a:lnTo>
                  <a:lnTo>
                    <a:pt x="851" y="294"/>
                  </a:lnTo>
                  <a:lnTo>
                    <a:pt x="851" y="294"/>
                  </a:lnTo>
                  <a:lnTo>
                    <a:pt x="851" y="294"/>
                  </a:lnTo>
                  <a:lnTo>
                    <a:pt x="851" y="294"/>
                  </a:lnTo>
                  <a:lnTo>
                    <a:pt x="851" y="294"/>
                  </a:lnTo>
                  <a:lnTo>
                    <a:pt x="852" y="297"/>
                  </a:lnTo>
                  <a:lnTo>
                    <a:pt x="852" y="297"/>
                  </a:lnTo>
                  <a:lnTo>
                    <a:pt x="851" y="297"/>
                  </a:lnTo>
                  <a:lnTo>
                    <a:pt x="851" y="297"/>
                  </a:lnTo>
                  <a:lnTo>
                    <a:pt x="847" y="297"/>
                  </a:lnTo>
                  <a:lnTo>
                    <a:pt x="847" y="297"/>
                  </a:lnTo>
                  <a:lnTo>
                    <a:pt x="847" y="297"/>
                  </a:lnTo>
                  <a:lnTo>
                    <a:pt x="847" y="297"/>
                  </a:lnTo>
                  <a:lnTo>
                    <a:pt x="844" y="292"/>
                  </a:lnTo>
                  <a:lnTo>
                    <a:pt x="844" y="292"/>
                  </a:lnTo>
                  <a:lnTo>
                    <a:pt x="841" y="291"/>
                  </a:lnTo>
                  <a:lnTo>
                    <a:pt x="841" y="291"/>
                  </a:lnTo>
                  <a:lnTo>
                    <a:pt x="841" y="288"/>
                  </a:lnTo>
                  <a:lnTo>
                    <a:pt x="841" y="288"/>
                  </a:lnTo>
                  <a:lnTo>
                    <a:pt x="839" y="288"/>
                  </a:lnTo>
                  <a:lnTo>
                    <a:pt x="839" y="288"/>
                  </a:lnTo>
                  <a:lnTo>
                    <a:pt x="835" y="288"/>
                  </a:lnTo>
                  <a:lnTo>
                    <a:pt x="835" y="288"/>
                  </a:lnTo>
                  <a:lnTo>
                    <a:pt x="830" y="288"/>
                  </a:lnTo>
                  <a:lnTo>
                    <a:pt x="830" y="288"/>
                  </a:lnTo>
                  <a:lnTo>
                    <a:pt x="824" y="286"/>
                  </a:lnTo>
                  <a:lnTo>
                    <a:pt x="824" y="286"/>
                  </a:lnTo>
                  <a:lnTo>
                    <a:pt x="820" y="284"/>
                  </a:lnTo>
                  <a:lnTo>
                    <a:pt x="820" y="284"/>
                  </a:lnTo>
                  <a:lnTo>
                    <a:pt x="819" y="283"/>
                  </a:lnTo>
                  <a:lnTo>
                    <a:pt x="819" y="283"/>
                  </a:lnTo>
                  <a:lnTo>
                    <a:pt x="820" y="280"/>
                  </a:lnTo>
                  <a:lnTo>
                    <a:pt x="820" y="280"/>
                  </a:lnTo>
                  <a:lnTo>
                    <a:pt x="825" y="276"/>
                  </a:lnTo>
                  <a:lnTo>
                    <a:pt x="825" y="276"/>
                  </a:lnTo>
                  <a:lnTo>
                    <a:pt x="825" y="273"/>
                  </a:lnTo>
                  <a:lnTo>
                    <a:pt x="825" y="273"/>
                  </a:lnTo>
                  <a:lnTo>
                    <a:pt x="827" y="273"/>
                  </a:lnTo>
                  <a:lnTo>
                    <a:pt x="827" y="273"/>
                  </a:lnTo>
                  <a:lnTo>
                    <a:pt x="828" y="272"/>
                  </a:lnTo>
                  <a:lnTo>
                    <a:pt x="828" y="272"/>
                  </a:lnTo>
                  <a:lnTo>
                    <a:pt x="830" y="268"/>
                  </a:lnTo>
                  <a:lnTo>
                    <a:pt x="830" y="268"/>
                  </a:lnTo>
                  <a:lnTo>
                    <a:pt x="831" y="265"/>
                  </a:lnTo>
                  <a:lnTo>
                    <a:pt x="831" y="265"/>
                  </a:lnTo>
                  <a:lnTo>
                    <a:pt x="833" y="262"/>
                  </a:lnTo>
                  <a:lnTo>
                    <a:pt x="833" y="262"/>
                  </a:lnTo>
                  <a:lnTo>
                    <a:pt x="835" y="262"/>
                  </a:lnTo>
                  <a:lnTo>
                    <a:pt x="835" y="262"/>
                  </a:lnTo>
                  <a:lnTo>
                    <a:pt x="833" y="262"/>
                  </a:lnTo>
                  <a:lnTo>
                    <a:pt x="833" y="262"/>
                  </a:lnTo>
                  <a:lnTo>
                    <a:pt x="833" y="259"/>
                  </a:lnTo>
                  <a:lnTo>
                    <a:pt x="833" y="259"/>
                  </a:lnTo>
                  <a:lnTo>
                    <a:pt x="833" y="257"/>
                  </a:lnTo>
                  <a:lnTo>
                    <a:pt x="833" y="257"/>
                  </a:lnTo>
                  <a:lnTo>
                    <a:pt x="833" y="256"/>
                  </a:lnTo>
                  <a:lnTo>
                    <a:pt x="833" y="256"/>
                  </a:lnTo>
                  <a:lnTo>
                    <a:pt x="835" y="251"/>
                  </a:lnTo>
                  <a:lnTo>
                    <a:pt x="835" y="251"/>
                  </a:lnTo>
                  <a:lnTo>
                    <a:pt x="838" y="249"/>
                  </a:lnTo>
                  <a:lnTo>
                    <a:pt x="838" y="249"/>
                  </a:lnTo>
                  <a:lnTo>
                    <a:pt x="838" y="248"/>
                  </a:lnTo>
                  <a:lnTo>
                    <a:pt x="838" y="248"/>
                  </a:lnTo>
                  <a:lnTo>
                    <a:pt x="838" y="246"/>
                  </a:lnTo>
                  <a:lnTo>
                    <a:pt x="838" y="246"/>
                  </a:lnTo>
                  <a:lnTo>
                    <a:pt x="839" y="245"/>
                  </a:lnTo>
                  <a:lnTo>
                    <a:pt x="839" y="245"/>
                  </a:lnTo>
                  <a:lnTo>
                    <a:pt x="841" y="243"/>
                  </a:lnTo>
                  <a:lnTo>
                    <a:pt x="841" y="243"/>
                  </a:lnTo>
                  <a:lnTo>
                    <a:pt x="841" y="241"/>
                  </a:lnTo>
                  <a:lnTo>
                    <a:pt x="841" y="241"/>
                  </a:lnTo>
                  <a:lnTo>
                    <a:pt x="839" y="238"/>
                  </a:lnTo>
                  <a:lnTo>
                    <a:pt x="839" y="238"/>
                  </a:lnTo>
                  <a:lnTo>
                    <a:pt x="839" y="237"/>
                  </a:lnTo>
                  <a:lnTo>
                    <a:pt x="839" y="237"/>
                  </a:lnTo>
                  <a:lnTo>
                    <a:pt x="841" y="234"/>
                  </a:lnTo>
                  <a:lnTo>
                    <a:pt x="841" y="234"/>
                  </a:lnTo>
                  <a:lnTo>
                    <a:pt x="844" y="234"/>
                  </a:lnTo>
                  <a:lnTo>
                    <a:pt x="844" y="234"/>
                  </a:lnTo>
                  <a:lnTo>
                    <a:pt x="844" y="230"/>
                  </a:lnTo>
                  <a:lnTo>
                    <a:pt x="844" y="230"/>
                  </a:lnTo>
                  <a:lnTo>
                    <a:pt x="844" y="227"/>
                  </a:lnTo>
                  <a:lnTo>
                    <a:pt x="844" y="227"/>
                  </a:lnTo>
                  <a:lnTo>
                    <a:pt x="844" y="226"/>
                  </a:lnTo>
                  <a:lnTo>
                    <a:pt x="844" y="226"/>
                  </a:lnTo>
                  <a:lnTo>
                    <a:pt x="847" y="224"/>
                  </a:lnTo>
                  <a:lnTo>
                    <a:pt x="847" y="224"/>
                  </a:lnTo>
                  <a:lnTo>
                    <a:pt x="854" y="224"/>
                  </a:lnTo>
                  <a:lnTo>
                    <a:pt x="854" y="224"/>
                  </a:lnTo>
                  <a:lnTo>
                    <a:pt x="860" y="222"/>
                  </a:lnTo>
                  <a:lnTo>
                    <a:pt x="860" y="222"/>
                  </a:lnTo>
                  <a:lnTo>
                    <a:pt x="868" y="222"/>
                  </a:lnTo>
                  <a:lnTo>
                    <a:pt x="868" y="222"/>
                  </a:lnTo>
                  <a:lnTo>
                    <a:pt x="876" y="222"/>
                  </a:lnTo>
                  <a:lnTo>
                    <a:pt x="876" y="222"/>
                  </a:lnTo>
                  <a:lnTo>
                    <a:pt x="876" y="224"/>
                  </a:lnTo>
                  <a:lnTo>
                    <a:pt x="876" y="224"/>
                  </a:lnTo>
                  <a:lnTo>
                    <a:pt x="879" y="226"/>
                  </a:lnTo>
                  <a:lnTo>
                    <a:pt x="879" y="226"/>
                  </a:lnTo>
                  <a:lnTo>
                    <a:pt x="882" y="226"/>
                  </a:lnTo>
                  <a:lnTo>
                    <a:pt x="882" y="226"/>
                  </a:lnTo>
                  <a:lnTo>
                    <a:pt x="885" y="226"/>
                  </a:lnTo>
                  <a:lnTo>
                    <a:pt x="885" y="226"/>
                  </a:lnTo>
                  <a:lnTo>
                    <a:pt x="882" y="224"/>
                  </a:lnTo>
                  <a:lnTo>
                    <a:pt x="882" y="224"/>
                  </a:lnTo>
                  <a:lnTo>
                    <a:pt x="882" y="222"/>
                  </a:lnTo>
                  <a:lnTo>
                    <a:pt x="882" y="222"/>
                  </a:lnTo>
                  <a:lnTo>
                    <a:pt x="889" y="224"/>
                  </a:lnTo>
                  <a:lnTo>
                    <a:pt x="889" y="224"/>
                  </a:lnTo>
                  <a:lnTo>
                    <a:pt x="893" y="224"/>
                  </a:lnTo>
                  <a:lnTo>
                    <a:pt x="893" y="224"/>
                  </a:lnTo>
                  <a:lnTo>
                    <a:pt x="897" y="224"/>
                  </a:lnTo>
                  <a:lnTo>
                    <a:pt x="897" y="224"/>
                  </a:lnTo>
                  <a:lnTo>
                    <a:pt x="901" y="222"/>
                  </a:lnTo>
                  <a:lnTo>
                    <a:pt x="901" y="222"/>
                  </a:lnTo>
                  <a:lnTo>
                    <a:pt x="906" y="224"/>
                  </a:lnTo>
                  <a:lnTo>
                    <a:pt x="906" y="224"/>
                  </a:lnTo>
                  <a:lnTo>
                    <a:pt x="908" y="224"/>
                  </a:lnTo>
                  <a:lnTo>
                    <a:pt x="908" y="224"/>
                  </a:lnTo>
                  <a:lnTo>
                    <a:pt x="911" y="226"/>
                  </a:lnTo>
                  <a:lnTo>
                    <a:pt x="911" y="226"/>
                  </a:lnTo>
                  <a:lnTo>
                    <a:pt x="908" y="224"/>
                  </a:lnTo>
                  <a:lnTo>
                    <a:pt x="908" y="224"/>
                  </a:lnTo>
                  <a:lnTo>
                    <a:pt x="908" y="222"/>
                  </a:lnTo>
                  <a:lnTo>
                    <a:pt x="908" y="222"/>
                  </a:lnTo>
                  <a:lnTo>
                    <a:pt x="906" y="222"/>
                  </a:lnTo>
                  <a:lnTo>
                    <a:pt x="906" y="222"/>
                  </a:lnTo>
                  <a:lnTo>
                    <a:pt x="906" y="221"/>
                  </a:lnTo>
                  <a:lnTo>
                    <a:pt x="906" y="221"/>
                  </a:lnTo>
                  <a:lnTo>
                    <a:pt x="908" y="221"/>
                  </a:lnTo>
                  <a:lnTo>
                    <a:pt x="908" y="221"/>
                  </a:lnTo>
                  <a:lnTo>
                    <a:pt x="908" y="219"/>
                  </a:lnTo>
                  <a:lnTo>
                    <a:pt x="908" y="219"/>
                  </a:lnTo>
                  <a:lnTo>
                    <a:pt x="908" y="218"/>
                  </a:lnTo>
                  <a:lnTo>
                    <a:pt x="908" y="218"/>
                  </a:lnTo>
                  <a:lnTo>
                    <a:pt x="911" y="218"/>
                  </a:lnTo>
                  <a:lnTo>
                    <a:pt x="911" y="218"/>
                  </a:lnTo>
                  <a:lnTo>
                    <a:pt x="911" y="218"/>
                  </a:lnTo>
                  <a:lnTo>
                    <a:pt x="911" y="218"/>
                  </a:lnTo>
                  <a:lnTo>
                    <a:pt x="917" y="219"/>
                  </a:lnTo>
                  <a:lnTo>
                    <a:pt x="917" y="219"/>
                  </a:lnTo>
                  <a:lnTo>
                    <a:pt x="924" y="221"/>
                  </a:lnTo>
                  <a:lnTo>
                    <a:pt x="924" y="221"/>
                  </a:lnTo>
                  <a:lnTo>
                    <a:pt x="927" y="221"/>
                  </a:lnTo>
                  <a:lnTo>
                    <a:pt x="927" y="221"/>
                  </a:lnTo>
                  <a:lnTo>
                    <a:pt x="933" y="221"/>
                  </a:lnTo>
                  <a:lnTo>
                    <a:pt x="933" y="221"/>
                  </a:lnTo>
                  <a:lnTo>
                    <a:pt x="938" y="224"/>
                  </a:lnTo>
                  <a:lnTo>
                    <a:pt x="938" y="224"/>
                  </a:lnTo>
                  <a:lnTo>
                    <a:pt x="941" y="224"/>
                  </a:lnTo>
                  <a:lnTo>
                    <a:pt x="941" y="224"/>
                  </a:lnTo>
                  <a:lnTo>
                    <a:pt x="944" y="226"/>
                  </a:lnTo>
                  <a:lnTo>
                    <a:pt x="944" y="226"/>
                  </a:lnTo>
                  <a:lnTo>
                    <a:pt x="941" y="226"/>
                  </a:lnTo>
                  <a:lnTo>
                    <a:pt x="941" y="226"/>
                  </a:lnTo>
                  <a:lnTo>
                    <a:pt x="938" y="226"/>
                  </a:lnTo>
                  <a:lnTo>
                    <a:pt x="938" y="226"/>
                  </a:lnTo>
                  <a:lnTo>
                    <a:pt x="935" y="227"/>
                  </a:lnTo>
                  <a:lnTo>
                    <a:pt x="935" y="227"/>
                  </a:lnTo>
                  <a:lnTo>
                    <a:pt x="941" y="230"/>
                  </a:lnTo>
                  <a:lnTo>
                    <a:pt x="941" y="230"/>
                  </a:lnTo>
                  <a:lnTo>
                    <a:pt x="947" y="230"/>
                  </a:lnTo>
                  <a:lnTo>
                    <a:pt x="947" y="230"/>
                  </a:lnTo>
                  <a:lnTo>
                    <a:pt x="946" y="229"/>
                  </a:lnTo>
                  <a:lnTo>
                    <a:pt x="946" y="229"/>
                  </a:lnTo>
                  <a:lnTo>
                    <a:pt x="951" y="229"/>
                  </a:lnTo>
                  <a:lnTo>
                    <a:pt x="951" y="229"/>
                  </a:lnTo>
                  <a:lnTo>
                    <a:pt x="955" y="230"/>
                  </a:lnTo>
                  <a:lnTo>
                    <a:pt x="955" y="230"/>
                  </a:lnTo>
                  <a:lnTo>
                    <a:pt x="955" y="227"/>
                  </a:lnTo>
                  <a:lnTo>
                    <a:pt x="955" y="227"/>
                  </a:lnTo>
                  <a:lnTo>
                    <a:pt x="957" y="226"/>
                  </a:lnTo>
                  <a:lnTo>
                    <a:pt x="957" y="226"/>
                  </a:lnTo>
                  <a:lnTo>
                    <a:pt x="960" y="226"/>
                  </a:lnTo>
                  <a:lnTo>
                    <a:pt x="960" y="226"/>
                  </a:lnTo>
                  <a:lnTo>
                    <a:pt x="965" y="227"/>
                  </a:lnTo>
                  <a:lnTo>
                    <a:pt x="965" y="227"/>
                  </a:lnTo>
                  <a:lnTo>
                    <a:pt x="966" y="227"/>
                  </a:lnTo>
                  <a:lnTo>
                    <a:pt x="966" y="227"/>
                  </a:lnTo>
                  <a:lnTo>
                    <a:pt x="966" y="226"/>
                  </a:lnTo>
                  <a:lnTo>
                    <a:pt x="966" y="226"/>
                  </a:lnTo>
                  <a:lnTo>
                    <a:pt x="970" y="226"/>
                  </a:lnTo>
                  <a:lnTo>
                    <a:pt x="970" y="226"/>
                  </a:lnTo>
                  <a:lnTo>
                    <a:pt x="973" y="226"/>
                  </a:lnTo>
                  <a:lnTo>
                    <a:pt x="973" y="226"/>
                  </a:lnTo>
                  <a:lnTo>
                    <a:pt x="976" y="226"/>
                  </a:lnTo>
                  <a:lnTo>
                    <a:pt x="976" y="226"/>
                  </a:lnTo>
                  <a:lnTo>
                    <a:pt x="970" y="222"/>
                  </a:lnTo>
                  <a:lnTo>
                    <a:pt x="970" y="222"/>
                  </a:lnTo>
                  <a:lnTo>
                    <a:pt x="966" y="221"/>
                  </a:lnTo>
                  <a:lnTo>
                    <a:pt x="966" y="221"/>
                  </a:lnTo>
                  <a:lnTo>
                    <a:pt x="963" y="221"/>
                  </a:lnTo>
                  <a:lnTo>
                    <a:pt x="963" y="221"/>
                  </a:lnTo>
                  <a:lnTo>
                    <a:pt x="965" y="222"/>
                  </a:lnTo>
                  <a:lnTo>
                    <a:pt x="965" y="222"/>
                  </a:lnTo>
                  <a:lnTo>
                    <a:pt x="962" y="222"/>
                  </a:lnTo>
                  <a:lnTo>
                    <a:pt x="962" y="222"/>
                  </a:lnTo>
                  <a:lnTo>
                    <a:pt x="960" y="221"/>
                  </a:lnTo>
                  <a:lnTo>
                    <a:pt x="960" y="221"/>
                  </a:lnTo>
                  <a:lnTo>
                    <a:pt x="960" y="219"/>
                  </a:lnTo>
                  <a:lnTo>
                    <a:pt x="960" y="219"/>
                  </a:lnTo>
                  <a:lnTo>
                    <a:pt x="962" y="219"/>
                  </a:lnTo>
                  <a:lnTo>
                    <a:pt x="962" y="219"/>
                  </a:lnTo>
                  <a:lnTo>
                    <a:pt x="957" y="218"/>
                  </a:lnTo>
                  <a:lnTo>
                    <a:pt x="957" y="218"/>
                  </a:lnTo>
                  <a:lnTo>
                    <a:pt x="957" y="216"/>
                  </a:lnTo>
                  <a:lnTo>
                    <a:pt x="957" y="216"/>
                  </a:lnTo>
                  <a:lnTo>
                    <a:pt x="958" y="216"/>
                  </a:lnTo>
                  <a:lnTo>
                    <a:pt x="958" y="216"/>
                  </a:lnTo>
                  <a:lnTo>
                    <a:pt x="957" y="213"/>
                  </a:lnTo>
                  <a:lnTo>
                    <a:pt x="957" y="213"/>
                  </a:lnTo>
                  <a:lnTo>
                    <a:pt x="955" y="213"/>
                  </a:lnTo>
                  <a:lnTo>
                    <a:pt x="955" y="213"/>
                  </a:lnTo>
                  <a:lnTo>
                    <a:pt x="957" y="210"/>
                  </a:lnTo>
                  <a:lnTo>
                    <a:pt x="957" y="210"/>
                  </a:lnTo>
                  <a:lnTo>
                    <a:pt x="958" y="207"/>
                  </a:lnTo>
                  <a:lnTo>
                    <a:pt x="958" y="207"/>
                  </a:lnTo>
                  <a:lnTo>
                    <a:pt x="960" y="207"/>
                  </a:lnTo>
                  <a:lnTo>
                    <a:pt x="960" y="207"/>
                  </a:lnTo>
                  <a:lnTo>
                    <a:pt x="960" y="203"/>
                  </a:lnTo>
                  <a:lnTo>
                    <a:pt x="960" y="203"/>
                  </a:lnTo>
                  <a:lnTo>
                    <a:pt x="958" y="202"/>
                  </a:lnTo>
                  <a:lnTo>
                    <a:pt x="958" y="202"/>
                  </a:lnTo>
                  <a:lnTo>
                    <a:pt x="958" y="200"/>
                  </a:lnTo>
                  <a:lnTo>
                    <a:pt x="958" y="200"/>
                  </a:lnTo>
                  <a:lnTo>
                    <a:pt x="960" y="199"/>
                  </a:lnTo>
                  <a:lnTo>
                    <a:pt x="960" y="199"/>
                  </a:lnTo>
                  <a:lnTo>
                    <a:pt x="960" y="197"/>
                  </a:lnTo>
                  <a:lnTo>
                    <a:pt x="960" y="197"/>
                  </a:lnTo>
                  <a:lnTo>
                    <a:pt x="958" y="195"/>
                  </a:lnTo>
                  <a:lnTo>
                    <a:pt x="958" y="195"/>
                  </a:lnTo>
                  <a:lnTo>
                    <a:pt x="960" y="194"/>
                  </a:lnTo>
                  <a:lnTo>
                    <a:pt x="960" y="194"/>
                  </a:lnTo>
                  <a:lnTo>
                    <a:pt x="960" y="192"/>
                  </a:lnTo>
                  <a:lnTo>
                    <a:pt x="960" y="192"/>
                  </a:lnTo>
                  <a:lnTo>
                    <a:pt x="962" y="192"/>
                  </a:lnTo>
                  <a:lnTo>
                    <a:pt x="962" y="192"/>
                  </a:lnTo>
                  <a:lnTo>
                    <a:pt x="962" y="191"/>
                  </a:lnTo>
                  <a:lnTo>
                    <a:pt x="962" y="191"/>
                  </a:lnTo>
                  <a:lnTo>
                    <a:pt x="966" y="192"/>
                  </a:lnTo>
                  <a:lnTo>
                    <a:pt x="966" y="192"/>
                  </a:lnTo>
                  <a:lnTo>
                    <a:pt x="973" y="191"/>
                  </a:lnTo>
                  <a:lnTo>
                    <a:pt x="973" y="191"/>
                  </a:lnTo>
                  <a:lnTo>
                    <a:pt x="976" y="189"/>
                  </a:lnTo>
                  <a:lnTo>
                    <a:pt x="976" y="189"/>
                  </a:lnTo>
                  <a:lnTo>
                    <a:pt x="979" y="191"/>
                  </a:lnTo>
                  <a:lnTo>
                    <a:pt x="979" y="191"/>
                  </a:lnTo>
                  <a:lnTo>
                    <a:pt x="981" y="191"/>
                  </a:lnTo>
                  <a:lnTo>
                    <a:pt x="981" y="191"/>
                  </a:lnTo>
                  <a:lnTo>
                    <a:pt x="984" y="192"/>
                  </a:lnTo>
                  <a:lnTo>
                    <a:pt x="984" y="192"/>
                  </a:lnTo>
                  <a:lnTo>
                    <a:pt x="985" y="192"/>
                  </a:lnTo>
                  <a:lnTo>
                    <a:pt x="985" y="192"/>
                  </a:lnTo>
                  <a:lnTo>
                    <a:pt x="987" y="189"/>
                  </a:lnTo>
                  <a:lnTo>
                    <a:pt x="987" y="189"/>
                  </a:lnTo>
                  <a:lnTo>
                    <a:pt x="989" y="191"/>
                  </a:lnTo>
                  <a:lnTo>
                    <a:pt x="989" y="191"/>
                  </a:lnTo>
                  <a:lnTo>
                    <a:pt x="992" y="194"/>
                  </a:lnTo>
                  <a:lnTo>
                    <a:pt x="992" y="194"/>
                  </a:lnTo>
                  <a:lnTo>
                    <a:pt x="992" y="195"/>
                  </a:lnTo>
                  <a:lnTo>
                    <a:pt x="992" y="195"/>
                  </a:lnTo>
                  <a:lnTo>
                    <a:pt x="993" y="197"/>
                  </a:lnTo>
                  <a:lnTo>
                    <a:pt x="993" y="197"/>
                  </a:lnTo>
                  <a:lnTo>
                    <a:pt x="993" y="199"/>
                  </a:lnTo>
                  <a:lnTo>
                    <a:pt x="993" y="199"/>
                  </a:lnTo>
                  <a:lnTo>
                    <a:pt x="992" y="199"/>
                  </a:lnTo>
                  <a:lnTo>
                    <a:pt x="992" y="199"/>
                  </a:lnTo>
                  <a:lnTo>
                    <a:pt x="997" y="202"/>
                  </a:lnTo>
                  <a:lnTo>
                    <a:pt x="997" y="202"/>
                  </a:lnTo>
                  <a:lnTo>
                    <a:pt x="998" y="203"/>
                  </a:lnTo>
                  <a:lnTo>
                    <a:pt x="998" y="203"/>
                  </a:lnTo>
                  <a:lnTo>
                    <a:pt x="998" y="202"/>
                  </a:lnTo>
                  <a:lnTo>
                    <a:pt x="998" y="202"/>
                  </a:lnTo>
                  <a:lnTo>
                    <a:pt x="1001" y="202"/>
                  </a:lnTo>
                  <a:lnTo>
                    <a:pt x="1001" y="202"/>
                  </a:lnTo>
                  <a:lnTo>
                    <a:pt x="1001" y="203"/>
                  </a:lnTo>
                  <a:lnTo>
                    <a:pt x="1001" y="203"/>
                  </a:lnTo>
                  <a:lnTo>
                    <a:pt x="1005" y="203"/>
                  </a:lnTo>
                  <a:lnTo>
                    <a:pt x="1005" y="203"/>
                  </a:lnTo>
                  <a:lnTo>
                    <a:pt x="1005" y="207"/>
                  </a:lnTo>
                  <a:lnTo>
                    <a:pt x="1005" y="207"/>
                  </a:lnTo>
                  <a:lnTo>
                    <a:pt x="1005" y="207"/>
                  </a:lnTo>
                  <a:lnTo>
                    <a:pt x="1005" y="207"/>
                  </a:lnTo>
                  <a:lnTo>
                    <a:pt x="1008" y="207"/>
                  </a:lnTo>
                  <a:lnTo>
                    <a:pt x="1008" y="207"/>
                  </a:lnTo>
                  <a:lnTo>
                    <a:pt x="1011" y="207"/>
                  </a:lnTo>
                  <a:lnTo>
                    <a:pt x="1011" y="207"/>
                  </a:lnTo>
                  <a:lnTo>
                    <a:pt x="1011" y="203"/>
                  </a:lnTo>
                  <a:lnTo>
                    <a:pt x="1011" y="203"/>
                  </a:lnTo>
                  <a:lnTo>
                    <a:pt x="1011" y="202"/>
                  </a:lnTo>
                  <a:lnTo>
                    <a:pt x="1011" y="202"/>
                  </a:lnTo>
                  <a:lnTo>
                    <a:pt x="1011" y="197"/>
                  </a:lnTo>
                  <a:lnTo>
                    <a:pt x="1011" y="197"/>
                  </a:lnTo>
                  <a:lnTo>
                    <a:pt x="1011" y="195"/>
                  </a:lnTo>
                  <a:lnTo>
                    <a:pt x="1011" y="195"/>
                  </a:lnTo>
                  <a:lnTo>
                    <a:pt x="1012" y="194"/>
                  </a:lnTo>
                  <a:lnTo>
                    <a:pt x="1012" y="194"/>
                  </a:lnTo>
                  <a:lnTo>
                    <a:pt x="1014" y="194"/>
                  </a:lnTo>
                  <a:lnTo>
                    <a:pt x="1014" y="194"/>
                  </a:lnTo>
                  <a:lnTo>
                    <a:pt x="1016" y="192"/>
                  </a:lnTo>
                  <a:lnTo>
                    <a:pt x="1016" y="192"/>
                  </a:lnTo>
                  <a:lnTo>
                    <a:pt x="1017" y="192"/>
                  </a:lnTo>
                  <a:lnTo>
                    <a:pt x="1017" y="192"/>
                  </a:lnTo>
                  <a:lnTo>
                    <a:pt x="1020" y="195"/>
                  </a:lnTo>
                  <a:lnTo>
                    <a:pt x="1020" y="195"/>
                  </a:lnTo>
                  <a:lnTo>
                    <a:pt x="1020" y="194"/>
                  </a:lnTo>
                  <a:lnTo>
                    <a:pt x="1020" y="194"/>
                  </a:lnTo>
                  <a:lnTo>
                    <a:pt x="1022" y="194"/>
                  </a:lnTo>
                  <a:lnTo>
                    <a:pt x="1022" y="194"/>
                  </a:lnTo>
                  <a:lnTo>
                    <a:pt x="1017" y="191"/>
                  </a:lnTo>
                  <a:lnTo>
                    <a:pt x="1017" y="191"/>
                  </a:lnTo>
                  <a:lnTo>
                    <a:pt x="1014" y="189"/>
                  </a:lnTo>
                  <a:lnTo>
                    <a:pt x="1014" y="189"/>
                  </a:lnTo>
                  <a:lnTo>
                    <a:pt x="1011" y="186"/>
                  </a:lnTo>
                  <a:lnTo>
                    <a:pt x="1011" y="186"/>
                  </a:lnTo>
                  <a:lnTo>
                    <a:pt x="1011" y="184"/>
                  </a:lnTo>
                  <a:lnTo>
                    <a:pt x="1011" y="184"/>
                  </a:lnTo>
                  <a:lnTo>
                    <a:pt x="1011" y="183"/>
                  </a:lnTo>
                  <a:lnTo>
                    <a:pt x="1011" y="183"/>
                  </a:lnTo>
                  <a:lnTo>
                    <a:pt x="1011" y="183"/>
                  </a:lnTo>
                  <a:lnTo>
                    <a:pt x="1011" y="183"/>
                  </a:lnTo>
                  <a:lnTo>
                    <a:pt x="1008" y="181"/>
                  </a:lnTo>
                  <a:lnTo>
                    <a:pt x="1008" y="181"/>
                  </a:lnTo>
                  <a:lnTo>
                    <a:pt x="1014" y="180"/>
                  </a:lnTo>
                  <a:lnTo>
                    <a:pt x="1014" y="180"/>
                  </a:lnTo>
                  <a:lnTo>
                    <a:pt x="1017" y="180"/>
                  </a:lnTo>
                  <a:lnTo>
                    <a:pt x="1017" y="180"/>
                  </a:lnTo>
                  <a:lnTo>
                    <a:pt x="1020" y="180"/>
                  </a:lnTo>
                  <a:lnTo>
                    <a:pt x="1020" y="180"/>
                  </a:lnTo>
                  <a:lnTo>
                    <a:pt x="1027" y="181"/>
                  </a:lnTo>
                  <a:lnTo>
                    <a:pt x="1027" y="181"/>
                  </a:lnTo>
                  <a:lnTo>
                    <a:pt x="1033" y="183"/>
                  </a:lnTo>
                  <a:lnTo>
                    <a:pt x="1033" y="183"/>
                  </a:lnTo>
                  <a:lnTo>
                    <a:pt x="1028" y="183"/>
                  </a:lnTo>
                  <a:lnTo>
                    <a:pt x="1028" y="183"/>
                  </a:lnTo>
                  <a:lnTo>
                    <a:pt x="1031" y="184"/>
                  </a:lnTo>
                  <a:lnTo>
                    <a:pt x="1031" y="184"/>
                  </a:lnTo>
                  <a:lnTo>
                    <a:pt x="1027" y="183"/>
                  </a:lnTo>
                  <a:lnTo>
                    <a:pt x="1027" y="183"/>
                  </a:lnTo>
                  <a:lnTo>
                    <a:pt x="1025" y="181"/>
                  </a:lnTo>
                  <a:lnTo>
                    <a:pt x="1025" y="181"/>
                  </a:lnTo>
                  <a:lnTo>
                    <a:pt x="1022" y="183"/>
                  </a:lnTo>
                  <a:lnTo>
                    <a:pt x="1022" y="183"/>
                  </a:lnTo>
                  <a:lnTo>
                    <a:pt x="1020" y="184"/>
                  </a:lnTo>
                  <a:lnTo>
                    <a:pt x="1020" y="184"/>
                  </a:lnTo>
                  <a:lnTo>
                    <a:pt x="1022" y="186"/>
                  </a:lnTo>
                  <a:lnTo>
                    <a:pt x="1022" y="186"/>
                  </a:lnTo>
                  <a:lnTo>
                    <a:pt x="1025" y="191"/>
                  </a:lnTo>
                  <a:lnTo>
                    <a:pt x="1025" y="191"/>
                  </a:lnTo>
                  <a:lnTo>
                    <a:pt x="1028" y="192"/>
                  </a:lnTo>
                  <a:lnTo>
                    <a:pt x="1028" y="192"/>
                  </a:lnTo>
                  <a:lnTo>
                    <a:pt x="1028" y="194"/>
                  </a:lnTo>
                  <a:lnTo>
                    <a:pt x="1028" y="194"/>
                  </a:lnTo>
                  <a:lnTo>
                    <a:pt x="1030" y="195"/>
                  </a:lnTo>
                  <a:lnTo>
                    <a:pt x="1030" y="195"/>
                  </a:lnTo>
                  <a:lnTo>
                    <a:pt x="1033" y="197"/>
                  </a:lnTo>
                  <a:lnTo>
                    <a:pt x="1033" y="197"/>
                  </a:lnTo>
                  <a:lnTo>
                    <a:pt x="1033" y="199"/>
                  </a:lnTo>
                  <a:lnTo>
                    <a:pt x="1033" y="199"/>
                  </a:lnTo>
                  <a:lnTo>
                    <a:pt x="1033" y="200"/>
                  </a:lnTo>
                  <a:lnTo>
                    <a:pt x="1033" y="200"/>
                  </a:lnTo>
                  <a:lnTo>
                    <a:pt x="1036" y="202"/>
                  </a:lnTo>
                  <a:lnTo>
                    <a:pt x="1036" y="202"/>
                  </a:lnTo>
                  <a:lnTo>
                    <a:pt x="1036" y="203"/>
                  </a:lnTo>
                  <a:lnTo>
                    <a:pt x="1036" y="203"/>
                  </a:lnTo>
                  <a:lnTo>
                    <a:pt x="1033" y="203"/>
                  </a:lnTo>
                  <a:lnTo>
                    <a:pt x="1033" y="203"/>
                  </a:lnTo>
                  <a:lnTo>
                    <a:pt x="1033" y="203"/>
                  </a:lnTo>
                  <a:lnTo>
                    <a:pt x="1033" y="203"/>
                  </a:lnTo>
                  <a:lnTo>
                    <a:pt x="1031" y="203"/>
                  </a:lnTo>
                  <a:lnTo>
                    <a:pt x="1031" y="203"/>
                  </a:lnTo>
                  <a:lnTo>
                    <a:pt x="1030" y="207"/>
                  </a:lnTo>
                  <a:lnTo>
                    <a:pt x="1030" y="207"/>
                  </a:lnTo>
                  <a:lnTo>
                    <a:pt x="1027" y="210"/>
                  </a:lnTo>
                  <a:lnTo>
                    <a:pt x="1027" y="210"/>
                  </a:lnTo>
                  <a:lnTo>
                    <a:pt x="1028" y="213"/>
                  </a:lnTo>
                  <a:lnTo>
                    <a:pt x="1028" y="213"/>
                  </a:lnTo>
                  <a:lnTo>
                    <a:pt x="1028" y="213"/>
                  </a:lnTo>
                  <a:lnTo>
                    <a:pt x="1028" y="213"/>
                  </a:lnTo>
                  <a:lnTo>
                    <a:pt x="1027" y="214"/>
                  </a:lnTo>
                  <a:lnTo>
                    <a:pt x="1027" y="214"/>
                  </a:lnTo>
                  <a:lnTo>
                    <a:pt x="1027" y="216"/>
                  </a:lnTo>
                  <a:lnTo>
                    <a:pt x="1027" y="216"/>
                  </a:lnTo>
                  <a:lnTo>
                    <a:pt x="1027" y="219"/>
                  </a:lnTo>
                  <a:lnTo>
                    <a:pt x="1027" y="219"/>
                  </a:lnTo>
                  <a:lnTo>
                    <a:pt x="1025" y="221"/>
                  </a:lnTo>
                  <a:lnTo>
                    <a:pt x="1025" y="221"/>
                  </a:lnTo>
                  <a:lnTo>
                    <a:pt x="1025" y="222"/>
                  </a:lnTo>
                  <a:lnTo>
                    <a:pt x="1025" y="222"/>
                  </a:lnTo>
                  <a:lnTo>
                    <a:pt x="1025" y="224"/>
                  </a:lnTo>
                  <a:lnTo>
                    <a:pt x="1025" y="224"/>
                  </a:lnTo>
                  <a:lnTo>
                    <a:pt x="1025" y="226"/>
                  </a:lnTo>
                  <a:lnTo>
                    <a:pt x="1025" y="226"/>
                  </a:lnTo>
                  <a:lnTo>
                    <a:pt x="1024" y="227"/>
                  </a:lnTo>
                  <a:lnTo>
                    <a:pt x="1024" y="227"/>
                  </a:lnTo>
                  <a:lnTo>
                    <a:pt x="1025" y="229"/>
                  </a:lnTo>
                  <a:lnTo>
                    <a:pt x="1025" y="229"/>
                  </a:lnTo>
                  <a:lnTo>
                    <a:pt x="1027" y="230"/>
                  </a:lnTo>
                  <a:lnTo>
                    <a:pt x="1027" y="230"/>
                  </a:lnTo>
                  <a:lnTo>
                    <a:pt x="1027" y="230"/>
                  </a:lnTo>
                  <a:lnTo>
                    <a:pt x="1027" y="230"/>
                  </a:lnTo>
                  <a:lnTo>
                    <a:pt x="1027" y="234"/>
                  </a:lnTo>
                  <a:lnTo>
                    <a:pt x="1027" y="234"/>
                  </a:lnTo>
                  <a:lnTo>
                    <a:pt x="1027" y="234"/>
                  </a:lnTo>
                  <a:lnTo>
                    <a:pt x="1027" y="234"/>
                  </a:lnTo>
                  <a:lnTo>
                    <a:pt x="1025" y="234"/>
                  </a:lnTo>
                  <a:lnTo>
                    <a:pt x="1025" y="234"/>
                  </a:lnTo>
                  <a:lnTo>
                    <a:pt x="1025" y="237"/>
                  </a:lnTo>
                  <a:lnTo>
                    <a:pt x="1025" y="237"/>
                  </a:lnTo>
                  <a:lnTo>
                    <a:pt x="1024" y="238"/>
                  </a:lnTo>
                  <a:lnTo>
                    <a:pt x="1024" y="238"/>
                  </a:lnTo>
                  <a:lnTo>
                    <a:pt x="1024" y="240"/>
                  </a:lnTo>
                  <a:lnTo>
                    <a:pt x="1024" y="240"/>
                  </a:lnTo>
                  <a:lnTo>
                    <a:pt x="1024" y="241"/>
                  </a:lnTo>
                  <a:lnTo>
                    <a:pt x="1024" y="241"/>
                  </a:lnTo>
                  <a:lnTo>
                    <a:pt x="1020" y="240"/>
                  </a:lnTo>
                  <a:lnTo>
                    <a:pt x="1020" y="240"/>
                  </a:lnTo>
                  <a:lnTo>
                    <a:pt x="1017" y="240"/>
                  </a:lnTo>
                  <a:lnTo>
                    <a:pt x="1017" y="240"/>
                  </a:lnTo>
                  <a:lnTo>
                    <a:pt x="1017" y="243"/>
                  </a:lnTo>
                  <a:lnTo>
                    <a:pt x="1017" y="243"/>
                  </a:lnTo>
                  <a:lnTo>
                    <a:pt x="1017" y="245"/>
                  </a:lnTo>
                  <a:lnTo>
                    <a:pt x="1017" y="245"/>
                  </a:lnTo>
                  <a:lnTo>
                    <a:pt x="1014" y="243"/>
                  </a:lnTo>
                  <a:lnTo>
                    <a:pt x="1014" y="243"/>
                  </a:lnTo>
                  <a:lnTo>
                    <a:pt x="1011" y="243"/>
                  </a:lnTo>
                  <a:lnTo>
                    <a:pt x="1011" y="243"/>
                  </a:lnTo>
                  <a:lnTo>
                    <a:pt x="1014" y="246"/>
                  </a:lnTo>
                  <a:lnTo>
                    <a:pt x="1014" y="246"/>
                  </a:lnTo>
                  <a:lnTo>
                    <a:pt x="1017" y="248"/>
                  </a:lnTo>
                  <a:lnTo>
                    <a:pt x="1017" y="248"/>
                  </a:lnTo>
                  <a:lnTo>
                    <a:pt x="1019" y="251"/>
                  </a:lnTo>
                  <a:lnTo>
                    <a:pt x="1019" y="251"/>
                  </a:lnTo>
                  <a:lnTo>
                    <a:pt x="1020" y="254"/>
                  </a:lnTo>
                  <a:lnTo>
                    <a:pt x="1020" y="254"/>
                  </a:lnTo>
                  <a:lnTo>
                    <a:pt x="1019" y="254"/>
                  </a:lnTo>
                  <a:lnTo>
                    <a:pt x="1019" y="254"/>
                  </a:lnTo>
                  <a:lnTo>
                    <a:pt x="1019" y="256"/>
                  </a:lnTo>
                  <a:lnTo>
                    <a:pt x="1019" y="256"/>
                  </a:lnTo>
                  <a:lnTo>
                    <a:pt x="1017" y="259"/>
                  </a:lnTo>
                  <a:lnTo>
                    <a:pt x="1017" y="259"/>
                  </a:lnTo>
                  <a:lnTo>
                    <a:pt x="1017" y="259"/>
                  </a:lnTo>
                  <a:lnTo>
                    <a:pt x="1017" y="259"/>
                  </a:lnTo>
                  <a:lnTo>
                    <a:pt x="1020" y="262"/>
                  </a:lnTo>
                  <a:lnTo>
                    <a:pt x="1020" y="262"/>
                  </a:lnTo>
                  <a:lnTo>
                    <a:pt x="1025" y="268"/>
                  </a:lnTo>
                  <a:lnTo>
                    <a:pt x="1025" y="268"/>
                  </a:lnTo>
                  <a:lnTo>
                    <a:pt x="1033" y="278"/>
                  </a:lnTo>
                  <a:lnTo>
                    <a:pt x="1033" y="278"/>
                  </a:lnTo>
                  <a:lnTo>
                    <a:pt x="1039" y="286"/>
                  </a:lnTo>
                  <a:lnTo>
                    <a:pt x="1039" y="286"/>
                  </a:lnTo>
                  <a:lnTo>
                    <a:pt x="1060" y="303"/>
                  </a:lnTo>
                  <a:lnTo>
                    <a:pt x="1060" y="303"/>
                  </a:lnTo>
                  <a:lnTo>
                    <a:pt x="1068" y="310"/>
                  </a:lnTo>
                  <a:lnTo>
                    <a:pt x="1068" y="310"/>
                  </a:lnTo>
                  <a:lnTo>
                    <a:pt x="1071" y="314"/>
                  </a:lnTo>
                  <a:lnTo>
                    <a:pt x="1071" y="314"/>
                  </a:lnTo>
                  <a:lnTo>
                    <a:pt x="1076" y="316"/>
                  </a:lnTo>
                  <a:lnTo>
                    <a:pt x="1076" y="316"/>
                  </a:lnTo>
                  <a:lnTo>
                    <a:pt x="1074" y="316"/>
                  </a:lnTo>
                  <a:lnTo>
                    <a:pt x="1074" y="316"/>
                  </a:lnTo>
                  <a:lnTo>
                    <a:pt x="1076" y="318"/>
                  </a:lnTo>
                  <a:lnTo>
                    <a:pt x="1076" y="318"/>
                  </a:lnTo>
                  <a:lnTo>
                    <a:pt x="1079" y="321"/>
                  </a:lnTo>
                  <a:lnTo>
                    <a:pt x="1079" y="321"/>
                  </a:lnTo>
                  <a:lnTo>
                    <a:pt x="1087" y="327"/>
                  </a:lnTo>
                  <a:lnTo>
                    <a:pt x="1087" y="327"/>
                  </a:lnTo>
                  <a:lnTo>
                    <a:pt x="1089" y="329"/>
                  </a:lnTo>
                  <a:lnTo>
                    <a:pt x="1089" y="329"/>
                  </a:lnTo>
                  <a:lnTo>
                    <a:pt x="1092" y="332"/>
                  </a:lnTo>
                  <a:lnTo>
                    <a:pt x="1092" y="332"/>
                  </a:lnTo>
                  <a:lnTo>
                    <a:pt x="1095" y="334"/>
                  </a:lnTo>
                  <a:lnTo>
                    <a:pt x="1095" y="334"/>
                  </a:lnTo>
                  <a:lnTo>
                    <a:pt x="1098" y="337"/>
                  </a:lnTo>
                  <a:lnTo>
                    <a:pt x="1098" y="337"/>
                  </a:lnTo>
                  <a:lnTo>
                    <a:pt x="1101" y="332"/>
                  </a:lnTo>
                  <a:lnTo>
                    <a:pt x="1101" y="332"/>
                  </a:lnTo>
                  <a:lnTo>
                    <a:pt x="1101" y="330"/>
                  </a:lnTo>
                  <a:lnTo>
                    <a:pt x="1101" y="330"/>
                  </a:lnTo>
                  <a:lnTo>
                    <a:pt x="1101" y="329"/>
                  </a:lnTo>
                  <a:lnTo>
                    <a:pt x="1101" y="329"/>
                  </a:lnTo>
                  <a:lnTo>
                    <a:pt x="1101" y="327"/>
                  </a:lnTo>
                  <a:lnTo>
                    <a:pt x="1101" y="327"/>
                  </a:lnTo>
                  <a:lnTo>
                    <a:pt x="1101" y="324"/>
                  </a:lnTo>
                  <a:lnTo>
                    <a:pt x="1101" y="324"/>
                  </a:lnTo>
                  <a:lnTo>
                    <a:pt x="1101" y="318"/>
                  </a:lnTo>
                  <a:lnTo>
                    <a:pt x="1101" y="318"/>
                  </a:lnTo>
                  <a:lnTo>
                    <a:pt x="1098" y="314"/>
                  </a:lnTo>
                  <a:lnTo>
                    <a:pt x="1098" y="314"/>
                  </a:lnTo>
                  <a:lnTo>
                    <a:pt x="1095" y="313"/>
                  </a:lnTo>
                  <a:lnTo>
                    <a:pt x="1095" y="313"/>
                  </a:lnTo>
                  <a:lnTo>
                    <a:pt x="1095" y="311"/>
                  </a:lnTo>
                  <a:lnTo>
                    <a:pt x="1095" y="311"/>
                  </a:lnTo>
                  <a:lnTo>
                    <a:pt x="1092" y="310"/>
                  </a:lnTo>
                  <a:lnTo>
                    <a:pt x="1092" y="310"/>
                  </a:lnTo>
                  <a:lnTo>
                    <a:pt x="1092" y="308"/>
                  </a:lnTo>
                  <a:lnTo>
                    <a:pt x="1092" y="308"/>
                  </a:lnTo>
                  <a:lnTo>
                    <a:pt x="1092" y="308"/>
                  </a:lnTo>
                  <a:lnTo>
                    <a:pt x="1092" y="308"/>
                  </a:lnTo>
                  <a:lnTo>
                    <a:pt x="1095" y="310"/>
                  </a:lnTo>
                  <a:lnTo>
                    <a:pt x="1095" y="310"/>
                  </a:lnTo>
                  <a:lnTo>
                    <a:pt x="1098" y="307"/>
                  </a:lnTo>
                  <a:lnTo>
                    <a:pt x="1098" y="307"/>
                  </a:lnTo>
                  <a:lnTo>
                    <a:pt x="1101" y="305"/>
                  </a:lnTo>
                  <a:lnTo>
                    <a:pt x="1101" y="305"/>
                  </a:lnTo>
                  <a:lnTo>
                    <a:pt x="1101" y="305"/>
                  </a:lnTo>
                  <a:lnTo>
                    <a:pt x="1101" y="305"/>
                  </a:lnTo>
                  <a:lnTo>
                    <a:pt x="1103" y="305"/>
                  </a:lnTo>
                  <a:lnTo>
                    <a:pt x="1103" y="305"/>
                  </a:lnTo>
                  <a:lnTo>
                    <a:pt x="1105" y="307"/>
                  </a:lnTo>
                  <a:lnTo>
                    <a:pt x="1105" y="307"/>
                  </a:lnTo>
                  <a:lnTo>
                    <a:pt x="1106" y="307"/>
                  </a:lnTo>
                  <a:lnTo>
                    <a:pt x="1106" y="307"/>
                  </a:lnTo>
                  <a:lnTo>
                    <a:pt x="1103" y="303"/>
                  </a:lnTo>
                  <a:lnTo>
                    <a:pt x="1103" y="303"/>
                  </a:lnTo>
                  <a:lnTo>
                    <a:pt x="1101" y="303"/>
                  </a:lnTo>
                  <a:lnTo>
                    <a:pt x="1101" y="303"/>
                  </a:lnTo>
                  <a:lnTo>
                    <a:pt x="1098" y="300"/>
                  </a:lnTo>
                  <a:lnTo>
                    <a:pt x="1098" y="300"/>
                  </a:lnTo>
                  <a:lnTo>
                    <a:pt x="1095" y="297"/>
                  </a:lnTo>
                  <a:lnTo>
                    <a:pt x="1095" y="297"/>
                  </a:lnTo>
                  <a:lnTo>
                    <a:pt x="1095" y="294"/>
                  </a:lnTo>
                  <a:lnTo>
                    <a:pt x="1095" y="294"/>
                  </a:lnTo>
                  <a:lnTo>
                    <a:pt x="1095" y="294"/>
                  </a:lnTo>
                  <a:lnTo>
                    <a:pt x="1095" y="294"/>
                  </a:lnTo>
                  <a:lnTo>
                    <a:pt x="1095" y="292"/>
                  </a:lnTo>
                  <a:lnTo>
                    <a:pt x="1095" y="292"/>
                  </a:lnTo>
                  <a:lnTo>
                    <a:pt x="1095" y="289"/>
                  </a:lnTo>
                  <a:lnTo>
                    <a:pt x="1095" y="289"/>
                  </a:lnTo>
                  <a:lnTo>
                    <a:pt x="1098" y="288"/>
                  </a:lnTo>
                  <a:lnTo>
                    <a:pt x="1098" y="288"/>
                  </a:lnTo>
                  <a:lnTo>
                    <a:pt x="1098" y="288"/>
                  </a:lnTo>
                  <a:lnTo>
                    <a:pt x="1098" y="288"/>
                  </a:lnTo>
                  <a:lnTo>
                    <a:pt x="1103" y="289"/>
                  </a:lnTo>
                  <a:lnTo>
                    <a:pt x="1103" y="289"/>
                  </a:lnTo>
                  <a:lnTo>
                    <a:pt x="1106" y="289"/>
                  </a:lnTo>
                  <a:lnTo>
                    <a:pt x="1106" y="289"/>
                  </a:lnTo>
                  <a:lnTo>
                    <a:pt x="1108" y="286"/>
                  </a:lnTo>
                  <a:lnTo>
                    <a:pt x="1108" y="286"/>
                  </a:lnTo>
                  <a:lnTo>
                    <a:pt x="1108" y="284"/>
                  </a:lnTo>
                  <a:lnTo>
                    <a:pt x="1108" y="284"/>
                  </a:lnTo>
                  <a:lnTo>
                    <a:pt x="1101" y="281"/>
                  </a:lnTo>
                  <a:lnTo>
                    <a:pt x="1101" y="281"/>
                  </a:lnTo>
                  <a:lnTo>
                    <a:pt x="1098" y="278"/>
                  </a:lnTo>
                  <a:lnTo>
                    <a:pt x="1098" y="278"/>
                  </a:lnTo>
                  <a:lnTo>
                    <a:pt x="1095" y="275"/>
                  </a:lnTo>
                  <a:lnTo>
                    <a:pt x="1095" y="275"/>
                  </a:lnTo>
                  <a:lnTo>
                    <a:pt x="1092" y="272"/>
                  </a:lnTo>
                  <a:lnTo>
                    <a:pt x="1092" y="272"/>
                  </a:lnTo>
                  <a:lnTo>
                    <a:pt x="1089" y="268"/>
                  </a:lnTo>
                  <a:lnTo>
                    <a:pt x="1089" y="268"/>
                  </a:lnTo>
                  <a:lnTo>
                    <a:pt x="1089" y="265"/>
                  </a:lnTo>
                  <a:lnTo>
                    <a:pt x="1089" y="265"/>
                  </a:lnTo>
                  <a:lnTo>
                    <a:pt x="1092" y="265"/>
                  </a:lnTo>
                  <a:lnTo>
                    <a:pt x="1092" y="265"/>
                  </a:lnTo>
                  <a:lnTo>
                    <a:pt x="1089" y="262"/>
                  </a:lnTo>
                  <a:lnTo>
                    <a:pt x="1089" y="262"/>
                  </a:lnTo>
                  <a:lnTo>
                    <a:pt x="1089" y="262"/>
                  </a:lnTo>
                  <a:lnTo>
                    <a:pt x="1089" y="262"/>
                  </a:lnTo>
                  <a:lnTo>
                    <a:pt x="1092" y="262"/>
                  </a:lnTo>
                  <a:lnTo>
                    <a:pt x="1092" y="262"/>
                  </a:lnTo>
                  <a:lnTo>
                    <a:pt x="1095" y="262"/>
                  </a:lnTo>
                  <a:lnTo>
                    <a:pt x="1095" y="262"/>
                  </a:lnTo>
                  <a:lnTo>
                    <a:pt x="1092" y="262"/>
                  </a:lnTo>
                  <a:lnTo>
                    <a:pt x="1092" y="262"/>
                  </a:lnTo>
                  <a:lnTo>
                    <a:pt x="1092" y="265"/>
                  </a:lnTo>
                  <a:lnTo>
                    <a:pt x="1092" y="265"/>
                  </a:lnTo>
                  <a:lnTo>
                    <a:pt x="1095" y="268"/>
                  </a:lnTo>
                  <a:lnTo>
                    <a:pt x="1095" y="268"/>
                  </a:lnTo>
                  <a:lnTo>
                    <a:pt x="1098" y="268"/>
                  </a:lnTo>
                  <a:lnTo>
                    <a:pt x="1098" y="268"/>
                  </a:lnTo>
                  <a:lnTo>
                    <a:pt x="1101" y="265"/>
                  </a:lnTo>
                  <a:lnTo>
                    <a:pt x="1101" y="265"/>
                  </a:lnTo>
                  <a:lnTo>
                    <a:pt x="1101" y="265"/>
                  </a:lnTo>
                  <a:lnTo>
                    <a:pt x="1101" y="265"/>
                  </a:lnTo>
                  <a:lnTo>
                    <a:pt x="1098" y="262"/>
                  </a:lnTo>
                  <a:lnTo>
                    <a:pt x="1098" y="262"/>
                  </a:lnTo>
                  <a:lnTo>
                    <a:pt x="1092" y="259"/>
                  </a:lnTo>
                  <a:lnTo>
                    <a:pt x="1092" y="259"/>
                  </a:lnTo>
                  <a:lnTo>
                    <a:pt x="1089" y="257"/>
                  </a:lnTo>
                  <a:lnTo>
                    <a:pt x="1089" y="257"/>
                  </a:lnTo>
                  <a:lnTo>
                    <a:pt x="1085" y="256"/>
                  </a:lnTo>
                  <a:lnTo>
                    <a:pt x="1085" y="256"/>
                  </a:lnTo>
                  <a:lnTo>
                    <a:pt x="1081" y="253"/>
                  </a:lnTo>
                  <a:lnTo>
                    <a:pt x="1081" y="253"/>
                  </a:lnTo>
                  <a:lnTo>
                    <a:pt x="1079" y="251"/>
                  </a:lnTo>
                  <a:lnTo>
                    <a:pt x="1079" y="251"/>
                  </a:lnTo>
                  <a:lnTo>
                    <a:pt x="1079" y="249"/>
                  </a:lnTo>
                  <a:lnTo>
                    <a:pt x="1079" y="249"/>
                  </a:lnTo>
                  <a:lnTo>
                    <a:pt x="1079" y="246"/>
                  </a:lnTo>
                  <a:lnTo>
                    <a:pt x="1079" y="246"/>
                  </a:lnTo>
                  <a:lnTo>
                    <a:pt x="1079" y="245"/>
                  </a:lnTo>
                  <a:lnTo>
                    <a:pt x="1079" y="245"/>
                  </a:lnTo>
                  <a:lnTo>
                    <a:pt x="1074" y="243"/>
                  </a:lnTo>
                  <a:lnTo>
                    <a:pt x="1074" y="243"/>
                  </a:lnTo>
                  <a:lnTo>
                    <a:pt x="1071" y="241"/>
                  </a:lnTo>
                  <a:lnTo>
                    <a:pt x="1071" y="241"/>
                  </a:lnTo>
                  <a:lnTo>
                    <a:pt x="1068" y="241"/>
                  </a:lnTo>
                  <a:lnTo>
                    <a:pt x="1068" y="241"/>
                  </a:lnTo>
                  <a:lnTo>
                    <a:pt x="1071" y="245"/>
                  </a:lnTo>
                  <a:lnTo>
                    <a:pt x="1071" y="245"/>
                  </a:lnTo>
                  <a:lnTo>
                    <a:pt x="1068" y="245"/>
                  </a:lnTo>
                  <a:lnTo>
                    <a:pt x="1068" y="245"/>
                  </a:lnTo>
                  <a:lnTo>
                    <a:pt x="1068" y="243"/>
                  </a:lnTo>
                  <a:lnTo>
                    <a:pt x="1068" y="243"/>
                  </a:lnTo>
                  <a:lnTo>
                    <a:pt x="1065" y="243"/>
                  </a:lnTo>
                  <a:lnTo>
                    <a:pt x="1065" y="243"/>
                  </a:lnTo>
                  <a:lnTo>
                    <a:pt x="1062" y="240"/>
                  </a:lnTo>
                  <a:lnTo>
                    <a:pt x="1062" y="240"/>
                  </a:lnTo>
                  <a:lnTo>
                    <a:pt x="1058" y="237"/>
                  </a:lnTo>
                  <a:lnTo>
                    <a:pt x="1058" y="237"/>
                  </a:lnTo>
                  <a:lnTo>
                    <a:pt x="1057" y="234"/>
                  </a:lnTo>
                  <a:lnTo>
                    <a:pt x="1057" y="234"/>
                  </a:lnTo>
                  <a:lnTo>
                    <a:pt x="1057" y="230"/>
                  </a:lnTo>
                  <a:lnTo>
                    <a:pt x="1057" y="230"/>
                  </a:lnTo>
                  <a:lnTo>
                    <a:pt x="1057" y="229"/>
                  </a:lnTo>
                  <a:lnTo>
                    <a:pt x="1057" y="229"/>
                  </a:lnTo>
                  <a:lnTo>
                    <a:pt x="1058" y="229"/>
                  </a:lnTo>
                  <a:lnTo>
                    <a:pt x="1058" y="229"/>
                  </a:lnTo>
                  <a:lnTo>
                    <a:pt x="1055" y="227"/>
                  </a:lnTo>
                  <a:lnTo>
                    <a:pt x="1055" y="227"/>
                  </a:lnTo>
                  <a:lnTo>
                    <a:pt x="1058" y="227"/>
                  </a:lnTo>
                  <a:lnTo>
                    <a:pt x="1058" y="227"/>
                  </a:lnTo>
                  <a:lnTo>
                    <a:pt x="1055" y="226"/>
                  </a:lnTo>
                  <a:lnTo>
                    <a:pt x="1055" y="226"/>
                  </a:lnTo>
                  <a:lnTo>
                    <a:pt x="1055" y="224"/>
                  </a:lnTo>
                  <a:lnTo>
                    <a:pt x="1055" y="224"/>
                  </a:lnTo>
                  <a:lnTo>
                    <a:pt x="1057" y="224"/>
                  </a:lnTo>
                  <a:lnTo>
                    <a:pt x="1057" y="224"/>
                  </a:lnTo>
                  <a:lnTo>
                    <a:pt x="1054" y="222"/>
                  </a:lnTo>
                  <a:lnTo>
                    <a:pt x="1054" y="222"/>
                  </a:lnTo>
                  <a:lnTo>
                    <a:pt x="1052" y="221"/>
                  </a:lnTo>
                  <a:lnTo>
                    <a:pt x="1052" y="221"/>
                  </a:lnTo>
                  <a:lnTo>
                    <a:pt x="1052" y="219"/>
                  </a:lnTo>
                  <a:lnTo>
                    <a:pt x="1052" y="219"/>
                  </a:lnTo>
                  <a:lnTo>
                    <a:pt x="1051" y="218"/>
                  </a:lnTo>
                  <a:lnTo>
                    <a:pt x="1051" y="218"/>
                  </a:lnTo>
                  <a:lnTo>
                    <a:pt x="1049" y="216"/>
                  </a:lnTo>
                  <a:lnTo>
                    <a:pt x="1049" y="216"/>
                  </a:lnTo>
                  <a:lnTo>
                    <a:pt x="1051" y="216"/>
                  </a:lnTo>
                  <a:lnTo>
                    <a:pt x="1051" y="216"/>
                  </a:lnTo>
                  <a:lnTo>
                    <a:pt x="1052" y="214"/>
                  </a:lnTo>
                  <a:lnTo>
                    <a:pt x="1052" y="214"/>
                  </a:lnTo>
                  <a:lnTo>
                    <a:pt x="1054" y="214"/>
                  </a:lnTo>
                  <a:lnTo>
                    <a:pt x="1054" y="214"/>
                  </a:lnTo>
                  <a:lnTo>
                    <a:pt x="1055" y="214"/>
                  </a:lnTo>
                  <a:lnTo>
                    <a:pt x="1055" y="214"/>
                  </a:lnTo>
                  <a:lnTo>
                    <a:pt x="1057" y="214"/>
                  </a:lnTo>
                  <a:lnTo>
                    <a:pt x="1057" y="214"/>
                  </a:lnTo>
                  <a:lnTo>
                    <a:pt x="1057" y="213"/>
                  </a:lnTo>
                  <a:lnTo>
                    <a:pt x="1057" y="213"/>
                  </a:lnTo>
                  <a:lnTo>
                    <a:pt x="1060" y="214"/>
                  </a:lnTo>
                  <a:lnTo>
                    <a:pt x="1060" y="214"/>
                  </a:lnTo>
                  <a:lnTo>
                    <a:pt x="1063" y="216"/>
                  </a:lnTo>
                  <a:lnTo>
                    <a:pt x="1063" y="216"/>
                  </a:lnTo>
                  <a:lnTo>
                    <a:pt x="1066" y="216"/>
                  </a:lnTo>
                  <a:lnTo>
                    <a:pt x="1066" y="216"/>
                  </a:lnTo>
                  <a:lnTo>
                    <a:pt x="1066" y="214"/>
                  </a:lnTo>
                  <a:lnTo>
                    <a:pt x="1066" y="214"/>
                  </a:lnTo>
                  <a:lnTo>
                    <a:pt x="1065" y="213"/>
                  </a:lnTo>
                  <a:lnTo>
                    <a:pt x="1065" y="213"/>
                  </a:lnTo>
                  <a:lnTo>
                    <a:pt x="1063" y="213"/>
                  </a:lnTo>
                  <a:lnTo>
                    <a:pt x="1063" y="213"/>
                  </a:lnTo>
                  <a:lnTo>
                    <a:pt x="1066" y="213"/>
                  </a:lnTo>
                  <a:lnTo>
                    <a:pt x="1066" y="213"/>
                  </a:lnTo>
                  <a:lnTo>
                    <a:pt x="1066" y="210"/>
                  </a:lnTo>
                  <a:lnTo>
                    <a:pt x="1066" y="210"/>
                  </a:lnTo>
                  <a:lnTo>
                    <a:pt x="1068" y="210"/>
                  </a:lnTo>
                  <a:lnTo>
                    <a:pt x="1068" y="210"/>
                  </a:lnTo>
                  <a:lnTo>
                    <a:pt x="1068" y="210"/>
                  </a:lnTo>
                  <a:lnTo>
                    <a:pt x="1068" y="210"/>
                  </a:lnTo>
                  <a:lnTo>
                    <a:pt x="1071" y="210"/>
                  </a:lnTo>
                  <a:lnTo>
                    <a:pt x="1071" y="210"/>
                  </a:lnTo>
                  <a:lnTo>
                    <a:pt x="1071" y="213"/>
                  </a:lnTo>
                  <a:lnTo>
                    <a:pt x="1071" y="213"/>
                  </a:lnTo>
                  <a:lnTo>
                    <a:pt x="1074" y="214"/>
                  </a:lnTo>
                  <a:lnTo>
                    <a:pt x="1074" y="214"/>
                  </a:lnTo>
                  <a:lnTo>
                    <a:pt x="1076" y="216"/>
                  </a:lnTo>
                  <a:lnTo>
                    <a:pt x="1076" y="216"/>
                  </a:lnTo>
                  <a:lnTo>
                    <a:pt x="1078" y="216"/>
                  </a:lnTo>
                  <a:lnTo>
                    <a:pt x="1078" y="216"/>
                  </a:lnTo>
                  <a:lnTo>
                    <a:pt x="1079" y="213"/>
                  </a:lnTo>
                  <a:lnTo>
                    <a:pt x="1079" y="213"/>
                  </a:lnTo>
                  <a:lnTo>
                    <a:pt x="1079" y="210"/>
                  </a:lnTo>
                  <a:lnTo>
                    <a:pt x="1079" y="210"/>
                  </a:lnTo>
                  <a:lnTo>
                    <a:pt x="1081" y="210"/>
                  </a:lnTo>
                  <a:lnTo>
                    <a:pt x="1081" y="210"/>
                  </a:lnTo>
                  <a:lnTo>
                    <a:pt x="1079" y="210"/>
                  </a:lnTo>
                  <a:lnTo>
                    <a:pt x="1079" y="210"/>
                  </a:lnTo>
                  <a:lnTo>
                    <a:pt x="1082" y="210"/>
                  </a:lnTo>
                  <a:lnTo>
                    <a:pt x="1082" y="210"/>
                  </a:lnTo>
                  <a:lnTo>
                    <a:pt x="1084" y="210"/>
                  </a:lnTo>
                  <a:lnTo>
                    <a:pt x="1084" y="210"/>
                  </a:lnTo>
                  <a:lnTo>
                    <a:pt x="1089" y="207"/>
                  </a:lnTo>
                  <a:lnTo>
                    <a:pt x="1089" y="207"/>
                  </a:lnTo>
                  <a:lnTo>
                    <a:pt x="1098" y="207"/>
                  </a:lnTo>
                  <a:lnTo>
                    <a:pt x="1098" y="207"/>
                  </a:lnTo>
                  <a:lnTo>
                    <a:pt x="1108" y="210"/>
                  </a:lnTo>
                  <a:lnTo>
                    <a:pt x="1108" y="210"/>
                  </a:lnTo>
                  <a:lnTo>
                    <a:pt x="1119" y="216"/>
                  </a:lnTo>
                  <a:lnTo>
                    <a:pt x="1119" y="216"/>
                  </a:lnTo>
                  <a:lnTo>
                    <a:pt x="1119" y="214"/>
                  </a:lnTo>
                  <a:lnTo>
                    <a:pt x="1119" y="214"/>
                  </a:lnTo>
                  <a:lnTo>
                    <a:pt x="1117" y="213"/>
                  </a:lnTo>
                  <a:lnTo>
                    <a:pt x="1117" y="213"/>
                  </a:lnTo>
                  <a:lnTo>
                    <a:pt x="1112" y="210"/>
                  </a:lnTo>
                  <a:lnTo>
                    <a:pt x="1112" y="210"/>
                  </a:lnTo>
                  <a:lnTo>
                    <a:pt x="1114" y="210"/>
                  </a:lnTo>
                  <a:lnTo>
                    <a:pt x="1114" y="210"/>
                  </a:lnTo>
                  <a:lnTo>
                    <a:pt x="1114" y="207"/>
                  </a:lnTo>
                  <a:lnTo>
                    <a:pt x="1114" y="207"/>
                  </a:lnTo>
                  <a:lnTo>
                    <a:pt x="1117" y="207"/>
                  </a:lnTo>
                  <a:lnTo>
                    <a:pt x="1117" y="207"/>
                  </a:lnTo>
                  <a:lnTo>
                    <a:pt x="1119" y="207"/>
                  </a:lnTo>
                  <a:lnTo>
                    <a:pt x="1119" y="207"/>
                  </a:lnTo>
                  <a:lnTo>
                    <a:pt x="1117" y="207"/>
                  </a:lnTo>
                  <a:lnTo>
                    <a:pt x="1117" y="207"/>
                  </a:lnTo>
                  <a:lnTo>
                    <a:pt x="1119" y="203"/>
                  </a:lnTo>
                  <a:lnTo>
                    <a:pt x="1119" y="203"/>
                  </a:lnTo>
                  <a:lnTo>
                    <a:pt x="1120" y="203"/>
                  </a:lnTo>
                  <a:lnTo>
                    <a:pt x="1120" y="203"/>
                  </a:lnTo>
                  <a:lnTo>
                    <a:pt x="1122" y="203"/>
                  </a:lnTo>
                  <a:lnTo>
                    <a:pt x="1122" y="203"/>
                  </a:lnTo>
                  <a:lnTo>
                    <a:pt x="1120" y="202"/>
                  </a:lnTo>
                  <a:lnTo>
                    <a:pt x="1120" y="202"/>
                  </a:lnTo>
                  <a:lnTo>
                    <a:pt x="1122" y="202"/>
                  </a:lnTo>
                  <a:lnTo>
                    <a:pt x="1122" y="202"/>
                  </a:lnTo>
                  <a:lnTo>
                    <a:pt x="1120" y="200"/>
                  </a:lnTo>
                  <a:lnTo>
                    <a:pt x="1120" y="200"/>
                  </a:lnTo>
                  <a:lnTo>
                    <a:pt x="1122" y="200"/>
                  </a:lnTo>
                  <a:lnTo>
                    <a:pt x="1122" y="200"/>
                  </a:lnTo>
                  <a:lnTo>
                    <a:pt x="1122" y="199"/>
                  </a:lnTo>
                  <a:lnTo>
                    <a:pt x="1122" y="199"/>
                  </a:lnTo>
                  <a:lnTo>
                    <a:pt x="1122" y="197"/>
                  </a:lnTo>
                  <a:lnTo>
                    <a:pt x="1122" y="197"/>
                  </a:lnTo>
                  <a:lnTo>
                    <a:pt x="1124" y="195"/>
                  </a:lnTo>
                  <a:lnTo>
                    <a:pt x="1124" y="195"/>
                  </a:lnTo>
                  <a:lnTo>
                    <a:pt x="1124" y="192"/>
                  </a:lnTo>
                  <a:lnTo>
                    <a:pt x="1124" y="192"/>
                  </a:lnTo>
                  <a:lnTo>
                    <a:pt x="1127" y="192"/>
                  </a:lnTo>
                  <a:lnTo>
                    <a:pt x="1127" y="192"/>
                  </a:lnTo>
                  <a:lnTo>
                    <a:pt x="1127" y="192"/>
                  </a:lnTo>
                  <a:lnTo>
                    <a:pt x="1127" y="192"/>
                  </a:lnTo>
                  <a:lnTo>
                    <a:pt x="1127" y="191"/>
                  </a:lnTo>
                  <a:lnTo>
                    <a:pt x="1127" y="191"/>
                  </a:lnTo>
                  <a:lnTo>
                    <a:pt x="1130" y="191"/>
                  </a:lnTo>
                  <a:lnTo>
                    <a:pt x="1130" y="191"/>
                  </a:lnTo>
                  <a:lnTo>
                    <a:pt x="1133" y="191"/>
                  </a:lnTo>
                  <a:lnTo>
                    <a:pt x="1133" y="191"/>
                  </a:lnTo>
                  <a:lnTo>
                    <a:pt x="1130" y="189"/>
                  </a:lnTo>
                  <a:lnTo>
                    <a:pt x="1130" y="189"/>
                  </a:lnTo>
                  <a:lnTo>
                    <a:pt x="1133" y="189"/>
                  </a:lnTo>
                  <a:lnTo>
                    <a:pt x="1133" y="189"/>
                  </a:lnTo>
                  <a:lnTo>
                    <a:pt x="1133" y="187"/>
                  </a:lnTo>
                  <a:lnTo>
                    <a:pt x="1133" y="187"/>
                  </a:lnTo>
                  <a:lnTo>
                    <a:pt x="1136" y="186"/>
                  </a:lnTo>
                  <a:lnTo>
                    <a:pt x="1136" y="186"/>
                  </a:lnTo>
                  <a:lnTo>
                    <a:pt x="1139" y="184"/>
                  </a:lnTo>
                  <a:lnTo>
                    <a:pt x="1139" y="184"/>
                  </a:lnTo>
                  <a:lnTo>
                    <a:pt x="1143" y="181"/>
                  </a:lnTo>
                  <a:lnTo>
                    <a:pt x="1143" y="181"/>
                  </a:lnTo>
                  <a:lnTo>
                    <a:pt x="1146" y="181"/>
                  </a:lnTo>
                  <a:lnTo>
                    <a:pt x="1146" y="181"/>
                  </a:lnTo>
                  <a:lnTo>
                    <a:pt x="1143" y="180"/>
                  </a:lnTo>
                  <a:lnTo>
                    <a:pt x="1143" y="180"/>
                  </a:lnTo>
                  <a:lnTo>
                    <a:pt x="1141" y="180"/>
                  </a:lnTo>
                  <a:lnTo>
                    <a:pt x="1141" y="180"/>
                  </a:lnTo>
                  <a:lnTo>
                    <a:pt x="1138" y="178"/>
                  </a:lnTo>
                  <a:lnTo>
                    <a:pt x="1138" y="178"/>
                  </a:lnTo>
                  <a:lnTo>
                    <a:pt x="1141" y="178"/>
                  </a:lnTo>
                  <a:lnTo>
                    <a:pt x="1141" y="178"/>
                  </a:lnTo>
                  <a:lnTo>
                    <a:pt x="1144" y="180"/>
                  </a:lnTo>
                  <a:lnTo>
                    <a:pt x="1144" y="180"/>
                  </a:lnTo>
                  <a:lnTo>
                    <a:pt x="1143" y="178"/>
                  </a:lnTo>
                  <a:lnTo>
                    <a:pt x="1143" y="178"/>
                  </a:lnTo>
                  <a:lnTo>
                    <a:pt x="1144" y="178"/>
                  </a:lnTo>
                  <a:lnTo>
                    <a:pt x="1144" y="178"/>
                  </a:lnTo>
                  <a:lnTo>
                    <a:pt x="1146" y="180"/>
                  </a:lnTo>
                  <a:lnTo>
                    <a:pt x="1146" y="180"/>
                  </a:lnTo>
                  <a:lnTo>
                    <a:pt x="1151" y="181"/>
                  </a:lnTo>
                  <a:lnTo>
                    <a:pt x="1151" y="181"/>
                  </a:lnTo>
                  <a:lnTo>
                    <a:pt x="1154" y="181"/>
                  </a:lnTo>
                  <a:lnTo>
                    <a:pt x="1154" y="181"/>
                  </a:lnTo>
                  <a:lnTo>
                    <a:pt x="1162" y="183"/>
                  </a:lnTo>
                  <a:lnTo>
                    <a:pt x="1162" y="183"/>
                  </a:lnTo>
                  <a:lnTo>
                    <a:pt x="1168" y="184"/>
                  </a:lnTo>
                  <a:lnTo>
                    <a:pt x="1168" y="184"/>
                  </a:lnTo>
                  <a:lnTo>
                    <a:pt x="1165" y="183"/>
                  </a:lnTo>
                  <a:lnTo>
                    <a:pt x="1165" y="183"/>
                  </a:lnTo>
                  <a:lnTo>
                    <a:pt x="1168" y="181"/>
                  </a:lnTo>
                  <a:lnTo>
                    <a:pt x="1168" y="181"/>
                  </a:lnTo>
                  <a:lnTo>
                    <a:pt x="1168" y="178"/>
                  </a:lnTo>
                  <a:lnTo>
                    <a:pt x="1168" y="178"/>
                  </a:lnTo>
                  <a:lnTo>
                    <a:pt x="1162" y="178"/>
                  </a:lnTo>
                  <a:lnTo>
                    <a:pt x="1162" y="178"/>
                  </a:lnTo>
                  <a:lnTo>
                    <a:pt x="1159" y="175"/>
                  </a:lnTo>
                  <a:lnTo>
                    <a:pt x="1159" y="175"/>
                  </a:lnTo>
                  <a:lnTo>
                    <a:pt x="1159" y="175"/>
                  </a:lnTo>
                  <a:lnTo>
                    <a:pt x="1159" y="175"/>
                  </a:lnTo>
                  <a:lnTo>
                    <a:pt x="1155" y="172"/>
                  </a:lnTo>
                  <a:lnTo>
                    <a:pt x="1155" y="172"/>
                  </a:lnTo>
                  <a:lnTo>
                    <a:pt x="1149" y="172"/>
                  </a:lnTo>
                  <a:lnTo>
                    <a:pt x="1149" y="172"/>
                  </a:lnTo>
                  <a:lnTo>
                    <a:pt x="1151" y="172"/>
                  </a:lnTo>
                  <a:lnTo>
                    <a:pt x="1151" y="172"/>
                  </a:lnTo>
                  <a:lnTo>
                    <a:pt x="1146" y="168"/>
                  </a:lnTo>
                  <a:lnTo>
                    <a:pt x="1146" y="168"/>
                  </a:lnTo>
                  <a:lnTo>
                    <a:pt x="1144" y="168"/>
                  </a:lnTo>
                  <a:lnTo>
                    <a:pt x="1144" y="168"/>
                  </a:lnTo>
                  <a:lnTo>
                    <a:pt x="1143" y="168"/>
                  </a:lnTo>
                  <a:lnTo>
                    <a:pt x="1143" y="168"/>
                  </a:lnTo>
                  <a:lnTo>
                    <a:pt x="1141" y="168"/>
                  </a:lnTo>
                  <a:lnTo>
                    <a:pt x="1141" y="168"/>
                  </a:lnTo>
                  <a:lnTo>
                    <a:pt x="1143" y="168"/>
                  </a:lnTo>
                  <a:lnTo>
                    <a:pt x="1143" y="168"/>
                  </a:lnTo>
                  <a:lnTo>
                    <a:pt x="1141" y="167"/>
                  </a:lnTo>
                  <a:lnTo>
                    <a:pt x="1141" y="167"/>
                  </a:lnTo>
                  <a:lnTo>
                    <a:pt x="1136" y="164"/>
                  </a:lnTo>
                  <a:lnTo>
                    <a:pt x="1136" y="164"/>
                  </a:lnTo>
                  <a:lnTo>
                    <a:pt x="1133" y="164"/>
                  </a:lnTo>
                  <a:lnTo>
                    <a:pt x="1133" y="164"/>
                  </a:lnTo>
                  <a:lnTo>
                    <a:pt x="1133" y="162"/>
                  </a:lnTo>
                  <a:lnTo>
                    <a:pt x="1133" y="162"/>
                  </a:lnTo>
                  <a:lnTo>
                    <a:pt x="1133" y="162"/>
                  </a:lnTo>
                  <a:lnTo>
                    <a:pt x="1133" y="162"/>
                  </a:lnTo>
                  <a:lnTo>
                    <a:pt x="1127" y="159"/>
                  </a:lnTo>
                  <a:lnTo>
                    <a:pt x="1127" y="159"/>
                  </a:lnTo>
                  <a:lnTo>
                    <a:pt x="1127" y="161"/>
                  </a:lnTo>
                  <a:lnTo>
                    <a:pt x="1127" y="161"/>
                  </a:lnTo>
                  <a:lnTo>
                    <a:pt x="1120" y="159"/>
                  </a:lnTo>
                  <a:lnTo>
                    <a:pt x="1120" y="159"/>
                  </a:lnTo>
                  <a:lnTo>
                    <a:pt x="1116" y="157"/>
                  </a:lnTo>
                  <a:lnTo>
                    <a:pt x="1116" y="157"/>
                  </a:lnTo>
                  <a:lnTo>
                    <a:pt x="1114" y="156"/>
                  </a:lnTo>
                  <a:lnTo>
                    <a:pt x="1114" y="156"/>
                  </a:lnTo>
                  <a:lnTo>
                    <a:pt x="1111" y="153"/>
                  </a:lnTo>
                  <a:lnTo>
                    <a:pt x="1111" y="153"/>
                  </a:lnTo>
                  <a:lnTo>
                    <a:pt x="1114" y="154"/>
                  </a:lnTo>
                  <a:lnTo>
                    <a:pt x="1114" y="154"/>
                  </a:lnTo>
                  <a:lnTo>
                    <a:pt x="1117" y="154"/>
                  </a:lnTo>
                  <a:lnTo>
                    <a:pt x="1117" y="154"/>
                  </a:lnTo>
                  <a:lnTo>
                    <a:pt x="1124" y="154"/>
                  </a:lnTo>
                  <a:lnTo>
                    <a:pt x="1124" y="154"/>
                  </a:lnTo>
                  <a:lnTo>
                    <a:pt x="1124" y="156"/>
                  </a:lnTo>
                  <a:lnTo>
                    <a:pt x="1124" y="156"/>
                  </a:lnTo>
                  <a:lnTo>
                    <a:pt x="1130" y="153"/>
                  </a:lnTo>
                  <a:lnTo>
                    <a:pt x="1130" y="153"/>
                  </a:lnTo>
                  <a:lnTo>
                    <a:pt x="1130" y="149"/>
                  </a:lnTo>
                  <a:lnTo>
                    <a:pt x="1130" y="149"/>
                  </a:lnTo>
                  <a:lnTo>
                    <a:pt x="1130" y="149"/>
                  </a:lnTo>
                  <a:lnTo>
                    <a:pt x="1130" y="149"/>
                  </a:lnTo>
                  <a:lnTo>
                    <a:pt x="1133" y="148"/>
                  </a:lnTo>
                  <a:lnTo>
                    <a:pt x="1133" y="148"/>
                  </a:lnTo>
                  <a:lnTo>
                    <a:pt x="1133" y="146"/>
                  </a:lnTo>
                  <a:lnTo>
                    <a:pt x="1133" y="146"/>
                  </a:lnTo>
                  <a:lnTo>
                    <a:pt x="1130" y="146"/>
                  </a:lnTo>
                  <a:lnTo>
                    <a:pt x="1130" y="146"/>
                  </a:lnTo>
                  <a:lnTo>
                    <a:pt x="1127" y="146"/>
                  </a:lnTo>
                  <a:lnTo>
                    <a:pt x="1127" y="146"/>
                  </a:lnTo>
                  <a:lnTo>
                    <a:pt x="1130" y="143"/>
                  </a:lnTo>
                  <a:lnTo>
                    <a:pt x="1130" y="143"/>
                  </a:lnTo>
                  <a:lnTo>
                    <a:pt x="1127" y="143"/>
                  </a:lnTo>
                  <a:lnTo>
                    <a:pt x="1127" y="143"/>
                  </a:lnTo>
                  <a:lnTo>
                    <a:pt x="1124" y="141"/>
                  </a:lnTo>
                  <a:lnTo>
                    <a:pt x="1124" y="141"/>
                  </a:lnTo>
                  <a:lnTo>
                    <a:pt x="1120" y="141"/>
                  </a:lnTo>
                  <a:lnTo>
                    <a:pt x="1120" y="141"/>
                  </a:lnTo>
                  <a:lnTo>
                    <a:pt x="1117" y="138"/>
                  </a:lnTo>
                  <a:lnTo>
                    <a:pt x="1117" y="138"/>
                  </a:lnTo>
                  <a:lnTo>
                    <a:pt x="1116" y="137"/>
                  </a:lnTo>
                  <a:lnTo>
                    <a:pt x="1116" y="137"/>
                  </a:lnTo>
                  <a:lnTo>
                    <a:pt x="1119" y="135"/>
                  </a:lnTo>
                  <a:lnTo>
                    <a:pt x="1119" y="135"/>
                  </a:lnTo>
                  <a:lnTo>
                    <a:pt x="1122" y="135"/>
                  </a:lnTo>
                  <a:lnTo>
                    <a:pt x="1122" y="135"/>
                  </a:lnTo>
                  <a:lnTo>
                    <a:pt x="1122" y="134"/>
                  </a:lnTo>
                  <a:lnTo>
                    <a:pt x="1122" y="134"/>
                  </a:lnTo>
                  <a:lnTo>
                    <a:pt x="1124" y="134"/>
                  </a:lnTo>
                  <a:lnTo>
                    <a:pt x="1124" y="134"/>
                  </a:lnTo>
                  <a:lnTo>
                    <a:pt x="1124" y="135"/>
                  </a:lnTo>
                  <a:lnTo>
                    <a:pt x="1124" y="135"/>
                  </a:lnTo>
                  <a:lnTo>
                    <a:pt x="1124" y="137"/>
                  </a:lnTo>
                  <a:lnTo>
                    <a:pt x="1124" y="137"/>
                  </a:lnTo>
                  <a:lnTo>
                    <a:pt x="1124" y="138"/>
                  </a:lnTo>
                  <a:lnTo>
                    <a:pt x="1124" y="138"/>
                  </a:lnTo>
                  <a:lnTo>
                    <a:pt x="1133" y="141"/>
                  </a:lnTo>
                  <a:lnTo>
                    <a:pt x="1133" y="141"/>
                  </a:lnTo>
                  <a:lnTo>
                    <a:pt x="1136" y="143"/>
                  </a:lnTo>
                  <a:lnTo>
                    <a:pt x="1136" y="143"/>
                  </a:lnTo>
                  <a:lnTo>
                    <a:pt x="1138" y="143"/>
                  </a:lnTo>
                  <a:lnTo>
                    <a:pt x="1138" y="143"/>
                  </a:lnTo>
                  <a:lnTo>
                    <a:pt x="1143" y="143"/>
                  </a:lnTo>
                  <a:lnTo>
                    <a:pt x="1143" y="143"/>
                  </a:lnTo>
                  <a:lnTo>
                    <a:pt x="1147" y="143"/>
                  </a:lnTo>
                  <a:lnTo>
                    <a:pt x="1147" y="143"/>
                  </a:lnTo>
                  <a:lnTo>
                    <a:pt x="1151" y="143"/>
                  </a:lnTo>
                  <a:lnTo>
                    <a:pt x="1151" y="143"/>
                  </a:lnTo>
                  <a:lnTo>
                    <a:pt x="1154" y="143"/>
                  </a:lnTo>
                  <a:lnTo>
                    <a:pt x="1154" y="143"/>
                  </a:lnTo>
                  <a:lnTo>
                    <a:pt x="1162" y="146"/>
                  </a:lnTo>
                  <a:lnTo>
                    <a:pt x="1162" y="146"/>
                  </a:lnTo>
                  <a:lnTo>
                    <a:pt x="1171" y="148"/>
                  </a:lnTo>
                  <a:lnTo>
                    <a:pt x="1171" y="148"/>
                  </a:lnTo>
                  <a:lnTo>
                    <a:pt x="1179" y="151"/>
                  </a:lnTo>
                  <a:lnTo>
                    <a:pt x="1179" y="151"/>
                  </a:lnTo>
                  <a:lnTo>
                    <a:pt x="1182" y="153"/>
                  </a:lnTo>
                  <a:lnTo>
                    <a:pt x="1182" y="153"/>
                  </a:lnTo>
                  <a:lnTo>
                    <a:pt x="1184" y="153"/>
                  </a:lnTo>
                  <a:lnTo>
                    <a:pt x="1184" y="153"/>
                  </a:lnTo>
                  <a:lnTo>
                    <a:pt x="1182" y="151"/>
                  </a:lnTo>
                  <a:lnTo>
                    <a:pt x="1182" y="151"/>
                  </a:lnTo>
                  <a:lnTo>
                    <a:pt x="1190" y="154"/>
                  </a:lnTo>
                  <a:lnTo>
                    <a:pt x="1190" y="154"/>
                  </a:lnTo>
                  <a:lnTo>
                    <a:pt x="1200" y="156"/>
                  </a:lnTo>
                  <a:lnTo>
                    <a:pt x="1200" y="156"/>
                  </a:lnTo>
                  <a:lnTo>
                    <a:pt x="1205" y="157"/>
                  </a:lnTo>
                  <a:lnTo>
                    <a:pt x="1205" y="157"/>
                  </a:lnTo>
                  <a:lnTo>
                    <a:pt x="1203" y="154"/>
                  </a:lnTo>
                  <a:lnTo>
                    <a:pt x="1203" y="154"/>
                  </a:lnTo>
                  <a:lnTo>
                    <a:pt x="1205" y="156"/>
                  </a:lnTo>
                  <a:lnTo>
                    <a:pt x="1205" y="156"/>
                  </a:lnTo>
                  <a:lnTo>
                    <a:pt x="1208" y="157"/>
                  </a:lnTo>
                  <a:lnTo>
                    <a:pt x="1208" y="157"/>
                  </a:lnTo>
                  <a:lnTo>
                    <a:pt x="1209" y="159"/>
                  </a:lnTo>
                  <a:lnTo>
                    <a:pt x="1209" y="159"/>
                  </a:lnTo>
                  <a:lnTo>
                    <a:pt x="1212" y="159"/>
                  </a:lnTo>
                  <a:lnTo>
                    <a:pt x="1212" y="159"/>
                  </a:lnTo>
                  <a:lnTo>
                    <a:pt x="1211" y="157"/>
                  </a:lnTo>
                  <a:lnTo>
                    <a:pt x="1211" y="157"/>
                  </a:lnTo>
                  <a:lnTo>
                    <a:pt x="1209" y="157"/>
                  </a:lnTo>
                  <a:lnTo>
                    <a:pt x="1209" y="157"/>
                  </a:lnTo>
                  <a:lnTo>
                    <a:pt x="1211" y="156"/>
                  </a:lnTo>
                  <a:lnTo>
                    <a:pt x="1212" y="157"/>
                  </a:lnTo>
                  <a:lnTo>
                    <a:pt x="1212" y="157"/>
                  </a:lnTo>
                  <a:lnTo>
                    <a:pt x="1212" y="157"/>
                  </a:lnTo>
                  <a:close/>
                  <a:moveTo>
                    <a:pt x="38" y="143"/>
                  </a:moveTo>
                  <a:lnTo>
                    <a:pt x="38" y="143"/>
                  </a:lnTo>
                  <a:lnTo>
                    <a:pt x="38" y="143"/>
                  </a:lnTo>
                  <a:lnTo>
                    <a:pt x="36" y="141"/>
                  </a:lnTo>
                  <a:lnTo>
                    <a:pt x="36" y="141"/>
                  </a:lnTo>
                  <a:lnTo>
                    <a:pt x="38" y="143"/>
                  </a:lnTo>
                  <a:lnTo>
                    <a:pt x="38" y="143"/>
                  </a:lnTo>
                  <a:lnTo>
                    <a:pt x="38" y="14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6" name="Freeform 231">
              <a:extLst>
                <a:ext uri="{FF2B5EF4-FFF2-40B4-BE49-F238E27FC236}">
                  <a16:creationId xmlns:a16="http://schemas.microsoft.com/office/drawing/2014/main" id="{9CB56304-923C-629A-612C-7DF5D4D2FEEB}"/>
                </a:ext>
              </a:extLst>
            </p:cNvPr>
            <p:cNvSpPr>
              <a:spLocks noEditPoints="1"/>
            </p:cNvSpPr>
            <p:nvPr/>
          </p:nvSpPr>
          <p:spPr bwMode="auto">
            <a:xfrm>
              <a:off x="6071986" y="1571190"/>
              <a:ext cx="289357" cy="91967"/>
            </a:xfrm>
            <a:custGeom>
              <a:avLst/>
              <a:gdLst>
                <a:gd name="T0" fmla="*/ 67 w 129"/>
                <a:gd name="T1" fmla="*/ 14 h 41"/>
                <a:gd name="T2" fmla="*/ 59 w 129"/>
                <a:gd name="T3" fmla="*/ 9 h 41"/>
                <a:gd name="T4" fmla="*/ 54 w 129"/>
                <a:gd name="T5" fmla="*/ 8 h 41"/>
                <a:gd name="T6" fmla="*/ 40 w 129"/>
                <a:gd name="T7" fmla="*/ 6 h 41"/>
                <a:gd name="T8" fmla="*/ 42 w 129"/>
                <a:gd name="T9" fmla="*/ 14 h 41"/>
                <a:gd name="T10" fmla="*/ 32 w 129"/>
                <a:gd name="T11" fmla="*/ 8 h 41"/>
                <a:gd name="T12" fmla="*/ 22 w 129"/>
                <a:gd name="T13" fmla="*/ 11 h 41"/>
                <a:gd name="T14" fmla="*/ 24 w 129"/>
                <a:gd name="T15" fmla="*/ 8 h 41"/>
                <a:gd name="T16" fmla="*/ 10 w 129"/>
                <a:gd name="T17" fmla="*/ 8 h 41"/>
                <a:gd name="T18" fmla="*/ 3 w 129"/>
                <a:gd name="T19" fmla="*/ 9 h 41"/>
                <a:gd name="T20" fmla="*/ 0 w 129"/>
                <a:gd name="T21" fmla="*/ 12 h 41"/>
                <a:gd name="T22" fmla="*/ 7 w 129"/>
                <a:gd name="T23" fmla="*/ 14 h 41"/>
                <a:gd name="T24" fmla="*/ 10 w 129"/>
                <a:gd name="T25" fmla="*/ 15 h 41"/>
                <a:gd name="T26" fmla="*/ 7 w 129"/>
                <a:gd name="T27" fmla="*/ 19 h 41"/>
                <a:gd name="T28" fmla="*/ 15 w 129"/>
                <a:gd name="T29" fmla="*/ 22 h 41"/>
                <a:gd name="T30" fmla="*/ 27 w 129"/>
                <a:gd name="T31" fmla="*/ 22 h 41"/>
                <a:gd name="T32" fmla="*/ 37 w 129"/>
                <a:gd name="T33" fmla="*/ 19 h 41"/>
                <a:gd name="T34" fmla="*/ 45 w 129"/>
                <a:gd name="T35" fmla="*/ 19 h 41"/>
                <a:gd name="T36" fmla="*/ 42 w 129"/>
                <a:gd name="T37" fmla="*/ 22 h 41"/>
                <a:gd name="T38" fmla="*/ 27 w 129"/>
                <a:gd name="T39" fmla="*/ 27 h 41"/>
                <a:gd name="T40" fmla="*/ 26 w 129"/>
                <a:gd name="T41" fmla="*/ 28 h 41"/>
                <a:gd name="T42" fmla="*/ 45 w 129"/>
                <a:gd name="T43" fmla="*/ 28 h 41"/>
                <a:gd name="T44" fmla="*/ 43 w 129"/>
                <a:gd name="T45" fmla="*/ 31 h 41"/>
                <a:gd name="T46" fmla="*/ 27 w 129"/>
                <a:gd name="T47" fmla="*/ 30 h 41"/>
                <a:gd name="T48" fmla="*/ 38 w 129"/>
                <a:gd name="T49" fmla="*/ 36 h 41"/>
                <a:gd name="T50" fmla="*/ 45 w 129"/>
                <a:gd name="T51" fmla="*/ 41 h 41"/>
                <a:gd name="T52" fmla="*/ 51 w 129"/>
                <a:gd name="T53" fmla="*/ 38 h 41"/>
                <a:gd name="T54" fmla="*/ 61 w 129"/>
                <a:gd name="T55" fmla="*/ 30 h 41"/>
                <a:gd name="T56" fmla="*/ 65 w 129"/>
                <a:gd name="T57" fmla="*/ 25 h 41"/>
                <a:gd name="T58" fmla="*/ 83 w 129"/>
                <a:gd name="T59" fmla="*/ 19 h 41"/>
                <a:gd name="T60" fmla="*/ 83 w 129"/>
                <a:gd name="T61" fmla="*/ 19 h 41"/>
                <a:gd name="T62" fmla="*/ 129 w 129"/>
                <a:gd name="T63" fmla="*/ 6 h 41"/>
                <a:gd name="T64" fmla="*/ 107 w 129"/>
                <a:gd name="T65" fmla="*/ 3 h 41"/>
                <a:gd name="T66" fmla="*/ 94 w 129"/>
                <a:gd name="T67" fmla="*/ 4 h 41"/>
                <a:gd name="T68" fmla="*/ 92 w 129"/>
                <a:gd name="T69" fmla="*/ 1 h 41"/>
                <a:gd name="T70" fmla="*/ 86 w 129"/>
                <a:gd name="T71" fmla="*/ 4 h 41"/>
                <a:gd name="T72" fmla="*/ 81 w 129"/>
                <a:gd name="T73" fmla="*/ 3 h 41"/>
                <a:gd name="T74" fmla="*/ 69 w 129"/>
                <a:gd name="T75" fmla="*/ 3 h 41"/>
                <a:gd name="T76" fmla="*/ 54 w 129"/>
                <a:gd name="T77" fmla="*/ 4 h 41"/>
                <a:gd name="T78" fmla="*/ 57 w 129"/>
                <a:gd name="T79" fmla="*/ 6 h 41"/>
                <a:gd name="T80" fmla="*/ 83 w 129"/>
                <a:gd name="T81" fmla="*/ 9 h 41"/>
                <a:gd name="T82" fmla="*/ 75 w 129"/>
                <a:gd name="T83" fmla="*/ 11 h 41"/>
                <a:gd name="T84" fmla="*/ 110 w 129"/>
                <a:gd name="T85" fmla="*/ 12 h 41"/>
                <a:gd name="T86" fmla="*/ 129 w 129"/>
                <a:gd name="T87" fmla="*/ 6 h 41"/>
                <a:gd name="T88" fmla="*/ 129 w 129"/>
                <a:gd name="T89" fmla="*/ 6 h 41"/>
                <a:gd name="T90" fmla="*/ 67 w 129"/>
                <a:gd name="T91" fmla="*/ 3 h 41"/>
                <a:gd name="T92" fmla="*/ 65 w 129"/>
                <a:gd name="T93" fmla="*/ 3 h 41"/>
                <a:gd name="T94" fmla="*/ 65 w 129"/>
                <a:gd name="T95" fmla="*/ 3 h 41"/>
                <a:gd name="T96" fmla="*/ 97 w 129"/>
                <a:gd name="T97" fmla="*/ 25 h 41"/>
                <a:gd name="T98" fmla="*/ 86 w 129"/>
                <a:gd name="T99" fmla="*/ 30 h 41"/>
                <a:gd name="T100" fmla="*/ 89 w 129"/>
                <a:gd name="T101" fmla="*/ 31 h 41"/>
                <a:gd name="T102" fmla="*/ 100 w 129"/>
                <a:gd name="T103" fmla="*/ 33 h 41"/>
                <a:gd name="T104" fmla="*/ 111 w 129"/>
                <a:gd name="T105" fmla="*/ 27 h 41"/>
                <a:gd name="T106" fmla="*/ 108 w 129"/>
                <a:gd name="T107"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41">
                  <a:moveTo>
                    <a:pt x="83" y="19"/>
                  </a:moveTo>
                  <a:lnTo>
                    <a:pt x="86" y="15"/>
                  </a:lnTo>
                  <a:lnTo>
                    <a:pt x="78" y="15"/>
                  </a:lnTo>
                  <a:lnTo>
                    <a:pt x="72" y="15"/>
                  </a:lnTo>
                  <a:lnTo>
                    <a:pt x="67" y="14"/>
                  </a:lnTo>
                  <a:lnTo>
                    <a:pt x="64" y="14"/>
                  </a:lnTo>
                  <a:lnTo>
                    <a:pt x="61" y="14"/>
                  </a:lnTo>
                  <a:lnTo>
                    <a:pt x="62" y="12"/>
                  </a:lnTo>
                  <a:lnTo>
                    <a:pt x="62" y="11"/>
                  </a:lnTo>
                  <a:lnTo>
                    <a:pt x="59" y="9"/>
                  </a:lnTo>
                  <a:lnTo>
                    <a:pt x="57" y="9"/>
                  </a:lnTo>
                  <a:lnTo>
                    <a:pt x="54" y="11"/>
                  </a:lnTo>
                  <a:lnTo>
                    <a:pt x="54" y="11"/>
                  </a:lnTo>
                  <a:lnTo>
                    <a:pt x="54" y="9"/>
                  </a:lnTo>
                  <a:lnTo>
                    <a:pt x="54" y="8"/>
                  </a:lnTo>
                  <a:lnTo>
                    <a:pt x="51" y="6"/>
                  </a:lnTo>
                  <a:lnTo>
                    <a:pt x="46" y="6"/>
                  </a:lnTo>
                  <a:lnTo>
                    <a:pt x="43" y="4"/>
                  </a:lnTo>
                  <a:lnTo>
                    <a:pt x="42" y="6"/>
                  </a:lnTo>
                  <a:lnTo>
                    <a:pt x="40" y="6"/>
                  </a:lnTo>
                  <a:lnTo>
                    <a:pt x="40" y="8"/>
                  </a:lnTo>
                  <a:lnTo>
                    <a:pt x="42" y="11"/>
                  </a:lnTo>
                  <a:lnTo>
                    <a:pt x="46" y="15"/>
                  </a:lnTo>
                  <a:lnTo>
                    <a:pt x="43" y="15"/>
                  </a:lnTo>
                  <a:lnTo>
                    <a:pt x="42" y="14"/>
                  </a:lnTo>
                  <a:lnTo>
                    <a:pt x="38" y="14"/>
                  </a:lnTo>
                  <a:lnTo>
                    <a:pt x="38" y="12"/>
                  </a:lnTo>
                  <a:lnTo>
                    <a:pt x="38" y="11"/>
                  </a:lnTo>
                  <a:lnTo>
                    <a:pt x="34" y="8"/>
                  </a:lnTo>
                  <a:lnTo>
                    <a:pt x="32" y="8"/>
                  </a:lnTo>
                  <a:lnTo>
                    <a:pt x="29" y="9"/>
                  </a:lnTo>
                  <a:lnTo>
                    <a:pt x="26" y="11"/>
                  </a:lnTo>
                  <a:lnTo>
                    <a:pt x="26" y="12"/>
                  </a:lnTo>
                  <a:lnTo>
                    <a:pt x="24" y="12"/>
                  </a:lnTo>
                  <a:lnTo>
                    <a:pt x="22" y="11"/>
                  </a:lnTo>
                  <a:lnTo>
                    <a:pt x="19" y="11"/>
                  </a:lnTo>
                  <a:lnTo>
                    <a:pt x="21" y="9"/>
                  </a:lnTo>
                  <a:lnTo>
                    <a:pt x="19" y="9"/>
                  </a:lnTo>
                  <a:lnTo>
                    <a:pt x="26" y="8"/>
                  </a:lnTo>
                  <a:lnTo>
                    <a:pt x="24" y="8"/>
                  </a:lnTo>
                  <a:lnTo>
                    <a:pt x="22" y="6"/>
                  </a:lnTo>
                  <a:lnTo>
                    <a:pt x="19" y="8"/>
                  </a:lnTo>
                  <a:lnTo>
                    <a:pt x="15" y="8"/>
                  </a:lnTo>
                  <a:lnTo>
                    <a:pt x="13" y="8"/>
                  </a:lnTo>
                  <a:lnTo>
                    <a:pt x="10" y="8"/>
                  </a:lnTo>
                  <a:lnTo>
                    <a:pt x="10" y="9"/>
                  </a:lnTo>
                  <a:lnTo>
                    <a:pt x="10" y="8"/>
                  </a:lnTo>
                  <a:lnTo>
                    <a:pt x="7" y="8"/>
                  </a:lnTo>
                  <a:lnTo>
                    <a:pt x="3" y="8"/>
                  </a:lnTo>
                  <a:lnTo>
                    <a:pt x="3" y="9"/>
                  </a:lnTo>
                  <a:lnTo>
                    <a:pt x="2" y="9"/>
                  </a:lnTo>
                  <a:lnTo>
                    <a:pt x="0" y="9"/>
                  </a:lnTo>
                  <a:lnTo>
                    <a:pt x="2" y="11"/>
                  </a:lnTo>
                  <a:lnTo>
                    <a:pt x="0" y="11"/>
                  </a:lnTo>
                  <a:lnTo>
                    <a:pt x="0" y="12"/>
                  </a:lnTo>
                  <a:lnTo>
                    <a:pt x="2" y="12"/>
                  </a:lnTo>
                  <a:lnTo>
                    <a:pt x="3" y="14"/>
                  </a:lnTo>
                  <a:lnTo>
                    <a:pt x="3" y="15"/>
                  </a:lnTo>
                  <a:lnTo>
                    <a:pt x="3" y="15"/>
                  </a:lnTo>
                  <a:lnTo>
                    <a:pt x="7" y="14"/>
                  </a:lnTo>
                  <a:lnTo>
                    <a:pt x="7" y="12"/>
                  </a:lnTo>
                  <a:lnTo>
                    <a:pt x="7" y="12"/>
                  </a:lnTo>
                  <a:lnTo>
                    <a:pt x="10" y="14"/>
                  </a:lnTo>
                  <a:lnTo>
                    <a:pt x="7" y="15"/>
                  </a:lnTo>
                  <a:lnTo>
                    <a:pt x="10" y="15"/>
                  </a:lnTo>
                  <a:lnTo>
                    <a:pt x="10" y="15"/>
                  </a:lnTo>
                  <a:lnTo>
                    <a:pt x="7" y="15"/>
                  </a:lnTo>
                  <a:lnTo>
                    <a:pt x="3" y="15"/>
                  </a:lnTo>
                  <a:lnTo>
                    <a:pt x="3" y="15"/>
                  </a:lnTo>
                  <a:lnTo>
                    <a:pt x="7" y="19"/>
                  </a:lnTo>
                  <a:lnTo>
                    <a:pt x="10" y="19"/>
                  </a:lnTo>
                  <a:lnTo>
                    <a:pt x="16" y="22"/>
                  </a:lnTo>
                  <a:lnTo>
                    <a:pt x="13" y="22"/>
                  </a:lnTo>
                  <a:lnTo>
                    <a:pt x="10" y="22"/>
                  </a:lnTo>
                  <a:lnTo>
                    <a:pt x="15" y="22"/>
                  </a:lnTo>
                  <a:lnTo>
                    <a:pt x="19" y="25"/>
                  </a:lnTo>
                  <a:lnTo>
                    <a:pt x="26" y="22"/>
                  </a:lnTo>
                  <a:lnTo>
                    <a:pt x="27" y="22"/>
                  </a:lnTo>
                  <a:lnTo>
                    <a:pt x="30" y="22"/>
                  </a:lnTo>
                  <a:lnTo>
                    <a:pt x="27" y="22"/>
                  </a:lnTo>
                  <a:lnTo>
                    <a:pt x="29" y="19"/>
                  </a:lnTo>
                  <a:lnTo>
                    <a:pt x="32" y="19"/>
                  </a:lnTo>
                  <a:lnTo>
                    <a:pt x="35" y="19"/>
                  </a:lnTo>
                  <a:lnTo>
                    <a:pt x="35" y="19"/>
                  </a:lnTo>
                  <a:lnTo>
                    <a:pt x="37" y="19"/>
                  </a:lnTo>
                  <a:lnTo>
                    <a:pt x="35" y="19"/>
                  </a:lnTo>
                  <a:lnTo>
                    <a:pt x="38" y="22"/>
                  </a:lnTo>
                  <a:lnTo>
                    <a:pt x="40" y="22"/>
                  </a:lnTo>
                  <a:lnTo>
                    <a:pt x="43" y="19"/>
                  </a:lnTo>
                  <a:lnTo>
                    <a:pt x="45" y="19"/>
                  </a:lnTo>
                  <a:lnTo>
                    <a:pt x="48" y="19"/>
                  </a:lnTo>
                  <a:lnTo>
                    <a:pt x="43" y="22"/>
                  </a:lnTo>
                  <a:lnTo>
                    <a:pt x="51" y="22"/>
                  </a:lnTo>
                  <a:lnTo>
                    <a:pt x="45" y="22"/>
                  </a:lnTo>
                  <a:lnTo>
                    <a:pt x="42" y="22"/>
                  </a:lnTo>
                  <a:lnTo>
                    <a:pt x="38" y="22"/>
                  </a:lnTo>
                  <a:lnTo>
                    <a:pt x="35" y="25"/>
                  </a:lnTo>
                  <a:lnTo>
                    <a:pt x="30" y="25"/>
                  </a:lnTo>
                  <a:lnTo>
                    <a:pt x="27" y="25"/>
                  </a:lnTo>
                  <a:lnTo>
                    <a:pt x="27" y="27"/>
                  </a:lnTo>
                  <a:lnTo>
                    <a:pt x="24" y="25"/>
                  </a:lnTo>
                  <a:lnTo>
                    <a:pt x="21" y="25"/>
                  </a:lnTo>
                  <a:lnTo>
                    <a:pt x="21" y="27"/>
                  </a:lnTo>
                  <a:lnTo>
                    <a:pt x="22" y="28"/>
                  </a:lnTo>
                  <a:lnTo>
                    <a:pt x="26" y="28"/>
                  </a:lnTo>
                  <a:lnTo>
                    <a:pt x="38" y="27"/>
                  </a:lnTo>
                  <a:lnTo>
                    <a:pt x="43" y="27"/>
                  </a:lnTo>
                  <a:lnTo>
                    <a:pt x="48" y="27"/>
                  </a:lnTo>
                  <a:lnTo>
                    <a:pt x="48" y="28"/>
                  </a:lnTo>
                  <a:lnTo>
                    <a:pt x="45" y="28"/>
                  </a:lnTo>
                  <a:lnTo>
                    <a:pt x="40" y="28"/>
                  </a:lnTo>
                  <a:lnTo>
                    <a:pt x="32" y="30"/>
                  </a:lnTo>
                  <a:lnTo>
                    <a:pt x="35" y="30"/>
                  </a:lnTo>
                  <a:lnTo>
                    <a:pt x="38" y="30"/>
                  </a:lnTo>
                  <a:lnTo>
                    <a:pt x="43" y="31"/>
                  </a:lnTo>
                  <a:lnTo>
                    <a:pt x="38" y="31"/>
                  </a:lnTo>
                  <a:lnTo>
                    <a:pt x="35" y="30"/>
                  </a:lnTo>
                  <a:lnTo>
                    <a:pt x="32" y="31"/>
                  </a:lnTo>
                  <a:lnTo>
                    <a:pt x="29" y="30"/>
                  </a:lnTo>
                  <a:lnTo>
                    <a:pt x="27" y="30"/>
                  </a:lnTo>
                  <a:lnTo>
                    <a:pt x="26" y="31"/>
                  </a:lnTo>
                  <a:lnTo>
                    <a:pt x="27" y="33"/>
                  </a:lnTo>
                  <a:lnTo>
                    <a:pt x="32" y="36"/>
                  </a:lnTo>
                  <a:lnTo>
                    <a:pt x="37" y="36"/>
                  </a:lnTo>
                  <a:lnTo>
                    <a:pt x="38" y="36"/>
                  </a:lnTo>
                  <a:lnTo>
                    <a:pt x="42" y="36"/>
                  </a:lnTo>
                  <a:lnTo>
                    <a:pt x="46" y="36"/>
                  </a:lnTo>
                  <a:lnTo>
                    <a:pt x="42" y="38"/>
                  </a:lnTo>
                  <a:lnTo>
                    <a:pt x="38" y="38"/>
                  </a:lnTo>
                  <a:lnTo>
                    <a:pt x="45" y="41"/>
                  </a:lnTo>
                  <a:lnTo>
                    <a:pt x="48" y="41"/>
                  </a:lnTo>
                  <a:lnTo>
                    <a:pt x="48" y="41"/>
                  </a:lnTo>
                  <a:lnTo>
                    <a:pt x="51" y="39"/>
                  </a:lnTo>
                  <a:lnTo>
                    <a:pt x="48" y="39"/>
                  </a:lnTo>
                  <a:lnTo>
                    <a:pt x="51" y="38"/>
                  </a:lnTo>
                  <a:lnTo>
                    <a:pt x="51" y="36"/>
                  </a:lnTo>
                  <a:lnTo>
                    <a:pt x="54" y="35"/>
                  </a:lnTo>
                  <a:lnTo>
                    <a:pt x="54" y="31"/>
                  </a:lnTo>
                  <a:lnTo>
                    <a:pt x="57" y="31"/>
                  </a:lnTo>
                  <a:lnTo>
                    <a:pt x="61" y="30"/>
                  </a:lnTo>
                  <a:lnTo>
                    <a:pt x="61" y="28"/>
                  </a:lnTo>
                  <a:lnTo>
                    <a:pt x="61" y="27"/>
                  </a:lnTo>
                  <a:lnTo>
                    <a:pt x="61" y="25"/>
                  </a:lnTo>
                  <a:lnTo>
                    <a:pt x="62" y="25"/>
                  </a:lnTo>
                  <a:lnTo>
                    <a:pt x="65" y="25"/>
                  </a:lnTo>
                  <a:lnTo>
                    <a:pt x="65" y="22"/>
                  </a:lnTo>
                  <a:lnTo>
                    <a:pt x="65" y="22"/>
                  </a:lnTo>
                  <a:lnTo>
                    <a:pt x="72" y="19"/>
                  </a:lnTo>
                  <a:lnTo>
                    <a:pt x="78" y="19"/>
                  </a:lnTo>
                  <a:lnTo>
                    <a:pt x="83" y="19"/>
                  </a:lnTo>
                  <a:lnTo>
                    <a:pt x="83" y="19"/>
                  </a:lnTo>
                  <a:lnTo>
                    <a:pt x="83" y="19"/>
                  </a:lnTo>
                  <a:lnTo>
                    <a:pt x="83" y="19"/>
                  </a:lnTo>
                  <a:lnTo>
                    <a:pt x="83" y="19"/>
                  </a:lnTo>
                  <a:lnTo>
                    <a:pt x="83" y="19"/>
                  </a:lnTo>
                  <a:lnTo>
                    <a:pt x="83" y="19"/>
                  </a:lnTo>
                  <a:lnTo>
                    <a:pt x="83" y="19"/>
                  </a:lnTo>
                  <a:lnTo>
                    <a:pt x="83" y="19"/>
                  </a:lnTo>
                  <a:lnTo>
                    <a:pt x="83" y="19"/>
                  </a:lnTo>
                  <a:close/>
                  <a:moveTo>
                    <a:pt x="129" y="6"/>
                  </a:moveTo>
                  <a:lnTo>
                    <a:pt x="127" y="4"/>
                  </a:lnTo>
                  <a:lnTo>
                    <a:pt x="124" y="3"/>
                  </a:lnTo>
                  <a:lnTo>
                    <a:pt x="118" y="4"/>
                  </a:lnTo>
                  <a:lnTo>
                    <a:pt x="111" y="3"/>
                  </a:lnTo>
                  <a:lnTo>
                    <a:pt x="107" y="3"/>
                  </a:lnTo>
                  <a:lnTo>
                    <a:pt x="105" y="3"/>
                  </a:lnTo>
                  <a:lnTo>
                    <a:pt x="103" y="3"/>
                  </a:lnTo>
                  <a:lnTo>
                    <a:pt x="100" y="3"/>
                  </a:lnTo>
                  <a:lnTo>
                    <a:pt x="97" y="4"/>
                  </a:lnTo>
                  <a:lnTo>
                    <a:pt x="94" y="4"/>
                  </a:lnTo>
                  <a:lnTo>
                    <a:pt x="95" y="3"/>
                  </a:lnTo>
                  <a:lnTo>
                    <a:pt x="95" y="1"/>
                  </a:lnTo>
                  <a:lnTo>
                    <a:pt x="97" y="1"/>
                  </a:lnTo>
                  <a:lnTo>
                    <a:pt x="92" y="0"/>
                  </a:lnTo>
                  <a:lnTo>
                    <a:pt x="92" y="1"/>
                  </a:lnTo>
                  <a:lnTo>
                    <a:pt x="92" y="1"/>
                  </a:lnTo>
                  <a:lnTo>
                    <a:pt x="92" y="3"/>
                  </a:lnTo>
                  <a:lnTo>
                    <a:pt x="89" y="6"/>
                  </a:lnTo>
                  <a:lnTo>
                    <a:pt x="89" y="6"/>
                  </a:lnTo>
                  <a:lnTo>
                    <a:pt x="86" y="4"/>
                  </a:lnTo>
                  <a:lnTo>
                    <a:pt x="86" y="4"/>
                  </a:lnTo>
                  <a:lnTo>
                    <a:pt x="83" y="4"/>
                  </a:lnTo>
                  <a:lnTo>
                    <a:pt x="86" y="3"/>
                  </a:lnTo>
                  <a:lnTo>
                    <a:pt x="83" y="3"/>
                  </a:lnTo>
                  <a:lnTo>
                    <a:pt x="81" y="3"/>
                  </a:lnTo>
                  <a:lnTo>
                    <a:pt x="80" y="3"/>
                  </a:lnTo>
                  <a:lnTo>
                    <a:pt x="76" y="3"/>
                  </a:lnTo>
                  <a:lnTo>
                    <a:pt x="72" y="1"/>
                  </a:lnTo>
                  <a:lnTo>
                    <a:pt x="70" y="1"/>
                  </a:lnTo>
                  <a:lnTo>
                    <a:pt x="69" y="3"/>
                  </a:lnTo>
                  <a:lnTo>
                    <a:pt x="67" y="3"/>
                  </a:lnTo>
                  <a:lnTo>
                    <a:pt x="64" y="4"/>
                  </a:lnTo>
                  <a:lnTo>
                    <a:pt x="61" y="3"/>
                  </a:lnTo>
                  <a:lnTo>
                    <a:pt x="57" y="3"/>
                  </a:lnTo>
                  <a:lnTo>
                    <a:pt x="54" y="4"/>
                  </a:lnTo>
                  <a:lnTo>
                    <a:pt x="57" y="4"/>
                  </a:lnTo>
                  <a:lnTo>
                    <a:pt x="57" y="4"/>
                  </a:lnTo>
                  <a:lnTo>
                    <a:pt x="62" y="4"/>
                  </a:lnTo>
                  <a:lnTo>
                    <a:pt x="61" y="6"/>
                  </a:lnTo>
                  <a:lnTo>
                    <a:pt x="57" y="6"/>
                  </a:lnTo>
                  <a:lnTo>
                    <a:pt x="64" y="8"/>
                  </a:lnTo>
                  <a:lnTo>
                    <a:pt x="72" y="8"/>
                  </a:lnTo>
                  <a:lnTo>
                    <a:pt x="81" y="8"/>
                  </a:lnTo>
                  <a:lnTo>
                    <a:pt x="89" y="8"/>
                  </a:lnTo>
                  <a:lnTo>
                    <a:pt x="83" y="9"/>
                  </a:lnTo>
                  <a:lnTo>
                    <a:pt x="81" y="9"/>
                  </a:lnTo>
                  <a:lnTo>
                    <a:pt x="76" y="9"/>
                  </a:lnTo>
                  <a:lnTo>
                    <a:pt x="69" y="9"/>
                  </a:lnTo>
                  <a:lnTo>
                    <a:pt x="72" y="11"/>
                  </a:lnTo>
                  <a:lnTo>
                    <a:pt x="75" y="11"/>
                  </a:lnTo>
                  <a:lnTo>
                    <a:pt x="81" y="12"/>
                  </a:lnTo>
                  <a:lnTo>
                    <a:pt x="92" y="12"/>
                  </a:lnTo>
                  <a:lnTo>
                    <a:pt x="100" y="14"/>
                  </a:lnTo>
                  <a:lnTo>
                    <a:pt x="107" y="14"/>
                  </a:lnTo>
                  <a:lnTo>
                    <a:pt x="110" y="12"/>
                  </a:lnTo>
                  <a:lnTo>
                    <a:pt x="113" y="12"/>
                  </a:lnTo>
                  <a:lnTo>
                    <a:pt x="116" y="12"/>
                  </a:lnTo>
                  <a:lnTo>
                    <a:pt x="119" y="11"/>
                  </a:lnTo>
                  <a:lnTo>
                    <a:pt x="118" y="9"/>
                  </a:lnTo>
                  <a:lnTo>
                    <a:pt x="129" y="6"/>
                  </a:lnTo>
                  <a:lnTo>
                    <a:pt x="129" y="6"/>
                  </a:lnTo>
                  <a:lnTo>
                    <a:pt x="129" y="6"/>
                  </a:lnTo>
                  <a:lnTo>
                    <a:pt x="129" y="6"/>
                  </a:lnTo>
                  <a:lnTo>
                    <a:pt x="129" y="6"/>
                  </a:lnTo>
                  <a:lnTo>
                    <a:pt x="129" y="6"/>
                  </a:lnTo>
                  <a:lnTo>
                    <a:pt x="129" y="6"/>
                  </a:lnTo>
                  <a:lnTo>
                    <a:pt x="129" y="6"/>
                  </a:lnTo>
                  <a:lnTo>
                    <a:pt x="129" y="6"/>
                  </a:lnTo>
                  <a:close/>
                  <a:moveTo>
                    <a:pt x="65" y="3"/>
                  </a:moveTo>
                  <a:lnTo>
                    <a:pt x="67" y="3"/>
                  </a:lnTo>
                  <a:lnTo>
                    <a:pt x="64" y="1"/>
                  </a:lnTo>
                  <a:lnTo>
                    <a:pt x="65" y="3"/>
                  </a:lnTo>
                  <a:lnTo>
                    <a:pt x="65" y="3"/>
                  </a:lnTo>
                  <a:lnTo>
                    <a:pt x="65" y="3"/>
                  </a:lnTo>
                  <a:lnTo>
                    <a:pt x="65" y="3"/>
                  </a:lnTo>
                  <a:lnTo>
                    <a:pt x="65" y="3"/>
                  </a:lnTo>
                  <a:lnTo>
                    <a:pt x="65" y="3"/>
                  </a:lnTo>
                  <a:lnTo>
                    <a:pt x="65" y="3"/>
                  </a:lnTo>
                  <a:lnTo>
                    <a:pt x="65" y="3"/>
                  </a:lnTo>
                  <a:lnTo>
                    <a:pt x="65" y="3"/>
                  </a:lnTo>
                  <a:close/>
                  <a:moveTo>
                    <a:pt x="108" y="27"/>
                  </a:moveTo>
                  <a:lnTo>
                    <a:pt x="103" y="27"/>
                  </a:lnTo>
                  <a:lnTo>
                    <a:pt x="100" y="25"/>
                  </a:lnTo>
                  <a:lnTo>
                    <a:pt x="102" y="25"/>
                  </a:lnTo>
                  <a:lnTo>
                    <a:pt x="97" y="25"/>
                  </a:lnTo>
                  <a:lnTo>
                    <a:pt x="92" y="25"/>
                  </a:lnTo>
                  <a:lnTo>
                    <a:pt x="83" y="25"/>
                  </a:lnTo>
                  <a:lnTo>
                    <a:pt x="83" y="25"/>
                  </a:lnTo>
                  <a:lnTo>
                    <a:pt x="86" y="27"/>
                  </a:lnTo>
                  <a:lnTo>
                    <a:pt x="86" y="30"/>
                  </a:lnTo>
                  <a:lnTo>
                    <a:pt x="83" y="30"/>
                  </a:lnTo>
                  <a:lnTo>
                    <a:pt x="83" y="30"/>
                  </a:lnTo>
                  <a:lnTo>
                    <a:pt x="83" y="31"/>
                  </a:lnTo>
                  <a:lnTo>
                    <a:pt x="86" y="31"/>
                  </a:lnTo>
                  <a:lnTo>
                    <a:pt x="89" y="31"/>
                  </a:lnTo>
                  <a:lnTo>
                    <a:pt x="97" y="30"/>
                  </a:lnTo>
                  <a:lnTo>
                    <a:pt x="95" y="31"/>
                  </a:lnTo>
                  <a:lnTo>
                    <a:pt x="94" y="33"/>
                  </a:lnTo>
                  <a:lnTo>
                    <a:pt x="97" y="33"/>
                  </a:lnTo>
                  <a:lnTo>
                    <a:pt x="100" y="33"/>
                  </a:lnTo>
                  <a:lnTo>
                    <a:pt x="103" y="31"/>
                  </a:lnTo>
                  <a:lnTo>
                    <a:pt x="107" y="31"/>
                  </a:lnTo>
                  <a:lnTo>
                    <a:pt x="110" y="30"/>
                  </a:lnTo>
                  <a:lnTo>
                    <a:pt x="113" y="28"/>
                  </a:lnTo>
                  <a:lnTo>
                    <a:pt x="111" y="27"/>
                  </a:lnTo>
                  <a:lnTo>
                    <a:pt x="108" y="27"/>
                  </a:lnTo>
                  <a:lnTo>
                    <a:pt x="108" y="27"/>
                  </a:lnTo>
                  <a:lnTo>
                    <a:pt x="108" y="27"/>
                  </a:lnTo>
                  <a:lnTo>
                    <a:pt x="108" y="27"/>
                  </a:lnTo>
                  <a:lnTo>
                    <a:pt x="108" y="27"/>
                  </a:lnTo>
                  <a:lnTo>
                    <a:pt x="108" y="27"/>
                  </a:lnTo>
                  <a:lnTo>
                    <a:pt x="108" y="27"/>
                  </a:lnTo>
                  <a:lnTo>
                    <a:pt x="108" y="27"/>
                  </a:lnTo>
                  <a:lnTo>
                    <a:pt x="108" y="2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7" name="Freeform 360">
              <a:extLst>
                <a:ext uri="{FF2B5EF4-FFF2-40B4-BE49-F238E27FC236}">
                  <a16:creationId xmlns:a16="http://schemas.microsoft.com/office/drawing/2014/main" id="{1FD20998-2332-7BB5-C625-B8ACE651E128}"/>
                </a:ext>
              </a:extLst>
            </p:cNvPr>
            <p:cNvSpPr>
              <a:spLocks/>
            </p:cNvSpPr>
            <p:nvPr/>
          </p:nvSpPr>
          <p:spPr bwMode="auto">
            <a:xfrm>
              <a:off x="7289975" y="2313645"/>
              <a:ext cx="0" cy="4486"/>
            </a:xfrm>
            <a:custGeom>
              <a:avLst/>
              <a:gdLst>
                <a:gd name="T0" fmla="*/ 2 h 2"/>
                <a:gd name="T1" fmla="*/ 2 h 2"/>
                <a:gd name="T2" fmla="*/ 0 h 2"/>
                <a:gd name="T3" fmla="*/ 0 h 2"/>
                <a:gd name="T4" fmla="*/ 2 h 2"/>
                <a:gd name="T5" fmla="*/ 2 h 2"/>
                <a:gd name="T6" fmla="*/ 2 h 2"/>
                <a:gd name="T7" fmla="*/ 2 h 2"/>
                <a:gd name="T8" fmla="*/ 2 h 2"/>
                <a:gd name="T9" fmla="*/ 2 h 2"/>
                <a:gd name="T10" fmla="*/ 2 h 2"/>
                <a:gd name="T11"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2">
                  <a:moveTo>
                    <a:pt x="0" y="2"/>
                  </a:moveTo>
                  <a:lnTo>
                    <a:pt x="0" y="2"/>
                  </a:lnTo>
                  <a:lnTo>
                    <a:pt x="0" y="0"/>
                  </a:lnTo>
                  <a:lnTo>
                    <a:pt x="0" y="0"/>
                  </a:lnTo>
                  <a:lnTo>
                    <a:pt x="0" y="2"/>
                  </a:lnTo>
                  <a:lnTo>
                    <a:pt x="0" y="2"/>
                  </a:lnTo>
                  <a:lnTo>
                    <a:pt x="0" y="2"/>
                  </a:lnTo>
                  <a:lnTo>
                    <a:pt x="0" y="2"/>
                  </a:lnTo>
                  <a:lnTo>
                    <a:pt x="0" y="2"/>
                  </a:lnTo>
                  <a:lnTo>
                    <a:pt x="0" y="2"/>
                  </a:lnTo>
                  <a:lnTo>
                    <a:pt x="0" y="2"/>
                  </a:lnTo>
                  <a:lnTo>
                    <a:pt x="0" y="2"/>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8" name="Freeform 362">
              <a:extLst>
                <a:ext uri="{FF2B5EF4-FFF2-40B4-BE49-F238E27FC236}">
                  <a16:creationId xmlns:a16="http://schemas.microsoft.com/office/drawing/2014/main" id="{BAC107CE-FA9E-29A1-AF0E-97ECFC413033}"/>
                </a:ext>
              </a:extLst>
            </p:cNvPr>
            <p:cNvSpPr>
              <a:spLocks/>
            </p:cNvSpPr>
            <p:nvPr/>
          </p:nvSpPr>
          <p:spPr bwMode="auto">
            <a:xfrm>
              <a:off x="7276515" y="2349534"/>
              <a:ext cx="20189" cy="22431"/>
            </a:xfrm>
            <a:custGeom>
              <a:avLst/>
              <a:gdLst>
                <a:gd name="T0" fmla="*/ 5 w 9"/>
                <a:gd name="T1" fmla="*/ 2 h 10"/>
                <a:gd name="T2" fmla="*/ 0 w 9"/>
                <a:gd name="T3" fmla="*/ 5 h 10"/>
                <a:gd name="T4" fmla="*/ 0 w 9"/>
                <a:gd name="T5" fmla="*/ 7 h 10"/>
                <a:gd name="T6" fmla="*/ 1 w 9"/>
                <a:gd name="T7" fmla="*/ 7 h 10"/>
                <a:gd name="T8" fmla="*/ 5 w 9"/>
                <a:gd name="T9" fmla="*/ 8 h 10"/>
                <a:gd name="T10" fmla="*/ 8 w 9"/>
                <a:gd name="T11" fmla="*/ 10 h 10"/>
                <a:gd name="T12" fmla="*/ 9 w 9"/>
                <a:gd name="T13" fmla="*/ 10 h 10"/>
                <a:gd name="T14" fmla="*/ 9 w 9"/>
                <a:gd name="T15" fmla="*/ 10 h 10"/>
                <a:gd name="T16" fmla="*/ 8 w 9"/>
                <a:gd name="T17" fmla="*/ 0 h 10"/>
                <a:gd name="T18" fmla="*/ 6 w 9"/>
                <a:gd name="T19" fmla="*/ 2 h 10"/>
                <a:gd name="T20" fmla="*/ 5 w 9"/>
                <a:gd name="T21" fmla="*/ 2 h 10"/>
                <a:gd name="T22" fmla="*/ 5 w 9"/>
                <a:gd name="T23" fmla="*/ 2 h 10"/>
                <a:gd name="T24" fmla="*/ 5 w 9"/>
                <a:gd name="T25" fmla="*/ 2 h 10"/>
                <a:gd name="T26" fmla="*/ 5 w 9"/>
                <a:gd name="T27" fmla="*/ 2 h 10"/>
                <a:gd name="T28" fmla="*/ 5 w 9"/>
                <a:gd name="T29" fmla="*/ 2 h 10"/>
                <a:gd name="T30" fmla="*/ 5 w 9"/>
                <a:gd name="T31" fmla="*/ 2 h 10"/>
                <a:gd name="T32" fmla="*/ 5 w 9"/>
                <a:gd name="T33" fmla="*/ 2 h 10"/>
                <a:gd name="T34" fmla="*/ 5 w 9"/>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2"/>
                  </a:moveTo>
                  <a:lnTo>
                    <a:pt x="0" y="5"/>
                  </a:lnTo>
                  <a:lnTo>
                    <a:pt x="0" y="7"/>
                  </a:lnTo>
                  <a:lnTo>
                    <a:pt x="1" y="7"/>
                  </a:lnTo>
                  <a:lnTo>
                    <a:pt x="5" y="8"/>
                  </a:lnTo>
                  <a:lnTo>
                    <a:pt x="8" y="10"/>
                  </a:lnTo>
                  <a:lnTo>
                    <a:pt x="9" y="10"/>
                  </a:lnTo>
                  <a:lnTo>
                    <a:pt x="9" y="10"/>
                  </a:lnTo>
                  <a:lnTo>
                    <a:pt x="8" y="0"/>
                  </a:lnTo>
                  <a:lnTo>
                    <a:pt x="6" y="2"/>
                  </a:lnTo>
                  <a:lnTo>
                    <a:pt x="5" y="2"/>
                  </a:lnTo>
                  <a:lnTo>
                    <a:pt x="5" y="2"/>
                  </a:lnTo>
                  <a:lnTo>
                    <a:pt x="5" y="2"/>
                  </a:lnTo>
                  <a:lnTo>
                    <a:pt x="5" y="2"/>
                  </a:lnTo>
                  <a:lnTo>
                    <a:pt x="5" y="2"/>
                  </a:lnTo>
                  <a:lnTo>
                    <a:pt x="5" y="2"/>
                  </a:lnTo>
                  <a:lnTo>
                    <a:pt x="5" y="2"/>
                  </a:lnTo>
                  <a:lnTo>
                    <a:pt x="5" y="2"/>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29" name="Freeform 75">
              <a:extLst>
                <a:ext uri="{FF2B5EF4-FFF2-40B4-BE49-F238E27FC236}">
                  <a16:creationId xmlns:a16="http://schemas.microsoft.com/office/drawing/2014/main" id="{273B8771-83E1-1F3F-CB3C-9AFC08EA6583}"/>
                </a:ext>
              </a:extLst>
            </p:cNvPr>
            <p:cNvSpPr>
              <a:spLocks/>
            </p:cNvSpPr>
            <p:nvPr/>
          </p:nvSpPr>
          <p:spPr bwMode="auto">
            <a:xfrm>
              <a:off x="6482469" y="2724127"/>
              <a:ext cx="11216" cy="11216"/>
            </a:xfrm>
            <a:custGeom>
              <a:avLst/>
              <a:gdLst>
                <a:gd name="T0" fmla="*/ 0 w 5"/>
                <a:gd name="T1" fmla="*/ 3 h 5"/>
                <a:gd name="T2" fmla="*/ 0 w 5"/>
                <a:gd name="T3" fmla="*/ 5 h 5"/>
                <a:gd name="T4" fmla="*/ 1 w 5"/>
                <a:gd name="T5" fmla="*/ 3 h 5"/>
                <a:gd name="T6" fmla="*/ 5 w 5"/>
                <a:gd name="T7" fmla="*/ 0 h 5"/>
                <a:gd name="T8" fmla="*/ 1 w 5"/>
                <a:gd name="T9" fmla="*/ 0 h 5"/>
                <a:gd name="T10" fmla="*/ 0 w 5"/>
                <a:gd name="T11" fmla="*/ 3 h 5"/>
                <a:gd name="T12" fmla="*/ 0 w 5"/>
                <a:gd name="T13" fmla="*/ 3 h 5"/>
                <a:gd name="T14" fmla="*/ 0 w 5"/>
                <a:gd name="T15" fmla="*/ 3 h 5"/>
                <a:gd name="T16" fmla="*/ 0 w 5"/>
                <a:gd name="T17" fmla="*/ 3 h 5"/>
                <a:gd name="T18" fmla="*/ 0 w 5"/>
                <a:gd name="T19" fmla="*/ 3 h 5"/>
                <a:gd name="T20" fmla="*/ 0 w 5"/>
                <a:gd name="T21" fmla="*/ 3 h 5"/>
                <a:gd name="T22" fmla="*/ 0 w 5"/>
                <a:gd name="T23" fmla="*/ 3 h 5"/>
                <a:gd name="T24" fmla="*/ 0 w 5"/>
                <a:gd name="T25" fmla="*/ 3 h 5"/>
                <a:gd name="T26" fmla="*/ 0 w 5"/>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0" y="3"/>
                  </a:moveTo>
                  <a:lnTo>
                    <a:pt x="0" y="5"/>
                  </a:lnTo>
                  <a:lnTo>
                    <a:pt x="1" y="3"/>
                  </a:lnTo>
                  <a:lnTo>
                    <a:pt x="5" y="0"/>
                  </a:lnTo>
                  <a:lnTo>
                    <a:pt x="1" y="0"/>
                  </a:lnTo>
                  <a:lnTo>
                    <a:pt x="0" y="3"/>
                  </a:lnTo>
                  <a:lnTo>
                    <a:pt x="0" y="3"/>
                  </a:lnTo>
                  <a:lnTo>
                    <a:pt x="0" y="3"/>
                  </a:lnTo>
                  <a:lnTo>
                    <a:pt x="0" y="3"/>
                  </a:lnTo>
                  <a:lnTo>
                    <a:pt x="0" y="3"/>
                  </a:lnTo>
                  <a:lnTo>
                    <a:pt x="0" y="3"/>
                  </a:lnTo>
                  <a:lnTo>
                    <a:pt x="0" y="3"/>
                  </a:lnTo>
                  <a:lnTo>
                    <a:pt x="0" y="3"/>
                  </a:lnTo>
                  <a:lnTo>
                    <a:pt x="0" y="3"/>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0" name="Freeform 78">
              <a:extLst>
                <a:ext uri="{FF2B5EF4-FFF2-40B4-BE49-F238E27FC236}">
                  <a16:creationId xmlns:a16="http://schemas.microsoft.com/office/drawing/2014/main" id="{DCAFEA7E-CFF8-9BA8-AA9C-3000A6A4B854}"/>
                </a:ext>
              </a:extLst>
            </p:cNvPr>
            <p:cNvSpPr>
              <a:spLocks/>
            </p:cNvSpPr>
            <p:nvPr/>
          </p:nvSpPr>
          <p:spPr bwMode="auto">
            <a:xfrm>
              <a:off x="6475740" y="2674780"/>
              <a:ext cx="78508" cy="49347"/>
            </a:xfrm>
            <a:custGeom>
              <a:avLst/>
              <a:gdLst>
                <a:gd name="T0" fmla="*/ 35 w 35"/>
                <a:gd name="T1" fmla="*/ 11 h 22"/>
                <a:gd name="T2" fmla="*/ 27 w 35"/>
                <a:gd name="T3" fmla="*/ 8 h 22"/>
                <a:gd name="T4" fmla="*/ 22 w 35"/>
                <a:gd name="T5" fmla="*/ 3 h 22"/>
                <a:gd name="T6" fmla="*/ 22 w 35"/>
                <a:gd name="T7" fmla="*/ 1 h 22"/>
                <a:gd name="T8" fmla="*/ 22 w 35"/>
                <a:gd name="T9" fmla="*/ 0 h 22"/>
                <a:gd name="T10" fmla="*/ 20 w 35"/>
                <a:gd name="T11" fmla="*/ 0 h 22"/>
                <a:gd name="T12" fmla="*/ 19 w 35"/>
                <a:gd name="T13" fmla="*/ 0 h 22"/>
                <a:gd name="T14" fmla="*/ 17 w 35"/>
                <a:gd name="T15" fmla="*/ 0 h 22"/>
                <a:gd name="T16" fmla="*/ 16 w 35"/>
                <a:gd name="T17" fmla="*/ 0 h 22"/>
                <a:gd name="T18" fmla="*/ 14 w 35"/>
                <a:gd name="T19" fmla="*/ 0 h 22"/>
                <a:gd name="T20" fmla="*/ 12 w 35"/>
                <a:gd name="T21" fmla="*/ 0 h 22"/>
                <a:gd name="T22" fmla="*/ 11 w 35"/>
                <a:gd name="T23" fmla="*/ 0 h 22"/>
                <a:gd name="T24" fmla="*/ 6 w 35"/>
                <a:gd name="T25" fmla="*/ 0 h 22"/>
                <a:gd name="T26" fmla="*/ 4 w 35"/>
                <a:gd name="T27" fmla="*/ 1 h 22"/>
                <a:gd name="T28" fmla="*/ 3 w 35"/>
                <a:gd name="T29" fmla="*/ 3 h 22"/>
                <a:gd name="T30" fmla="*/ 3 w 35"/>
                <a:gd name="T31" fmla="*/ 3 h 22"/>
                <a:gd name="T32" fmla="*/ 3 w 35"/>
                <a:gd name="T33" fmla="*/ 4 h 22"/>
                <a:gd name="T34" fmla="*/ 4 w 35"/>
                <a:gd name="T35" fmla="*/ 4 h 22"/>
                <a:gd name="T36" fmla="*/ 4 w 35"/>
                <a:gd name="T37" fmla="*/ 6 h 22"/>
                <a:gd name="T38" fmla="*/ 6 w 35"/>
                <a:gd name="T39" fmla="*/ 8 h 22"/>
                <a:gd name="T40" fmla="*/ 4 w 35"/>
                <a:gd name="T41" fmla="*/ 9 h 22"/>
                <a:gd name="T42" fmla="*/ 3 w 35"/>
                <a:gd name="T43" fmla="*/ 9 h 22"/>
                <a:gd name="T44" fmla="*/ 3 w 35"/>
                <a:gd name="T45" fmla="*/ 11 h 22"/>
                <a:gd name="T46" fmla="*/ 3 w 35"/>
                <a:gd name="T47" fmla="*/ 14 h 22"/>
                <a:gd name="T48" fmla="*/ 3 w 35"/>
                <a:gd name="T49" fmla="*/ 14 h 22"/>
                <a:gd name="T50" fmla="*/ 3 w 35"/>
                <a:gd name="T51" fmla="*/ 16 h 22"/>
                <a:gd name="T52" fmla="*/ 0 w 35"/>
                <a:gd name="T53" fmla="*/ 19 h 22"/>
                <a:gd name="T54" fmla="*/ 3 w 35"/>
                <a:gd name="T55" fmla="*/ 20 h 22"/>
                <a:gd name="T56" fmla="*/ 3 w 35"/>
                <a:gd name="T57" fmla="*/ 20 h 22"/>
                <a:gd name="T58" fmla="*/ 6 w 35"/>
                <a:gd name="T59" fmla="*/ 19 h 22"/>
                <a:gd name="T60" fmla="*/ 8 w 35"/>
                <a:gd name="T61" fmla="*/ 19 h 22"/>
                <a:gd name="T62" fmla="*/ 8 w 35"/>
                <a:gd name="T63" fmla="*/ 20 h 22"/>
                <a:gd name="T64" fmla="*/ 8 w 35"/>
                <a:gd name="T65" fmla="*/ 22 h 22"/>
                <a:gd name="T66" fmla="*/ 11 w 35"/>
                <a:gd name="T67" fmla="*/ 20 h 22"/>
                <a:gd name="T68" fmla="*/ 14 w 35"/>
                <a:gd name="T69" fmla="*/ 17 h 22"/>
                <a:gd name="T70" fmla="*/ 16 w 35"/>
                <a:gd name="T71" fmla="*/ 16 h 22"/>
                <a:gd name="T72" fmla="*/ 19 w 35"/>
                <a:gd name="T73" fmla="*/ 14 h 22"/>
                <a:gd name="T74" fmla="*/ 20 w 35"/>
                <a:gd name="T75" fmla="*/ 14 h 22"/>
                <a:gd name="T76" fmla="*/ 22 w 35"/>
                <a:gd name="T77" fmla="*/ 14 h 22"/>
                <a:gd name="T78" fmla="*/ 25 w 35"/>
                <a:gd name="T79" fmla="*/ 12 h 22"/>
                <a:gd name="T80" fmla="*/ 28 w 35"/>
                <a:gd name="T81" fmla="*/ 14 h 22"/>
                <a:gd name="T82" fmla="*/ 31 w 35"/>
                <a:gd name="T83" fmla="*/ 14 h 22"/>
                <a:gd name="T84" fmla="*/ 35 w 35"/>
                <a:gd name="T85" fmla="*/ 12 h 22"/>
                <a:gd name="T86" fmla="*/ 35 w 35"/>
                <a:gd name="T87" fmla="*/ 11 h 22"/>
                <a:gd name="T88" fmla="*/ 35 w 35"/>
                <a:gd name="T89" fmla="*/ 11 h 22"/>
                <a:gd name="T90" fmla="*/ 35 w 35"/>
                <a:gd name="T91" fmla="*/ 11 h 22"/>
                <a:gd name="T92" fmla="*/ 35 w 35"/>
                <a:gd name="T93" fmla="*/ 11 h 22"/>
                <a:gd name="T94" fmla="*/ 35 w 35"/>
                <a:gd name="T95" fmla="*/ 11 h 22"/>
                <a:gd name="T96" fmla="*/ 35 w 35"/>
                <a:gd name="T97" fmla="*/ 11 h 22"/>
                <a:gd name="T98" fmla="*/ 35 w 35"/>
                <a:gd name="T99" fmla="*/ 11 h 22"/>
                <a:gd name="T100" fmla="*/ 35 w 35"/>
                <a:gd name="T101" fmla="*/ 11 h 22"/>
                <a:gd name="T102" fmla="*/ 35 w 35"/>
                <a:gd name="T103" fmla="*/ 11 h 22"/>
                <a:gd name="T104" fmla="*/ 35 w 35"/>
                <a:gd name="T10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 h="22">
                  <a:moveTo>
                    <a:pt x="35" y="11"/>
                  </a:moveTo>
                  <a:lnTo>
                    <a:pt x="27" y="8"/>
                  </a:lnTo>
                  <a:lnTo>
                    <a:pt x="22" y="3"/>
                  </a:lnTo>
                  <a:lnTo>
                    <a:pt x="22" y="1"/>
                  </a:lnTo>
                  <a:lnTo>
                    <a:pt x="22" y="0"/>
                  </a:lnTo>
                  <a:lnTo>
                    <a:pt x="20" y="0"/>
                  </a:lnTo>
                  <a:lnTo>
                    <a:pt x="19" y="0"/>
                  </a:lnTo>
                  <a:lnTo>
                    <a:pt x="17" y="0"/>
                  </a:lnTo>
                  <a:lnTo>
                    <a:pt x="16" y="0"/>
                  </a:lnTo>
                  <a:lnTo>
                    <a:pt x="14" y="0"/>
                  </a:lnTo>
                  <a:lnTo>
                    <a:pt x="12" y="0"/>
                  </a:lnTo>
                  <a:lnTo>
                    <a:pt x="11" y="0"/>
                  </a:lnTo>
                  <a:lnTo>
                    <a:pt x="6" y="0"/>
                  </a:lnTo>
                  <a:lnTo>
                    <a:pt x="4" y="1"/>
                  </a:lnTo>
                  <a:lnTo>
                    <a:pt x="3" y="3"/>
                  </a:lnTo>
                  <a:lnTo>
                    <a:pt x="3" y="3"/>
                  </a:lnTo>
                  <a:lnTo>
                    <a:pt x="3" y="4"/>
                  </a:lnTo>
                  <a:lnTo>
                    <a:pt x="4" y="4"/>
                  </a:lnTo>
                  <a:lnTo>
                    <a:pt x="4" y="6"/>
                  </a:lnTo>
                  <a:lnTo>
                    <a:pt x="6" y="8"/>
                  </a:lnTo>
                  <a:lnTo>
                    <a:pt x="4" y="9"/>
                  </a:lnTo>
                  <a:lnTo>
                    <a:pt x="3" y="9"/>
                  </a:lnTo>
                  <a:lnTo>
                    <a:pt x="3" y="11"/>
                  </a:lnTo>
                  <a:lnTo>
                    <a:pt x="3" y="14"/>
                  </a:lnTo>
                  <a:lnTo>
                    <a:pt x="3" y="14"/>
                  </a:lnTo>
                  <a:lnTo>
                    <a:pt x="3" y="16"/>
                  </a:lnTo>
                  <a:lnTo>
                    <a:pt x="0" y="19"/>
                  </a:lnTo>
                  <a:lnTo>
                    <a:pt x="3" y="20"/>
                  </a:lnTo>
                  <a:lnTo>
                    <a:pt x="3" y="20"/>
                  </a:lnTo>
                  <a:lnTo>
                    <a:pt x="6" y="19"/>
                  </a:lnTo>
                  <a:lnTo>
                    <a:pt x="8" y="19"/>
                  </a:lnTo>
                  <a:lnTo>
                    <a:pt x="8" y="20"/>
                  </a:lnTo>
                  <a:lnTo>
                    <a:pt x="8" y="22"/>
                  </a:lnTo>
                  <a:lnTo>
                    <a:pt x="11" y="20"/>
                  </a:lnTo>
                  <a:lnTo>
                    <a:pt x="14" y="17"/>
                  </a:lnTo>
                  <a:lnTo>
                    <a:pt x="16" y="16"/>
                  </a:lnTo>
                  <a:lnTo>
                    <a:pt x="19" y="14"/>
                  </a:lnTo>
                  <a:lnTo>
                    <a:pt x="20" y="14"/>
                  </a:lnTo>
                  <a:lnTo>
                    <a:pt x="22" y="14"/>
                  </a:lnTo>
                  <a:lnTo>
                    <a:pt x="25" y="12"/>
                  </a:lnTo>
                  <a:lnTo>
                    <a:pt x="28" y="14"/>
                  </a:lnTo>
                  <a:lnTo>
                    <a:pt x="31" y="14"/>
                  </a:lnTo>
                  <a:lnTo>
                    <a:pt x="35" y="12"/>
                  </a:lnTo>
                  <a:lnTo>
                    <a:pt x="35" y="11"/>
                  </a:lnTo>
                  <a:lnTo>
                    <a:pt x="35" y="11"/>
                  </a:lnTo>
                  <a:lnTo>
                    <a:pt x="35" y="11"/>
                  </a:lnTo>
                  <a:lnTo>
                    <a:pt x="35" y="11"/>
                  </a:lnTo>
                  <a:lnTo>
                    <a:pt x="35" y="11"/>
                  </a:lnTo>
                  <a:lnTo>
                    <a:pt x="35" y="11"/>
                  </a:lnTo>
                  <a:lnTo>
                    <a:pt x="35" y="11"/>
                  </a:lnTo>
                  <a:lnTo>
                    <a:pt x="35" y="11"/>
                  </a:lnTo>
                  <a:lnTo>
                    <a:pt x="35" y="11"/>
                  </a:lnTo>
                  <a:lnTo>
                    <a:pt x="35" y="1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1" name="Freeform 81">
              <a:extLst>
                <a:ext uri="{FF2B5EF4-FFF2-40B4-BE49-F238E27FC236}">
                  <a16:creationId xmlns:a16="http://schemas.microsoft.com/office/drawing/2014/main" id="{B129A2E8-73F2-76CE-FCD6-D4CF8B418D9E}"/>
                </a:ext>
              </a:extLst>
            </p:cNvPr>
            <p:cNvSpPr>
              <a:spLocks/>
            </p:cNvSpPr>
            <p:nvPr/>
          </p:nvSpPr>
          <p:spPr bwMode="auto">
            <a:xfrm>
              <a:off x="6329940" y="2659079"/>
              <a:ext cx="60563" cy="51591"/>
            </a:xfrm>
            <a:custGeom>
              <a:avLst/>
              <a:gdLst>
                <a:gd name="T0" fmla="*/ 1 w 27"/>
                <a:gd name="T1" fmla="*/ 11 h 23"/>
                <a:gd name="T2" fmla="*/ 1 w 27"/>
                <a:gd name="T3" fmla="*/ 11 h 23"/>
                <a:gd name="T4" fmla="*/ 0 w 27"/>
                <a:gd name="T5" fmla="*/ 13 h 23"/>
                <a:gd name="T6" fmla="*/ 1 w 27"/>
                <a:gd name="T7" fmla="*/ 15 h 23"/>
                <a:gd name="T8" fmla="*/ 1 w 27"/>
                <a:gd name="T9" fmla="*/ 16 h 23"/>
                <a:gd name="T10" fmla="*/ 1 w 27"/>
                <a:gd name="T11" fmla="*/ 18 h 23"/>
                <a:gd name="T12" fmla="*/ 3 w 27"/>
                <a:gd name="T13" fmla="*/ 19 h 23"/>
                <a:gd name="T14" fmla="*/ 3 w 27"/>
                <a:gd name="T15" fmla="*/ 21 h 23"/>
                <a:gd name="T16" fmla="*/ 4 w 27"/>
                <a:gd name="T17" fmla="*/ 23 h 23"/>
                <a:gd name="T18" fmla="*/ 6 w 27"/>
                <a:gd name="T19" fmla="*/ 23 h 23"/>
                <a:gd name="T20" fmla="*/ 9 w 27"/>
                <a:gd name="T21" fmla="*/ 23 h 23"/>
                <a:gd name="T22" fmla="*/ 11 w 27"/>
                <a:gd name="T23" fmla="*/ 23 h 23"/>
                <a:gd name="T24" fmla="*/ 14 w 27"/>
                <a:gd name="T25" fmla="*/ 21 h 23"/>
                <a:gd name="T26" fmla="*/ 19 w 27"/>
                <a:gd name="T27" fmla="*/ 19 h 23"/>
                <a:gd name="T28" fmla="*/ 22 w 27"/>
                <a:gd name="T29" fmla="*/ 18 h 23"/>
                <a:gd name="T30" fmla="*/ 23 w 27"/>
                <a:gd name="T31" fmla="*/ 18 h 23"/>
                <a:gd name="T32" fmla="*/ 27 w 27"/>
                <a:gd name="T33" fmla="*/ 16 h 23"/>
                <a:gd name="T34" fmla="*/ 27 w 27"/>
                <a:gd name="T35" fmla="*/ 16 h 23"/>
                <a:gd name="T36" fmla="*/ 27 w 27"/>
                <a:gd name="T37" fmla="*/ 13 h 23"/>
                <a:gd name="T38" fmla="*/ 27 w 27"/>
                <a:gd name="T39" fmla="*/ 11 h 23"/>
                <a:gd name="T40" fmla="*/ 27 w 27"/>
                <a:gd name="T41" fmla="*/ 10 h 23"/>
                <a:gd name="T42" fmla="*/ 27 w 27"/>
                <a:gd name="T43" fmla="*/ 7 h 23"/>
                <a:gd name="T44" fmla="*/ 23 w 27"/>
                <a:gd name="T45" fmla="*/ 7 h 23"/>
                <a:gd name="T46" fmla="*/ 23 w 27"/>
                <a:gd name="T47" fmla="*/ 4 h 23"/>
                <a:gd name="T48" fmla="*/ 22 w 27"/>
                <a:gd name="T49" fmla="*/ 4 h 23"/>
                <a:gd name="T50" fmla="*/ 20 w 27"/>
                <a:gd name="T51" fmla="*/ 2 h 23"/>
                <a:gd name="T52" fmla="*/ 20 w 27"/>
                <a:gd name="T53" fmla="*/ 0 h 23"/>
                <a:gd name="T54" fmla="*/ 19 w 27"/>
                <a:gd name="T55" fmla="*/ 0 h 23"/>
                <a:gd name="T56" fmla="*/ 17 w 27"/>
                <a:gd name="T57" fmla="*/ 4 h 23"/>
                <a:gd name="T58" fmla="*/ 14 w 27"/>
                <a:gd name="T59" fmla="*/ 4 h 23"/>
                <a:gd name="T60" fmla="*/ 12 w 27"/>
                <a:gd name="T61" fmla="*/ 4 h 23"/>
                <a:gd name="T62" fmla="*/ 12 w 27"/>
                <a:gd name="T63" fmla="*/ 4 h 23"/>
                <a:gd name="T64" fmla="*/ 11 w 27"/>
                <a:gd name="T65" fmla="*/ 4 h 23"/>
                <a:gd name="T66" fmla="*/ 11 w 27"/>
                <a:gd name="T67" fmla="*/ 7 h 23"/>
                <a:gd name="T68" fmla="*/ 7 w 27"/>
                <a:gd name="T69" fmla="*/ 4 h 23"/>
                <a:gd name="T70" fmla="*/ 6 w 27"/>
                <a:gd name="T71" fmla="*/ 4 h 23"/>
                <a:gd name="T72" fmla="*/ 4 w 27"/>
                <a:gd name="T73" fmla="*/ 7 h 23"/>
                <a:gd name="T74" fmla="*/ 3 w 27"/>
                <a:gd name="T75" fmla="*/ 7 h 23"/>
                <a:gd name="T76" fmla="*/ 1 w 27"/>
                <a:gd name="T77" fmla="*/ 8 h 23"/>
                <a:gd name="T78" fmla="*/ 1 w 27"/>
                <a:gd name="T79" fmla="*/ 10 h 23"/>
                <a:gd name="T80" fmla="*/ 1 w 27"/>
                <a:gd name="T81" fmla="*/ 11 h 23"/>
                <a:gd name="T82" fmla="*/ 1 w 27"/>
                <a:gd name="T83" fmla="*/ 11 h 23"/>
                <a:gd name="T84" fmla="*/ 1 w 27"/>
                <a:gd name="T85" fmla="*/ 11 h 23"/>
                <a:gd name="T86" fmla="*/ 1 w 27"/>
                <a:gd name="T87" fmla="*/ 11 h 23"/>
                <a:gd name="T88" fmla="*/ 1 w 27"/>
                <a:gd name="T89" fmla="*/ 11 h 23"/>
                <a:gd name="T90" fmla="*/ 1 w 27"/>
                <a:gd name="T91" fmla="*/ 11 h 23"/>
                <a:gd name="T92" fmla="*/ 1 w 27"/>
                <a:gd name="T93" fmla="*/ 11 h 23"/>
                <a:gd name="T94" fmla="*/ 1 w 27"/>
                <a:gd name="T95" fmla="*/ 11 h 23"/>
                <a:gd name="T96" fmla="*/ 1 w 27"/>
                <a:gd name="T9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23">
                  <a:moveTo>
                    <a:pt x="1" y="11"/>
                  </a:moveTo>
                  <a:lnTo>
                    <a:pt x="1" y="11"/>
                  </a:lnTo>
                  <a:lnTo>
                    <a:pt x="0" y="13"/>
                  </a:lnTo>
                  <a:lnTo>
                    <a:pt x="1" y="15"/>
                  </a:lnTo>
                  <a:lnTo>
                    <a:pt x="1" y="16"/>
                  </a:lnTo>
                  <a:lnTo>
                    <a:pt x="1" y="18"/>
                  </a:lnTo>
                  <a:lnTo>
                    <a:pt x="3" y="19"/>
                  </a:lnTo>
                  <a:lnTo>
                    <a:pt x="3" y="21"/>
                  </a:lnTo>
                  <a:lnTo>
                    <a:pt x="4" y="23"/>
                  </a:lnTo>
                  <a:lnTo>
                    <a:pt x="6" y="23"/>
                  </a:lnTo>
                  <a:lnTo>
                    <a:pt x="9" y="23"/>
                  </a:lnTo>
                  <a:lnTo>
                    <a:pt x="11" y="23"/>
                  </a:lnTo>
                  <a:lnTo>
                    <a:pt x="14" y="21"/>
                  </a:lnTo>
                  <a:lnTo>
                    <a:pt x="19" y="19"/>
                  </a:lnTo>
                  <a:lnTo>
                    <a:pt x="22" y="18"/>
                  </a:lnTo>
                  <a:lnTo>
                    <a:pt x="23" y="18"/>
                  </a:lnTo>
                  <a:lnTo>
                    <a:pt x="27" y="16"/>
                  </a:lnTo>
                  <a:lnTo>
                    <a:pt x="27" y="16"/>
                  </a:lnTo>
                  <a:lnTo>
                    <a:pt x="27" y="13"/>
                  </a:lnTo>
                  <a:lnTo>
                    <a:pt x="27" y="11"/>
                  </a:lnTo>
                  <a:lnTo>
                    <a:pt x="27" y="10"/>
                  </a:lnTo>
                  <a:lnTo>
                    <a:pt x="27" y="7"/>
                  </a:lnTo>
                  <a:lnTo>
                    <a:pt x="23" y="7"/>
                  </a:lnTo>
                  <a:lnTo>
                    <a:pt x="23" y="4"/>
                  </a:lnTo>
                  <a:lnTo>
                    <a:pt x="22" y="4"/>
                  </a:lnTo>
                  <a:lnTo>
                    <a:pt x="20" y="2"/>
                  </a:lnTo>
                  <a:lnTo>
                    <a:pt x="20" y="0"/>
                  </a:lnTo>
                  <a:lnTo>
                    <a:pt x="19" y="0"/>
                  </a:lnTo>
                  <a:lnTo>
                    <a:pt x="17" y="4"/>
                  </a:lnTo>
                  <a:lnTo>
                    <a:pt x="14" y="4"/>
                  </a:lnTo>
                  <a:lnTo>
                    <a:pt x="12" y="4"/>
                  </a:lnTo>
                  <a:lnTo>
                    <a:pt x="12" y="4"/>
                  </a:lnTo>
                  <a:lnTo>
                    <a:pt x="11" y="4"/>
                  </a:lnTo>
                  <a:lnTo>
                    <a:pt x="11" y="7"/>
                  </a:lnTo>
                  <a:lnTo>
                    <a:pt x="7" y="4"/>
                  </a:lnTo>
                  <a:lnTo>
                    <a:pt x="6" y="4"/>
                  </a:lnTo>
                  <a:lnTo>
                    <a:pt x="4" y="7"/>
                  </a:lnTo>
                  <a:lnTo>
                    <a:pt x="3" y="7"/>
                  </a:lnTo>
                  <a:lnTo>
                    <a:pt x="1" y="8"/>
                  </a:lnTo>
                  <a:lnTo>
                    <a:pt x="1" y="10"/>
                  </a:lnTo>
                  <a:lnTo>
                    <a:pt x="1" y="11"/>
                  </a:lnTo>
                  <a:lnTo>
                    <a:pt x="1" y="11"/>
                  </a:lnTo>
                  <a:lnTo>
                    <a:pt x="1" y="11"/>
                  </a:lnTo>
                  <a:lnTo>
                    <a:pt x="1" y="11"/>
                  </a:lnTo>
                  <a:lnTo>
                    <a:pt x="1" y="11"/>
                  </a:lnTo>
                  <a:lnTo>
                    <a:pt x="1" y="11"/>
                  </a:lnTo>
                  <a:lnTo>
                    <a:pt x="1" y="11"/>
                  </a:lnTo>
                  <a:lnTo>
                    <a:pt x="1" y="11"/>
                  </a:lnTo>
                  <a:lnTo>
                    <a:pt x="1" y="11"/>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2" name="Freeform 83">
              <a:extLst>
                <a:ext uri="{FF2B5EF4-FFF2-40B4-BE49-F238E27FC236}">
                  <a16:creationId xmlns:a16="http://schemas.microsoft.com/office/drawing/2014/main" id="{9CD12852-88E9-C502-E8B5-B0C0C29B8D32}"/>
                </a:ext>
              </a:extLst>
            </p:cNvPr>
            <p:cNvSpPr>
              <a:spLocks/>
            </p:cNvSpPr>
            <p:nvPr/>
          </p:nvSpPr>
          <p:spPr bwMode="auto">
            <a:xfrm>
              <a:off x="6296294" y="2652349"/>
              <a:ext cx="47105" cy="100938"/>
            </a:xfrm>
            <a:custGeom>
              <a:avLst/>
              <a:gdLst>
                <a:gd name="T0" fmla="*/ 15 w 21"/>
                <a:gd name="T1" fmla="*/ 41 h 45"/>
                <a:gd name="T2" fmla="*/ 15 w 21"/>
                <a:gd name="T3" fmla="*/ 41 h 45"/>
                <a:gd name="T4" fmla="*/ 15 w 21"/>
                <a:gd name="T5" fmla="*/ 40 h 45"/>
                <a:gd name="T6" fmla="*/ 15 w 21"/>
                <a:gd name="T7" fmla="*/ 38 h 45"/>
                <a:gd name="T8" fmla="*/ 16 w 21"/>
                <a:gd name="T9" fmla="*/ 38 h 45"/>
                <a:gd name="T10" fmla="*/ 18 w 21"/>
                <a:gd name="T11" fmla="*/ 32 h 45"/>
                <a:gd name="T12" fmla="*/ 21 w 21"/>
                <a:gd name="T13" fmla="*/ 32 h 45"/>
                <a:gd name="T14" fmla="*/ 21 w 21"/>
                <a:gd name="T15" fmla="*/ 30 h 45"/>
                <a:gd name="T16" fmla="*/ 21 w 21"/>
                <a:gd name="T17" fmla="*/ 29 h 45"/>
                <a:gd name="T18" fmla="*/ 21 w 21"/>
                <a:gd name="T19" fmla="*/ 27 h 45"/>
                <a:gd name="T20" fmla="*/ 21 w 21"/>
                <a:gd name="T21" fmla="*/ 26 h 45"/>
                <a:gd name="T22" fmla="*/ 18 w 21"/>
                <a:gd name="T23" fmla="*/ 26 h 45"/>
                <a:gd name="T24" fmla="*/ 18 w 21"/>
                <a:gd name="T25" fmla="*/ 24 h 45"/>
                <a:gd name="T26" fmla="*/ 18 w 21"/>
                <a:gd name="T27" fmla="*/ 22 h 45"/>
                <a:gd name="T28" fmla="*/ 16 w 21"/>
                <a:gd name="T29" fmla="*/ 21 h 45"/>
                <a:gd name="T30" fmla="*/ 16 w 21"/>
                <a:gd name="T31" fmla="*/ 19 h 45"/>
                <a:gd name="T32" fmla="*/ 16 w 21"/>
                <a:gd name="T33" fmla="*/ 18 h 45"/>
                <a:gd name="T34" fmla="*/ 15 w 21"/>
                <a:gd name="T35" fmla="*/ 16 h 45"/>
                <a:gd name="T36" fmla="*/ 16 w 21"/>
                <a:gd name="T37" fmla="*/ 14 h 45"/>
                <a:gd name="T38" fmla="*/ 16 w 21"/>
                <a:gd name="T39" fmla="*/ 13 h 45"/>
                <a:gd name="T40" fmla="*/ 16 w 21"/>
                <a:gd name="T41" fmla="*/ 11 h 45"/>
                <a:gd name="T42" fmla="*/ 16 w 21"/>
                <a:gd name="T43" fmla="*/ 10 h 45"/>
                <a:gd name="T44" fmla="*/ 16 w 21"/>
                <a:gd name="T45" fmla="*/ 8 h 45"/>
                <a:gd name="T46" fmla="*/ 16 w 21"/>
                <a:gd name="T47" fmla="*/ 7 h 45"/>
                <a:gd name="T48" fmla="*/ 15 w 21"/>
                <a:gd name="T49" fmla="*/ 5 h 45"/>
                <a:gd name="T50" fmla="*/ 15 w 21"/>
                <a:gd name="T51" fmla="*/ 5 h 45"/>
                <a:gd name="T52" fmla="*/ 11 w 21"/>
                <a:gd name="T53" fmla="*/ 3 h 45"/>
                <a:gd name="T54" fmla="*/ 11 w 21"/>
                <a:gd name="T55" fmla="*/ 2 h 45"/>
                <a:gd name="T56" fmla="*/ 11 w 21"/>
                <a:gd name="T57" fmla="*/ 2 h 45"/>
                <a:gd name="T58" fmla="*/ 10 w 21"/>
                <a:gd name="T59" fmla="*/ 0 h 45"/>
                <a:gd name="T60" fmla="*/ 8 w 21"/>
                <a:gd name="T61" fmla="*/ 2 h 45"/>
                <a:gd name="T62" fmla="*/ 7 w 21"/>
                <a:gd name="T63" fmla="*/ 2 h 45"/>
                <a:gd name="T64" fmla="*/ 5 w 21"/>
                <a:gd name="T65" fmla="*/ 2 h 45"/>
                <a:gd name="T66" fmla="*/ 5 w 21"/>
                <a:gd name="T67" fmla="*/ 0 h 45"/>
                <a:gd name="T68" fmla="*/ 3 w 21"/>
                <a:gd name="T69" fmla="*/ 0 h 45"/>
                <a:gd name="T70" fmla="*/ 2 w 21"/>
                <a:gd name="T71" fmla="*/ 3 h 45"/>
                <a:gd name="T72" fmla="*/ 0 w 21"/>
                <a:gd name="T73" fmla="*/ 7 h 45"/>
                <a:gd name="T74" fmla="*/ 2 w 21"/>
                <a:gd name="T75" fmla="*/ 11 h 45"/>
                <a:gd name="T76" fmla="*/ 3 w 21"/>
                <a:gd name="T77" fmla="*/ 11 h 45"/>
                <a:gd name="T78" fmla="*/ 3 w 21"/>
                <a:gd name="T79" fmla="*/ 14 h 45"/>
                <a:gd name="T80" fmla="*/ 2 w 21"/>
                <a:gd name="T81" fmla="*/ 18 h 45"/>
                <a:gd name="T82" fmla="*/ 3 w 21"/>
                <a:gd name="T83" fmla="*/ 19 h 45"/>
                <a:gd name="T84" fmla="*/ 3 w 21"/>
                <a:gd name="T85" fmla="*/ 21 h 45"/>
                <a:gd name="T86" fmla="*/ 3 w 21"/>
                <a:gd name="T87" fmla="*/ 24 h 45"/>
                <a:gd name="T88" fmla="*/ 3 w 21"/>
                <a:gd name="T89" fmla="*/ 26 h 45"/>
                <a:gd name="T90" fmla="*/ 2 w 21"/>
                <a:gd name="T91" fmla="*/ 26 h 45"/>
                <a:gd name="T92" fmla="*/ 2 w 21"/>
                <a:gd name="T93" fmla="*/ 27 h 45"/>
                <a:gd name="T94" fmla="*/ 2 w 21"/>
                <a:gd name="T95" fmla="*/ 29 h 45"/>
                <a:gd name="T96" fmla="*/ 3 w 21"/>
                <a:gd name="T97" fmla="*/ 32 h 45"/>
                <a:gd name="T98" fmla="*/ 3 w 21"/>
                <a:gd name="T99" fmla="*/ 32 h 45"/>
                <a:gd name="T100" fmla="*/ 2 w 21"/>
                <a:gd name="T101" fmla="*/ 32 h 45"/>
                <a:gd name="T102" fmla="*/ 7 w 21"/>
                <a:gd name="T103" fmla="*/ 35 h 45"/>
                <a:gd name="T104" fmla="*/ 8 w 21"/>
                <a:gd name="T105" fmla="*/ 38 h 45"/>
                <a:gd name="T106" fmla="*/ 10 w 21"/>
                <a:gd name="T107" fmla="*/ 41 h 45"/>
                <a:gd name="T108" fmla="*/ 10 w 21"/>
                <a:gd name="T109" fmla="*/ 41 h 45"/>
                <a:gd name="T110" fmla="*/ 11 w 21"/>
                <a:gd name="T111" fmla="*/ 43 h 45"/>
                <a:gd name="T112" fmla="*/ 15 w 21"/>
                <a:gd name="T113" fmla="*/ 41 h 45"/>
                <a:gd name="T114" fmla="*/ 15 w 21"/>
                <a:gd name="T115"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45">
                  <a:moveTo>
                    <a:pt x="15" y="41"/>
                  </a:moveTo>
                  <a:lnTo>
                    <a:pt x="15" y="41"/>
                  </a:lnTo>
                  <a:lnTo>
                    <a:pt x="15" y="41"/>
                  </a:lnTo>
                  <a:lnTo>
                    <a:pt x="15" y="41"/>
                  </a:lnTo>
                  <a:lnTo>
                    <a:pt x="15" y="40"/>
                  </a:lnTo>
                  <a:lnTo>
                    <a:pt x="15" y="40"/>
                  </a:lnTo>
                  <a:lnTo>
                    <a:pt x="15" y="38"/>
                  </a:lnTo>
                  <a:lnTo>
                    <a:pt x="15" y="38"/>
                  </a:lnTo>
                  <a:lnTo>
                    <a:pt x="16" y="38"/>
                  </a:lnTo>
                  <a:lnTo>
                    <a:pt x="16" y="38"/>
                  </a:lnTo>
                  <a:lnTo>
                    <a:pt x="18" y="32"/>
                  </a:lnTo>
                  <a:lnTo>
                    <a:pt x="18" y="32"/>
                  </a:lnTo>
                  <a:lnTo>
                    <a:pt x="21" y="32"/>
                  </a:lnTo>
                  <a:lnTo>
                    <a:pt x="21" y="32"/>
                  </a:lnTo>
                  <a:lnTo>
                    <a:pt x="21" y="30"/>
                  </a:lnTo>
                  <a:lnTo>
                    <a:pt x="21" y="30"/>
                  </a:lnTo>
                  <a:lnTo>
                    <a:pt x="21" y="29"/>
                  </a:lnTo>
                  <a:lnTo>
                    <a:pt x="21" y="29"/>
                  </a:lnTo>
                  <a:lnTo>
                    <a:pt x="21" y="27"/>
                  </a:lnTo>
                  <a:lnTo>
                    <a:pt x="21" y="27"/>
                  </a:lnTo>
                  <a:lnTo>
                    <a:pt x="21" y="26"/>
                  </a:lnTo>
                  <a:lnTo>
                    <a:pt x="21" y="26"/>
                  </a:lnTo>
                  <a:lnTo>
                    <a:pt x="18" y="26"/>
                  </a:lnTo>
                  <a:lnTo>
                    <a:pt x="18" y="26"/>
                  </a:lnTo>
                  <a:lnTo>
                    <a:pt x="18" y="24"/>
                  </a:lnTo>
                  <a:lnTo>
                    <a:pt x="18" y="24"/>
                  </a:lnTo>
                  <a:lnTo>
                    <a:pt x="18" y="22"/>
                  </a:lnTo>
                  <a:lnTo>
                    <a:pt x="18" y="22"/>
                  </a:lnTo>
                  <a:lnTo>
                    <a:pt x="16" y="21"/>
                  </a:lnTo>
                  <a:lnTo>
                    <a:pt x="16" y="21"/>
                  </a:lnTo>
                  <a:lnTo>
                    <a:pt x="16" y="19"/>
                  </a:lnTo>
                  <a:lnTo>
                    <a:pt x="16" y="19"/>
                  </a:lnTo>
                  <a:lnTo>
                    <a:pt x="16" y="18"/>
                  </a:lnTo>
                  <a:lnTo>
                    <a:pt x="16" y="18"/>
                  </a:lnTo>
                  <a:lnTo>
                    <a:pt x="15" y="16"/>
                  </a:lnTo>
                  <a:lnTo>
                    <a:pt x="15" y="16"/>
                  </a:lnTo>
                  <a:lnTo>
                    <a:pt x="16" y="14"/>
                  </a:lnTo>
                  <a:lnTo>
                    <a:pt x="16" y="14"/>
                  </a:lnTo>
                  <a:lnTo>
                    <a:pt x="16" y="14"/>
                  </a:lnTo>
                  <a:lnTo>
                    <a:pt x="16" y="13"/>
                  </a:lnTo>
                  <a:lnTo>
                    <a:pt x="16" y="13"/>
                  </a:lnTo>
                  <a:lnTo>
                    <a:pt x="16" y="11"/>
                  </a:lnTo>
                  <a:lnTo>
                    <a:pt x="16" y="11"/>
                  </a:lnTo>
                  <a:lnTo>
                    <a:pt x="16" y="10"/>
                  </a:lnTo>
                  <a:lnTo>
                    <a:pt x="16" y="10"/>
                  </a:lnTo>
                  <a:lnTo>
                    <a:pt x="16" y="8"/>
                  </a:lnTo>
                  <a:lnTo>
                    <a:pt x="16" y="8"/>
                  </a:lnTo>
                  <a:lnTo>
                    <a:pt x="16" y="7"/>
                  </a:lnTo>
                  <a:lnTo>
                    <a:pt x="16" y="7"/>
                  </a:lnTo>
                  <a:lnTo>
                    <a:pt x="15" y="5"/>
                  </a:lnTo>
                  <a:lnTo>
                    <a:pt x="15" y="5"/>
                  </a:lnTo>
                  <a:lnTo>
                    <a:pt x="15" y="5"/>
                  </a:lnTo>
                  <a:lnTo>
                    <a:pt x="11" y="3"/>
                  </a:lnTo>
                  <a:lnTo>
                    <a:pt x="11" y="3"/>
                  </a:lnTo>
                  <a:lnTo>
                    <a:pt x="11" y="2"/>
                  </a:lnTo>
                  <a:lnTo>
                    <a:pt x="11" y="2"/>
                  </a:lnTo>
                  <a:lnTo>
                    <a:pt x="11" y="2"/>
                  </a:lnTo>
                  <a:lnTo>
                    <a:pt x="11" y="2"/>
                  </a:lnTo>
                  <a:lnTo>
                    <a:pt x="10" y="0"/>
                  </a:lnTo>
                  <a:lnTo>
                    <a:pt x="10" y="0"/>
                  </a:lnTo>
                  <a:lnTo>
                    <a:pt x="8" y="2"/>
                  </a:lnTo>
                  <a:lnTo>
                    <a:pt x="8" y="2"/>
                  </a:lnTo>
                  <a:lnTo>
                    <a:pt x="7" y="2"/>
                  </a:lnTo>
                  <a:lnTo>
                    <a:pt x="7" y="2"/>
                  </a:lnTo>
                  <a:lnTo>
                    <a:pt x="5" y="2"/>
                  </a:lnTo>
                  <a:lnTo>
                    <a:pt x="5" y="2"/>
                  </a:lnTo>
                  <a:lnTo>
                    <a:pt x="5" y="0"/>
                  </a:lnTo>
                  <a:lnTo>
                    <a:pt x="5" y="0"/>
                  </a:lnTo>
                  <a:lnTo>
                    <a:pt x="3" y="0"/>
                  </a:lnTo>
                  <a:lnTo>
                    <a:pt x="3" y="0"/>
                  </a:lnTo>
                  <a:lnTo>
                    <a:pt x="2" y="3"/>
                  </a:lnTo>
                  <a:lnTo>
                    <a:pt x="2" y="3"/>
                  </a:lnTo>
                  <a:lnTo>
                    <a:pt x="0" y="7"/>
                  </a:lnTo>
                  <a:lnTo>
                    <a:pt x="0" y="7"/>
                  </a:lnTo>
                  <a:lnTo>
                    <a:pt x="2" y="11"/>
                  </a:lnTo>
                  <a:lnTo>
                    <a:pt x="2" y="11"/>
                  </a:lnTo>
                  <a:lnTo>
                    <a:pt x="3" y="11"/>
                  </a:lnTo>
                  <a:lnTo>
                    <a:pt x="3" y="11"/>
                  </a:lnTo>
                  <a:lnTo>
                    <a:pt x="3" y="14"/>
                  </a:lnTo>
                  <a:lnTo>
                    <a:pt x="3" y="14"/>
                  </a:lnTo>
                  <a:lnTo>
                    <a:pt x="2" y="18"/>
                  </a:lnTo>
                  <a:lnTo>
                    <a:pt x="2" y="18"/>
                  </a:lnTo>
                  <a:lnTo>
                    <a:pt x="3" y="19"/>
                  </a:lnTo>
                  <a:lnTo>
                    <a:pt x="3" y="19"/>
                  </a:lnTo>
                  <a:lnTo>
                    <a:pt x="3" y="21"/>
                  </a:lnTo>
                  <a:lnTo>
                    <a:pt x="3" y="21"/>
                  </a:lnTo>
                  <a:lnTo>
                    <a:pt x="3" y="24"/>
                  </a:lnTo>
                  <a:lnTo>
                    <a:pt x="3" y="24"/>
                  </a:lnTo>
                  <a:lnTo>
                    <a:pt x="3" y="26"/>
                  </a:lnTo>
                  <a:lnTo>
                    <a:pt x="3" y="26"/>
                  </a:lnTo>
                  <a:lnTo>
                    <a:pt x="2" y="26"/>
                  </a:lnTo>
                  <a:lnTo>
                    <a:pt x="2" y="26"/>
                  </a:lnTo>
                  <a:lnTo>
                    <a:pt x="2" y="27"/>
                  </a:lnTo>
                  <a:lnTo>
                    <a:pt x="2" y="27"/>
                  </a:lnTo>
                  <a:lnTo>
                    <a:pt x="2" y="29"/>
                  </a:lnTo>
                  <a:lnTo>
                    <a:pt x="2" y="29"/>
                  </a:lnTo>
                  <a:lnTo>
                    <a:pt x="3" y="32"/>
                  </a:lnTo>
                  <a:lnTo>
                    <a:pt x="3" y="32"/>
                  </a:lnTo>
                  <a:lnTo>
                    <a:pt x="3" y="32"/>
                  </a:lnTo>
                  <a:lnTo>
                    <a:pt x="3" y="32"/>
                  </a:lnTo>
                  <a:lnTo>
                    <a:pt x="2" y="32"/>
                  </a:lnTo>
                  <a:lnTo>
                    <a:pt x="2" y="32"/>
                  </a:lnTo>
                  <a:lnTo>
                    <a:pt x="7" y="35"/>
                  </a:lnTo>
                  <a:lnTo>
                    <a:pt x="7" y="35"/>
                  </a:lnTo>
                  <a:lnTo>
                    <a:pt x="8" y="38"/>
                  </a:lnTo>
                  <a:lnTo>
                    <a:pt x="8" y="38"/>
                  </a:lnTo>
                  <a:lnTo>
                    <a:pt x="10" y="41"/>
                  </a:lnTo>
                  <a:lnTo>
                    <a:pt x="10" y="41"/>
                  </a:lnTo>
                  <a:lnTo>
                    <a:pt x="10" y="41"/>
                  </a:lnTo>
                  <a:lnTo>
                    <a:pt x="10" y="41"/>
                  </a:lnTo>
                  <a:lnTo>
                    <a:pt x="11" y="43"/>
                  </a:lnTo>
                  <a:lnTo>
                    <a:pt x="11" y="43"/>
                  </a:lnTo>
                  <a:lnTo>
                    <a:pt x="13" y="45"/>
                  </a:lnTo>
                  <a:lnTo>
                    <a:pt x="15" y="41"/>
                  </a:lnTo>
                  <a:lnTo>
                    <a:pt x="15" y="41"/>
                  </a:lnTo>
                  <a:lnTo>
                    <a:pt x="15" y="41"/>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3" name="Freeform 86">
              <a:extLst>
                <a:ext uri="{FF2B5EF4-FFF2-40B4-BE49-F238E27FC236}">
                  <a16:creationId xmlns:a16="http://schemas.microsoft.com/office/drawing/2014/main" id="{76A288C6-6488-1896-17D3-929EE11C8C78}"/>
                </a:ext>
              </a:extLst>
            </p:cNvPr>
            <p:cNvSpPr>
              <a:spLocks/>
            </p:cNvSpPr>
            <p:nvPr/>
          </p:nvSpPr>
          <p:spPr bwMode="auto">
            <a:xfrm>
              <a:off x="6314238" y="2475147"/>
              <a:ext cx="246738" cy="145800"/>
            </a:xfrm>
            <a:custGeom>
              <a:avLst/>
              <a:gdLst>
                <a:gd name="T0" fmla="*/ 103 w 110"/>
                <a:gd name="T1" fmla="*/ 40 h 65"/>
                <a:gd name="T2" fmla="*/ 100 w 110"/>
                <a:gd name="T3" fmla="*/ 41 h 65"/>
                <a:gd name="T4" fmla="*/ 97 w 110"/>
                <a:gd name="T5" fmla="*/ 43 h 65"/>
                <a:gd name="T6" fmla="*/ 92 w 110"/>
                <a:gd name="T7" fmla="*/ 40 h 65"/>
                <a:gd name="T8" fmla="*/ 91 w 110"/>
                <a:gd name="T9" fmla="*/ 38 h 65"/>
                <a:gd name="T10" fmla="*/ 89 w 110"/>
                <a:gd name="T11" fmla="*/ 32 h 65"/>
                <a:gd name="T12" fmla="*/ 91 w 110"/>
                <a:gd name="T13" fmla="*/ 24 h 65"/>
                <a:gd name="T14" fmla="*/ 86 w 110"/>
                <a:gd name="T15" fmla="*/ 16 h 65"/>
                <a:gd name="T16" fmla="*/ 78 w 110"/>
                <a:gd name="T17" fmla="*/ 8 h 65"/>
                <a:gd name="T18" fmla="*/ 72 w 110"/>
                <a:gd name="T19" fmla="*/ 1 h 65"/>
                <a:gd name="T20" fmla="*/ 68 w 110"/>
                <a:gd name="T21" fmla="*/ 0 h 65"/>
                <a:gd name="T22" fmla="*/ 65 w 110"/>
                <a:gd name="T23" fmla="*/ 3 h 65"/>
                <a:gd name="T24" fmla="*/ 59 w 110"/>
                <a:gd name="T25" fmla="*/ 5 h 65"/>
                <a:gd name="T26" fmla="*/ 56 w 110"/>
                <a:gd name="T27" fmla="*/ 6 h 65"/>
                <a:gd name="T28" fmla="*/ 51 w 110"/>
                <a:gd name="T29" fmla="*/ 8 h 65"/>
                <a:gd name="T30" fmla="*/ 45 w 110"/>
                <a:gd name="T31" fmla="*/ 5 h 65"/>
                <a:gd name="T32" fmla="*/ 37 w 110"/>
                <a:gd name="T33" fmla="*/ 3 h 65"/>
                <a:gd name="T34" fmla="*/ 30 w 110"/>
                <a:gd name="T35" fmla="*/ 3 h 65"/>
                <a:gd name="T36" fmla="*/ 27 w 110"/>
                <a:gd name="T37" fmla="*/ 5 h 65"/>
                <a:gd name="T38" fmla="*/ 24 w 110"/>
                <a:gd name="T39" fmla="*/ 8 h 65"/>
                <a:gd name="T40" fmla="*/ 19 w 110"/>
                <a:gd name="T41" fmla="*/ 9 h 65"/>
                <a:gd name="T42" fmla="*/ 19 w 110"/>
                <a:gd name="T43" fmla="*/ 13 h 65"/>
                <a:gd name="T44" fmla="*/ 14 w 110"/>
                <a:gd name="T45" fmla="*/ 20 h 65"/>
                <a:gd name="T46" fmla="*/ 11 w 110"/>
                <a:gd name="T47" fmla="*/ 25 h 65"/>
                <a:gd name="T48" fmla="*/ 8 w 110"/>
                <a:gd name="T49" fmla="*/ 27 h 65"/>
                <a:gd name="T50" fmla="*/ 5 w 110"/>
                <a:gd name="T51" fmla="*/ 28 h 65"/>
                <a:gd name="T52" fmla="*/ 3 w 110"/>
                <a:gd name="T53" fmla="*/ 28 h 65"/>
                <a:gd name="T54" fmla="*/ 2 w 110"/>
                <a:gd name="T55" fmla="*/ 30 h 65"/>
                <a:gd name="T56" fmla="*/ 5 w 110"/>
                <a:gd name="T57" fmla="*/ 33 h 65"/>
                <a:gd name="T58" fmla="*/ 8 w 110"/>
                <a:gd name="T59" fmla="*/ 36 h 65"/>
                <a:gd name="T60" fmla="*/ 11 w 110"/>
                <a:gd name="T61" fmla="*/ 43 h 65"/>
                <a:gd name="T62" fmla="*/ 14 w 110"/>
                <a:gd name="T63" fmla="*/ 44 h 65"/>
                <a:gd name="T64" fmla="*/ 14 w 110"/>
                <a:gd name="T65" fmla="*/ 47 h 65"/>
                <a:gd name="T66" fmla="*/ 16 w 110"/>
                <a:gd name="T67" fmla="*/ 51 h 65"/>
                <a:gd name="T68" fmla="*/ 24 w 110"/>
                <a:gd name="T69" fmla="*/ 54 h 65"/>
                <a:gd name="T70" fmla="*/ 29 w 110"/>
                <a:gd name="T71" fmla="*/ 51 h 65"/>
                <a:gd name="T72" fmla="*/ 27 w 110"/>
                <a:gd name="T73" fmla="*/ 54 h 65"/>
                <a:gd name="T74" fmla="*/ 30 w 110"/>
                <a:gd name="T75" fmla="*/ 57 h 65"/>
                <a:gd name="T76" fmla="*/ 34 w 110"/>
                <a:gd name="T77" fmla="*/ 60 h 65"/>
                <a:gd name="T78" fmla="*/ 34 w 110"/>
                <a:gd name="T79" fmla="*/ 63 h 65"/>
                <a:gd name="T80" fmla="*/ 40 w 110"/>
                <a:gd name="T81" fmla="*/ 62 h 65"/>
                <a:gd name="T82" fmla="*/ 49 w 110"/>
                <a:gd name="T83" fmla="*/ 63 h 65"/>
                <a:gd name="T84" fmla="*/ 57 w 110"/>
                <a:gd name="T85" fmla="*/ 63 h 65"/>
                <a:gd name="T86" fmla="*/ 64 w 110"/>
                <a:gd name="T87" fmla="*/ 65 h 65"/>
                <a:gd name="T88" fmla="*/ 68 w 110"/>
                <a:gd name="T89" fmla="*/ 60 h 65"/>
                <a:gd name="T90" fmla="*/ 78 w 110"/>
                <a:gd name="T91" fmla="*/ 59 h 65"/>
                <a:gd name="T92" fmla="*/ 83 w 110"/>
                <a:gd name="T93" fmla="*/ 59 h 65"/>
                <a:gd name="T94" fmla="*/ 89 w 110"/>
                <a:gd name="T95" fmla="*/ 60 h 65"/>
                <a:gd name="T96" fmla="*/ 97 w 110"/>
                <a:gd name="T97" fmla="*/ 63 h 65"/>
                <a:gd name="T98" fmla="*/ 99 w 110"/>
                <a:gd name="T99" fmla="*/ 60 h 65"/>
                <a:gd name="T100" fmla="*/ 99 w 110"/>
                <a:gd name="T101" fmla="*/ 55 h 65"/>
                <a:gd name="T102" fmla="*/ 100 w 110"/>
                <a:gd name="T103" fmla="*/ 51 h 65"/>
                <a:gd name="T104" fmla="*/ 100 w 110"/>
                <a:gd name="T105" fmla="*/ 51 h 65"/>
                <a:gd name="T106" fmla="*/ 100 w 110"/>
                <a:gd name="T107" fmla="*/ 47 h 65"/>
                <a:gd name="T108" fmla="*/ 100 w 110"/>
                <a:gd name="T109" fmla="*/ 47 h 65"/>
                <a:gd name="T110" fmla="*/ 103 w 110"/>
                <a:gd name="T111" fmla="*/ 51 h 65"/>
                <a:gd name="T112" fmla="*/ 110 w 110"/>
                <a:gd name="T113" fmla="*/ 44 h 65"/>
                <a:gd name="T114" fmla="*/ 107 w 110"/>
                <a:gd name="T115" fmla="*/ 41 h 65"/>
                <a:gd name="T116" fmla="*/ 107 w 110"/>
                <a:gd name="T117" fmla="*/ 40 h 65"/>
                <a:gd name="T118" fmla="*/ 107 w 110"/>
                <a:gd name="T119" fmla="*/ 40 h 65"/>
                <a:gd name="T120" fmla="*/ 107 w 110"/>
                <a:gd name="T121" fmla="*/ 40 h 65"/>
                <a:gd name="T122" fmla="*/ 107 w 110"/>
                <a:gd name="T12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65">
                  <a:moveTo>
                    <a:pt x="107" y="40"/>
                  </a:moveTo>
                  <a:lnTo>
                    <a:pt x="103" y="40"/>
                  </a:lnTo>
                  <a:lnTo>
                    <a:pt x="100" y="41"/>
                  </a:lnTo>
                  <a:lnTo>
                    <a:pt x="100" y="41"/>
                  </a:lnTo>
                  <a:lnTo>
                    <a:pt x="99" y="43"/>
                  </a:lnTo>
                  <a:lnTo>
                    <a:pt x="97" y="43"/>
                  </a:lnTo>
                  <a:lnTo>
                    <a:pt x="94" y="41"/>
                  </a:lnTo>
                  <a:lnTo>
                    <a:pt x="92" y="40"/>
                  </a:lnTo>
                  <a:lnTo>
                    <a:pt x="91" y="38"/>
                  </a:lnTo>
                  <a:lnTo>
                    <a:pt x="91" y="38"/>
                  </a:lnTo>
                  <a:lnTo>
                    <a:pt x="91" y="36"/>
                  </a:lnTo>
                  <a:lnTo>
                    <a:pt x="89" y="32"/>
                  </a:lnTo>
                  <a:lnTo>
                    <a:pt x="89" y="28"/>
                  </a:lnTo>
                  <a:lnTo>
                    <a:pt x="91" y="24"/>
                  </a:lnTo>
                  <a:lnTo>
                    <a:pt x="88" y="19"/>
                  </a:lnTo>
                  <a:lnTo>
                    <a:pt x="86" y="16"/>
                  </a:lnTo>
                  <a:lnTo>
                    <a:pt x="81" y="13"/>
                  </a:lnTo>
                  <a:lnTo>
                    <a:pt x="78" y="8"/>
                  </a:lnTo>
                  <a:lnTo>
                    <a:pt x="75" y="3"/>
                  </a:lnTo>
                  <a:lnTo>
                    <a:pt x="72" y="1"/>
                  </a:lnTo>
                  <a:lnTo>
                    <a:pt x="72" y="0"/>
                  </a:lnTo>
                  <a:lnTo>
                    <a:pt x="68" y="0"/>
                  </a:lnTo>
                  <a:lnTo>
                    <a:pt x="65" y="1"/>
                  </a:lnTo>
                  <a:lnTo>
                    <a:pt x="65" y="3"/>
                  </a:lnTo>
                  <a:lnTo>
                    <a:pt x="65" y="5"/>
                  </a:lnTo>
                  <a:lnTo>
                    <a:pt x="59" y="5"/>
                  </a:lnTo>
                  <a:lnTo>
                    <a:pt x="57" y="5"/>
                  </a:lnTo>
                  <a:lnTo>
                    <a:pt x="56" y="6"/>
                  </a:lnTo>
                  <a:lnTo>
                    <a:pt x="53" y="8"/>
                  </a:lnTo>
                  <a:lnTo>
                    <a:pt x="51" y="8"/>
                  </a:lnTo>
                  <a:lnTo>
                    <a:pt x="48" y="5"/>
                  </a:lnTo>
                  <a:lnTo>
                    <a:pt x="45" y="5"/>
                  </a:lnTo>
                  <a:lnTo>
                    <a:pt x="40" y="5"/>
                  </a:lnTo>
                  <a:lnTo>
                    <a:pt x="37" y="3"/>
                  </a:lnTo>
                  <a:lnTo>
                    <a:pt x="34" y="3"/>
                  </a:lnTo>
                  <a:lnTo>
                    <a:pt x="30" y="3"/>
                  </a:lnTo>
                  <a:lnTo>
                    <a:pt x="29" y="5"/>
                  </a:lnTo>
                  <a:lnTo>
                    <a:pt x="27" y="5"/>
                  </a:lnTo>
                  <a:lnTo>
                    <a:pt x="27" y="6"/>
                  </a:lnTo>
                  <a:lnTo>
                    <a:pt x="24" y="8"/>
                  </a:lnTo>
                  <a:lnTo>
                    <a:pt x="22" y="8"/>
                  </a:lnTo>
                  <a:lnTo>
                    <a:pt x="19" y="9"/>
                  </a:lnTo>
                  <a:lnTo>
                    <a:pt x="19" y="11"/>
                  </a:lnTo>
                  <a:lnTo>
                    <a:pt x="19" y="13"/>
                  </a:lnTo>
                  <a:lnTo>
                    <a:pt x="16" y="16"/>
                  </a:lnTo>
                  <a:lnTo>
                    <a:pt x="14" y="20"/>
                  </a:lnTo>
                  <a:lnTo>
                    <a:pt x="11" y="24"/>
                  </a:lnTo>
                  <a:lnTo>
                    <a:pt x="11" y="25"/>
                  </a:lnTo>
                  <a:lnTo>
                    <a:pt x="10" y="27"/>
                  </a:lnTo>
                  <a:lnTo>
                    <a:pt x="8" y="27"/>
                  </a:lnTo>
                  <a:lnTo>
                    <a:pt x="5" y="27"/>
                  </a:lnTo>
                  <a:lnTo>
                    <a:pt x="5" y="28"/>
                  </a:lnTo>
                  <a:lnTo>
                    <a:pt x="5" y="30"/>
                  </a:lnTo>
                  <a:lnTo>
                    <a:pt x="3" y="28"/>
                  </a:lnTo>
                  <a:lnTo>
                    <a:pt x="0" y="30"/>
                  </a:lnTo>
                  <a:lnTo>
                    <a:pt x="2" y="30"/>
                  </a:lnTo>
                  <a:lnTo>
                    <a:pt x="3" y="32"/>
                  </a:lnTo>
                  <a:lnTo>
                    <a:pt x="5" y="33"/>
                  </a:lnTo>
                  <a:lnTo>
                    <a:pt x="5" y="35"/>
                  </a:lnTo>
                  <a:lnTo>
                    <a:pt x="8" y="36"/>
                  </a:lnTo>
                  <a:lnTo>
                    <a:pt x="5" y="40"/>
                  </a:lnTo>
                  <a:lnTo>
                    <a:pt x="11" y="43"/>
                  </a:lnTo>
                  <a:lnTo>
                    <a:pt x="14" y="44"/>
                  </a:lnTo>
                  <a:lnTo>
                    <a:pt x="14" y="44"/>
                  </a:lnTo>
                  <a:lnTo>
                    <a:pt x="13" y="44"/>
                  </a:lnTo>
                  <a:lnTo>
                    <a:pt x="14" y="47"/>
                  </a:lnTo>
                  <a:lnTo>
                    <a:pt x="13" y="47"/>
                  </a:lnTo>
                  <a:lnTo>
                    <a:pt x="16" y="51"/>
                  </a:lnTo>
                  <a:lnTo>
                    <a:pt x="21" y="51"/>
                  </a:lnTo>
                  <a:lnTo>
                    <a:pt x="24" y="54"/>
                  </a:lnTo>
                  <a:lnTo>
                    <a:pt x="26" y="51"/>
                  </a:lnTo>
                  <a:lnTo>
                    <a:pt x="29" y="51"/>
                  </a:lnTo>
                  <a:lnTo>
                    <a:pt x="30" y="54"/>
                  </a:lnTo>
                  <a:lnTo>
                    <a:pt x="27" y="54"/>
                  </a:lnTo>
                  <a:lnTo>
                    <a:pt x="27" y="54"/>
                  </a:lnTo>
                  <a:lnTo>
                    <a:pt x="30" y="57"/>
                  </a:lnTo>
                  <a:lnTo>
                    <a:pt x="34" y="59"/>
                  </a:lnTo>
                  <a:lnTo>
                    <a:pt x="34" y="60"/>
                  </a:lnTo>
                  <a:lnTo>
                    <a:pt x="30" y="62"/>
                  </a:lnTo>
                  <a:lnTo>
                    <a:pt x="34" y="63"/>
                  </a:lnTo>
                  <a:lnTo>
                    <a:pt x="37" y="63"/>
                  </a:lnTo>
                  <a:lnTo>
                    <a:pt x="40" y="62"/>
                  </a:lnTo>
                  <a:lnTo>
                    <a:pt x="45" y="63"/>
                  </a:lnTo>
                  <a:lnTo>
                    <a:pt x="49" y="63"/>
                  </a:lnTo>
                  <a:lnTo>
                    <a:pt x="53" y="63"/>
                  </a:lnTo>
                  <a:lnTo>
                    <a:pt x="57" y="63"/>
                  </a:lnTo>
                  <a:lnTo>
                    <a:pt x="62" y="65"/>
                  </a:lnTo>
                  <a:lnTo>
                    <a:pt x="64" y="65"/>
                  </a:lnTo>
                  <a:lnTo>
                    <a:pt x="65" y="63"/>
                  </a:lnTo>
                  <a:lnTo>
                    <a:pt x="68" y="60"/>
                  </a:lnTo>
                  <a:lnTo>
                    <a:pt x="75" y="59"/>
                  </a:lnTo>
                  <a:lnTo>
                    <a:pt x="78" y="59"/>
                  </a:lnTo>
                  <a:lnTo>
                    <a:pt x="80" y="57"/>
                  </a:lnTo>
                  <a:lnTo>
                    <a:pt x="83" y="59"/>
                  </a:lnTo>
                  <a:lnTo>
                    <a:pt x="86" y="60"/>
                  </a:lnTo>
                  <a:lnTo>
                    <a:pt x="89" y="60"/>
                  </a:lnTo>
                  <a:lnTo>
                    <a:pt x="94" y="63"/>
                  </a:lnTo>
                  <a:lnTo>
                    <a:pt x="97" y="63"/>
                  </a:lnTo>
                  <a:lnTo>
                    <a:pt x="99" y="63"/>
                  </a:lnTo>
                  <a:lnTo>
                    <a:pt x="99" y="60"/>
                  </a:lnTo>
                  <a:lnTo>
                    <a:pt x="99" y="60"/>
                  </a:lnTo>
                  <a:lnTo>
                    <a:pt x="99" y="55"/>
                  </a:lnTo>
                  <a:lnTo>
                    <a:pt x="100" y="54"/>
                  </a:lnTo>
                  <a:lnTo>
                    <a:pt x="100" y="51"/>
                  </a:lnTo>
                  <a:lnTo>
                    <a:pt x="100" y="54"/>
                  </a:lnTo>
                  <a:lnTo>
                    <a:pt x="100" y="51"/>
                  </a:lnTo>
                  <a:lnTo>
                    <a:pt x="100" y="47"/>
                  </a:lnTo>
                  <a:lnTo>
                    <a:pt x="100" y="47"/>
                  </a:lnTo>
                  <a:lnTo>
                    <a:pt x="100" y="44"/>
                  </a:lnTo>
                  <a:lnTo>
                    <a:pt x="100" y="47"/>
                  </a:lnTo>
                  <a:lnTo>
                    <a:pt x="100" y="51"/>
                  </a:lnTo>
                  <a:lnTo>
                    <a:pt x="103" y="51"/>
                  </a:lnTo>
                  <a:lnTo>
                    <a:pt x="107" y="47"/>
                  </a:lnTo>
                  <a:lnTo>
                    <a:pt x="110" y="44"/>
                  </a:lnTo>
                  <a:lnTo>
                    <a:pt x="110" y="43"/>
                  </a:lnTo>
                  <a:lnTo>
                    <a:pt x="107" y="41"/>
                  </a:lnTo>
                  <a:lnTo>
                    <a:pt x="107" y="40"/>
                  </a:lnTo>
                  <a:lnTo>
                    <a:pt x="107" y="40"/>
                  </a:lnTo>
                  <a:lnTo>
                    <a:pt x="107" y="40"/>
                  </a:lnTo>
                  <a:lnTo>
                    <a:pt x="107" y="40"/>
                  </a:lnTo>
                  <a:lnTo>
                    <a:pt x="107" y="40"/>
                  </a:lnTo>
                  <a:lnTo>
                    <a:pt x="107" y="40"/>
                  </a:lnTo>
                  <a:lnTo>
                    <a:pt x="107" y="40"/>
                  </a:lnTo>
                  <a:lnTo>
                    <a:pt x="107" y="40"/>
                  </a:lnTo>
                  <a:lnTo>
                    <a:pt x="107" y="4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4" name="Freeform 88">
              <a:extLst>
                <a:ext uri="{FF2B5EF4-FFF2-40B4-BE49-F238E27FC236}">
                  <a16:creationId xmlns:a16="http://schemas.microsoft.com/office/drawing/2014/main" id="{77196A28-046F-5166-FF50-F1E1FD9051C4}"/>
                </a:ext>
              </a:extLst>
            </p:cNvPr>
            <p:cNvSpPr>
              <a:spLocks/>
            </p:cNvSpPr>
            <p:nvPr/>
          </p:nvSpPr>
          <p:spPr bwMode="auto">
            <a:xfrm>
              <a:off x="6475740" y="2470661"/>
              <a:ext cx="87480" cy="94209"/>
            </a:xfrm>
            <a:custGeom>
              <a:avLst/>
              <a:gdLst>
                <a:gd name="T0" fmla="*/ 3 w 39"/>
                <a:gd name="T1" fmla="*/ 5 h 42"/>
                <a:gd name="T2" fmla="*/ 6 w 39"/>
                <a:gd name="T3" fmla="*/ 10 h 42"/>
                <a:gd name="T4" fmla="*/ 9 w 39"/>
                <a:gd name="T5" fmla="*/ 15 h 42"/>
                <a:gd name="T6" fmla="*/ 14 w 39"/>
                <a:gd name="T7" fmla="*/ 18 h 42"/>
                <a:gd name="T8" fmla="*/ 16 w 39"/>
                <a:gd name="T9" fmla="*/ 21 h 42"/>
                <a:gd name="T10" fmla="*/ 19 w 39"/>
                <a:gd name="T11" fmla="*/ 26 h 42"/>
                <a:gd name="T12" fmla="*/ 17 w 39"/>
                <a:gd name="T13" fmla="*/ 30 h 42"/>
                <a:gd name="T14" fmla="*/ 17 w 39"/>
                <a:gd name="T15" fmla="*/ 34 h 42"/>
                <a:gd name="T16" fmla="*/ 19 w 39"/>
                <a:gd name="T17" fmla="*/ 38 h 42"/>
                <a:gd name="T18" fmla="*/ 19 w 39"/>
                <a:gd name="T19" fmla="*/ 40 h 42"/>
                <a:gd name="T20" fmla="*/ 19 w 39"/>
                <a:gd name="T21" fmla="*/ 40 h 42"/>
                <a:gd name="T22" fmla="*/ 20 w 39"/>
                <a:gd name="T23" fmla="*/ 42 h 42"/>
                <a:gd name="T24" fmla="*/ 22 w 39"/>
                <a:gd name="T25" fmla="*/ 42 h 42"/>
                <a:gd name="T26" fmla="*/ 23 w 39"/>
                <a:gd name="T27" fmla="*/ 40 h 42"/>
                <a:gd name="T28" fmla="*/ 25 w 39"/>
                <a:gd name="T29" fmla="*/ 37 h 42"/>
                <a:gd name="T30" fmla="*/ 27 w 39"/>
                <a:gd name="T31" fmla="*/ 34 h 42"/>
                <a:gd name="T32" fmla="*/ 28 w 39"/>
                <a:gd name="T33" fmla="*/ 32 h 42"/>
                <a:gd name="T34" fmla="*/ 28 w 39"/>
                <a:gd name="T35" fmla="*/ 29 h 42"/>
                <a:gd name="T36" fmla="*/ 28 w 39"/>
                <a:gd name="T37" fmla="*/ 27 h 42"/>
                <a:gd name="T38" fmla="*/ 28 w 39"/>
                <a:gd name="T39" fmla="*/ 26 h 42"/>
                <a:gd name="T40" fmla="*/ 31 w 39"/>
                <a:gd name="T41" fmla="*/ 27 h 42"/>
                <a:gd name="T42" fmla="*/ 31 w 39"/>
                <a:gd name="T43" fmla="*/ 27 h 42"/>
                <a:gd name="T44" fmla="*/ 35 w 39"/>
                <a:gd name="T45" fmla="*/ 27 h 42"/>
                <a:gd name="T46" fmla="*/ 38 w 39"/>
                <a:gd name="T47" fmla="*/ 29 h 42"/>
                <a:gd name="T48" fmla="*/ 39 w 39"/>
                <a:gd name="T49" fmla="*/ 27 h 42"/>
                <a:gd name="T50" fmla="*/ 38 w 39"/>
                <a:gd name="T51" fmla="*/ 26 h 42"/>
                <a:gd name="T52" fmla="*/ 38 w 39"/>
                <a:gd name="T53" fmla="*/ 24 h 42"/>
                <a:gd name="T54" fmla="*/ 35 w 39"/>
                <a:gd name="T55" fmla="*/ 21 h 42"/>
                <a:gd name="T56" fmla="*/ 35 w 39"/>
                <a:gd name="T57" fmla="*/ 18 h 42"/>
                <a:gd name="T58" fmla="*/ 31 w 39"/>
                <a:gd name="T59" fmla="*/ 18 h 42"/>
                <a:gd name="T60" fmla="*/ 31 w 39"/>
                <a:gd name="T61" fmla="*/ 18 h 42"/>
                <a:gd name="T62" fmla="*/ 31 w 39"/>
                <a:gd name="T63" fmla="*/ 16 h 42"/>
                <a:gd name="T64" fmla="*/ 31 w 39"/>
                <a:gd name="T65" fmla="*/ 16 h 42"/>
                <a:gd name="T66" fmla="*/ 28 w 39"/>
                <a:gd name="T67" fmla="*/ 13 h 42"/>
                <a:gd name="T68" fmla="*/ 27 w 39"/>
                <a:gd name="T69" fmla="*/ 8 h 42"/>
                <a:gd name="T70" fmla="*/ 27 w 39"/>
                <a:gd name="T71" fmla="*/ 7 h 42"/>
                <a:gd name="T72" fmla="*/ 25 w 39"/>
                <a:gd name="T73" fmla="*/ 7 h 42"/>
                <a:gd name="T74" fmla="*/ 23 w 39"/>
                <a:gd name="T75" fmla="*/ 7 h 42"/>
                <a:gd name="T76" fmla="*/ 23 w 39"/>
                <a:gd name="T77" fmla="*/ 5 h 42"/>
                <a:gd name="T78" fmla="*/ 20 w 39"/>
                <a:gd name="T79" fmla="*/ 3 h 42"/>
                <a:gd name="T80" fmla="*/ 19 w 39"/>
                <a:gd name="T81" fmla="*/ 5 h 42"/>
                <a:gd name="T82" fmla="*/ 19 w 39"/>
                <a:gd name="T83" fmla="*/ 3 h 42"/>
                <a:gd name="T84" fmla="*/ 17 w 39"/>
                <a:gd name="T85" fmla="*/ 3 h 42"/>
                <a:gd name="T86" fmla="*/ 14 w 39"/>
                <a:gd name="T87" fmla="*/ 3 h 42"/>
                <a:gd name="T88" fmla="*/ 12 w 39"/>
                <a:gd name="T89" fmla="*/ 0 h 42"/>
                <a:gd name="T90" fmla="*/ 9 w 39"/>
                <a:gd name="T91" fmla="*/ 0 h 42"/>
                <a:gd name="T92" fmla="*/ 8 w 39"/>
                <a:gd name="T93" fmla="*/ 0 h 42"/>
                <a:gd name="T94" fmla="*/ 4 w 39"/>
                <a:gd name="T95" fmla="*/ 0 h 42"/>
                <a:gd name="T96" fmla="*/ 3 w 39"/>
                <a:gd name="T97" fmla="*/ 0 h 42"/>
                <a:gd name="T98" fmla="*/ 0 w 39"/>
                <a:gd name="T99" fmla="*/ 0 h 42"/>
                <a:gd name="T100" fmla="*/ 0 w 39"/>
                <a:gd name="T101" fmla="*/ 2 h 42"/>
                <a:gd name="T102" fmla="*/ 0 w 39"/>
                <a:gd name="T103" fmla="*/ 3 h 42"/>
                <a:gd name="T104" fmla="*/ 3 w 39"/>
                <a:gd name="T105" fmla="*/ 5 h 42"/>
                <a:gd name="T106" fmla="*/ 3 w 39"/>
                <a:gd name="T107" fmla="*/ 5 h 42"/>
                <a:gd name="T108" fmla="*/ 3 w 39"/>
                <a:gd name="T109" fmla="*/ 5 h 42"/>
                <a:gd name="T110" fmla="*/ 3 w 39"/>
                <a:gd name="T111" fmla="*/ 5 h 42"/>
                <a:gd name="T112" fmla="*/ 3 w 39"/>
                <a:gd name="T113" fmla="*/ 5 h 42"/>
                <a:gd name="T114" fmla="*/ 3 w 39"/>
                <a:gd name="T115" fmla="*/ 5 h 42"/>
                <a:gd name="T116" fmla="*/ 3 w 39"/>
                <a:gd name="T117" fmla="*/ 5 h 42"/>
                <a:gd name="T118" fmla="*/ 3 w 39"/>
                <a:gd name="T119" fmla="*/ 5 h 42"/>
                <a:gd name="T120" fmla="*/ 3 w 39"/>
                <a:gd name="T121"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 h="42">
                  <a:moveTo>
                    <a:pt x="3" y="5"/>
                  </a:moveTo>
                  <a:lnTo>
                    <a:pt x="6" y="10"/>
                  </a:lnTo>
                  <a:lnTo>
                    <a:pt x="9" y="15"/>
                  </a:lnTo>
                  <a:lnTo>
                    <a:pt x="14" y="18"/>
                  </a:lnTo>
                  <a:lnTo>
                    <a:pt x="16" y="21"/>
                  </a:lnTo>
                  <a:lnTo>
                    <a:pt x="19" y="26"/>
                  </a:lnTo>
                  <a:lnTo>
                    <a:pt x="17" y="30"/>
                  </a:lnTo>
                  <a:lnTo>
                    <a:pt x="17" y="34"/>
                  </a:lnTo>
                  <a:lnTo>
                    <a:pt x="19" y="38"/>
                  </a:lnTo>
                  <a:lnTo>
                    <a:pt x="19" y="40"/>
                  </a:lnTo>
                  <a:lnTo>
                    <a:pt x="19" y="40"/>
                  </a:lnTo>
                  <a:lnTo>
                    <a:pt x="20" y="42"/>
                  </a:lnTo>
                  <a:lnTo>
                    <a:pt x="22" y="42"/>
                  </a:lnTo>
                  <a:lnTo>
                    <a:pt x="23" y="40"/>
                  </a:lnTo>
                  <a:lnTo>
                    <a:pt x="25" y="37"/>
                  </a:lnTo>
                  <a:lnTo>
                    <a:pt x="27" y="34"/>
                  </a:lnTo>
                  <a:lnTo>
                    <a:pt x="28" y="32"/>
                  </a:lnTo>
                  <a:lnTo>
                    <a:pt x="28" y="29"/>
                  </a:lnTo>
                  <a:lnTo>
                    <a:pt x="28" y="27"/>
                  </a:lnTo>
                  <a:lnTo>
                    <a:pt x="28" y="26"/>
                  </a:lnTo>
                  <a:lnTo>
                    <a:pt x="31" y="27"/>
                  </a:lnTo>
                  <a:lnTo>
                    <a:pt x="31" y="27"/>
                  </a:lnTo>
                  <a:lnTo>
                    <a:pt x="35" y="27"/>
                  </a:lnTo>
                  <a:lnTo>
                    <a:pt x="38" y="29"/>
                  </a:lnTo>
                  <a:lnTo>
                    <a:pt x="39" y="27"/>
                  </a:lnTo>
                  <a:lnTo>
                    <a:pt x="38" y="26"/>
                  </a:lnTo>
                  <a:lnTo>
                    <a:pt x="38" y="24"/>
                  </a:lnTo>
                  <a:lnTo>
                    <a:pt x="35" y="21"/>
                  </a:lnTo>
                  <a:lnTo>
                    <a:pt x="35" y="18"/>
                  </a:lnTo>
                  <a:lnTo>
                    <a:pt x="31" y="18"/>
                  </a:lnTo>
                  <a:lnTo>
                    <a:pt x="31" y="18"/>
                  </a:lnTo>
                  <a:lnTo>
                    <a:pt x="31" y="16"/>
                  </a:lnTo>
                  <a:lnTo>
                    <a:pt x="31" y="16"/>
                  </a:lnTo>
                  <a:lnTo>
                    <a:pt x="28" y="13"/>
                  </a:lnTo>
                  <a:lnTo>
                    <a:pt x="27" y="8"/>
                  </a:lnTo>
                  <a:lnTo>
                    <a:pt x="27" y="7"/>
                  </a:lnTo>
                  <a:lnTo>
                    <a:pt x="25" y="7"/>
                  </a:lnTo>
                  <a:lnTo>
                    <a:pt x="23" y="7"/>
                  </a:lnTo>
                  <a:lnTo>
                    <a:pt x="23" y="5"/>
                  </a:lnTo>
                  <a:lnTo>
                    <a:pt x="20" y="3"/>
                  </a:lnTo>
                  <a:lnTo>
                    <a:pt x="19" y="5"/>
                  </a:lnTo>
                  <a:lnTo>
                    <a:pt x="19" y="3"/>
                  </a:lnTo>
                  <a:lnTo>
                    <a:pt x="17" y="3"/>
                  </a:lnTo>
                  <a:lnTo>
                    <a:pt x="14" y="3"/>
                  </a:lnTo>
                  <a:lnTo>
                    <a:pt x="12" y="0"/>
                  </a:lnTo>
                  <a:lnTo>
                    <a:pt x="9" y="0"/>
                  </a:lnTo>
                  <a:lnTo>
                    <a:pt x="8" y="0"/>
                  </a:lnTo>
                  <a:lnTo>
                    <a:pt x="4" y="0"/>
                  </a:lnTo>
                  <a:lnTo>
                    <a:pt x="3" y="0"/>
                  </a:lnTo>
                  <a:lnTo>
                    <a:pt x="0" y="0"/>
                  </a:lnTo>
                  <a:lnTo>
                    <a:pt x="0" y="2"/>
                  </a:lnTo>
                  <a:lnTo>
                    <a:pt x="0" y="3"/>
                  </a:lnTo>
                  <a:lnTo>
                    <a:pt x="3" y="5"/>
                  </a:lnTo>
                  <a:lnTo>
                    <a:pt x="3" y="5"/>
                  </a:lnTo>
                  <a:lnTo>
                    <a:pt x="3" y="5"/>
                  </a:lnTo>
                  <a:lnTo>
                    <a:pt x="3" y="5"/>
                  </a:lnTo>
                  <a:lnTo>
                    <a:pt x="3" y="5"/>
                  </a:lnTo>
                  <a:lnTo>
                    <a:pt x="3" y="5"/>
                  </a:lnTo>
                  <a:lnTo>
                    <a:pt x="3" y="5"/>
                  </a:lnTo>
                  <a:lnTo>
                    <a:pt x="3" y="5"/>
                  </a:lnTo>
                  <a:lnTo>
                    <a:pt x="3" y="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5" name="Freeform 188">
              <a:extLst>
                <a:ext uri="{FF2B5EF4-FFF2-40B4-BE49-F238E27FC236}">
                  <a16:creationId xmlns:a16="http://schemas.microsoft.com/office/drawing/2014/main" id="{6788AC61-123E-509D-9286-830739C765C4}"/>
                </a:ext>
              </a:extLst>
            </p:cNvPr>
            <p:cNvSpPr>
              <a:spLocks/>
            </p:cNvSpPr>
            <p:nvPr/>
          </p:nvSpPr>
          <p:spPr bwMode="auto">
            <a:xfrm>
              <a:off x="6139279" y="2517765"/>
              <a:ext cx="82994" cy="47105"/>
            </a:xfrm>
            <a:custGeom>
              <a:avLst/>
              <a:gdLst>
                <a:gd name="T0" fmla="*/ 7 w 37"/>
                <a:gd name="T1" fmla="*/ 21 h 21"/>
                <a:gd name="T2" fmla="*/ 7 w 37"/>
                <a:gd name="T3" fmla="*/ 21 h 21"/>
                <a:gd name="T4" fmla="*/ 8 w 37"/>
                <a:gd name="T5" fmla="*/ 21 h 21"/>
                <a:gd name="T6" fmla="*/ 10 w 37"/>
                <a:gd name="T7" fmla="*/ 21 h 21"/>
                <a:gd name="T8" fmla="*/ 12 w 37"/>
                <a:gd name="T9" fmla="*/ 21 h 21"/>
                <a:gd name="T10" fmla="*/ 15 w 37"/>
                <a:gd name="T11" fmla="*/ 17 h 21"/>
                <a:gd name="T12" fmla="*/ 18 w 37"/>
                <a:gd name="T13" fmla="*/ 19 h 21"/>
                <a:gd name="T14" fmla="*/ 18 w 37"/>
                <a:gd name="T15" fmla="*/ 19 h 21"/>
                <a:gd name="T16" fmla="*/ 21 w 37"/>
                <a:gd name="T17" fmla="*/ 21 h 21"/>
                <a:gd name="T18" fmla="*/ 21 w 37"/>
                <a:gd name="T19" fmla="*/ 21 h 21"/>
                <a:gd name="T20" fmla="*/ 21 w 37"/>
                <a:gd name="T21" fmla="*/ 21 h 21"/>
                <a:gd name="T22" fmla="*/ 24 w 37"/>
                <a:gd name="T23" fmla="*/ 21 h 21"/>
                <a:gd name="T24" fmla="*/ 24 w 37"/>
                <a:gd name="T25" fmla="*/ 19 h 21"/>
                <a:gd name="T26" fmla="*/ 24 w 37"/>
                <a:gd name="T27" fmla="*/ 17 h 21"/>
                <a:gd name="T28" fmla="*/ 21 w 37"/>
                <a:gd name="T29" fmla="*/ 17 h 21"/>
                <a:gd name="T30" fmla="*/ 24 w 37"/>
                <a:gd name="T31" fmla="*/ 16 h 21"/>
                <a:gd name="T32" fmla="*/ 24 w 37"/>
                <a:gd name="T33" fmla="*/ 16 h 21"/>
                <a:gd name="T34" fmla="*/ 27 w 37"/>
                <a:gd name="T35" fmla="*/ 14 h 21"/>
                <a:gd name="T36" fmla="*/ 27 w 37"/>
                <a:gd name="T37" fmla="*/ 11 h 21"/>
                <a:gd name="T38" fmla="*/ 27 w 37"/>
                <a:gd name="T39" fmla="*/ 9 h 21"/>
                <a:gd name="T40" fmla="*/ 29 w 37"/>
                <a:gd name="T41" fmla="*/ 9 h 21"/>
                <a:gd name="T42" fmla="*/ 31 w 37"/>
                <a:gd name="T43" fmla="*/ 8 h 21"/>
                <a:gd name="T44" fmla="*/ 32 w 37"/>
                <a:gd name="T45" fmla="*/ 6 h 21"/>
                <a:gd name="T46" fmla="*/ 34 w 37"/>
                <a:gd name="T47" fmla="*/ 6 h 21"/>
                <a:gd name="T48" fmla="*/ 34 w 37"/>
                <a:gd name="T49" fmla="*/ 5 h 21"/>
                <a:gd name="T50" fmla="*/ 34 w 37"/>
                <a:gd name="T51" fmla="*/ 5 h 21"/>
                <a:gd name="T52" fmla="*/ 37 w 37"/>
                <a:gd name="T53" fmla="*/ 6 h 21"/>
                <a:gd name="T54" fmla="*/ 32 w 37"/>
                <a:gd name="T55" fmla="*/ 0 h 21"/>
                <a:gd name="T56" fmla="*/ 31 w 37"/>
                <a:gd name="T57" fmla="*/ 0 h 21"/>
                <a:gd name="T58" fmla="*/ 29 w 37"/>
                <a:gd name="T59" fmla="*/ 1 h 21"/>
                <a:gd name="T60" fmla="*/ 29 w 37"/>
                <a:gd name="T61" fmla="*/ 1 h 21"/>
                <a:gd name="T62" fmla="*/ 27 w 37"/>
                <a:gd name="T63" fmla="*/ 1 h 21"/>
                <a:gd name="T64" fmla="*/ 27 w 37"/>
                <a:gd name="T65" fmla="*/ 3 h 21"/>
                <a:gd name="T66" fmla="*/ 24 w 37"/>
                <a:gd name="T67" fmla="*/ 3 h 21"/>
                <a:gd name="T68" fmla="*/ 24 w 37"/>
                <a:gd name="T69" fmla="*/ 3 h 21"/>
                <a:gd name="T70" fmla="*/ 21 w 37"/>
                <a:gd name="T71" fmla="*/ 3 h 21"/>
                <a:gd name="T72" fmla="*/ 18 w 37"/>
                <a:gd name="T73" fmla="*/ 3 h 21"/>
                <a:gd name="T74" fmla="*/ 15 w 37"/>
                <a:gd name="T75" fmla="*/ 6 h 21"/>
                <a:gd name="T76" fmla="*/ 10 w 37"/>
                <a:gd name="T77" fmla="*/ 6 h 21"/>
                <a:gd name="T78" fmla="*/ 7 w 37"/>
                <a:gd name="T79" fmla="*/ 5 h 21"/>
                <a:gd name="T80" fmla="*/ 4 w 37"/>
                <a:gd name="T81" fmla="*/ 5 h 21"/>
                <a:gd name="T82" fmla="*/ 4 w 37"/>
                <a:gd name="T83" fmla="*/ 6 h 21"/>
                <a:gd name="T84" fmla="*/ 0 w 37"/>
                <a:gd name="T85" fmla="*/ 8 h 21"/>
                <a:gd name="T86" fmla="*/ 4 w 37"/>
                <a:gd name="T87" fmla="*/ 9 h 21"/>
                <a:gd name="T88" fmla="*/ 4 w 37"/>
                <a:gd name="T89" fmla="*/ 13 h 21"/>
                <a:gd name="T90" fmla="*/ 4 w 37"/>
                <a:gd name="T91" fmla="*/ 14 h 21"/>
                <a:gd name="T92" fmla="*/ 4 w 37"/>
                <a:gd name="T93" fmla="*/ 16 h 21"/>
                <a:gd name="T94" fmla="*/ 2 w 37"/>
                <a:gd name="T95" fmla="*/ 16 h 21"/>
                <a:gd name="T96" fmla="*/ 5 w 37"/>
                <a:gd name="T97" fmla="*/ 19 h 21"/>
                <a:gd name="T98" fmla="*/ 4 w 37"/>
                <a:gd name="T99" fmla="*/ 21 h 21"/>
                <a:gd name="T100" fmla="*/ 7 w 37"/>
                <a:gd name="T10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21">
                  <a:moveTo>
                    <a:pt x="7" y="21"/>
                  </a:moveTo>
                  <a:lnTo>
                    <a:pt x="7" y="21"/>
                  </a:lnTo>
                  <a:lnTo>
                    <a:pt x="7" y="21"/>
                  </a:lnTo>
                  <a:lnTo>
                    <a:pt x="7" y="21"/>
                  </a:lnTo>
                  <a:lnTo>
                    <a:pt x="8" y="21"/>
                  </a:lnTo>
                  <a:lnTo>
                    <a:pt x="8" y="21"/>
                  </a:lnTo>
                  <a:lnTo>
                    <a:pt x="10" y="21"/>
                  </a:lnTo>
                  <a:lnTo>
                    <a:pt x="10" y="21"/>
                  </a:lnTo>
                  <a:lnTo>
                    <a:pt x="12" y="21"/>
                  </a:lnTo>
                  <a:lnTo>
                    <a:pt x="12" y="21"/>
                  </a:lnTo>
                  <a:lnTo>
                    <a:pt x="15" y="17"/>
                  </a:lnTo>
                  <a:lnTo>
                    <a:pt x="15" y="17"/>
                  </a:lnTo>
                  <a:lnTo>
                    <a:pt x="18" y="19"/>
                  </a:lnTo>
                  <a:lnTo>
                    <a:pt x="18" y="19"/>
                  </a:lnTo>
                  <a:lnTo>
                    <a:pt x="18" y="19"/>
                  </a:lnTo>
                  <a:lnTo>
                    <a:pt x="18" y="19"/>
                  </a:lnTo>
                  <a:lnTo>
                    <a:pt x="21" y="21"/>
                  </a:lnTo>
                  <a:lnTo>
                    <a:pt x="21" y="21"/>
                  </a:lnTo>
                  <a:lnTo>
                    <a:pt x="21" y="21"/>
                  </a:lnTo>
                  <a:lnTo>
                    <a:pt x="21" y="21"/>
                  </a:lnTo>
                  <a:lnTo>
                    <a:pt x="21" y="21"/>
                  </a:lnTo>
                  <a:lnTo>
                    <a:pt x="21" y="21"/>
                  </a:lnTo>
                  <a:lnTo>
                    <a:pt x="24" y="21"/>
                  </a:lnTo>
                  <a:lnTo>
                    <a:pt x="24" y="21"/>
                  </a:lnTo>
                  <a:lnTo>
                    <a:pt x="24" y="19"/>
                  </a:lnTo>
                  <a:lnTo>
                    <a:pt x="24" y="19"/>
                  </a:lnTo>
                  <a:lnTo>
                    <a:pt x="24" y="17"/>
                  </a:lnTo>
                  <a:lnTo>
                    <a:pt x="24" y="17"/>
                  </a:lnTo>
                  <a:lnTo>
                    <a:pt x="21" y="17"/>
                  </a:lnTo>
                  <a:lnTo>
                    <a:pt x="21" y="17"/>
                  </a:lnTo>
                  <a:lnTo>
                    <a:pt x="24" y="16"/>
                  </a:lnTo>
                  <a:lnTo>
                    <a:pt x="24" y="16"/>
                  </a:lnTo>
                  <a:lnTo>
                    <a:pt x="24" y="16"/>
                  </a:lnTo>
                  <a:lnTo>
                    <a:pt x="24" y="16"/>
                  </a:lnTo>
                  <a:lnTo>
                    <a:pt x="27" y="14"/>
                  </a:lnTo>
                  <a:lnTo>
                    <a:pt x="27" y="14"/>
                  </a:lnTo>
                  <a:lnTo>
                    <a:pt x="27" y="11"/>
                  </a:lnTo>
                  <a:lnTo>
                    <a:pt x="27" y="11"/>
                  </a:lnTo>
                  <a:lnTo>
                    <a:pt x="27" y="9"/>
                  </a:lnTo>
                  <a:lnTo>
                    <a:pt x="27" y="9"/>
                  </a:lnTo>
                  <a:lnTo>
                    <a:pt x="29" y="9"/>
                  </a:lnTo>
                  <a:lnTo>
                    <a:pt x="29" y="9"/>
                  </a:lnTo>
                  <a:lnTo>
                    <a:pt x="31" y="8"/>
                  </a:lnTo>
                  <a:lnTo>
                    <a:pt x="31" y="8"/>
                  </a:lnTo>
                  <a:lnTo>
                    <a:pt x="32" y="6"/>
                  </a:lnTo>
                  <a:lnTo>
                    <a:pt x="32" y="6"/>
                  </a:lnTo>
                  <a:lnTo>
                    <a:pt x="34" y="6"/>
                  </a:lnTo>
                  <a:lnTo>
                    <a:pt x="34" y="6"/>
                  </a:lnTo>
                  <a:lnTo>
                    <a:pt x="34" y="5"/>
                  </a:lnTo>
                  <a:lnTo>
                    <a:pt x="34" y="5"/>
                  </a:lnTo>
                  <a:lnTo>
                    <a:pt x="34" y="5"/>
                  </a:lnTo>
                  <a:lnTo>
                    <a:pt x="34" y="5"/>
                  </a:lnTo>
                  <a:lnTo>
                    <a:pt x="37" y="6"/>
                  </a:lnTo>
                  <a:lnTo>
                    <a:pt x="37" y="6"/>
                  </a:lnTo>
                  <a:lnTo>
                    <a:pt x="32" y="0"/>
                  </a:lnTo>
                  <a:lnTo>
                    <a:pt x="32" y="0"/>
                  </a:lnTo>
                  <a:lnTo>
                    <a:pt x="31" y="0"/>
                  </a:lnTo>
                  <a:lnTo>
                    <a:pt x="31" y="0"/>
                  </a:lnTo>
                  <a:lnTo>
                    <a:pt x="29" y="1"/>
                  </a:lnTo>
                  <a:lnTo>
                    <a:pt x="29" y="1"/>
                  </a:lnTo>
                  <a:lnTo>
                    <a:pt x="29" y="1"/>
                  </a:lnTo>
                  <a:lnTo>
                    <a:pt x="29" y="1"/>
                  </a:lnTo>
                  <a:lnTo>
                    <a:pt x="27" y="1"/>
                  </a:lnTo>
                  <a:lnTo>
                    <a:pt x="27" y="1"/>
                  </a:lnTo>
                  <a:lnTo>
                    <a:pt x="27" y="3"/>
                  </a:lnTo>
                  <a:lnTo>
                    <a:pt x="27" y="3"/>
                  </a:lnTo>
                  <a:lnTo>
                    <a:pt x="24" y="3"/>
                  </a:lnTo>
                  <a:lnTo>
                    <a:pt x="24" y="3"/>
                  </a:lnTo>
                  <a:lnTo>
                    <a:pt x="24" y="3"/>
                  </a:lnTo>
                  <a:lnTo>
                    <a:pt x="24" y="3"/>
                  </a:lnTo>
                  <a:lnTo>
                    <a:pt x="21" y="3"/>
                  </a:lnTo>
                  <a:lnTo>
                    <a:pt x="21" y="3"/>
                  </a:lnTo>
                  <a:lnTo>
                    <a:pt x="18" y="3"/>
                  </a:lnTo>
                  <a:lnTo>
                    <a:pt x="18" y="3"/>
                  </a:lnTo>
                  <a:lnTo>
                    <a:pt x="15" y="6"/>
                  </a:lnTo>
                  <a:lnTo>
                    <a:pt x="15" y="6"/>
                  </a:lnTo>
                  <a:lnTo>
                    <a:pt x="10" y="6"/>
                  </a:lnTo>
                  <a:lnTo>
                    <a:pt x="10" y="6"/>
                  </a:lnTo>
                  <a:lnTo>
                    <a:pt x="7" y="5"/>
                  </a:lnTo>
                  <a:lnTo>
                    <a:pt x="7" y="5"/>
                  </a:lnTo>
                  <a:lnTo>
                    <a:pt x="4" y="5"/>
                  </a:lnTo>
                  <a:lnTo>
                    <a:pt x="4" y="5"/>
                  </a:lnTo>
                  <a:lnTo>
                    <a:pt x="4" y="6"/>
                  </a:lnTo>
                  <a:lnTo>
                    <a:pt x="4" y="6"/>
                  </a:lnTo>
                  <a:lnTo>
                    <a:pt x="0" y="8"/>
                  </a:lnTo>
                  <a:lnTo>
                    <a:pt x="0" y="8"/>
                  </a:lnTo>
                  <a:lnTo>
                    <a:pt x="4" y="9"/>
                  </a:lnTo>
                  <a:lnTo>
                    <a:pt x="4" y="9"/>
                  </a:lnTo>
                  <a:lnTo>
                    <a:pt x="4" y="13"/>
                  </a:lnTo>
                  <a:lnTo>
                    <a:pt x="4" y="13"/>
                  </a:lnTo>
                  <a:lnTo>
                    <a:pt x="4" y="14"/>
                  </a:lnTo>
                  <a:lnTo>
                    <a:pt x="4" y="14"/>
                  </a:lnTo>
                  <a:lnTo>
                    <a:pt x="4" y="16"/>
                  </a:lnTo>
                  <a:lnTo>
                    <a:pt x="4" y="16"/>
                  </a:lnTo>
                  <a:lnTo>
                    <a:pt x="2" y="16"/>
                  </a:lnTo>
                  <a:lnTo>
                    <a:pt x="2" y="16"/>
                  </a:lnTo>
                  <a:lnTo>
                    <a:pt x="5" y="19"/>
                  </a:lnTo>
                  <a:lnTo>
                    <a:pt x="5" y="19"/>
                  </a:lnTo>
                  <a:lnTo>
                    <a:pt x="4" y="21"/>
                  </a:lnTo>
                  <a:lnTo>
                    <a:pt x="4" y="21"/>
                  </a:lnTo>
                  <a:lnTo>
                    <a:pt x="7" y="21"/>
                  </a:lnTo>
                  <a:lnTo>
                    <a:pt x="7" y="2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6" name="Freeform 190">
              <a:extLst>
                <a:ext uri="{FF2B5EF4-FFF2-40B4-BE49-F238E27FC236}">
                  <a16:creationId xmlns:a16="http://schemas.microsoft.com/office/drawing/2014/main" id="{C835444C-63E6-FE0B-ADFA-9A3520710638}"/>
                </a:ext>
              </a:extLst>
            </p:cNvPr>
            <p:cNvSpPr>
              <a:spLocks/>
            </p:cNvSpPr>
            <p:nvPr/>
          </p:nvSpPr>
          <p:spPr bwMode="auto">
            <a:xfrm>
              <a:off x="6045071" y="2450473"/>
              <a:ext cx="190661" cy="80750"/>
            </a:xfrm>
            <a:custGeom>
              <a:avLst/>
              <a:gdLst>
                <a:gd name="T0" fmla="*/ 20 w 85"/>
                <a:gd name="T1" fmla="*/ 30 h 36"/>
                <a:gd name="T2" fmla="*/ 25 w 85"/>
                <a:gd name="T3" fmla="*/ 30 h 36"/>
                <a:gd name="T4" fmla="*/ 30 w 85"/>
                <a:gd name="T5" fmla="*/ 27 h 36"/>
                <a:gd name="T6" fmla="*/ 31 w 85"/>
                <a:gd name="T7" fmla="*/ 30 h 36"/>
                <a:gd name="T8" fmla="*/ 42 w 85"/>
                <a:gd name="T9" fmla="*/ 35 h 36"/>
                <a:gd name="T10" fmla="*/ 47 w 85"/>
                <a:gd name="T11" fmla="*/ 35 h 36"/>
                <a:gd name="T12" fmla="*/ 54 w 85"/>
                <a:gd name="T13" fmla="*/ 36 h 36"/>
                <a:gd name="T14" fmla="*/ 61 w 85"/>
                <a:gd name="T15" fmla="*/ 33 h 36"/>
                <a:gd name="T16" fmla="*/ 66 w 85"/>
                <a:gd name="T17" fmla="*/ 33 h 36"/>
                <a:gd name="T18" fmla="*/ 69 w 85"/>
                <a:gd name="T19" fmla="*/ 33 h 36"/>
                <a:gd name="T20" fmla="*/ 71 w 85"/>
                <a:gd name="T21" fmla="*/ 33 h 36"/>
                <a:gd name="T22" fmla="*/ 74 w 85"/>
                <a:gd name="T23" fmla="*/ 30 h 36"/>
                <a:gd name="T24" fmla="*/ 77 w 85"/>
                <a:gd name="T25" fmla="*/ 30 h 36"/>
                <a:gd name="T26" fmla="*/ 77 w 85"/>
                <a:gd name="T27" fmla="*/ 24 h 36"/>
                <a:gd name="T28" fmla="*/ 81 w 85"/>
                <a:gd name="T29" fmla="*/ 20 h 36"/>
                <a:gd name="T30" fmla="*/ 81 w 85"/>
                <a:gd name="T31" fmla="*/ 19 h 36"/>
                <a:gd name="T32" fmla="*/ 84 w 85"/>
                <a:gd name="T33" fmla="*/ 20 h 36"/>
                <a:gd name="T34" fmla="*/ 84 w 85"/>
                <a:gd name="T35" fmla="*/ 16 h 36"/>
                <a:gd name="T36" fmla="*/ 84 w 85"/>
                <a:gd name="T37" fmla="*/ 12 h 36"/>
                <a:gd name="T38" fmla="*/ 84 w 85"/>
                <a:gd name="T39" fmla="*/ 9 h 36"/>
                <a:gd name="T40" fmla="*/ 81 w 85"/>
                <a:gd name="T41" fmla="*/ 6 h 36"/>
                <a:gd name="T42" fmla="*/ 81 w 85"/>
                <a:gd name="T43" fmla="*/ 3 h 36"/>
                <a:gd name="T44" fmla="*/ 74 w 85"/>
                <a:gd name="T45" fmla="*/ 3 h 36"/>
                <a:gd name="T46" fmla="*/ 71 w 85"/>
                <a:gd name="T47" fmla="*/ 3 h 36"/>
                <a:gd name="T48" fmla="*/ 65 w 85"/>
                <a:gd name="T49" fmla="*/ 0 h 36"/>
                <a:gd name="T50" fmla="*/ 60 w 85"/>
                <a:gd name="T51" fmla="*/ 3 h 36"/>
                <a:gd name="T52" fmla="*/ 58 w 85"/>
                <a:gd name="T53" fmla="*/ 6 h 36"/>
                <a:gd name="T54" fmla="*/ 57 w 85"/>
                <a:gd name="T55" fmla="*/ 6 h 36"/>
                <a:gd name="T56" fmla="*/ 50 w 85"/>
                <a:gd name="T57" fmla="*/ 6 h 36"/>
                <a:gd name="T58" fmla="*/ 47 w 85"/>
                <a:gd name="T59" fmla="*/ 3 h 36"/>
                <a:gd name="T60" fmla="*/ 47 w 85"/>
                <a:gd name="T61" fmla="*/ 3 h 36"/>
                <a:gd name="T62" fmla="*/ 47 w 85"/>
                <a:gd name="T63" fmla="*/ 6 h 36"/>
                <a:gd name="T64" fmla="*/ 46 w 85"/>
                <a:gd name="T65" fmla="*/ 6 h 36"/>
                <a:gd name="T66" fmla="*/ 44 w 85"/>
                <a:gd name="T67" fmla="*/ 9 h 36"/>
                <a:gd name="T68" fmla="*/ 41 w 85"/>
                <a:gd name="T69" fmla="*/ 11 h 36"/>
                <a:gd name="T70" fmla="*/ 38 w 85"/>
                <a:gd name="T71" fmla="*/ 14 h 36"/>
                <a:gd name="T72" fmla="*/ 38 w 85"/>
                <a:gd name="T73" fmla="*/ 16 h 36"/>
                <a:gd name="T74" fmla="*/ 39 w 85"/>
                <a:gd name="T75" fmla="*/ 19 h 36"/>
                <a:gd name="T76" fmla="*/ 39 w 85"/>
                <a:gd name="T77" fmla="*/ 22 h 36"/>
                <a:gd name="T78" fmla="*/ 36 w 85"/>
                <a:gd name="T79" fmla="*/ 20 h 36"/>
                <a:gd name="T80" fmla="*/ 34 w 85"/>
                <a:gd name="T81" fmla="*/ 20 h 36"/>
                <a:gd name="T82" fmla="*/ 33 w 85"/>
                <a:gd name="T83" fmla="*/ 20 h 36"/>
                <a:gd name="T84" fmla="*/ 30 w 85"/>
                <a:gd name="T85" fmla="*/ 20 h 36"/>
                <a:gd name="T86" fmla="*/ 22 w 85"/>
                <a:gd name="T87" fmla="*/ 22 h 36"/>
                <a:gd name="T88" fmla="*/ 19 w 85"/>
                <a:gd name="T89" fmla="*/ 24 h 36"/>
                <a:gd name="T90" fmla="*/ 15 w 85"/>
                <a:gd name="T91" fmla="*/ 22 h 36"/>
                <a:gd name="T92" fmla="*/ 12 w 85"/>
                <a:gd name="T93" fmla="*/ 22 h 36"/>
                <a:gd name="T94" fmla="*/ 7 w 85"/>
                <a:gd name="T95" fmla="*/ 24 h 36"/>
                <a:gd name="T96" fmla="*/ 6 w 85"/>
                <a:gd name="T97" fmla="*/ 25 h 36"/>
                <a:gd name="T98" fmla="*/ 3 w 85"/>
                <a:gd name="T99" fmla="*/ 22 h 36"/>
                <a:gd name="T100" fmla="*/ 0 w 85"/>
                <a:gd name="T101" fmla="*/ 22 h 36"/>
                <a:gd name="T102" fmla="*/ 0 w 85"/>
                <a:gd name="T103" fmla="*/ 24 h 36"/>
                <a:gd name="T104" fmla="*/ 0 w 85"/>
                <a:gd name="T105" fmla="*/ 27 h 36"/>
                <a:gd name="T106" fmla="*/ 3 w 85"/>
                <a:gd name="T107" fmla="*/ 30 h 36"/>
                <a:gd name="T108" fmla="*/ 6 w 85"/>
                <a:gd name="T109" fmla="*/ 30 h 36"/>
                <a:gd name="T110" fmla="*/ 9 w 85"/>
                <a:gd name="T111" fmla="*/ 30 h 36"/>
                <a:gd name="T112" fmla="*/ 14 w 85"/>
                <a:gd name="T113" fmla="*/ 31 h 36"/>
                <a:gd name="T114" fmla="*/ 19 w 85"/>
                <a:gd name="T115" fmla="*/ 30 h 36"/>
                <a:gd name="T116" fmla="*/ 19 w 85"/>
                <a:gd name="T117" fmla="*/ 30 h 36"/>
                <a:gd name="T118" fmla="*/ 19 w 85"/>
                <a:gd name="T119" fmla="*/ 30 h 36"/>
                <a:gd name="T120" fmla="*/ 19 w 85"/>
                <a:gd name="T121" fmla="*/ 30 h 36"/>
                <a:gd name="T122" fmla="*/ 19 w 85"/>
                <a:gd name="T12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36">
                  <a:moveTo>
                    <a:pt x="19" y="30"/>
                  </a:moveTo>
                  <a:lnTo>
                    <a:pt x="20" y="30"/>
                  </a:lnTo>
                  <a:lnTo>
                    <a:pt x="22" y="30"/>
                  </a:lnTo>
                  <a:lnTo>
                    <a:pt x="25" y="30"/>
                  </a:lnTo>
                  <a:lnTo>
                    <a:pt x="28" y="27"/>
                  </a:lnTo>
                  <a:lnTo>
                    <a:pt x="30" y="27"/>
                  </a:lnTo>
                  <a:lnTo>
                    <a:pt x="30" y="30"/>
                  </a:lnTo>
                  <a:lnTo>
                    <a:pt x="31" y="30"/>
                  </a:lnTo>
                  <a:lnTo>
                    <a:pt x="34" y="33"/>
                  </a:lnTo>
                  <a:lnTo>
                    <a:pt x="42" y="35"/>
                  </a:lnTo>
                  <a:lnTo>
                    <a:pt x="46" y="35"/>
                  </a:lnTo>
                  <a:lnTo>
                    <a:pt x="47" y="35"/>
                  </a:lnTo>
                  <a:lnTo>
                    <a:pt x="49" y="35"/>
                  </a:lnTo>
                  <a:lnTo>
                    <a:pt x="54" y="36"/>
                  </a:lnTo>
                  <a:lnTo>
                    <a:pt x="57" y="36"/>
                  </a:lnTo>
                  <a:lnTo>
                    <a:pt x="61" y="33"/>
                  </a:lnTo>
                  <a:lnTo>
                    <a:pt x="63" y="33"/>
                  </a:lnTo>
                  <a:lnTo>
                    <a:pt x="66" y="33"/>
                  </a:lnTo>
                  <a:lnTo>
                    <a:pt x="68" y="33"/>
                  </a:lnTo>
                  <a:lnTo>
                    <a:pt x="69" y="33"/>
                  </a:lnTo>
                  <a:lnTo>
                    <a:pt x="71" y="31"/>
                  </a:lnTo>
                  <a:lnTo>
                    <a:pt x="71" y="33"/>
                  </a:lnTo>
                  <a:lnTo>
                    <a:pt x="71" y="31"/>
                  </a:lnTo>
                  <a:lnTo>
                    <a:pt x="74" y="30"/>
                  </a:lnTo>
                  <a:lnTo>
                    <a:pt x="74" y="30"/>
                  </a:lnTo>
                  <a:lnTo>
                    <a:pt x="77" y="30"/>
                  </a:lnTo>
                  <a:lnTo>
                    <a:pt x="77" y="25"/>
                  </a:lnTo>
                  <a:lnTo>
                    <a:pt x="77" y="24"/>
                  </a:lnTo>
                  <a:lnTo>
                    <a:pt x="81" y="22"/>
                  </a:lnTo>
                  <a:lnTo>
                    <a:pt x="81" y="20"/>
                  </a:lnTo>
                  <a:lnTo>
                    <a:pt x="77" y="19"/>
                  </a:lnTo>
                  <a:lnTo>
                    <a:pt x="81" y="19"/>
                  </a:lnTo>
                  <a:lnTo>
                    <a:pt x="81" y="19"/>
                  </a:lnTo>
                  <a:lnTo>
                    <a:pt x="84" y="20"/>
                  </a:lnTo>
                  <a:lnTo>
                    <a:pt x="84" y="19"/>
                  </a:lnTo>
                  <a:lnTo>
                    <a:pt x="84" y="16"/>
                  </a:lnTo>
                  <a:lnTo>
                    <a:pt x="85" y="14"/>
                  </a:lnTo>
                  <a:lnTo>
                    <a:pt x="84" y="12"/>
                  </a:lnTo>
                  <a:lnTo>
                    <a:pt x="84" y="9"/>
                  </a:lnTo>
                  <a:lnTo>
                    <a:pt x="84" y="9"/>
                  </a:lnTo>
                  <a:lnTo>
                    <a:pt x="84" y="6"/>
                  </a:lnTo>
                  <a:lnTo>
                    <a:pt x="81" y="6"/>
                  </a:lnTo>
                  <a:lnTo>
                    <a:pt x="81" y="4"/>
                  </a:lnTo>
                  <a:lnTo>
                    <a:pt x="81" y="3"/>
                  </a:lnTo>
                  <a:lnTo>
                    <a:pt x="77" y="3"/>
                  </a:lnTo>
                  <a:lnTo>
                    <a:pt x="74" y="3"/>
                  </a:lnTo>
                  <a:lnTo>
                    <a:pt x="74" y="3"/>
                  </a:lnTo>
                  <a:lnTo>
                    <a:pt x="71" y="3"/>
                  </a:lnTo>
                  <a:lnTo>
                    <a:pt x="68" y="3"/>
                  </a:lnTo>
                  <a:lnTo>
                    <a:pt x="65" y="0"/>
                  </a:lnTo>
                  <a:lnTo>
                    <a:pt x="60" y="0"/>
                  </a:lnTo>
                  <a:lnTo>
                    <a:pt x="60" y="3"/>
                  </a:lnTo>
                  <a:lnTo>
                    <a:pt x="58" y="3"/>
                  </a:lnTo>
                  <a:lnTo>
                    <a:pt x="58" y="6"/>
                  </a:lnTo>
                  <a:lnTo>
                    <a:pt x="57" y="6"/>
                  </a:lnTo>
                  <a:lnTo>
                    <a:pt x="57" y="6"/>
                  </a:lnTo>
                  <a:lnTo>
                    <a:pt x="54" y="6"/>
                  </a:lnTo>
                  <a:lnTo>
                    <a:pt x="50" y="6"/>
                  </a:lnTo>
                  <a:lnTo>
                    <a:pt x="49" y="3"/>
                  </a:lnTo>
                  <a:lnTo>
                    <a:pt x="47" y="3"/>
                  </a:lnTo>
                  <a:lnTo>
                    <a:pt x="47" y="3"/>
                  </a:lnTo>
                  <a:lnTo>
                    <a:pt x="47" y="3"/>
                  </a:lnTo>
                  <a:lnTo>
                    <a:pt x="49" y="6"/>
                  </a:lnTo>
                  <a:lnTo>
                    <a:pt x="47" y="6"/>
                  </a:lnTo>
                  <a:lnTo>
                    <a:pt x="46" y="6"/>
                  </a:lnTo>
                  <a:lnTo>
                    <a:pt x="46" y="6"/>
                  </a:lnTo>
                  <a:lnTo>
                    <a:pt x="44" y="6"/>
                  </a:lnTo>
                  <a:lnTo>
                    <a:pt x="44" y="9"/>
                  </a:lnTo>
                  <a:lnTo>
                    <a:pt x="42" y="9"/>
                  </a:lnTo>
                  <a:lnTo>
                    <a:pt x="41" y="11"/>
                  </a:lnTo>
                  <a:lnTo>
                    <a:pt x="38" y="12"/>
                  </a:lnTo>
                  <a:lnTo>
                    <a:pt x="38" y="14"/>
                  </a:lnTo>
                  <a:lnTo>
                    <a:pt x="38" y="14"/>
                  </a:lnTo>
                  <a:lnTo>
                    <a:pt x="38" y="16"/>
                  </a:lnTo>
                  <a:lnTo>
                    <a:pt x="38" y="17"/>
                  </a:lnTo>
                  <a:lnTo>
                    <a:pt x="39" y="19"/>
                  </a:lnTo>
                  <a:lnTo>
                    <a:pt x="39" y="20"/>
                  </a:lnTo>
                  <a:lnTo>
                    <a:pt x="39" y="22"/>
                  </a:lnTo>
                  <a:lnTo>
                    <a:pt x="38" y="22"/>
                  </a:lnTo>
                  <a:lnTo>
                    <a:pt x="36" y="20"/>
                  </a:lnTo>
                  <a:lnTo>
                    <a:pt x="36" y="19"/>
                  </a:lnTo>
                  <a:lnTo>
                    <a:pt x="34" y="20"/>
                  </a:lnTo>
                  <a:lnTo>
                    <a:pt x="34" y="20"/>
                  </a:lnTo>
                  <a:lnTo>
                    <a:pt x="33" y="20"/>
                  </a:lnTo>
                  <a:lnTo>
                    <a:pt x="30" y="19"/>
                  </a:lnTo>
                  <a:lnTo>
                    <a:pt x="30" y="20"/>
                  </a:lnTo>
                  <a:lnTo>
                    <a:pt x="25" y="20"/>
                  </a:lnTo>
                  <a:lnTo>
                    <a:pt x="22" y="22"/>
                  </a:lnTo>
                  <a:lnTo>
                    <a:pt x="19" y="22"/>
                  </a:lnTo>
                  <a:lnTo>
                    <a:pt x="19" y="24"/>
                  </a:lnTo>
                  <a:lnTo>
                    <a:pt x="17" y="24"/>
                  </a:lnTo>
                  <a:lnTo>
                    <a:pt x="15" y="22"/>
                  </a:lnTo>
                  <a:lnTo>
                    <a:pt x="14" y="22"/>
                  </a:lnTo>
                  <a:lnTo>
                    <a:pt x="12" y="22"/>
                  </a:lnTo>
                  <a:lnTo>
                    <a:pt x="9" y="20"/>
                  </a:lnTo>
                  <a:lnTo>
                    <a:pt x="7" y="24"/>
                  </a:lnTo>
                  <a:lnTo>
                    <a:pt x="7" y="25"/>
                  </a:lnTo>
                  <a:lnTo>
                    <a:pt x="6" y="25"/>
                  </a:lnTo>
                  <a:lnTo>
                    <a:pt x="6" y="24"/>
                  </a:lnTo>
                  <a:lnTo>
                    <a:pt x="3" y="22"/>
                  </a:lnTo>
                  <a:lnTo>
                    <a:pt x="3" y="22"/>
                  </a:lnTo>
                  <a:lnTo>
                    <a:pt x="0" y="22"/>
                  </a:lnTo>
                  <a:lnTo>
                    <a:pt x="0" y="22"/>
                  </a:lnTo>
                  <a:lnTo>
                    <a:pt x="0" y="24"/>
                  </a:lnTo>
                  <a:lnTo>
                    <a:pt x="0" y="25"/>
                  </a:lnTo>
                  <a:lnTo>
                    <a:pt x="0" y="27"/>
                  </a:lnTo>
                  <a:lnTo>
                    <a:pt x="0" y="27"/>
                  </a:lnTo>
                  <a:lnTo>
                    <a:pt x="3" y="30"/>
                  </a:lnTo>
                  <a:lnTo>
                    <a:pt x="4" y="30"/>
                  </a:lnTo>
                  <a:lnTo>
                    <a:pt x="6" y="30"/>
                  </a:lnTo>
                  <a:lnTo>
                    <a:pt x="7" y="30"/>
                  </a:lnTo>
                  <a:lnTo>
                    <a:pt x="9" y="30"/>
                  </a:lnTo>
                  <a:lnTo>
                    <a:pt x="11" y="30"/>
                  </a:lnTo>
                  <a:lnTo>
                    <a:pt x="14" y="31"/>
                  </a:lnTo>
                  <a:lnTo>
                    <a:pt x="17" y="30"/>
                  </a:lnTo>
                  <a:lnTo>
                    <a:pt x="19" y="30"/>
                  </a:lnTo>
                  <a:lnTo>
                    <a:pt x="19" y="30"/>
                  </a:lnTo>
                  <a:lnTo>
                    <a:pt x="19" y="30"/>
                  </a:lnTo>
                  <a:lnTo>
                    <a:pt x="19" y="30"/>
                  </a:lnTo>
                  <a:lnTo>
                    <a:pt x="19" y="30"/>
                  </a:lnTo>
                  <a:lnTo>
                    <a:pt x="19" y="30"/>
                  </a:lnTo>
                  <a:lnTo>
                    <a:pt x="19" y="30"/>
                  </a:lnTo>
                  <a:lnTo>
                    <a:pt x="19" y="30"/>
                  </a:lnTo>
                  <a:lnTo>
                    <a:pt x="19" y="3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7" name="Freeform 198">
              <a:extLst>
                <a:ext uri="{FF2B5EF4-FFF2-40B4-BE49-F238E27FC236}">
                  <a16:creationId xmlns:a16="http://schemas.microsoft.com/office/drawing/2014/main" id="{B2CA24E6-1712-24CD-DF51-71C056999359}"/>
                </a:ext>
              </a:extLst>
            </p:cNvPr>
            <p:cNvSpPr>
              <a:spLocks/>
            </p:cNvSpPr>
            <p:nvPr/>
          </p:nvSpPr>
          <p:spPr bwMode="auto">
            <a:xfrm>
              <a:off x="6282835" y="2537953"/>
              <a:ext cx="107667" cy="139071"/>
            </a:xfrm>
            <a:custGeom>
              <a:avLst/>
              <a:gdLst>
                <a:gd name="T0" fmla="*/ 41 w 48"/>
                <a:gd name="T1" fmla="*/ 37 h 62"/>
                <a:gd name="T2" fmla="*/ 41 w 48"/>
                <a:gd name="T3" fmla="*/ 34 h 62"/>
                <a:gd name="T4" fmla="*/ 44 w 48"/>
                <a:gd name="T5" fmla="*/ 29 h 62"/>
                <a:gd name="T6" fmla="*/ 41 w 48"/>
                <a:gd name="T7" fmla="*/ 26 h 62"/>
                <a:gd name="T8" fmla="*/ 43 w 48"/>
                <a:gd name="T9" fmla="*/ 23 h 62"/>
                <a:gd name="T10" fmla="*/ 38 w 48"/>
                <a:gd name="T11" fmla="*/ 26 h 62"/>
                <a:gd name="T12" fmla="*/ 30 w 48"/>
                <a:gd name="T13" fmla="*/ 23 h 62"/>
                <a:gd name="T14" fmla="*/ 30 w 48"/>
                <a:gd name="T15" fmla="*/ 19 h 62"/>
                <a:gd name="T16" fmla="*/ 30 w 48"/>
                <a:gd name="T17" fmla="*/ 16 h 62"/>
                <a:gd name="T18" fmla="*/ 27 w 48"/>
                <a:gd name="T19" fmla="*/ 15 h 62"/>
                <a:gd name="T20" fmla="*/ 22 w 48"/>
                <a:gd name="T21" fmla="*/ 8 h 62"/>
                <a:gd name="T22" fmla="*/ 19 w 48"/>
                <a:gd name="T23" fmla="*/ 5 h 62"/>
                <a:gd name="T24" fmla="*/ 16 w 48"/>
                <a:gd name="T25" fmla="*/ 2 h 62"/>
                <a:gd name="T26" fmla="*/ 14 w 48"/>
                <a:gd name="T27" fmla="*/ 2 h 62"/>
                <a:gd name="T28" fmla="*/ 9 w 48"/>
                <a:gd name="T29" fmla="*/ 0 h 62"/>
                <a:gd name="T30" fmla="*/ 6 w 48"/>
                <a:gd name="T31" fmla="*/ 4 h 62"/>
                <a:gd name="T32" fmla="*/ 1 w 48"/>
                <a:gd name="T33" fmla="*/ 4 h 62"/>
                <a:gd name="T34" fmla="*/ 0 w 48"/>
                <a:gd name="T35" fmla="*/ 8 h 62"/>
                <a:gd name="T36" fmla="*/ 3 w 48"/>
                <a:gd name="T37" fmla="*/ 10 h 62"/>
                <a:gd name="T38" fmla="*/ 1 w 48"/>
                <a:gd name="T39" fmla="*/ 12 h 62"/>
                <a:gd name="T40" fmla="*/ 6 w 48"/>
                <a:gd name="T41" fmla="*/ 16 h 62"/>
                <a:gd name="T42" fmla="*/ 3 w 48"/>
                <a:gd name="T43" fmla="*/ 16 h 62"/>
                <a:gd name="T44" fmla="*/ 3 w 48"/>
                <a:gd name="T45" fmla="*/ 19 h 62"/>
                <a:gd name="T46" fmla="*/ 6 w 48"/>
                <a:gd name="T47" fmla="*/ 19 h 62"/>
                <a:gd name="T48" fmla="*/ 6 w 48"/>
                <a:gd name="T49" fmla="*/ 23 h 62"/>
                <a:gd name="T50" fmla="*/ 3 w 48"/>
                <a:gd name="T51" fmla="*/ 26 h 62"/>
                <a:gd name="T52" fmla="*/ 9 w 48"/>
                <a:gd name="T53" fmla="*/ 31 h 62"/>
                <a:gd name="T54" fmla="*/ 6 w 48"/>
                <a:gd name="T55" fmla="*/ 32 h 62"/>
                <a:gd name="T56" fmla="*/ 9 w 48"/>
                <a:gd name="T57" fmla="*/ 37 h 62"/>
                <a:gd name="T58" fmla="*/ 0 w 48"/>
                <a:gd name="T59" fmla="*/ 37 h 62"/>
                <a:gd name="T60" fmla="*/ 6 w 48"/>
                <a:gd name="T61" fmla="*/ 43 h 62"/>
                <a:gd name="T62" fmla="*/ 11 w 48"/>
                <a:gd name="T63" fmla="*/ 46 h 62"/>
                <a:gd name="T64" fmla="*/ 16 w 48"/>
                <a:gd name="T65" fmla="*/ 46 h 62"/>
                <a:gd name="T66" fmla="*/ 14 w 48"/>
                <a:gd name="T67" fmla="*/ 50 h 62"/>
                <a:gd name="T68" fmla="*/ 17 w 48"/>
                <a:gd name="T69" fmla="*/ 53 h 62"/>
                <a:gd name="T70" fmla="*/ 17 w 48"/>
                <a:gd name="T71" fmla="*/ 54 h 62"/>
                <a:gd name="T72" fmla="*/ 21 w 48"/>
                <a:gd name="T73" fmla="*/ 56 h 62"/>
                <a:gd name="T74" fmla="*/ 22 w 48"/>
                <a:gd name="T75" fmla="*/ 59 h 62"/>
                <a:gd name="T76" fmla="*/ 22 w 48"/>
                <a:gd name="T77" fmla="*/ 62 h 62"/>
                <a:gd name="T78" fmla="*/ 24 w 48"/>
                <a:gd name="T79" fmla="*/ 59 h 62"/>
                <a:gd name="T80" fmla="*/ 27 w 48"/>
                <a:gd name="T81" fmla="*/ 58 h 62"/>
                <a:gd name="T82" fmla="*/ 30 w 48"/>
                <a:gd name="T83" fmla="*/ 58 h 62"/>
                <a:gd name="T84" fmla="*/ 33 w 48"/>
                <a:gd name="T85" fmla="*/ 56 h 62"/>
                <a:gd name="T86" fmla="*/ 38 w 48"/>
                <a:gd name="T87" fmla="*/ 56 h 62"/>
                <a:gd name="T88" fmla="*/ 41 w 48"/>
                <a:gd name="T89" fmla="*/ 54 h 62"/>
                <a:gd name="T90" fmla="*/ 43 w 48"/>
                <a:gd name="T91" fmla="*/ 53 h 62"/>
                <a:gd name="T92" fmla="*/ 43 w 48"/>
                <a:gd name="T93" fmla="*/ 50 h 62"/>
                <a:gd name="T94" fmla="*/ 44 w 48"/>
                <a:gd name="T95" fmla="*/ 46 h 62"/>
                <a:gd name="T96" fmla="*/ 44 w 48"/>
                <a:gd name="T97"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62">
                  <a:moveTo>
                    <a:pt x="44" y="40"/>
                  </a:moveTo>
                  <a:lnTo>
                    <a:pt x="44" y="40"/>
                  </a:lnTo>
                  <a:lnTo>
                    <a:pt x="41" y="37"/>
                  </a:lnTo>
                  <a:lnTo>
                    <a:pt x="41" y="37"/>
                  </a:lnTo>
                  <a:lnTo>
                    <a:pt x="41" y="35"/>
                  </a:lnTo>
                  <a:lnTo>
                    <a:pt x="41" y="35"/>
                  </a:lnTo>
                  <a:lnTo>
                    <a:pt x="41" y="34"/>
                  </a:lnTo>
                  <a:lnTo>
                    <a:pt x="41" y="34"/>
                  </a:lnTo>
                  <a:lnTo>
                    <a:pt x="41" y="32"/>
                  </a:lnTo>
                  <a:lnTo>
                    <a:pt x="41" y="32"/>
                  </a:lnTo>
                  <a:lnTo>
                    <a:pt x="41" y="32"/>
                  </a:lnTo>
                  <a:lnTo>
                    <a:pt x="44" y="29"/>
                  </a:lnTo>
                  <a:lnTo>
                    <a:pt x="44" y="29"/>
                  </a:lnTo>
                  <a:lnTo>
                    <a:pt x="41" y="26"/>
                  </a:lnTo>
                  <a:lnTo>
                    <a:pt x="41" y="26"/>
                  </a:lnTo>
                  <a:lnTo>
                    <a:pt x="41" y="26"/>
                  </a:lnTo>
                  <a:lnTo>
                    <a:pt x="41" y="26"/>
                  </a:lnTo>
                  <a:lnTo>
                    <a:pt x="44" y="26"/>
                  </a:lnTo>
                  <a:lnTo>
                    <a:pt x="44" y="26"/>
                  </a:lnTo>
                  <a:lnTo>
                    <a:pt x="43" y="23"/>
                  </a:lnTo>
                  <a:lnTo>
                    <a:pt x="43" y="23"/>
                  </a:lnTo>
                  <a:lnTo>
                    <a:pt x="40" y="23"/>
                  </a:lnTo>
                  <a:lnTo>
                    <a:pt x="40" y="23"/>
                  </a:lnTo>
                  <a:lnTo>
                    <a:pt x="38" y="26"/>
                  </a:lnTo>
                  <a:lnTo>
                    <a:pt x="38" y="26"/>
                  </a:lnTo>
                  <a:lnTo>
                    <a:pt x="35" y="23"/>
                  </a:lnTo>
                  <a:lnTo>
                    <a:pt x="35" y="23"/>
                  </a:lnTo>
                  <a:lnTo>
                    <a:pt x="30" y="23"/>
                  </a:lnTo>
                  <a:lnTo>
                    <a:pt x="30" y="23"/>
                  </a:lnTo>
                  <a:lnTo>
                    <a:pt x="27" y="19"/>
                  </a:lnTo>
                  <a:lnTo>
                    <a:pt x="27" y="19"/>
                  </a:lnTo>
                  <a:lnTo>
                    <a:pt x="30" y="19"/>
                  </a:lnTo>
                  <a:lnTo>
                    <a:pt x="30" y="19"/>
                  </a:lnTo>
                  <a:lnTo>
                    <a:pt x="27" y="16"/>
                  </a:lnTo>
                  <a:lnTo>
                    <a:pt x="27" y="16"/>
                  </a:lnTo>
                  <a:lnTo>
                    <a:pt x="30" y="16"/>
                  </a:lnTo>
                  <a:lnTo>
                    <a:pt x="30" y="16"/>
                  </a:lnTo>
                  <a:lnTo>
                    <a:pt x="30" y="16"/>
                  </a:lnTo>
                  <a:lnTo>
                    <a:pt x="30" y="16"/>
                  </a:lnTo>
                  <a:lnTo>
                    <a:pt x="27" y="15"/>
                  </a:lnTo>
                  <a:lnTo>
                    <a:pt x="27" y="15"/>
                  </a:lnTo>
                  <a:lnTo>
                    <a:pt x="21" y="12"/>
                  </a:lnTo>
                  <a:lnTo>
                    <a:pt x="21" y="12"/>
                  </a:lnTo>
                  <a:lnTo>
                    <a:pt x="22" y="8"/>
                  </a:lnTo>
                  <a:lnTo>
                    <a:pt x="22" y="8"/>
                  </a:lnTo>
                  <a:lnTo>
                    <a:pt x="21" y="7"/>
                  </a:lnTo>
                  <a:lnTo>
                    <a:pt x="21" y="7"/>
                  </a:lnTo>
                  <a:lnTo>
                    <a:pt x="19" y="5"/>
                  </a:lnTo>
                  <a:lnTo>
                    <a:pt x="19" y="5"/>
                  </a:lnTo>
                  <a:lnTo>
                    <a:pt x="17" y="4"/>
                  </a:lnTo>
                  <a:lnTo>
                    <a:pt x="17" y="4"/>
                  </a:lnTo>
                  <a:lnTo>
                    <a:pt x="16" y="2"/>
                  </a:lnTo>
                  <a:lnTo>
                    <a:pt x="16" y="2"/>
                  </a:lnTo>
                  <a:lnTo>
                    <a:pt x="14" y="2"/>
                  </a:lnTo>
                  <a:lnTo>
                    <a:pt x="14" y="2"/>
                  </a:lnTo>
                  <a:lnTo>
                    <a:pt x="14" y="2"/>
                  </a:lnTo>
                  <a:lnTo>
                    <a:pt x="14" y="2"/>
                  </a:lnTo>
                  <a:lnTo>
                    <a:pt x="11" y="2"/>
                  </a:lnTo>
                  <a:lnTo>
                    <a:pt x="11" y="2"/>
                  </a:lnTo>
                  <a:lnTo>
                    <a:pt x="9" y="0"/>
                  </a:lnTo>
                  <a:lnTo>
                    <a:pt x="9" y="0"/>
                  </a:lnTo>
                  <a:lnTo>
                    <a:pt x="6" y="2"/>
                  </a:lnTo>
                  <a:lnTo>
                    <a:pt x="6" y="2"/>
                  </a:lnTo>
                  <a:lnTo>
                    <a:pt x="6" y="4"/>
                  </a:lnTo>
                  <a:lnTo>
                    <a:pt x="6" y="4"/>
                  </a:lnTo>
                  <a:lnTo>
                    <a:pt x="3" y="4"/>
                  </a:lnTo>
                  <a:lnTo>
                    <a:pt x="3" y="4"/>
                  </a:lnTo>
                  <a:lnTo>
                    <a:pt x="1" y="4"/>
                  </a:lnTo>
                  <a:lnTo>
                    <a:pt x="1" y="4"/>
                  </a:lnTo>
                  <a:lnTo>
                    <a:pt x="0" y="5"/>
                  </a:lnTo>
                  <a:lnTo>
                    <a:pt x="0" y="5"/>
                  </a:lnTo>
                  <a:lnTo>
                    <a:pt x="0" y="8"/>
                  </a:lnTo>
                  <a:lnTo>
                    <a:pt x="0" y="8"/>
                  </a:lnTo>
                  <a:lnTo>
                    <a:pt x="0" y="10"/>
                  </a:lnTo>
                  <a:lnTo>
                    <a:pt x="0" y="10"/>
                  </a:lnTo>
                  <a:lnTo>
                    <a:pt x="3" y="10"/>
                  </a:lnTo>
                  <a:lnTo>
                    <a:pt x="3" y="10"/>
                  </a:lnTo>
                  <a:lnTo>
                    <a:pt x="0" y="12"/>
                  </a:lnTo>
                  <a:lnTo>
                    <a:pt x="0" y="12"/>
                  </a:lnTo>
                  <a:lnTo>
                    <a:pt x="1" y="12"/>
                  </a:lnTo>
                  <a:lnTo>
                    <a:pt x="1" y="12"/>
                  </a:lnTo>
                  <a:lnTo>
                    <a:pt x="3" y="13"/>
                  </a:lnTo>
                  <a:lnTo>
                    <a:pt x="3" y="13"/>
                  </a:lnTo>
                  <a:lnTo>
                    <a:pt x="6" y="16"/>
                  </a:lnTo>
                  <a:lnTo>
                    <a:pt x="6" y="16"/>
                  </a:lnTo>
                  <a:lnTo>
                    <a:pt x="3" y="16"/>
                  </a:lnTo>
                  <a:lnTo>
                    <a:pt x="3" y="16"/>
                  </a:lnTo>
                  <a:lnTo>
                    <a:pt x="3" y="16"/>
                  </a:lnTo>
                  <a:lnTo>
                    <a:pt x="3" y="16"/>
                  </a:lnTo>
                  <a:lnTo>
                    <a:pt x="3" y="19"/>
                  </a:lnTo>
                  <a:lnTo>
                    <a:pt x="3" y="19"/>
                  </a:lnTo>
                  <a:lnTo>
                    <a:pt x="3" y="19"/>
                  </a:lnTo>
                  <a:lnTo>
                    <a:pt x="3" y="19"/>
                  </a:lnTo>
                  <a:lnTo>
                    <a:pt x="6" y="19"/>
                  </a:lnTo>
                  <a:lnTo>
                    <a:pt x="6" y="19"/>
                  </a:lnTo>
                  <a:lnTo>
                    <a:pt x="6" y="19"/>
                  </a:lnTo>
                  <a:lnTo>
                    <a:pt x="6" y="19"/>
                  </a:lnTo>
                  <a:lnTo>
                    <a:pt x="6" y="19"/>
                  </a:lnTo>
                  <a:lnTo>
                    <a:pt x="6" y="23"/>
                  </a:lnTo>
                  <a:lnTo>
                    <a:pt x="6" y="23"/>
                  </a:lnTo>
                  <a:lnTo>
                    <a:pt x="3" y="26"/>
                  </a:lnTo>
                  <a:lnTo>
                    <a:pt x="3" y="26"/>
                  </a:lnTo>
                  <a:lnTo>
                    <a:pt x="3" y="26"/>
                  </a:lnTo>
                  <a:lnTo>
                    <a:pt x="3" y="26"/>
                  </a:lnTo>
                  <a:lnTo>
                    <a:pt x="3" y="27"/>
                  </a:lnTo>
                  <a:lnTo>
                    <a:pt x="3" y="27"/>
                  </a:lnTo>
                  <a:lnTo>
                    <a:pt x="9" y="31"/>
                  </a:lnTo>
                  <a:lnTo>
                    <a:pt x="9" y="31"/>
                  </a:lnTo>
                  <a:lnTo>
                    <a:pt x="9" y="32"/>
                  </a:lnTo>
                  <a:lnTo>
                    <a:pt x="9" y="32"/>
                  </a:lnTo>
                  <a:lnTo>
                    <a:pt x="6" y="32"/>
                  </a:lnTo>
                  <a:lnTo>
                    <a:pt x="6" y="32"/>
                  </a:lnTo>
                  <a:lnTo>
                    <a:pt x="6" y="35"/>
                  </a:lnTo>
                  <a:lnTo>
                    <a:pt x="6" y="35"/>
                  </a:lnTo>
                  <a:lnTo>
                    <a:pt x="9" y="37"/>
                  </a:lnTo>
                  <a:lnTo>
                    <a:pt x="9" y="37"/>
                  </a:lnTo>
                  <a:lnTo>
                    <a:pt x="3" y="37"/>
                  </a:lnTo>
                  <a:lnTo>
                    <a:pt x="3" y="37"/>
                  </a:lnTo>
                  <a:lnTo>
                    <a:pt x="0" y="37"/>
                  </a:lnTo>
                  <a:lnTo>
                    <a:pt x="0" y="37"/>
                  </a:lnTo>
                  <a:lnTo>
                    <a:pt x="3" y="40"/>
                  </a:lnTo>
                  <a:lnTo>
                    <a:pt x="3" y="40"/>
                  </a:lnTo>
                  <a:lnTo>
                    <a:pt x="6" y="43"/>
                  </a:lnTo>
                  <a:lnTo>
                    <a:pt x="6" y="43"/>
                  </a:lnTo>
                  <a:lnTo>
                    <a:pt x="9" y="43"/>
                  </a:lnTo>
                  <a:lnTo>
                    <a:pt x="9" y="43"/>
                  </a:lnTo>
                  <a:lnTo>
                    <a:pt x="11" y="46"/>
                  </a:lnTo>
                  <a:lnTo>
                    <a:pt x="11" y="46"/>
                  </a:lnTo>
                  <a:lnTo>
                    <a:pt x="14" y="46"/>
                  </a:lnTo>
                  <a:lnTo>
                    <a:pt x="14" y="46"/>
                  </a:lnTo>
                  <a:lnTo>
                    <a:pt x="16" y="46"/>
                  </a:lnTo>
                  <a:lnTo>
                    <a:pt x="16" y="46"/>
                  </a:lnTo>
                  <a:lnTo>
                    <a:pt x="16" y="50"/>
                  </a:lnTo>
                  <a:lnTo>
                    <a:pt x="16" y="50"/>
                  </a:lnTo>
                  <a:lnTo>
                    <a:pt x="14" y="50"/>
                  </a:lnTo>
                  <a:lnTo>
                    <a:pt x="14" y="50"/>
                  </a:lnTo>
                  <a:lnTo>
                    <a:pt x="16" y="51"/>
                  </a:lnTo>
                  <a:lnTo>
                    <a:pt x="16" y="51"/>
                  </a:lnTo>
                  <a:lnTo>
                    <a:pt x="16" y="51"/>
                  </a:lnTo>
                  <a:lnTo>
                    <a:pt x="17" y="53"/>
                  </a:lnTo>
                  <a:lnTo>
                    <a:pt x="17" y="53"/>
                  </a:lnTo>
                  <a:lnTo>
                    <a:pt x="17" y="53"/>
                  </a:lnTo>
                  <a:lnTo>
                    <a:pt x="17" y="53"/>
                  </a:lnTo>
                  <a:lnTo>
                    <a:pt x="17" y="54"/>
                  </a:lnTo>
                  <a:lnTo>
                    <a:pt x="17" y="54"/>
                  </a:lnTo>
                  <a:lnTo>
                    <a:pt x="21" y="56"/>
                  </a:lnTo>
                  <a:lnTo>
                    <a:pt x="21" y="56"/>
                  </a:lnTo>
                  <a:lnTo>
                    <a:pt x="21" y="56"/>
                  </a:lnTo>
                  <a:lnTo>
                    <a:pt x="22" y="58"/>
                  </a:lnTo>
                  <a:lnTo>
                    <a:pt x="22" y="58"/>
                  </a:lnTo>
                  <a:lnTo>
                    <a:pt x="22" y="59"/>
                  </a:lnTo>
                  <a:lnTo>
                    <a:pt x="22" y="59"/>
                  </a:lnTo>
                  <a:lnTo>
                    <a:pt x="22" y="61"/>
                  </a:lnTo>
                  <a:lnTo>
                    <a:pt x="22" y="61"/>
                  </a:lnTo>
                  <a:lnTo>
                    <a:pt x="22" y="62"/>
                  </a:lnTo>
                  <a:lnTo>
                    <a:pt x="22" y="62"/>
                  </a:lnTo>
                  <a:lnTo>
                    <a:pt x="24" y="61"/>
                  </a:lnTo>
                  <a:lnTo>
                    <a:pt x="24" y="61"/>
                  </a:lnTo>
                  <a:lnTo>
                    <a:pt x="24" y="59"/>
                  </a:lnTo>
                  <a:lnTo>
                    <a:pt x="24" y="59"/>
                  </a:lnTo>
                  <a:lnTo>
                    <a:pt x="27" y="58"/>
                  </a:lnTo>
                  <a:lnTo>
                    <a:pt x="27" y="58"/>
                  </a:lnTo>
                  <a:lnTo>
                    <a:pt x="27" y="58"/>
                  </a:lnTo>
                  <a:lnTo>
                    <a:pt x="27" y="58"/>
                  </a:lnTo>
                  <a:lnTo>
                    <a:pt x="30" y="59"/>
                  </a:lnTo>
                  <a:lnTo>
                    <a:pt x="30" y="59"/>
                  </a:lnTo>
                  <a:lnTo>
                    <a:pt x="30" y="58"/>
                  </a:lnTo>
                  <a:lnTo>
                    <a:pt x="30" y="58"/>
                  </a:lnTo>
                  <a:lnTo>
                    <a:pt x="33" y="56"/>
                  </a:lnTo>
                  <a:lnTo>
                    <a:pt x="33" y="56"/>
                  </a:lnTo>
                  <a:lnTo>
                    <a:pt x="33" y="56"/>
                  </a:lnTo>
                  <a:lnTo>
                    <a:pt x="33" y="56"/>
                  </a:lnTo>
                  <a:lnTo>
                    <a:pt x="35" y="56"/>
                  </a:lnTo>
                  <a:lnTo>
                    <a:pt x="35" y="56"/>
                  </a:lnTo>
                  <a:lnTo>
                    <a:pt x="38" y="56"/>
                  </a:lnTo>
                  <a:lnTo>
                    <a:pt x="38" y="56"/>
                  </a:lnTo>
                  <a:lnTo>
                    <a:pt x="40" y="54"/>
                  </a:lnTo>
                  <a:lnTo>
                    <a:pt x="40" y="54"/>
                  </a:lnTo>
                  <a:lnTo>
                    <a:pt x="41" y="54"/>
                  </a:lnTo>
                  <a:lnTo>
                    <a:pt x="41" y="54"/>
                  </a:lnTo>
                  <a:lnTo>
                    <a:pt x="44" y="53"/>
                  </a:lnTo>
                  <a:lnTo>
                    <a:pt x="44" y="53"/>
                  </a:lnTo>
                  <a:lnTo>
                    <a:pt x="43" y="53"/>
                  </a:lnTo>
                  <a:lnTo>
                    <a:pt x="43" y="53"/>
                  </a:lnTo>
                  <a:lnTo>
                    <a:pt x="43" y="50"/>
                  </a:lnTo>
                  <a:lnTo>
                    <a:pt x="43" y="50"/>
                  </a:lnTo>
                  <a:lnTo>
                    <a:pt x="43" y="50"/>
                  </a:lnTo>
                  <a:lnTo>
                    <a:pt x="43" y="50"/>
                  </a:lnTo>
                  <a:lnTo>
                    <a:pt x="44" y="46"/>
                  </a:lnTo>
                  <a:lnTo>
                    <a:pt x="44" y="46"/>
                  </a:lnTo>
                  <a:lnTo>
                    <a:pt x="44" y="46"/>
                  </a:lnTo>
                  <a:lnTo>
                    <a:pt x="44" y="46"/>
                  </a:lnTo>
                  <a:lnTo>
                    <a:pt x="48" y="43"/>
                  </a:lnTo>
                  <a:lnTo>
                    <a:pt x="44" y="40"/>
                  </a:lnTo>
                  <a:lnTo>
                    <a:pt x="44" y="40"/>
                  </a:lnTo>
                  <a:lnTo>
                    <a:pt x="44" y="4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8" name="Freeform 201">
              <a:extLst>
                <a:ext uri="{FF2B5EF4-FFF2-40B4-BE49-F238E27FC236}">
                  <a16:creationId xmlns:a16="http://schemas.microsoft.com/office/drawing/2014/main" id="{AD0B01F6-D64E-64CA-599E-4B12541E588A}"/>
                </a:ext>
              </a:extLst>
            </p:cNvPr>
            <p:cNvSpPr>
              <a:spLocks/>
            </p:cNvSpPr>
            <p:nvPr/>
          </p:nvSpPr>
          <p:spPr bwMode="auto">
            <a:xfrm>
              <a:off x="6204329" y="2571599"/>
              <a:ext cx="114397" cy="105424"/>
            </a:xfrm>
            <a:custGeom>
              <a:avLst/>
              <a:gdLst>
                <a:gd name="T0" fmla="*/ 44 w 51"/>
                <a:gd name="T1" fmla="*/ 36 h 47"/>
                <a:gd name="T2" fmla="*/ 44 w 51"/>
                <a:gd name="T3" fmla="*/ 36 h 47"/>
                <a:gd name="T4" fmla="*/ 48 w 51"/>
                <a:gd name="T5" fmla="*/ 39 h 47"/>
                <a:gd name="T6" fmla="*/ 48 w 51"/>
                <a:gd name="T7" fmla="*/ 39 h 47"/>
                <a:gd name="T8" fmla="*/ 51 w 51"/>
                <a:gd name="T9" fmla="*/ 36 h 47"/>
                <a:gd name="T10" fmla="*/ 51 w 51"/>
                <a:gd name="T11" fmla="*/ 35 h 47"/>
                <a:gd name="T12" fmla="*/ 51 w 51"/>
                <a:gd name="T13" fmla="*/ 33 h 47"/>
                <a:gd name="T14" fmla="*/ 44 w 51"/>
                <a:gd name="T15" fmla="*/ 31 h 47"/>
                <a:gd name="T16" fmla="*/ 43 w 51"/>
                <a:gd name="T17" fmla="*/ 30 h 47"/>
                <a:gd name="T18" fmla="*/ 38 w 51"/>
                <a:gd name="T19" fmla="*/ 25 h 47"/>
                <a:gd name="T20" fmla="*/ 35 w 51"/>
                <a:gd name="T21" fmla="*/ 24 h 47"/>
                <a:gd name="T22" fmla="*/ 43 w 51"/>
                <a:gd name="T23" fmla="*/ 22 h 47"/>
                <a:gd name="T24" fmla="*/ 41 w 51"/>
                <a:gd name="T25" fmla="*/ 22 h 47"/>
                <a:gd name="T26" fmla="*/ 43 w 51"/>
                <a:gd name="T27" fmla="*/ 19 h 47"/>
                <a:gd name="T28" fmla="*/ 43 w 51"/>
                <a:gd name="T29" fmla="*/ 16 h 47"/>
                <a:gd name="T30" fmla="*/ 38 w 51"/>
                <a:gd name="T31" fmla="*/ 12 h 47"/>
                <a:gd name="T32" fmla="*/ 38 w 51"/>
                <a:gd name="T33" fmla="*/ 11 h 47"/>
                <a:gd name="T34" fmla="*/ 40 w 51"/>
                <a:gd name="T35" fmla="*/ 6 h 47"/>
                <a:gd name="T36" fmla="*/ 40 w 51"/>
                <a:gd name="T37" fmla="*/ 4 h 47"/>
                <a:gd name="T38" fmla="*/ 38 w 51"/>
                <a:gd name="T39" fmla="*/ 4 h 47"/>
                <a:gd name="T40" fmla="*/ 35 w 51"/>
                <a:gd name="T41" fmla="*/ 6 h 47"/>
                <a:gd name="T42" fmla="*/ 33 w 51"/>
                <a:gd name="T43" fmla="*/ 4 h 47"/>
                <a:gd name="T44" fmla="*/ 30 w 51"/>
                <a:gd name="T45" fmla="*/ 1 h 47"/>
                <a:gd name="T46" fmla="*/ 27 w 51"/>
                <a:gd name="T47" fmla="*/ 3 h 47"/>
                <a:gd name="T48" fmla="*/ 24 w 51"/>
                <a:gd name="T49" fmla="*/ 3 h 47"/>
                <a:gd name="T50" fmla="*/ 22 w 51"/>
                <a:gd name="T51" fmla="*/ 3 h 47"/>
                <a:gd name="T52" fmla="*/ 16 w 51"/>
                <a:gd name="T53" fmla="*/ 1 h 47"/>
                <a:gd name="T54" fmla="*/ 13 w 51"/>
                <a:gd name="T55" fmla="*/ 0 h 47"/>
                <a:gd name="T56" fmla="*/ 10 w 51"/>
                <a:gd name="T57" fmla="*/ 0 h 47"/>
                <a:gd name="T58" fmla="*/ 8 w 51"/>
                <a:gd name="T59" fmla="*/ 0 h 47"/>
                <a:gd name="T60" fmla="*/ 6 w 51"/>
                <a:gd name="T61" fmla="*/ 3 h 47"/>
                <a:gd name="T62" fmla="*/ 3 w 51"/>
                <a:gd name="T63" fmla="*/ 3 h 47"/>
                <a:gd name="T64" fmla="*/ 0 w 51"/>
                <a:gd name="T65" fmla="*/ 0 h 47"/>
                <a:gd name="T66" fmla="*/ 0 w 51"/>
                <a:gd name="T67" fmla="*/ 3 h 47"/>
                <a:gd name="T68" fmla="*/ 0 w 51"/>
                <a:gd name="T69" fmla="*/ 8 h 47"/>
                <a:gd name="T70" fmla="*/ 3 w 51"/>
                <a:gd name="T71" fmla="*/ 9 h 47"/>
                <a:gd name="T72" fmla="*/ 6 w 51"/>
                <a:gd name="T73" fmla="*/ 16 h 47"/>
                <a:gd name="T74" fmla="*/ 10 w 51"/>
                <a:gd name="T75" fmla="*/ 19 h 47"/>
                <a:gd name="T76" fmla="*/ 21 w 51"/>
                <a:gd name="T77" fmla="*/ 30 h 47"/>
                <a:gd name="T78" fmla="*/ 21 w 51"/>
                <a:gd name="T79" fmla="*/ 30 h 47"/>
                <a:gd name="T80" fmla="*/ 21 w 51"/>
                <a:gd name="T81" fmla="*/ 33 h 47"/>
                <a:gd name="T82" fmla="*/ 22 w 51"/>
                <a:gd name="T83" fmla="*/ 33 h 47"/>
                <a:gd name="T84" fmla="*/ 24 w 51"/>
                <a:gd name="T85" fmla="*/ 35 h 47"/>
                <a:gd name="T86" fmla="*/ 27 w 51"/>
                <a:gd name="T87" fmla="*/ 36 h 47"/>
                <a:gd name="T88" fmla="*/ 30 w 51"/>
                <a:gd name="T89" fmla="*/ 39 h 47"/>
                <a:gd name="T90" fmla="*/ 33 w 51"/>
                <a:gd name="T91" fmla="*/ 47 h 47"/>
                <a:gd name="T92" fmla="*/ 43 w 51"/>
                <a:gd name="T93" fmla="*/ 47 h 47"/>
                <a:gd name="T94" fmla="*/ 41 w 51"/>
                <a:gd name="T9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47">
                  <a:moveTo>
                    <a:pt x="41" y="39"/>
                  </a:moveTo>
                  <a:lnTo>
                    <a:pt x="41" y="39"/>
                  </a:lnTo>
                  <a:lnTo>
                    <a:pt x="44" y="36"/>
                  </a:lnTo>
                  <a:lnTo>
                    <a:pt x="44" y="36"/>
                  </a:lnTo>
                  <a:lnTo>
                    <a:pt x="44" y="36"/>
                  </a:lnTo>
                  <a:lnTo>
                    <a:pt x="44" y="36"/>
                  </a:lnTo>
                  <a:lnTo>
                    <a:pt x="44" y="39"/>
                  </a:lnTo>
                  <a:lnTo>
                    <a:pt x="44" y="39"/>
                  </a:lnTo>
                  <a:lnTo>
                    <a:pt x="48" y="39"/>
                  </a:lnTo>
                  <a:lnTo>
                    <a:pt x="48" y="39"/>
                  </a:lnTo>
                  <a:lnTo>
                    <a:pt x="48" y="39"/>
                  </a:lnTo>
                  <a:lnTo>
                    <a:pt x="48" y="39"/>
                  </a:lnTo>
                  <a:lnTo>
                    <a:pt x="51" y="36"/>
                  </a:lnTo>
                  <a:lnTo>
                    <a:pt x="51" y="36"/>
                  </a:lnTo>
                  <a:lnTo>
                    <a:pt x="51" y="36"/>
                  </a:lnTo>
                  <a:lnTo>
                    <a:pt x="48" y="36"/>
                  </a:lnTo>
                  <a:lnTo>
                    <a:pt x="48" y="36"/>
                  </a:lnTo>
                  <a:lnTo>
                    <a:pt x="51" y="35"/>
                  </a:lnTo>
                  <a:lnTo>
                    <a:pt x="51" y="35"/>
                  </a:lnTo>
                  <a:lnTo>
                    <a:pt x="51" y="33"/>
                  </a:lnTo>
                  <a:lnTo>
                    <a:pt x="51" y="33"/>
                  </a:lnTo>
                  <a:lnTo>
                    <a:pt x="48" y="33"/>
                  </a:lnTo>
                  <a:lnTo>
                    <a:pt x="48" y="33"/>
                  </a:lnTo>
                  <a:lnTo>
                    <a:pt x="44" y="31"/>
                  </a:lnTo>
                  <a:lnTo>
                    <a:pt x="44" y="31"/>
                  </a:lnTo>
                  <a:lnTo>
                    <a:pt x="43" y="30"/>
                  </a:lnTo>
                  <a:lnTo>
                    <a:pt x="43" y="30"/>
                  </a:lnTo>
                  <a:lnTo>
                    <a:pt x="41" y="30"/>
                  </a:lnTo>
                  <a:lnTo>
                    <a:pt x="41" y="30"/>
                  </a:lnTo>
                  <a:lnTo>
                    <a:pt x="38" y="25"/>
                  </a:lnTo>
                  <a:lnTo>
                    <a:pt x="38" y="25"/>
                  </a:lnTo>
                  <a:lnTo>
                    <a:pt x="35" y="24"/>
                  </a:lnTo>
                  <a:lnTo>
                    <a:pt x="35" y="24"/>
                  </a:lnTo>
                  <a:lnTo>
                    <a:pt x="38" y="24"/>
                  </a:lnTo>
                  <a:lnTo>
                    <a:pt x="38" y="24"/>
                  </a:lnTo>
                  <a:lnTo>
                    <a:pt x="43" y="22"/>
                  </a:lnTo>
                  <a:lnTo>
                    <a:pt x="43" y="22"/>
                  </a:lnTo>
                  <a:lnTo>
                    <a:pt x="41" y="22"/>
                  </a:lnTo>
                  <a:lnTo>
                    <a:pt x="41" y="22"/>
                  </a:lnTo>
                  <a:lnTo>
                    <a:pt x="40" y="19"/>
                  </a:lnTo>
                  <a:lnTo>
                    <a:pt x="40" y="19"/>
                  </a:lnTo>
                  <a:lnTo>
                    <a:pt x="43" y="19"/>
                  </a:lnTo>
                  <a:lnTo>
                    <a:pt x="43" y="19"/>
                  </a:lnTo>
                  <a:lnTo>
                    <a:pt x="43" y="16"/>
                  </a:lnTo>
                  <a:lnTo>
                    <a:pt x="43" y="16"/>
                  </a:lnTo>
                  <a:lnTo>
                    <a:pt x="38" y="12"/>
                  </a:lnTo>
                  <a:lnTo>
                    <a:pt x="38" y="12"/>
                  </a:lnTo>
                  <a:lnTo>
                    <a:pt x="38" y="12"/>
                  </a:lnTo>
                  <a:lnTo>
                    <a:pt x="38" y="12"/>
                  </a:lnTo>
                  <a:lnTo>
                    <a:pt x="38" y="11"/>
                  </a:lnTo>
                  <a:lnTo>
                    <a:pt x="38" y="11"/>
                  </a:lnTo>
                  <a:lnTo>
                    <a:pt x="40" y="8"/>
                  </a:lnTo>
                  <a:lnTo>
                    <a:pt x="40" y="8"/>
                  </a:lnTo>
                  <a:lnTo>
                    <a:pt x="40" y="6"/>
                  </a:lnTo>
                  <a:lnTo>
                    <a:pt x="40" y="6"/>
                  </a:lnTo>
                  <a:lnTo>
                    <a:pt x="40" y="4"/>
                  </a:lnTo>
                  <a:lnTo>
                    <a:pt x="40" y="4"/>
                  </a:lnTo>
                  <a:lnTo>
                    <a:pt x="40" y="4"/>
                  </a:lnTo>
                  <a:lnTo>
                    <a:pt x="38" y="4"/>
                  </a:lnTo>
                  <a:lnTo>
                    <a:pt x="38" y="4"/>
                  </a:lnTo>
                  <a:lnTo>
                    <a:pt x="36" y="4"/>
                  </a:lnTo>
                  <a:lnTo>
                    <a:pt x="36" y="4"/>
                  </a:lnTo>
                  <a:lnTo>
                    <a:pt x="35" y="6"/>
                  </a:lnTo>
                  <a:lnTo>
                    <a:pt x="35" y="6"/>
                  </a:lnTo>
                  <a:lnTo>
                    <a:pt x="33" y="4"/>
                  </a:lnTo>
                  <a:lnTo>
                    <a:pt x="33" y="4"/>
                  </a:lnTo>
                  <a:lnTo>
                    <a:pt x="33" y="3"/>
                  </a:lnTo>
                  <a:lnTo>
                    <a:pt x="33" y="3"/>
                  </a:lnTo>
                  <a:lnTo>
                    <a:pt x="30" y="1"/>
                  </a:lnTo>
                  <a:lnTo>
                    <a:pt x="30" y="1"/>
                  </a:lnTo>
                  <a:lnTo>
                    <a:pt x="27" y="3"/>
                  </a:lnTo>
                  <a:lnTo>
                    <a:pt x="27" y="3"/>
                  </a:lnTo>
                  <a:lnTo>
                    <a:pt x="24" y="1"/>
                  </a:lnTo>
                  <a:lnTo>
                    <a:pt x="24" y="1"/>
                  </a:lnTo>
                  <a:lnTo>
                    <a:pt x="24" y="3"/>
                  </a:lnTo>
                  <a:lnTo>
                    <a:pt x="24" y="3"/>
                  </a:lnTo>
                  <a:lnTo>
                    <a:pt x="22" y="3"/>
                  </a:lnTo>
                  <a:lnTo>
                    <a:pt x="22" y="3"/>
                  </a:lnTo>
                  <a:lnTo>
                    <a:pt x="21" y="1"/>
                  </a:lnTo>
                  <a:lnTo>
                    <a:pt x="21" y="1"/>
                  </a:lnTo>
                  <a:lnTo>
                    <a:pt x="16" y="1"/>
                  </a:lnTo>
                  <a:lnTo>
                    <a:pt x="16" y="1"/>
                  </a:lnTo>
                  <a:lnTo>
                    <a:pt x="13" y="0"/>
                  </a:lnTo>
                  <a:lnTo>
                    <a:pt x="13" y="0"/>
                  </a:lnTo>
                  <a:lnTo>
                    <a:pt x="11" y="1"/>
                  </a:lnTo>
                  <a:lnTo>
                    <a:pt x="11" y="1"/>
                  </a:lnTo>
                  <a:lnTo>
                    <a:pt x="10" y="0"/>
                  </a:lnTo>
                  <a:lnTo>
                    <a:pt x="10" y="0"/>
                  </a:lnTo>
                  <a:lnTo>
                    <a:pt x="8" y="0"/>
                  </a:lnTo>
                  <a:lnTo>
                    <a:pt x="8" y="0"/>
                  </a:lnTo>
                  <a:lnTo>
                    <a:pt x="6" y="1"/>
                  </a:lnTo>
                  <a:lnTo>
                    <a:pt x="6" y="1"/>
                  </a:lnTo>
                  <a:lnTo>
                    <a:pt x="6" y="3"/>
                  </a:lnTo>
                  <a:lnTo>
                    <a:pt x="6" y="3"/>
                  </a:lnTo>
                  <a:lnTo>
                    <a:pt x="3" y="3"/>
                  </a:lnTo>
                  <a:lnTo>
                    <a:pt x="3" y="3"/>
                  </a:lnTo>
                  <a:lnTo>
                    <a:pt x="0" y="0"/>
                  </a:lnTo>
                  <a:lnTo>
                    <a:pt x="0" y="0"/>
                  </a:lnTo>
                  <a:lnTo>
                    <a:pt x="0" y="0"/>
                  </a:lnTo>
                  <a:lnTo>
                    <a:pt x="0" y="0"/>
                  </a:lnTo>
                  <a:lnTo>
                    <a:pt x="0" y="3"/>
                  </a:lnTo>
                  <a:lnTo>
                    <a:pt x="0" y="3"/>
                  </a:lnTo>
                  <a:lnTo>
                    <a:pt x="0" y="4"/>
                  </a:lnTo>
                  <a:lnTo>
                    <a:pt x="0" y="4"/>
                  </a:lnTo>
                  <a:lnTo>
                    <a:pt x="0" y="8"/>
                  </a:lnTo>
                  <a:lnTo>
                    <a:pt x="0" y="8"/>
                  </a:lnTo>
                  <a:lnTo>
                    <a:pt x="3" y="9"/>
                  </a:lnTo>
                  <a:lnTo>
                    <a:pt x="3" y="9"/>
                  </a:lnTo>
                  <a:lnTo>
                    <a:pt x="6" y="12"/>
                  </a:lnTo>
                  <a:lnTo>
                    <a:pt x="6" y="12"/>
                  </a:lnTo>
                  <a:lnTo>
                    <a:pt x="6" y="16"/>
                  </a:lnTo>
                  <a:lnTo>
                    <a:pt x="6" y="16"/>
                  </a:lnTo>
                  <a:lnTo>
                    <a:pt x="10" y="19"/>
                  </a:lnTo>
                  <a:lnTo>
                    <a:pt x="10" y="19"/>
                  </a:lnTo>
                  <a:lnTo>
                    <a:pt x="17" y="27"/>
                  </a:lnTo>
                  <a:lnTo>
                    <a:pt x="17" y="27"/>
                  </a:lnTo>
                  <a:lnTo>
                    <a:pt x="21" y="30"/>
                  </a:lnTo>
                  <a:lnTo>
                    <a:pt x="21" y="30"/>
                  </a:lnTo>
                  <a:lnTo>
                    <a:pt x="21" y="30"/>
                  </a:lnTo>
                  <a:lnTo>
                    <a:pt x="21" y="30"/>
                  </a:lnTo>
                  <a:lnTo>
                    <a:pt x="22" y="31"/>
                  </a:lnTo>
                  <a:lnTo>
                    <a:pt x="22" y="31"/>
                  </a:lnTo>
                  <a:lnTo>
                    <a:pt x="21" y="33"/>
                  </a:lnTo>
                  <a:lnTo>
                    <a:pt x="21" y="33"/>
                  </a:lnTo>
                  <a:lnTo>
                    <a:pt x="22" y="33"/>
                  </a:lnTo>
                  <a:lnTo>
                    <a:pt x="22" y="33"/>
                  </a:lnTo>
                  <a:lnTo>
                    <a:pt x="24" y="33"/>
                  </a:lnTo>
                  <a:lnTo>
                    <a:pt x="24" y="33"/>
                  </a:lnTo>
                  <a:lnTo>
                    <a:pt x="24" y="35"/>
                  </a:lnTo>
                  <a:lnTo>
                    <a:pt x="24" y="35"/>
                  </a:lnTo>
                  <a:lnTo>
                    <a:pt x="27" y="36"/>
                  </a:lnTo>
                  <a:lnTo>
                    <a:pt x="27" y="36"/>
                  </a:lnTo>
                  <a:lnTo>
                    <a:pt x="29" y="36"/>
                  </a:lnTo>
                  <a:lnTo>
                    <a:pt x="29" y="36"/>
                  </a:lnTo>
                  <a:lnTo>
                    <a:pt x="30" y="39"/>
                  </a:lnTo>
                  <a:lnTo>
                    <a:pt x="30" y="39"/>
                  </a:lnTo>
                  <a:lnTo>
                    <a:pt x="32" y="44"/>
                  </a:lnTo>
                  <a:lnTo>
                    <a:pt x="33" y="47"/>
                  </a:lnTo>
                  <a:lnTo>
                    <a:pt x="33" y="47"/>
                  </a:lnTo>
                  <a:lnTo>
                    <a:pt x="38" y="47"/>
                  </a:lnTo>
                  <a:lnTo>
                    <a:pt x="43" y="47"/>
                  </a:lnTo>
                  <a:lnTo>
                    <a:pt x="43" y="47"/>
                  </a:lnTo>
                  <a:lnTo>
                    <a:pt x="41" y="43"/>
                  </a:lnTo>
                  <a:lnTo>
                    <a:pt x="41" y="39"/>
                  </a:lnTo>
                  <a:lnTo>
                    <a:pt x="41" y="39"/>
                  </a:lnTo>
                  <a:lnTo>
                    <a:pt x="41" y="39"/>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39" name="Freeform 345">
              <a:extLst>
                <a:ext uri="{FF2B5EF4-FFF2-40B4-BE49-F238E27FC236}">
                  <a16:creationId xmlns:a16="http://schemas.microsoft.com/office/drawing/2014/main" id="{459B9843-E7C1-92C2-A817-22587B7A6D48}"/>
                </a:ext>
              </a:extLst>
            </p:cNvPr>
            <p:cNvSpPr>
              <a:spLocks noEditPoints="1"/>
            </p:cNvSpPr>
            <p:nvPr/>
          </p:nvSpPr>
          <p:spPr bwMode="auto">
            <a:xfrm>
              <a:off x="6314237" y="2681510"/>
              <a:ext cx="204120" cy="219821"/>
            </a:xfrm>
            <a:custGeom>
              <a:avLst/>
              <a:gdLst>
                <a:gd name="T0" fmla="*/ 54 w 91"/>
                <a:gd name="T1" fmla="*/ 52 h 98"/>
                <a:gd name="T2" fmla="*/ 49 w 91"/>
                <a:gd name="T3" fmla="*/ 43 h 98"/>
                <a:gd name="T4" fmla="*/ 40 w 91"/>
                <a:gd name="T5" fmla="*/ 41 h 98"/>
                <a:gd name="T6" fmla="*/ 41 w 91"/>
                <a:gd name="T7" fmla="*/ 43 h 98"/>
                <a:gd name="T8" fmla="*/ 41 w 91"/>
                <a:gd name="T9" fmla="*/ 25 h 98"/>
                <a:gd name="T10" fmla="*/ 43 w 91"/>
                <a:gd name="T11" fmla="*/ 25 h 98"/>
                <a:gd name="T12" fmla="*/ 51 w 91"/>
                <a:gd name="T13" fmla="*/ 55 h 98"/>
                <a:gd name="T14" fmla="*/ 40 w 91"/>
                <a:gd name="T15" fmla="*/ 43 h 98"/>
                <a:gd name="T16" fmla="*/ 37 w 91"/>
                <a:gd name="T17" fmla="*/ 35 h 98"/>
                <a:gd name="T18" fmla="*/ 40 w 91"/>
                <a:gd name="T19" fmla="*/ 33 h 98"/>
                <a:gd name="T20" fmla="*/ 34 w 91"/>
                <a:gd name="T21" fmla="*/ 19 h 98"/>
                <a:gd name="T22" fmla="*/ 48 w 91"/>
                <a:gd name="T23" fmla="*/ 25 h 98"/>
                <a:gd name="T24" fmla="*/ 51 w 91"/>
                <a:gd name="T25" fmla="*/ 19 h 98"/>
                <a:gd name="T26" fmla="*/ 49 w 91"/>
                <a:gd name="T27" fmla="*/ 16 h 98"/>
                <a:gd name="T28" fmla="*/ 62 w 91"/>
                <a:gd name="T29" fmla="*/ 13 h 98"/>
                <a:gd name="T30" fmla="*/ 75 w 91"/>
                <a:gd name="T31" fmla="*/ 8 h 98"/>
                <a:gd name="T32" fmla="*/ 75 w 91"/>
                <a:gd name="T33" fmla="*/ 0 h 98"/>
                <a:gd name="T34" fmla="*/ 72 w 91"/>
                <a:gd name="T35" fmla="*/ 6 h 98"/>
                <a:gd name="T36" fmla="*/ 56 w 91"/>
                <a:gd name="T37" fmla="*/ 6 h 98"/>
                <a:gd name="T38" fmla="*/ 43 w 91"/>
                <a:gd name="T39" fmla="*/ 6 h 98"/>
                <a:gd name="T40" fmla="*/ 29 w 91"/>
                <a:gd name="T41" fmla="*/ 8 h 98"/>
                <a:gd name="T42" fmla="*/ 13 w 91"/>
                <a:gd name="T43" fmla="*/ 16 h 98"/>
                <a:gd name="T44" fmla="*/ 5 w 91"/>
                <a:gd name="T45" fmla="*/ 28 h 98"/>
                <a:gd name="T46" fmla="*/ 5 w 91"/>
                <a:gd name="T47" fmla="*/ 35 h 98"/>
                <a:gd name="T48" fmla="*/ 14 w 91"/>
                <a:gd name="T49" fmla="*/ 41 h 98"/>
                <a:gd name="T50" fmla="*/ 18 w 91"/>
                <a:gd name="T51" fmla="*/ 46 h 98"/>
                <a:gd name="T52" fmla="*/ 34 w 91"/>
                <a:gd name="T53" fmla="*/ 49 h 98"/>
                <a:gd name="T54" fmla="*/ 37 w 91"/>
                <a:gd name="T55" fmla="*/ 54 h 98"/>
                <a:gd name="T56" fmla="*/ 21 w 91"/>
                <a:gd name="T57" fmla="*/ 52 h 98"/>
                <a:gd name="T58" fmla="*/ 22 w 91"/>
                <a:gd name="T59" fmla="*/ 67 h 98"/>
                <a:gd name="T60" fmla="*/ 30 w 91"/>
                <a:gd name="T61" fmla="*/ 70 h 98"/>
                <a:gd name="T62" fmla="*/ 40 w 91"/>
                <a:gd name="T63" fmla="*/ 75 h 98"/>
                <a:gd name="T64" fmla="*/ 40 w 91"/>
                <a:gd name="T65" fmla="*/ 62 h 98"/>
                <a:gd name="T66" fmla="*/ 40 w 91"/>
                <a:gd name="T67" fmla="*/ 57 h 98"/>
                <a:gd name="T68" fmla="*/ 40 w 91"/>
                <a:gd name="T69" fmla="*/ 54 h 98"/>
                <a:gd name="T70" fmla="*/ 72 w 91"/>
                <a:gd name="T71" fmla="*/ 94 h 98"/>
                <a:gd name="T72" fmla="*/ 54 w 91"/>
                <a:gd name="T73" fmla="*/ 90 h 98"/>
                <a:gd name="T74" fmla="*/ 46 w 91"/>
                <a:gd name="T75" fmla="*/ 90 h 98"/>
                <a:gd name="T76" fmla="*/ 76 w 91"/>
                <a:gd name="T77" fmla="*/ 97 h 98"/>
                <a:gd name="T78" fmla="*/ 75 w 91"/>
                <a:gd name="T79" fmla="*/ 94 h 98"/>
                <a:gd name="T80" fmla="*/ 78 w 91"/>
                <a:gd name="T81" fmla="*/ 43 h 98"/>
                <a:gd name="T82" fmla="*/ 80 w 91"/>
                <a:gd name="T83" fmla="*/ 46 h 98"/>
                <a:gd name="T84" fmla="*/ 80 w 91"/>
                <a:gd name="T85" fmla="*/ 46 h 98"/>
                <a:gd name="T86" fmla="*/ 65 w 91"/>
                <a:gd name="T87" fmla="*/ 46 h 98"/>
                <a:gd name="T88" fmla="*/ 67 w 91"/>
                <a:gd name="T89" fmla="*/ 51 h 98"/>
                <a:gd name="T90" fmla="*/ 86 w 91"/>
                <a:gd name="T91" fmla="*/ 78 h 98"/>
                <a:gd name="T92" fmla="*/ 91 w 91"/>
                <a:gd name="T93" fmla="*/ 75 h 98"/>
                <a:gd name="T94" fmla="*/ 88 w 91"/>
                <a:gd name="T95" fmla="*/ 76 h 98"/>
                <a:gd name="T96" fmla="*/ 3 w 91"/>
                <a:gd name="T97" fmla="*/ 36 h 98"/>
                <a:gd name="T98" fmla="*/ 2 w 91"/>
                <a:gd name="T99" fmla="*/ 32 h 98"/>
                <a:gd name="T100" fmla="*/ 10 w 91"/>
                <a:gd name="T101" fmla="*/ 52 h 98"/>
                <a:gd name="T102" fmla="*/ 8 w 91"/>
                <a:gd name="T103" fmla="*/ 51 h 98"/>
                <a:gd name="T104" fmla="*/ 62 w 91"/>
                <a:gd name="T105" fmla="*/ 68 h 98"/>
                <a:gd name="T106" fmla="*/ 62 w 91"/>
                <a:gd name="T107" fmla="*/ 68 h 98"/>
                <a:gd name="T108" fmla="*/ 62 w 91"/>
                <a:gd name="T109" fmla="*/ 68 h 98"/>
                <a:gd name="T110" fmla="*/ 57 w 91"/>
                <a:gd name="T111" fmla="*/ 30 h 98"/>
                <a:gd name="T112" fmla="*/ 59 w 91"/>
                <a:gd name="T11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98">
                  <a:moveTo>
                    <a:pt x="41" y="43"/>
                  </a:moveTo>
                  <a:lnTo>
                    <a:pt x="43" y="46"/>
                  </a:lnTo>
                  <a:lnTo>
                    <a:pt x="45" y="46"/>
                  </a:lnTo>
                  <a:lnTo>
                    <a:pt x="46" y="49"/>
                  </a:lnTo>
                  <a:lnTo>
                    <a:pt x="49" y="49"/>
                  </a:lnTo>
                  <a:lnTo>
                    <a:pt x="51" y="49"/>
                  </a:lnTo>
                  <a:lnTo>
                    <a:pt x="54" y="52"/>
                  </a:lnTo>
                  <a:lnTo>
                    <a:pt x="56" y="52"/>
                  </a:lnTo>
                  <a:lnTo>
                    <a:pt x="57" y="52"/>
                  </a:lnTo>
                  <a:lnTo>
                    <a:pt x="54" y="52"/>
                  </a:lnTo>
                  <a:lnTo>
                    <a:pt x="53" y="49"/>
                  </a:lnTo>
                  <a:lnTo>
                    <a:pt x="53" y="46"/>
                  </a:lnTo>
                  <a:lnTo>
                    <a:pt x="51" y="46"/>
                  </a:lnTo>
                  <a:lnTo>
                    <a:pt x="49" y="43"/>
                  </a:lnTo>
                  <a:lnTo>
                    <a:pt x="46" y="43"/>
                  </a:lnTo>
                  <a:lnTo>
                    <a:pt x="43" y="43"/>
                  </a:lnTo>
                  <a:lnTo>
                    <a:pt x="41" y="40"/>
                  </a:lnTo>
                  <a:lnTo>
                    <a:pt x="40" y="40"/>
                  </a:lnTo>
                  <a:lnTo>
                    <a:pt x="40" y="40"/>
                  </a:lnTo>
                  <a:lnTo>
                    <a:pt x="37" y="43"/>
                  </a:lnTo>
                  <a:lnTo>
                    <a:pt x="40" y="41"/>
                  </a:lnTo>
                  <a:lnTo>
                    <a:pt x="41" y="43"/>
                  </a:lnTo>
                  <a:lnTo>
                    <a:pt x="41" y="43"/>
                  </a:lnTo>
                  <a:lnTo>
                    <a:pt x="41" y="43"/>
                  </a:lnTo>
                  <a:lnTo>
                    <a:pt x="41" y="43"/>
                  </a:lnTo>
                  <a:lnTo>
                    <a:pt x="41" y="43"/>
                  </a:lnTo>
                  <a:lnTo>
                    <a:pt x="41" y="43"/>
                  </a:lnTo>
                  <a:lnTo>
                    <a:pt x="41" y="43"/>
                  </a:lnTo>
                  <a:lnTo>
                    <a:pt x="41" y="43"/>
                  </a:lnTo>
                  <a:lnTo>
                    <a:pt x="41" y="43"/>
                  </a:lnTo>
                  <a:close/>
                  <a:moveTo>
                    <a:pt x="43" y="25"/>
                  </a:moveTo>
                  <a:lnTo>
                    <a:pt x="45" y="25"/>
                  </a:lnTo>
                  <a:lnTo>
                    <a:pt x="43" y="25"/>
                  </a:lnTo>
                  <a:lnTo>
                    <a:pt x="40" y="22"/>
                  </a:lnTo>
                  <a:lnTo>
                    <a:pt x="41" y="25"/>
                  </a:lnTo>
                  <a:lnTo>
                    <a:pt x="43" y="25"/>
                  </a:lnTo>
                  <a:lnTo>
                    <a:pt x="43" y="25"/>
                  </a:lnTo>
                  <a:lnTo>
                    <a:pt x="43" y="25"/>
                  </a:lnTo>
                  <a:lnTo>
                    <a:pt x="43" y="25"/>
                  </a:lnTo>
                  <a:lnTo>
                    <a:pt x="43" y="25"/>
                  </a:lnTo>
                  <a:lnTo>
                    <a:pt x="43" y="25"/>
                  </a:lnTo>
                  <a:lnTo>
                    <a:pt x="43" y="25"/>
                  </a:lnTo>
                  <a:lnTo>
                    <a:pt x="43" y="25"/>
                  </a:lnTo>
                  <a:lnTo>
                    <a:pt x="43" y="25"/>
                  </a:lnTo>
                  <a:close/>
                  <a:moveTo>
                    <a:pt x="40" y="54"/>
                  </a:moveTo>
                  <a:lnTo>
                    <a:pt x="43" y="54"/>
                  </a:lnTo>
                  <a:lnTo>
                    <a:pt x="48" y="55"/>
                  </a:lnTo>
                  <a:lnTo>
                    <a:pt x="51" y="59"/>
                  </a:lnTo>
                  <a:lnTo>
                    <a:pt x="51" y="55"/>
                  </a:lnTo>
                  <a:lnTo>
                    <a:pt x="49" y="52"/>
                  </a:lnTo>
                  <a:lnTo>
                    <a:pt x="49" y="52"/>
                  </a:lnTo>
                  <a:lnTo>
                    <a:pt x="48" y="49"/>
                  </a:lnTo>
                  <a:lnTo>
                    <a:pt x="41" y="46"/>
                  </a:lnTo>
                  <a:lnTo>
                    <a:pt x="40" y="46"/>
                  </a:lnTo>
                  <a:lnTo>
                    <a:pt x="40" y="43"/>
                  </a:lnTo>
                  <a:lnTo>
                    <a:pt x="40" y="43"/>
                  </a:lnTo>
                  <a:lnTo>
                    <a:pt x="37" y="43"/>
                  </a:lnTo>
                  <a:lnTo>
                    <a:pt x="34" y="41"/>
                  </a:lnTo>
                  <a:lnTo>
                    <a:pt x="37" y="41"/>
                  </a:lnTo>
                  <a:lnTo>
                    <a:pt x="37" y="40"/>
                  </a:lnTo>
                  <a:lnTo>
                    <a:pt x="37" y="38"/>
                  </a:lnTo>
                  <a:lnTo>
                    <a:pt x="37" y="36"/>
                  </a:lnTo>
                  <a:lnTo>
                    <a:pt x="37" y="35"/>
                  </a:lnTo>
                  <a:lnTo>
                    <a:pt x="37" y="35"/>
                  </a:lnTo>
                  <a:lnTo>
                    <a:pt x="40" y="35"/>
                  </a:lnTo>
                  <a:lnTo>
                    <a:pt x="40" y="36"/>
                  </a:lnTo>
                  <a:lnTo>
                    <a:pt x="40" y="38"/>
                  </a:lnTo>
                  <a:lnTo>
                    <a:pt x="40" y="38"/>
                  </a:lnTo>
                  <a:lnTo>
                    <a:pt x="40" y="36"/>
                  </a:lnTo>
                  <a:lnTo>
                    <a:pt x="40" y="33"/>
                  </a:lnTo>
                  <a:lnTo>
                    <a:pt x="34" y="28"/>
                  </a:lnTo>
                  <a:lnTo>
                    <a:pt x="34" y="25"/>
                  </a:lnTo>
                  <a:lnTo>
                    <a:pt x="30" y="22"/>
                  </a:lnTo>
                  <a:lnTo>
                    <a:pt x="34" y="19"/>
                  </a:lnTo>
                  <a:lnTo>
                    <a:pt x="37" y="17"/>
                  </a:lnTo>
                  <a:lnTo>
                    <a:pt x="37" y="19"/>
                  </a:lnTo>
                  <a:lnTo>
                    <a:pt x="34" y="19"/>
                  </a:lnTo>
                  <a:lnTo>
                    <a:pt x="37" y="19"/>
                  </a:lnTo>
                  <a:lnTo>
                    <a:pt x="40" y="22"/>
                  </a:lnTo>
                  <a:lnTo>
                    <a:pt x="40" y="22"/>
                  </a:lnTo>
                  <a:lnTo>
                    <a:pt x="41" y="22"/>
                  </a:lnTo>
                  <a:lnTo>
                    <a:pt x="45" y="25"/>
                  </a:lnTo>
                  <a:lnTo>
                    <a:pt x="46" y="25"/>
                  </a:lnTo>
                  <a:lnTo>
                    <a:pt x="48" y="25"/>
                  </a:lnTo>
                  <a:lnTo>
                    <a:pt x="45" y="22"/>
                  </a:lnTo>
                  <a:lnTo>
                    <a:pt x="45" y="19"/>
                  </a:lnTo>
                  <a:lnTo>
                    <a:pt x="46" y="19"/>
                  </a:lnTo>
                  <a:lnTo>
                    <a:pt x="49" y="22"/>
                  </a:lnTo>
                  <a:lnTo>
                    <a:pt x="51" y="22"/>
                  </a:lnTo>
                  <a:lnTo>
                    <a:pt x="53" y="22"/>
                  </a:lnTo>
                  <a:lnTo>
                    <a:pt x="51" y="19"/>
                  </a:lnTo>
                  <a:lnTo>
                    <a:pt x="48" y="19"/>
                  </a:lnTo>
                  <a:lnTo>
                    <a:pt x="46" y="19"/>
                  </a:lnTo>
                  <a:lnTo>
                    <a:pt x="46" y="17"/>
                  </a:lnTo>
                  <a:lnTo>
                    <a:pt x="45" y="17"/>
                  </a:lnTo>
                  <a:lnTo>
                    <a:pt x="45" y="14"/>
                  </a:lnTo>
                  <a:lnTo>
                    <a:pt x="46" y="14"/>
                  </a:lnTo>
                  <a:lnTo>
                    <a:pt x="49" y="16"/>
                  </a:lnTo>
                  <a:lnTo>
                    <a:pt x="49" y="14"/>
                  </a:lnTo>
                  <a:lnTo>
                    <a:pt x="53" y="13"/>
                  </a:lnTo>
                  <a:lnTo>
                    <a:pt x="54" y="13"/>
                  </a:lnTo>
                  <a:lnTo>
                    <a:pt x="56" y="13"/>
                  </a:lnTo>
                  <a:lnTo>
                    <a:pt x="57" y="13"/>
                  </a:lnTo>
                  <a:lnTo>
                    <a:pt x="61" y="11"/>
                  </a:lnTo>
                  <a:lnTo>
                    <a:pt x="62" y="13"/>
                  </a:lnTo>
                  <a:lnTo>
                    <a:pt x="68" y="13"/>
                  </a:lnTo>
                  <a:lnTo>
                    <a:pt x="72" y="14"/>
                  </a:lnTo>
                  <a:lnTo>
                    <a:pt x="72" y="16"/>
                  </a:lnTo>
                  <a:lnTo>
                    <a:pt x="75" y="13"/>
                  </a:lnTo>
                  <a:lnTo>
                    <a:pt x="75" y="11"/>
                  </a:lnTo>
                  <a:lnTo>
                    <a:pt x="75" y="11"/>
                  </a:lnTo>
                  <a:lnTo>
                    <a:pt x="75" y="8"/>
                  </a:lnTo>
                  <a:lnTo>
                    <a:pt x="75" y="6"/>
                  </a:lnTo>
                  <a:lnTo>
                    <a:pt x="76" y="6"/>
                  </a:lnTo>
                  <a:lnTo>
                    <a:pt x="78" y="5"/>
                  </a:lnTo>
                  <a:lnTo>
                    <a:pt x="76" y="3"/>
                  </a:lnTo>
                  <a:lnTo>
                    <a:pt x="76" y="1"/>
                  </a:lnTo>
                  <a:lnTo>
                    <a:pt x="75" y="1"/>
                  </a:lnTo>
                  <a:lnTo>
                    <a:pt x="75" y="0"/>
                  </a:lnTo>
                  <a:lnTo>
                    <a:pt x="72" y="0"/>
                  </a:lnTo>
                  <a:lnTo>
                    <a:pt x="72" y="0"/>
                  </a:lnTo>
                  <a:lnTo>
                    <a:pt x="72" y="1"/>
                  </a:lnTo>
                  <a:lnTo>
                    <a:pt x="72" y="1"/>
                  </a:lnTo>
                  <a:lnTo>
                    <a:pt x="72" y="3"/>
                  </a:lnTo>
                  <a:lnTo>
                    <a:pt x="72" y="5"/>
                  </a:lnTo>
                  <a:lnTo>
                    <a:pt x="72" y="6"/>
                  </a:lnTo>
                  <a:lnTo>
                    <a:pt x="68" y="6"/>
                  </a:lnTo>
                  <a:lnTo>
                    <a:pt x="68" y="6"/>
                  </a:lnTo>
                  <a:lnTo>
                    <a:pt x="64" y="6"/>
                  </a:lnTo>
                  <a:lnTo>
                    <a:pt x="62" y="6"/>
                  </a:lnTo>
                  <a:lnTo>
                    <a:pt x="61" y="6"/>
                  </a:lnTo>
                  <a:lnTo>
                    <a:pt x="59" y="5"/>
                  </a:lnTo>
                  <a:lnTo>
                    <a:pt x="56" y="6"/>
                  </a:lnTo>
                  <a:lnTo>
                    <a:pt x="56" y="6"/>
                  </a:lnTo>
                  <a:lnTo>
                    <a:pt x="54" y="3"/>
                  </a:lnTo>
                  <a:lnTo>
                    <a:pt x="53" y="3"/>
                  </a:lnTo>
                  <a:lnTo>
                    <a:pt x="51" y="3"/>
                  </a:lnTo>
                  <a:lnTo>
                    <a:pt x="49" y="3"/>
                  </a:lnTo>
                  <a:lnTo>
                    <a:pt x="46" y="5"/>
                  </a:lnTo>
                  <a:lnTo>
                    <a:pt x="43" y="6"/>
                  </a:lnTo>
                  <a:lnTo>
                    <a:pt x="40" y="6"/>
                  </a:lnTo>
                  <a:lnTo>
                    <a:pt x="37" y="6"/>
                  </a:lnTo>
                  <a:lnTo>
                    <a:pt x="37" y="6"/>
                  </a:lnTo>
                  <a:lnTo>
                    <a:pt x="34" y="6"/>
                  </a:lnTo>
                  <a:lnTo>
                    <a:pt x="34" y="6"/>
                  </a:lnTo>
                  <a:lnTo>
                    <a:pt x="30" y="8"/>
                  </a:lnTo>
                  <a:lnTo>
                    <a:pt x="29" y="8"/>
                  </a:lnTo>
                  <a:lnTo>
                    <a:pt x="26" y="9"/>
                  </a:lnTo>
                  <a:lnTo>
                    <a:pt x="21" y="11"/>
                  </a:lnTo>
                  <a:lnTo>
                    <a:pt x="16" y="13"/>
                  </a:lnTo>
                  <a:lnTo>
                    <a:pt x="14" y="13"/>
                  </a:lnTo>
                  <a:lnTo>
                    <a:pt x="11" y="13"/>
                  </a:lnTo>
                  <a:lnTo>
                    <a:pt x="13" y="14"/>
                  </a:lnTo>
                  <a:lnTo>
                    <a:pt x="13" y="16"/>
                  </a:lnTo>
                  <a:lnTo>
                    <a:pt x="13" y="17"/>
                  </a:lnTo>
                  <a:lnTo>
                    <a:pt x="11" y="19"/>
                  </a:lnTo>
                  <a:lnTo>
                    <a:pt x="10" y="19"/>
                  </a:lnTo>
                  <a:lnTo>
                    <a:pt x="8" y="25"/>
                  </a:lnTo>
                  <a:lnTo>
                    <a:pt x="5" y="25"/>
                  </a:lnTo>
                  <a:lnTo>
                    <a:pt x="5" y="27"/>
                  </a:lnTo>
                  <a:lnTo>
                    <a:pt x="5" y="28"/>
                  </a:lnTo>
                  <a:lnTo>
                    <a:pt x="5" y="28"/>
                  </a:lnTo>
                  <a:lnTo>
                    <a:pt x="5" y="32"/>
                  </a:lnTo>
                  <a:lnTo>
                    <a:pt x="3" y="30"/>
                  </a:lnTo>
                  <a:lnTo>
                    <a:pt x="2" y="32"/>
                  </a:lnTo>
                  <a:lnTo>
                    <a:pt x="3" y="32"/>
                  </a:lnTo>
                  <a:lnTo>
                    <a:pt x="5" y="32"/>
                  </a:lnTo>
                  <a:lnTo>
                    <a:pt x="5" y="35"/>
                  </a:lnTo>
                  <a:lnTo>
                    <a:pt x="8" y="36"/>
                  </a:lnTo>
                  <a:lnTo>
                    <a:pt x="10" y="40"/>
                  </a:lnTo>
                  <a:lnTo>
                    <a:pt x="11" y="40"/>
                  </a:lnTo>
                  <a:lnTo>
                    <a:pt x="13" y="38"/>
                  </a:lnTo>
                  <a:lnTo>
                    <a:pt x="14" y="40"/>
                  </a:lnTo>
                  <a:lnTo>
                    <a:pt x="16" y="40"/>
                  </a:lnTo>
                  <a:lnTo>
                    <a:pt x="14" y="41"/>
                  </a:lnTo>
                  <a:lnTo>
                    <a:pt x="11" y="40"/>
                  </a:lnTo>
                  <a:lnTo>
                    <a:pt x="10" y="41"/>
                  </a:lnTo>
                  <a:lnTo>
                    <a:pt x="11" y="43"/>
                  </a:lnTo>
                  <a:lnTo>
                    <a:pt x="13" y="43"/>
                  </a:lnTo>
                  <a:lnTo>
                    <a:pt x="14" y="46"/>
                  </a:lnTo>
                  <a:lnTo>
                    <a:pt x="16" y="49"/>
                  </a:lnTo>
                  <a:lnTo>
                    <a:pt x="18" y="46"/>
                  </a:lnTo>
                  <a:lnTo>
                    <a:pt x="19" y="49"/>
                  </a:lnTo>
                  <a:lnTo>
                    <a:pt x="21" y="49"/>
                  </a:lnTo>
                  <a:lnTo>
                    <a:pt x="26" y="49"/>
                  </a:lnTo>
                  <a:lnTo>
                    <a:pt x="29" y="49"/>
                  </a:lnTo>
                  <a:lnTo>
                    <a:pt x="30" y="49"/>
                  </a:lnTo>
                  <a:lnTo>
                    <a:pt x="30" y="46"/>
                  </a:lnTo>
                  <a:lnTo>
                    <a:pt x="34" y="49"/>
                  </a:lnTo>
                  <a:lnTo>
                    <a:pt x="34" y="49"/>
                  </a:lnTo>
                  <a:lnTo>
                    <a:pt x="37" y="49"/>
                  </a:lnTo>
                  <a:lnTo>
                    <a:pt x="40" y="52"/>
                  </a:lnTo>
                  <a:lnTo>
                    <a:pt x="40" y="52"/>
                  </a:lnTo>
                  <a:lnTo>
                    <a:pt x="40" y="52"/>
                  </a:lnTo>
                  <a:lnTo>
                    <a:pt x="37" y="54"/>
                  </a:lnTo>
                  <a:lnTo>
                    <a:pt x="37" y="54"/>
                  </a:lnTo>
                  <a:lnTo>
                    <a:pt x="34" y="52"/>
                  </a:lnTo>
                  <a:lnTo>
                    <a:pt x="30" y="52"/>
                  </a:lnTo>
                  <a:lnTo>
                    <a:pt x="29" y="49"/>
                  </a:lnTo>
                  <a:lnTo>
                    <a:pt x="26" y="49"/>
                  </a:lnTo>
                  <a:lnTo>
                    <a:pt x="24" y="49"/>
                  </a:lnTo>
                  <a:lnTo>
                    <a:pt x="22" y="49"/>
                  </a:lnTo>
                  <a:lnTo>
                    <a:pt x="21" y="52"/>
                  </a:lnTo>
                  <a:lnTo>
                    <a:pt x="19" y="52"/>
                  </a:lnTo>
                  <a:lnTo>
                    <a:pt x="18" y="52"/>
                  </a:lnTo>
                  <a:lnTo>
                    <a:pt x="16" y="54"/>
                  </a:lnTo>
                  <a:lnTo>
                    <a:pt x="21" y="59"/>
                  </a:lnTo>
                  <a:lnTo>
                    <a:pt x="22" y="62"/>
                  </a:lnTo>
                  <a:lnTo>
                    <a:pt x="22" y="63"/>
                  </a:lnTo>
                  <a:lnTo>
                    <a:pt x="22" y="67"/>
                  </a:lnTo>
                  <a:lnTo>
                    <a:pt x="22" y="68"/>
                  </a:lnTo>
                  <a:lnTo>
                    <a:pt x="24" y="70"/>
                  </a:lnTo>
                  <a:lnTo>
                    <a:pt x="27" y="71"/>
                  </a:lnTo>
                  <a:lnTo>
                    <a:pt x="27" y="70"/>
                  </a:lnTo>
                  <a:lnTo>
                    <a:pt x="27" y="68"/>
                  </a:lnTo>
                  <a:lnTo>
                    <a:pt x="29" y="68"/>
                  </a:lnTo>
                  <a:lnTo>
                    <a:pt x="30" y="70"/>
                  </a:lnTo>
                  <a:lnTo>
                    <a:pt x="30" y="73"/>
                  </a:lnTo>
                  <a:lnTo>
                    <a:pt x="30" y="76"/>
                  </a:lnTo>
                  <a:lnTo>
                    <a:pt x="34" y="76"/>
                  </a:lnTo>
                  <a:lnTo>
                    <a:pt x="34" y="71"/>
                  </a:lnTo>
                  <a:lnTo>
                    <a:pt x="37" y="71"/>
                  </a:lnTo>
                  <a:lnTo>
                    <a:pt x="41" y="76"/>
                  </a:lnTo>
                  <a:lnTo>
                    <a:pt x="40" y="75"/>
                  </a:lnTo>
                  <a:lnTo>
                    <a:pt x="40" y="73"/>
                  </a:lnTo>
                  <a:lnTo>
                    <a:pt x="40" y="70"/>
                  </a:lnTo>
                  <a:lnTo>
                    <a:pt x="40" y="68"/>
                  </a:lnTo>
                  <a:lnTo>
                    <a:pt x="37" y="63"/>
                  </a:lnTo>
                  <a:lnTo>
                    <a:pt x="37" y="59"/>
                  </a:lnTo>
                  <a:lnTo>
                    <a:pt x="40" y="62"/>
                  </a:lnTo>
                  <a:lnTo>
                    <a:pt x="40" y="62"/>
                  </a:lnTo>
                  <a:lnTo>
                    <a:pt x="40" y="63"/>
                  </a:lnTo>
                  <a:lnTo>
                    <a:pt x="43" y="62"/>
                  </a:lnTo>
                  <a:lnTo>
                    <a:pt x="43" y="60"/>
                  </a:lnTo>
                  <a:lnTo>
                    <a:pt x="41" y="59"/>
                  </a:lnTo>
                  <a:lnTo>
                    <a:pt x="41" y="60"/>
                  </a:lnTo>
                  <a:lnTo>
                    <a:pt x="40" y="59"/>
                  </a:lnTo>
                  <a:lnTo>
                    <a:pt x="40" y="57"/>
                  </a:lnTo>
                  <a:lnTo>
                    <a:pt x="40" y="55"/>
                  </a:lnTo>
                  <a:lnTo>
                    <a:pt x="40" y="54"/>
                  </a:lnTo>
                  <a:lnTo>
                    <a:pt x="40" y="54"/>
                  </a:lnTo>
                  <a:lnTo>
                    <a:pt x="40" y="54"/>
                  </a:lnTo>
                  <a:lnTo>
                    <a:pt x="40" y="54"/>
                  </a:lnTo>
                  <a:lnTo>
                    <a:pt x="40" y="54"/>
                  </a:lnTo>
                  <a:lnTo>
                    <a:pt x="40" y="54"/>
                  </a:lnTo>
                  <a:lnTo>
                    <a:pt x="40" y="54"/>
                  </a:lnTo>
                  <a:lnTo>
                    <a:pt x="40" y="54"/>
                  </a:lnTo>
                  <a:lnTo>
                    <a:pt x="40" y="54"/>
                  </a:lnTo>
                  <a:lnTo>
                    <a:pt x="40" y="54"/>
                  </a:lnTo>
                  <a:close/>
                  <a:moveTo>
                    <a:pt x="75" y="94"/>
                  </a:moveTo>
                  <a:lnTo>
                    <a:pt x="75" y="95"/>
                  </a:lnTo>
                  <a:lnTo>
                    <a:pt x="72" y="94"/>
                  </a:lnTo>
                  <a:lnTo>
                    <a:pt x="72" y="92"/>
                  </a:lnTo>
                  <a:lnTo>
                    <a:pt x="68" y="92"/>
                  </a:lnTo>
                  <a:lnTo>
                    <a:pt x="65" y="90"/>
                  </a:lnTo>
                  <a:lnTo>
                    <a:pt x="62" y="90"/>
                  </a:lnTo>
                  <a:lnTo>
                    <a:pt x="59" y="90"/>
                  </a:lnTo>
                  <a:lnTo>
                    <a:pt x="57" y="92"/>
                  </a:lnTo>
                  <a:lnTo>
                    <a:pt x="54" y="90"/>
                  </a:lnTo>
                  <a:lnTo>
                    <a:pt x="53" y="89"/>
                  </a:lnTo>
                  <a:lnTo>
                    <a:pt x="51" y="89"/>
                  </a:lnTo>
                  <a:lnTo>
                    <a:pt x="49" y="89"/>
                  </a:lnTo>
                  <a:lnTo>
                    <a:pt x="48" y="87"/>
                  </a:lnTo>
                  <a:lnTo>
                    <a:pt x="48" y="89"/>
                  </a:lnTo>
                  <a:lnTo>
                    <a:pt x="46" y="89"/>
                  </a:lnTo>
                  <a:lnTo>
                    <a:pt x="46" y="90"/>
                  </a:lnTo>
                  <a:lnTo>
                    <a:pt x="46" y="94"/>
                  </a:lnTo>
                  <a:lnTo>
                    <a:pt x="54" y="94"/>
                  </a:lnTo>
                  <a:lnTo>
                    <a:pt x="61" y="95"/>
                  </a:lnTo>
                  <a:lnTo>
                    <a:pt x="62" y="97"/>
                  </a:lnTo>
                  <a:lnTo>
                    <a:pt x="65" y="98"/>
                  </a:lnTo>
                  <a:lnTo>
                    <a:pt x="65" y="97"/>
                  </a:lnTo>
                  <a:lnTo>
                    <a:pt x="76" y="97"/>
                  </a:lnTo>
                  <a:lnTo>
                    <a:pt x="80" y="95"/>
                  </a:lnTo>
                  <a:lnTo>
                    <a:pt x="80" y="94"/>
                  </a:lnTo>
                  <a:lnTo>
                    <a:pt x="78" y="94"/>
                  </a:lnTo>
                  <a:lnTo>
                    <a:pt x="75" y="94"/>
                  </a:lnTo>
                  <a:lnTo>
                    <a:pt x="75" y="94"/>
                  </a:lnTo>
                  <a:lnTo>
                    <a:pt x="75" y="94"/>
                  </a:lnTo>
                  <a:lnTo>
                    <a:pt x="75" y="94"/>
                  </a:lnTo>
                  <a:lnTo>
                    <a:pt x="75" y="94"/>
                  </a:lnTo>
                  <a:lnTo>
                    <a:pt x="75" y="94"/>
                  </a:lnTo>
                  <a:lnTo>
                    <a:pt x="75" y="94"/>
                  </a:lnTo>
                  <a:lnTo>
                    <a:pt x="75" y="94"/>
                  </a:lnTo>
                  <a:lnTo>
                    <a:pt x="75" y="94"/>
                  </a:lnTo>
                  <a:close/>
                  <a:moveTo>
                    <a:pt x="80" y="46"/>
                  </a:moveTo>
                  <a:lnTo>
                    <a:pt x="78" y="43"/>
                  </a:lnTo>
                  <a:lnTo>
                    <a:pt x="76" y="46"/>
                  </a:lnTo>
                  <a:lnTo>
                    <a:pt x="78" y="49"/>
                  </a:lnTo>
                  <a:lnTo>
                    <a:pt x="76" y="49"/>
                  </a:lnTo>
                  <a:lnTo>
                    <a:pt x="78" y="52"/>
                  </a:lnTo>
                  <a:lnTo>
                    <a:pt x="81" y="52"/>
                  </a:lnTo>
                  <a:lnTo>
                    <a:pt x="81" y="49"/>
                  </a:lnTo>
                  <a:lnTo>
                    <a:pt x="80" y="46"/>
                  </a:lnTo>
                  <a:lnTo>
                    <a:pt x="80" y="46"/>
                  </a:lnTo>
                  <a:lnTo>
                    <a:pt x="80" y="46"/>
                  </a:lnTo>
                  <a:lnTo>
                    <a:pt x="80" y="46"/>
                  </a:lnTo>
                  <a:lnTo>
                    <a:pt x="80" y="46"/>
                  </a:lnTo>
                  <a:lnTo>
                    <a:pt x="80" y="46"/>
                  </a:lnTo>
                  <a:lnTo>
                    <a:pt x="80" y="46"/>
                  </a:lnTo>
                  <a:lnTo>
                    <a:pt x="80" y="46"/>
                  </a:lnTo>
                  <a:lnTo>
                    <a:pt x="80" y="46"/>
                  </a:lnTo>
                  <a:lnTo>
                    <a:pt x="80" y="46"/>
                  </a:lnTo>
                  <a:close/>
                  <a:moveTo>
                    <a:pt x="67" y="51"/>
                  </a:moveTo>
                  <a:lnTo>
                    <a:pt x="68" y="49"/>
                  </a:lnTo>
                  <a:lnTo>
                    <a:pt x="68" y="46"/>
                  </a:lnTo>
                  <a:lnTo>
                    <a:pt x="68" y="46"/>
                  </a:lnTo>
                  <a:lnTo>
                    <a:pt x="65" y="46"/>
                  </a:lnTo>
                  <a:lnTo>
                    <a:pt x="65" y="48"/>
                  </a:lnTo>
                  <a:lnTo>
                    <a:pt x="67" y="49"/>
                  </a:lnTo>
                  <a:lnTo>
                    <a:pt x="67" y="49"/>
                  </a:lnTo>
                  <a:lnTo>
                    <a:pt x="67" y="51"/>
                  </a:lnTo>
                  <a:lnTo>
                    <a:pt x="67" y="51"/>
                  </a:lnTo>
                  <a:lnTo>
                    <a:pt x="67" y="51"/>
                  </a:lnTo>
                  <a:lnTo>
                    <a:pt x="67" y="51"/>
                  </a:lnTo>
                  <a:lnTo>
                    <a:pt x="67" y="51"/>
                  </a:lnTo>
                  <a:lnTo>
                    <a:pt x="67" y="51"/>
                  </a:lnTo>
                  <a:lnTo>
                    <a:pt x="67" y="51"/>
                  </a:lnTo>
                  <a:lnTo>
                    <a:pt x="67" y="51"/>
                  </a:lnTo>
                  <a:lnTo>
                    <a:pt x="67" y="51"/>
                  </a:lnTo>
                  <a:close/>
                  <a:moveTo>
                    <a:pt x="88" y="76"/>
                  </a:moveTo>
                  <a:lnTo>
                    <a:pt x="86" y="78"/>
                  </a:lnTo>
                  <a:lnTo>
                    <a:pt x="86" y="79"/>
                  </a:lnTo>
                  <a:lnTo>
                    <a:pt x="86" y="81"/>
                  </a:lnTo>
                  <a:lnTo>
                    <a:pt x="89" y="81"/>
                  </a:lnTo>
                  <a:lnTo>
                    <a:pt x="91" y="79"/>
                  </a:lnTo>
                  <a:lnTo>
                    <a:pt x="91" y="78"/>
                  </a:lnTo>
                  <a:lnTo>
                    <a:pt x="91" y="78"/>
                  </a:lnTo>
                  <a:lnTo>
                    <a:pt x="91" y="75"/>
                  </a:lnTo>
                  <a:lnTo>
                    <a:pt x="88" y="76"/>
                  </a:lnTo>
                  <a:lnTo>
                    <a:pt x="88" y="76"/>
                  </a:lnTo>
                  <a:lnTo>
                    <a:pt x="88" y="76"/>
                  </a:lnTo>
                  <a:lnTo>
                    <a:pt x="88" y="76"/>
                  </a:lnTo>
                  <a:lnTo>
                    <a:pt x="88" y="76"/>
                  </a:lnTo>
                  <a:lnTo>
                    <a:pt x="88" y="76"/>
                  </a:lnTo>
                  <a:lnTo>
                    <a:pt x="88" y="76"/>
                  </a:lnTo>
                  <a:lnTo>
                    <a:pt x="88" y="76"/>
                  </a:lnTo>
                  <a:lnTo>
                    <a:pt x="88" y="76"/>
                  </a:lnTo>
                  <a:close/>
                  <a:moveTo>
                    <a:pt x="2" y="32"/>
                  </a:moveTo>
                  <a:lnTo>
                    <a:pt x="0" y="32"/>
                  </a:lnTo>
                  <a:lnTo>
                    <a:pt x="2" y="35"/>
                  </a:lnTo>
                  <a:lnTo>
                    <a:pt x="3" y="36"/>
                  </a:lnTo>
                  <a:lnTo>
                    <a:pt x="3" y="36"/>
                  </a:lnTo>
                  <a:lnTo>
                    <a:pt x="5" y="35"/>
                  </a:lnTo>
                  <a:lnTo>
                    <a:pt x="3" y="32"/>
                  </a:lnTo>
                  <a:lnTo>
                    <a:pt x="2" y="32"/>
                  </a:lnTo>
                  <a:lnTo>
                    <a:pt x="2" y="32"/>
                  </a:lnTo>
                  <a:lnTo>
                    <a:pt x="2" y="32"/>
                  </a:lnTo>
                  <a:lnTo>
                    <a:pt x="2" y="32"/>
                  </a:lnTo>
                  <a:lnTo>
                    <a:pt x="2" y="32"/>
                  </a:lnTo>
                  <a:lnTo>
                    <a:pt x="2" y="32"/>
                  </a:lnTo>
                  <a:lnTo>
                    <a:pt x="2" y="32"/>
                  </a:lnTo>
                  <a:lnTo>
                    <a:pt x="2" y="32"/>
                  </a:lnTo>
                  <a:lnTo>
                    <a:pt x="2" y="32"/>
                  </a:lnTo>
                  <a:close/>
                  <a:moveTo>
                    <a:pt x="8" y="51"/>
                  </a:moveTo>
                  <a:lnTo>
                    <a:pt x="8" y="52"/>
                  </a:lnTo>
                  <a:lnTo>
                    <a:pt x="10" y="52"/>
                  </a:lnTo>
                  <a:lnTo>
                    <a:pt x="11" y="54"/>
                  </a:lnTo>
                  <a:lnTo>
                    <a:pt x="11" y="52"/>
                  </a:lnTo>
                  <a:lnTo>
                    <a:pt x="11" y="51"/>
                  </a:lnTo>
                  <a:lnTo>
                    <a:pt x="10" y="49"/>
                  </a:lnTo>
                  <a:lnTo>
                    <a:pt x="8" y="51"/>
                  </a:lnTo>
                  <a:lnTo>
                    <a:pt x="8" y="51"/>
                  </a:lnTo>
                  <a:lnTo>
                    <a:pt x="8" y="51"/>
                  </a:lnTo>
                  <a:lnTo>
                    <a:pt x="8" y="51"/>
                  </a:lnTo>
                  <a:lnTo>
                    <a:pt x="8" y="51"/>
                  </a:lnTo>
                  <a:lnTo>
                    <a:pt x="8" y="51"/>
                  </a:lnTo>
                  <a:lnTo>
                    <a:pt x="8" y="51"/>
                  </a:lnTo>
                  <a:lnTo>
                    <a:pt x="8" y="51"/>
                  </a:lnTo>
                  <a:lnTo>
                    <a:pt x="8" y="51"/>
                  </a:lnTo>
                  <a:close/>
                  <a:moveTo>
                    <a:pt x="62" y="68"/>
                  </a:moveTo>
                  <a:lnTo>
                    <a:pt x="62" y="65"/>
                  </a:lnTo>
                  <a:lnTo>
                    <a:pt x="62" y="65"/>
                  </a:lnTo>
                  <a:lnTo>
                    <a:pt x="59" y="68"/>
                  </a:lnTo>
                  <a:lnTo>
                    <a:pt x="59" y="68"/>
                  </a:lnTo>
                  <a:lnTo>
                    <a:pt x="61" y="68"/>
                  </a:lnTo>
                  <a:lnTo>
                    <a:pt x="62" y="68"/>
                  </a:lnTo>
                  <a:lnTo>
                    <a:pt x="62" y="68"/>
                  </a:lnTo>
                  <a:lnTo>
                    <a:pt x="62" y="68"/>
                  </a:lnTo>
                  <a:lnTo>
                    <a:pt x="62" y="68"/>
                  </a:lnTo>
                  <a:lnTo>
                    <a:pt x="62" y="68"/>
                  </a:lnTo>
                  <a:lnTo>
                    <a:pt x="62" y="68"/>
                  </a:lnTo>
                  <a:lnTo>
                    <a:pt x="62" y="68"/>
                  </a:lnTo>
                  <a:lnTo>
                    <a:pt x="62" y="68"/>
                  </a:lnTo>
                  <a:lnTo>
                    <a:pt x="62" y="68"/>
                  </a:lnTo>
                  <a:close/>
                  <a:moveTo>
                    <a:pt x="59" y="28"/>
                  </a:moveTo>
                  <a:lnTo>
                    <a:pt x="59" y="28"/>
                  </a:lnTo>
                  <a:lnTo>
                    <a:pt x="59" y="28"/>
                  </a:lnTo>
                  <a:lnTo>
                    <a:pt x="56" y="28"/>
                  </a:lnTo>
                  <a:lnTo>
                    <a:pt x="56" y="30"/>
                  </a:lnTo>
                  <a:lnTo>
                    <a:pt x="57" y="32"/>
                  </a:lnTo>
                  <a:lnTo>
                    <a:pt x="57" y="30"/>
                  </a:lnTo>
                  <a:lnTo>
                    <a:pt x="59" y="32"/>
                  </a:lnTo>
                  <a:lnTo>
                    <a:pt x="59" y="28"/>
                  </a:lnTo>
                  <a:lnTo>
                    <a:pt x="59" y="28"/>
                  </a:lnTo>
                  <a:lnTo>
                    <a:pt x="59" y="28"/>
                  </a:lnTo>
                  <a:lnTo>
                    <a:pt x="59" y="28"/>
                  </a:lnTo>
                  <a:lnTo>
                    <a:pt x="59" y="28"/>
                  </a:lnTo>
                  <a:lnTo>
                    <a:pt x="59" y="28"/>
                  </a:lnTo>
                  <a:lnTo>
                    <a:pt x="59" y="28"/>
                  </a:lnTo>
                  <a:lnTo>
                    <a:pt x="59" y="28"/>
                  </a:lnTo>
                  <a:lnTo>
                    <a:pt x="59" y="2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0" name="Freeform 350">
              <a:extLst>
                <a:ext uri="{FF2B5EF4-FFF2-40B4-BE49-F238E27FC236}">
                  <a16:creationId xmlns:a16="http://schemas.microsoft.com/office/drawing/2014/main" id="{B3601F52-174A-926E-0442-5E93790F4709}"/>
                </a:ext>
              </a:extLst>
            </p:cNvPr>
            <p:cNvSpPr>
              <a:spLocks/>
            </p:cNvSpPr>
            <p:nvPr/>
          </p:nvSpPr>
          <p:spPr bwMode="auto">
            <a:xfrm>
              <a:off x="5950860" y="2416827"/>
              <a:ext cx="17945" cy="17945"/>
            </a:xfrm>
            <a:custGeom>
              <a:avLst/>
              <a:gdLst>
                <a:gd name="T0" fmla="*/ 0 w 8"/>
                <a:gd name="T1" fmla="*/ 0 h 8"/>
                <a:gd name="T2" fmla="*/ 0 w 8"/>
                <a:gd name="T3" fmla="*/ 2 h 8"/>
                <a:gd name="T4" fmla="*/ 0 w 8"/>
                <a:gd name="T5" fmla="*/ 4 h 8"/>
                <a:gd name="T6" fmla="*/ 0 w 8"/>
                <a:gd name="T7" fmla="*/ 5 h 8"/>
                <a:gd name="T8" fmla="*/ 0 w 8"/>
                <a:gd name="T9" fmla="*/ 7 h 8"/>
                <a:gd name="T10" fmla="*/ 0 w 8"/>
                <a:gd name="T11" fmla="*/ 8 h 8"/>
                <a:gd name="T12" fmla="*/ 7 w 8"/>
                <a:gd name="T13" fmla="*/ 8 h 8"/>
                <a:gd name="T14" fmla="*/ 8 w 8"/>
                <a:gd name="T15" fmla="*/ 7 h 8"/>
                <a:gd name="T16" fmla="*/ 8 w 8"/>
                <a:gd name="T17" fmla="*/ 5 h 8"/>
                <a:gd name="T18" fmla="*/ 7 w 8"/>
                <a:gd name="T19" fmla="*/ 4 h 8"/>
                <a:gd name="T20" fmla="*/ 3 w 8"/>
                <a:gd name="T21" fmla="*/ 2 h 8"/>
                <a:gd name="T22" fmla="*/ 3 w 8"/>
                <a:gd name="T23" fmla="*/ 0 h 8"/>
                <a:gd name="T24" fmla="*/ 2 w 8"/>
                <a:gd name="T25" fmla="*/ 0 h 8"/>
                <a:gd name="T26" fmla="*/ 0 w 8"/>
                <a:gd name="T27" fmla="*/ 0 h 8"/>
                <a:gd name="T28" fmla="*/ 0 w 8"/>
                <a:gd name="T29" fmla="*/ 0 h 8"/>
                <a:gd name="T30" fmla="*/ 0 w 8"/>
                <a:gd name="T31" fmla="*/ 0 h 8"/>
                <a:gd name="T32" fmla="*/ 0 w 8"/>
                <a:gd name="T33" fmla="*/ 0 h 8"/>
                <a:gd name="T34" fmla="*/ 0 w 8"/>
                <a:gd name="T35" fmla="*/ 0 h 8"/>
                <a:gd name="T36" fmla="*/ 0 w 8"/>
                <a:gd name="T37" fmla="*/ 0 h 8"/>
                <a:gd name="T38" fmla="*/ 0 w 8"/>
                <a:gd name="T39" fmla="*/ 0 h 8"/>
                <a:gd name="T40" fmla="*/ 0 w 8"/>
                <a:gd name="T41" fmla="*/ 0 h 8"/>
                <a:gd name="T42" fmla="*/ 0 w 8"/>
                <a:gd name="T4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8">
                  <a:moveTo>
                    <a:pt x="0" y="0"/>
                  </a:moveTo>
                  <a:lnTo>
                    <a:pt x="0" y="2"/>
                  </a:lnTo>
                  <a:lnTo>
                    <a:pt x="0" y="4"/>
                  </a:lnTo>
                  <a:lnTo>
                    <a:pt x="0" y="5"/>
                  </a:lnTo>
                  <a:lnTo>
                    <a:pt x="0" y="7"/>
                  </a:lnTo>
                  <a:lnTo>
                    <a:pt x="0" y="8"/>
                  </a:lnTo>
                  <a:lnTo>
                    <a:pt x="7" y="8"/>
                  </a:lnTo>
                  <a:lnTo>
                    <a:pt x="8" y="7"/>
                  </a:lnTo>
                  <a:lnTo>
                    <a:pt x="8" y="5"/>
                  </a:lnTo>
                  <a:lnTo>
                    <a:pt x="7" y="4"/>
                  </a:lnTo>
                  <a:lnTo>
                    <a:pt x="3" y="2"/>
                  </a:lnTo>
                  <a:lnTo>
                    <a:pt x="3" y="0"/>
                  </a:lnTo>
                  <a:lnTo>
                    <a:pt x="2" y="0"/>
                  </a:lnTo>
                  <a:lnTo>
                    <a:pt x="0" y="0"/>
                  </a:lnTo>
                  <a:lnTo>
                    <a:pt x="0" y="0"/>
                  </a:lnTo>
                  <a:lnTo>
                    <a:pt x="0" y="0"/>
                  </a:lnTo>
                  <a:lnTo>
                    <a:pt x="0" y="0"/>
                  </a:lnTo>
                  <a:lnTo>
                    <a:pt x="0" y="0"/>
                  </a:lnTo>
                  <a:lnTo>
                    <a:pt x="0" y="0"/>
                  </a:lnTo>
                  <a:lnTo>
                    <a:pt x="0" y="0"/>
                  </a:lnTo>
                  <a:lnTo>
                    <a:pt x="0" y="0"/>
                  </a:lnTo>
                  <a:lnTo>
                    <a:pt x="0" y="0"/>
                  </a:lnTo>
                  <a:close/>
                </a:path>
              </a:pathLst>
            </a:custGeom>
            <a:grpFill/>
            <a:ln w="3175">
              <a:solidFill>
                <a:srgbClr val="FFFFFF">
                  <a:alpha val="81000"/>
                </a:srgbClr>
              </a:solidFill>
              <a:prstDash val="solid"/>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1" name="Freeform 291">
              <a:extLst>
                <a:ext uri="{FF2B5EF4-FFF2-40B4-BE49-F238E27FC236}">
                  <a16:creationId xmlns:a16="http://schemas.microsoft.com/office/drawing/2014/main" id="{9190F651-6DFC-313C-D579-C704E2F0D313}"/>
                </a:ext>
              </a:extLst>
            </p:cNvPr>
            <p:cNvSpPr>
              <a:spLocks/>
            </p:cNvSpPr>
            <p:nvPr/>
          </p:nvSpPr>
          <p:spPr bwMode="auto">
            <a:xfrm>
              <a:off x="7572602" y="2706183"/>
              <a:ext cx="215335" cy="139071"/>
            </a:xfrm>
            <a:custGeom>
              <a:avLst/>
              <a:gdLst>
                <a:gd name="T0" fmla="*/ 93 w 96"/>
                <a:gd name="T1" fmla="*/ 48 h 62"/>
                <a:gd name="T2" fmla="*/ 93 w 96"/>
                <a:gd name="T3" fmla="*/ 43 h 62"/>
                <a:gd name="T4" fmla="*/ 90 w 96"/>
                <a:gd name="T5" fmla="*/ 40 h 62"/>
                <a:gd name="T6" fmla="*/ 90 w 96"/>
                <a:gd name="T7" fmla="*/ 35 h 62"/>
                <a:gd name="T8" fmla="*/ 81 w 96"/>
                <a:gd name="T9" fmla="*/ 35 h 62"/>
                <a:gd name="T10" fmla="*/ 76 w 96"/>
                <a:gd name="T11" fmla="*/ 32 h 62"/>
                <a:gd name="T12" fmla="*/ 73 w 96"/>
                <a:gd name="T13" fmla="*/ 25 h 62"/>
                <a:gd name="T14" fmla="*/ 69 w 96"/>
                <a:gd name="T15" fmla="*/ 22 h 62"/>
                <a:gd name="T16" fmla="*/ 62 w 96"/>
                <a:gd name="T17" fmla="*/ 22 h 62"/>
                <a:gd name="T18" fmla="*/ 55 w 96"/>
                <a:gd name="T19" fmla="*/ 24 h 62"/>
                <a:gd name="T20" fmla="*/ 49 w 96"/>
                <a:gd name="T21" fmla="*/ 22 h 62"/>
                <a:gd name="T22" fmla="*/ 44 w 96"/>
                <a:gd name="T23" fmla="*/ 21 h 62"/>
                <a:gd name="T24" fmla="*/ 38 w 96"/>
                <a:gd name="T25" fmla="*/ 22 h 62"/>
                <a:gd name="T26" fmla="*/ 31 w 96"/>
                <a:gd name="T27" fmla="*/ 21 h 62"/>
                <a:gd name="T28" fmla="*/ 28 w 96"/>
                <a:gd name="T29" fmla="*/ 21 h 62"/>
                <a:gd name="T30" fmla="*/ 23 w 96"/>
                <a:gd name="T31" fmla="*/ 21 h 62"/>
                <a:gd name="T32" fmla="*/ 20 w 96"/>
                <a:gd name="T33" fmla="*/ 17 h 62"/>
                <a:gd name="T34" fmla="*/ 22 w 96"/>
                <a:gd name="T35" fmla="*/ 14 h 62"/>
                <a:gd name="T36" fmla="*/ 25 w 96"/>
                <a:gd name="T37" fmla="*/ 11 h 62"/>
                <a:gd name="T38" fmla="*/ 28 w 96"/>
                <a:gd name="T39" fmla="*/ 11 h 62"/>
                <a:gd name="T40" fmla="*/ 35 w 96"/>
                <a:gd name="T41" fmla="*/ 14 h 62"/>
                <a:gd name="T42" fmla="*/ 35 w 96"/>
                <a:gd name="T43" fmla="*/ 11 h 62"/>
                <a:gd name="T44" fmla="*/ 31 w 96"/>
                <a:gd name="T45" fmla="*/ 8 h 62"/>
                <a:gd name="T46" fmla="*/ 31 w 96"/>
                <a:gd name="T47" fmla="*/ 3 h 62"/>
                <a:gd name="T48" fmla="*/ 23 w 96"/>
                <a:gd name="T49" fmla="*/ 5 h 62"/>
                <a:gd name="T50" fmla="*/ 17 w 96"/>
                <a:gd name="T51" fmla="*/ 5 h 62"/>
                <a:gd name="T52" fmla="*/ 19 w 96"/>
                <a:gd name="T53" fmla="*/ 11 h 62"/>
                <a:gd name="T54" fmla="*/ 12 w 96"/>
                <a:gd name="T55" fmla="*/ 11 h 62"/>
                <a:gd name="T56" fmla="*/ 14 w 96"/>
                <a:gd name="T57" fmla="*/ 11 h 62"/>
                <a:gd name="T58" fmla="*/ 16 w 96"/>
                <a:gd name="T59" fmla="*/ 14 h 62"/>
                <a:gd name="T60" fmla="*/ 12 w 96"/>
                <a:gd name="T61" fmla="*/ 17 h 62"/>
                <a:gd name="T62" fmla="*/ 3 w 96"/>
                <a:gd name="T63" fmla="*/ 21 h 62"/>
                <a:gd name="T64" fmla="*/ 0 w 96"/>
                <a:gd name="T65" fmla="*/ 24 h 62"/>
                <a:gd name="T66" fmla="*/ 4 w 96"/>
                <a:gd name="T67" fmla="*/ 29 h 62"/>
                <a:gd name="T68" fmla="*/ 11 w 96"/>
                <a:gd name="T69" fmla="*/ 32 h 62"/>
                <a:gd name="T70" fmla="*/ 14 w 96"/>
                <a:gd name="T71" fmla="*/ 41 h 62"/>
                <a:gd name="T72" fmla="*/ 11 w 96"/>
                <a:gd name="T73" fmla="*/ 48 h 62"/>
                <a:gd name="T74" fmla="*/ 11 w 96"/>
                <a:gd name="T75" fmla="*/ 52 h 62"/>
                <a:gd name="T76" fmla="*/ 17 w 96"/>
                <a:gd name="T77" fmla="*/ 57 h 62"/>
                <a:gd name="T78" fmla="*/ 22 w 96"/>
                <a:gd name="T79" fmla="*/ 54 h 62"/>
                <a:gd name="T80" fmla="*/ 25 w 96"/>
                <a:gd name="T81" fmla="*/ 54 h 62"/>
                <a:gd name="T82" fmla="*/ 28 w 96"/>
                <a:gd name="T83" fmla="*/ 56 h 62"/>
                <a:gd name="T84" fmla="*/ 28 w 96"/>
                <a:gd name="T85" fmla="*/ 52 h 62"/>
                <a:gd name="T86" fmla="*/ 31 w 96"/>
                <a:gd name="T87" fmla="*/ 48 h 62"/>
                <a:gd name="T88" fmla="*/ 38 w 96"/>
                <a:gd name="T89" fmla="*/ 49 h 62"/>
                <a:gd name="T90" fmla="*/ 38 w 96"/>
                <a:gd name="T91" fmla="*/ 48 h 62"/>
                <a:gd name="T92" fmla="*/ 38 w 96"/>
                <a:gd name="T93" fmla="*/ 44 h 62"/>
                <a:gd name="T94" fmla="*/ 41 w 96"/>
                <a:gd name="T95" fmla="*/ 38 h 62"/>
                <a:gd name="T96" fmla="*/ 49 w 96"/>
                <a:gd name="T97" fmla="*/ 38 h 62"/>
                <a:gd name="T98" fmla="*/ 52 w 96"/>
                <a:gd name="T99" fmla="*/ 43 h 62"/>
                <a:gd name="T100" fmla="*/ 52 w 96"/>
                <a:gd name="T101" fmla="*/ 48 h 62"/>
                <a:gd name="T102" fmla="*/ 55 w 96"/>
                <a:gd name="T103" fmla="*/ 57 h 62"/>
                <a:gd name="T104" fmla="*/ 58 w 96"/>
                <a:gd name="T105" fmla="*/ 60 h 62"/>
                <a:gd name="T106" fmla="*/ 63 w 96"/>
                <a:gd name="T107" fmla="*/ 57 h 62"/>
                <a:gd name="T108" fmla="*/ 69 w 96"/>
                <a:gd name="T109" fmla="*/ 56 h 62"/>
                <a:gd name="T110" fmla="*/ 79 w 96"/>
                <a:gd name="T111" fmla="*/ 51 h 62"/>
                <a:gd name="T112" fmla="*/ 84 w 96"/>
                <a:gd name="T113" fmla="*/ 52 h 62"/>
                <a:gd name="T114" fmla="*/ 96 w 96"/>
                <a:gd name="T115" fmla="*/ 54 h 62"/>
                <a:gd name="T116" fmla="*/ 96 w 96"/>
                <a:gd name="T117" fmla="*/ 51 h 62"/>
                <a:gd name="T118" fmla="*/ 96 w 96"/>
                <a:gd name="T119" fmla="*/ 51 h 62"/>
                <a:gd name="T120" fmla="*/ 96 w 96"/>
                <a:gd name="T121"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62">
                  <a:moveTo>
                    <a:pt x="96" y="51"/>
                  </a:moveTo>
                  <a:lnTo>
                    <a:pt x="96" y="49"/>
                  </a:lnTo>
                  <a:lnTo>
                    <a:pt x="93" y="48"/>
                  </a:lnTo>
                  <a:lnTo>
                    <a:pt x="93" y="48"/>
                  </a:lnTo>
                  <a:lnTo>
                    <a:pt x="93" y="44"/>
                  </a:lnTo>
                  <a:lnTo>
                    <a:pt x="93" y="43"/>
                  </a:lnTo>
                  <a:lnTo>
                    <a:pt x="93" y="41"/>
                  </a:lnTo>
                  <a:lnTo>
                    <a:pt x="90" y="41"/>
                  </a:lnTo>
                  <a:lnTo>
                    <a:pt x="90" y="40"/>
                  </a:lnTo>
                  <a:lnTo>
                    <a:pt x="90" y="38"/>
                  </a:lnTo>
                  <a:lnTo>
                    <a:pt x="90" y="35"/>
                  </a:lnTo>
                  <a:lnTo>
                    <a:pt x="90" y="35"/>
                  </a:lnTo>
                  <a:lnTo>
                    <a:pt x="84" y="32"/>
                  </a:lnTo>
                  <a:lnTo>
                    <a:pt x="84" y="32"/>
                  </a:lnTo>
                  <a:lnTo>
                    <a:pt x="81" y="35"/>
                  </a:lnTo>
                  <a:lnTo>
                    <a:pt x="79" y="35"/>
                  </a:lnTo>
                  <a:lnTo>
                    <a:pt x="77" y="32"/>
                  </a:lnTo>
                  <a:lnTo>
                    <a:pt x="76" y="32"/>
                  </a:lnTo>
                  <a:lnTo>
                    <a:pt x="76" y="30"/>
                  </a:lnTo>
                  <a:lnTo>
                    <a:pt x="76" y="29"/>
                  </a:lnTo>
                  <a:lnTo>
                    <a:pt x="73" y="25"/>
                  </a:lnTo>
                  <a:lnTo>
                    <a:pt x="73" y="22"/>
                  </a:lnTo>
                  <a:lnTo>
                    <a:pt x="71" y="22"/>
                  </a:lnTo>
                  <a:lnTo>
                    <a:pt x="69" y="22"/>
                  </a:lnTo>
                  <a:lnTo>
                    <a:pt x="66" y="22"/>
                  </a:lnTo>
                  <a:lnTo>
                    <a:pt x="63" y="22"/>
                  </a:lnTo>
                  <a:lnTo>
                    <a:pt x="62" y="22"/>
                  </a:lnTo>
                  <a:lnTo>
                    <a:pt x="58" y="24"/>
                  </a:lnTo>
                  <a:lnTo>
                    <a:pt x="55" y="25"/>
                  </a:lnTo>
                  <a:lnTo>
                    <a:pt x="55" y="24"/>
                  </a:lnTo>
                  <a:lnTo>
                    <a:pt x="52" y="24"/>
                  </a:lnTo>
                  <a:lnTo>
                    <a:pt x="49" y="24"/>
                  </a:lnTo>
                  <a:lnTo>
                    <a:pt x="49" y="22"/>
                  </a:lnTo>
                  <a:lnTo>
                    <a:pt x="47" y="21"/>
                  </a:lnTo>
                  <a:lnTo>
                    <a:pt x="46" y="21"/>
                  </a:lnTo>
                  <a:lnTo>
                    <a:pt x="44" y="21"/>
                  </a:lnTo>
                  <a:lnTo>
                    <a:pt x="43" y="22"/>
                  </a:lnTo>
                  <a:lnTo>
                    <a:pt x="39" y="22"/>
                  </a:lnTo>
                  <a:lnTo>
                    <a:pt x="38" y="22"/>
                  </a:lnTo>
                  <a:lnTo>
                    <a:pt x="38" y="21"/>
                  </a:lnTo>
                  <a:lnTo>
                    <a:pt x="35" y="21"/>
                  </a:lnTo>
                  <a:lnTo>
                    <a:pt x="31" y="21"/>
                  </a:lnTo>
                  <a:lnTo>
                    <a:pt x="31" y="21"/>
                  </a:lnTo>
                  <a:lnTo>
                    <a:pt x="28" y="21"/>
                  </a:lnTo>
                  <a:lnTo>
                    <a:pt x="28" y="21"/>
                  </a:lnTo>
                  <a:lnTo>
                    <a:pt x="28" y="21"/>
                  </a:lnTo>
                  <a:lnTo>
                    <a:pt x="25" y="21"/>
                  </a:lnTo>
                  <a:lnTo>
                    <a:pt x="23" y="21"/>
                  </a:lnTo>
                  <a:lnTo>
                    <a:pt x="22" y="21"/>
                  </a:lnTo>
                  <a:lnTo>
                    <a:pt x="20" y="21"/>
                  </a:lnTo>
                  <a:lnTo>
                    <a:pt x="20" y="17"/>
                  </a:lnTo>
                  <a:lnTo>
                    <a:pt x="20" y="14"/>
                  </a:lnTo>
                  <a:lnTo>
                    <a:pt x="22" y="14"/>
                  </a:lnTo>
                  <a:lnTo>
                    <a:pt x="22" y="14"/>
                  </a:lnTo>
                  <a:lnTo>
                    <a:pt x="22" y="13"/>
                  </a:lnTo>
                  <a:lnTo>
                    <a:pt x="23" y="11"/>
                  </a:lnTo>
                  <a:lnTo>
                    <a:pt x="25" y="11"/>
                  </a:lnTo>
                  <a:lnTo>
                    <a:pt x="27" y="11"/>
                  </a:lnTo>
                  <a:lnTo>
                    <a:pt x="27" y="11"/>
                  </a:lnTo>
                  <a:lnTo>
                    <a:pt x="28" y="11"/>
                  </a:lnTo>
                  <a:lnTo>
                    <a:pt x="31" y="11"/>
                  </a:lnTo>
                  <a:lnTo>
                    <a:pt x="35" y="14"/>
                  </a:lnTo>
                  <a:lnTo>
                    <a:pt x="35" y="14"/>
                  </a:lnTo>
                  <a:lnTo>
                    <a:pt x="38" y="14"/>
                  </a:lnTo>
                  <a:lnTo>
                    <a:pt x="38" y="11"/>
                  </a:lnTo>
                  <a:lnTo>
                    <a:pt x="35" y="11"/>
                  </a:lnTo>
                  <a:lnTo>
                    <a:pt x="35" y="11"/>
                  </a:lnTo>
                  <a:lnTo>
                    <a:pt x="31" y="8"/>
                  </a:lnTo>
                  <a:lnTo>
                    <a:pt x="31" y="8"/>
                  </a:lnTo>
                  <a:lnTo>
                    <a:pt x="31" y="6"/>
                  </a:lnTo>
                  <a:lnTo>
                    <a:pt x="35" y="5"/>
                  </a:lnTo>
                  <a:lnTo>
                    <a:pt x="31" y="3"/>
                  </a:lnTo>
                  <a:lnTo>
                    <a:pt x="28" y="0"/>
                  </a:lnTo>
                  <a:lnTo>
                    <a:pt x="27" y="3"/>
                  </a:lnTo>
                  <a:lnTo>
                    <a:pt x="23" y="5"/>
                  </a:lnTo>
                  <a:lnTo>
                    <a:pt x="20" y="3"/>
                  </a:lnTo>
                  <a:lnTo>
                    <a:pt x="19" y="3"/>
                  </a:lnTo>
                  <a:lnTo>
                    <a:pt x="17" y="5"/>
                  </a:lnTo>
                  <a:lnTo>
                    <a:pt x="17" y="6"/>
                  </a:lnTo>
                  <a:lnTo>
                    <a:pt x="19" y="8"/>
                  </a:lnTo>
                  <a:lnTo>
                    <a:pt x="19" y="11"/>
                  </a:lnTo>
                  <a:lnTo>
                    <a:pt x="16" y="11"/>
                  </a:lnTo>
                  <a:lnTo>
                    <a:pt x="14" y="11"/>
                  </a:lnTo>
                  <a:lnTo>
                    <a:pt x="12" y="11"/>
                  </a:lnTo>
                  <a:lnTo>
                    <a:pt x="11" y="11"/>
                  </a:lnTo>
                  <a:lnTo>
                    <a:pt x="12" y="11"/>
                  </a:lnTo>
                  <a:lnTo>
                    <a:pt x="14" y="11"/>
                  </a:lnTo>
                  <a:lnTo>
                    <a:pt x="16" y="14"/>
                  </a:lnTo>
                  <a:lnTo>
                    <a:pt x="14" y="14"/>
                  </a:lnTo>
                  <a:lnTo>
                    <a:pt x="16" y="14"/>
                  </a:lnTo>
                  <a:lnTo>
                    <a:pt x="14" y="14"/>
                  </a:lnTo>
                  <a:lnTo>
                    <a:pt x="12" y="17"/>
                  </a:lnTo>
                  <a:lnTo>
                    <a:pt x="12" y="17"/>
                  </a:lnTo>
                  <a:lnTo>
                    <a:pt x="12" y="21"/>
                  </a:lnTo>
                  <a:lnTo>
                    <a:pt x="11" y="21"/>
                  </a:lnTo>
                  <a:lnTo>
                    <a:pt x="3" y="21"/>
                  </a:lnTo>
                  <a:lnTo>
                    <a:pt x="0" y="21"/>
                  </a:lnTo>
                  <a:lnTo>
                    <a:pt x="0" y="21"/>
                  </a:lnTo>
                  <a:lnTo>
                    <a:pt x="0" y="24"/>
                  </a:lnTo>
                  <a:lnTo>
                    <a:pt x="3" y="25"/>
                  </a:lnTo>
                  <a:lnTo>
                    <a:pt x="3" y="27"/>
                  </a:lnTo>
                  <a:lnTo>
                    <a:pt x="4" y="29"/>
                  </a:lnTo>
                  <a:lnTo>
                    <a:pt x="8" y="29"/>
                  </a:lnTo>
                  <a:lnTo>
                    <a:pt x="9" y="30"/>
                  </a:lnTo>
                  <a:lnTo>
                    <a:pt x="11" y="32"/>
                  </a:lnTo>
                  <a:lnTo>
                    <a:pt x="11" y="35"/>
                  </a:lnTo>
                  <a:lnTo>
                    <a:pt x="12" y="38"/>
                  </a:lnTo>
                  <a:lnTo>
                    <a:pt x="14" y="41"/>
                  </a:lnTo>
                  <a:lnTo>
                    <a:pt x="14" y="41"/>
                  </a:lnTo>
                  <a:lnTo>
                    <a:pt x="14" y="43"/>
                  </a:lnTo>
                  <a:lnTo>
                    <a:pt x="11" y="48"/>
                  </a:lnTo>
                  <a:lnTo>
                    <a:pt x="11" y="49"/>
                  </a:lnTo>
                  <a:lnTo>
                    <a:pt x="11" y="51"/>
                  </a:lnTo>
                  <a:lnTo>
                    <a:pt x="11" y="52"/>
                  </a:lnTo>
                  <a:lnTo>
                    <a:pt x="14" y="57"/>
                  </a:lnTo>
                  <a:lnTo>
                    <a:pt x="16" y="57"/>
                  </a:lnTo>
                  <a:lnTo>
                    <a:pt x="17" y="57"/>
                  </a:lnTo>
                  <a:lnTo>
                    <a:pt x="17" y="56"/>
                  </a:lnTo>
                  <a:lnTo>
                    <a:pt x="19" y="56"/>
                  </a:lnTo>
                  <a:lnTo>
                    <a:pt x="22" y="54"/>
                  </a:lnTo>
                  <a:lnTo>
                    <a:pt x="22" y="52"/>
                  </a:lnTo>
                  <a:lnTo>
                    <a:pt x="23" y="54"/>
                  </a:lnTo>
                  <a:lnTo>
                    <a:pt x="25" y="54"/>
                  </a:lnTo>
                  <a:lnTo>
                    <a:pt x="25" y="52"/>
                  </a:lnTo>
                  <a:lnTo>
                    <a:pt x="27" y="54"/>
                  </a:lnTo>
                  <a:lnTo>
                    <a:pt x="28" y="56"/>
                  </a:lnTo>
                  <a:lnTo>
                    <a:pt x="28" y="56"/>
                  </a:lnTo>
                  <a:lnTo>
                    <a:pt x="28" y="54"/>
                  </a:lnTo>
                  <a:lnTo>
                    <a:pt x="28" y="52"/>
                  </a:lnTo>
                  <a:lnTo>
                    <a:pt x="28" y="49"/>
                  </a:lnTo>
                  <a:lnTo>
                    <a:pt x="31" y="49"/>
                  </a:lnTo>
                  <a:lnTo>
                    <a:pt x="31" y="48"/>
                  </a:lnTo>
                  <a:lnTo>
                    <a:pt x="35" y="48"/>
                  </a:lnTo>
                  <a:lnTo>
                    <a:pt x="36" y="49"/>
                  </a:lnTo>
                  <a:lnTo>
                    <a:pt x="38" y="49"/>
                  </a:lnTo>
                  <a:lnTo>
                    <a:pt x="38" y="49"/>
                  </a:lnTo>
                  <a:lnTo>
                    <a:pt x="38" y="49"/>
                  </a:lnTo>
                  <a:lnTo>
                    <a:pt x="38" y="48"/>
                  </a:lnTo>
                  <a:lnTo>
                    <a:pt x="38" y="46"/>
                  </a:lnTo>
                  <a:lnTo>
                    <a:pt x="38" y="44"/>
                  </a:lnTo>
                  <a:lnTo>
                    <a:pt x="38" y="44"/>
                  </a:lnTo>
                  <a:lnTo>
                    <a:pt x="38" y="41"/>
                  </a:lnTo>
                  <a:lnTo>
                    <a:pt x="39" y="41"/>
                  </a:lnTo>
                  <a:lnTo>
                    <a:pt x="41" y="38"/>
                  </a:lnTo>
                  <a:lnTo>
                    <a:pt x="44" y="35"/>
                  </a:lnTo>
                  <a:lnTo>
                    <a:pt x="47" y="38"/>
                  </a:lnTo>
                  <a:lnTo>
                    <a:pt x="49" y="38"/>
                  </a:lnTo>
                  <a:lnTo>
                    <a:pt x="49" y="41"/>
                  </a:lnTo>
                  <a:lnTo>
                    <a:pt x="49" y="43"/>
                  </a:lnTo>
                  <a:lnTo>
                    <a:pt x="52" y="43"/>
                  </a:lnTo>
                  <a:lnTo>
                    <a:pt x="52" y="44"/>
                  </a:lnTo>
                  <a:lnTo>
                    <a:pt x="52" y="46"/>
                  </a:lnTo>
                  <a:lnTo>
                    <a:pt x="52" y="48"/>
                  </a:lnTo>
                  <a:lnTo>
                    <a:pt x="52" y="49"/>
                  </a:lnTo>
                  <a:lnTo>
                    <a:pt x="52" y="51"/>
                  </a:lnTo>
                  <a:lnTo>
                    <a:pt x="55" y="57"/>
                  </a:lnTo>
                  <a:lnTo>
                    <a:pt x="55" y="57"/>
                  </a:lnTo>
                  <a:lnTo>
                    <a:pt x="58" y="60"/>
                  </a:lnTo>
                  <a:lnTo>
                    <a:pt x="58" y="60"/>
                  </a:lnTo>
                  <a:lnTo>
                    <a:pt x="58" y="62"/>
                  </a:lnTo>
                  <a:lnTo>
                    <a:pt x="62" y="60"/>
                  </a:lnTo>
                  <a:lnTo>
                    <a:pt x="63" y="57"/>
                  </a:lnTo>
                  <a:lnTo>
                    <a:pt x="66" y="57"/>
                  </a:lnTo>
                  <a:lnTo>
                    <a:pt x="68" y="57"/>
                  </a:lnTo>
                  <a:lnTo>
                    <a:pt x="69" y="56"/>
                  </a:lnTo>
                  <a:lnTo>
                    <a:pt x="71" y="52"/>
                  </a:lnTo>
                  <a:lnTo>
                    <a:pt x="74" y="51"/>
                  </a:lnTo>
                  <a:lnTo>
                    <a:pt x="79" y="51"/>
                  </a:lnTo>
                  <a:lnTo>
                    <a:pt x="81" y="51"/>
                  </a:lnTo>
                  <a:lnTo>
                    <a:pt x="81" y="54"/>
                  </a:lnTo>
                  <a:lnTo>
                    <a:pt x="84" y="52"/>
                  </a:lnTo>
                  <a:lnTo>
                    <a:pt x="87" y="51"/>
                  </a:lnTo>
                  <a:lnTo>
                    <a:pt x="90" y="51"/>
                  </a:lnTo>
                  <a:lnTo>
                    <a:pt x="96" y="54"/>
                  </a:lnTo>
                  <a:lnTo>
                    <a:pt x="96" y="52"/>
                  </a:lnTo>
                  <a:lnTo>
                    <a:pt x="96" y="51"/>
                  </a:lnTo>
                  <a:lnTo>
                    <a:pt x="96" y="51"/>
                  </a:lnTo>
                  <a:lnTo>
                    <a:pt x="96" y="51"/>
                  </a:lnTo>
                  <a:lnTo>
                    <a:pt x="96" y="51"/>
                  </a:lnTo>
                  <a:lnTo>
                    <a:pt x="96" y="51"/>
                  </a:lnTo>
                  <a:lnTo>
                    <a:pt x="96" y="51"/>
                  </a:lnTo>
                  <a:lnTo>
                    <a:pt x="96" y="51"/>
                  </a:lnTo>
                  <a:lnTo>
                    <a:pt x="96" y="51"/>
                  </a:lnTo>
                  <a:lnTo>
                    <a:pt x="96" y="5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2" name="Freeform 283">
              <a:extLst>
                <a:ext uri="{FF2B5EF4-FFF2-40B4-BE49-F238E27FC236}">
                  <a16:creationId xmlns:a16="http://schemas.microsoft.com/office/drawing/2014/main" id="{DE55411E-78ED-B019-1EE6-2AE3F01871ED}"/>
                </a:ext>
              </a:extLst>
            </p:cNvPr>
            <p:cNvSpPr>
              <a:spLocks/>
            </p:cNvSpPr>
            <p:nvPr/>
          </p:nvSpPr>
          <p:spPr bwMode="auto">
            <a:xfrm>
              <a:off x="7980840" y="3047131"/>
              <a:ext cx="235523" cy="130098"/>
            </a:xfrm>
            <a:custGeom>
              <a:avLst/>
              <a:gdLst>
                <a:gd name="T0" fmla="*/ 89 w 105"/>
                <a:gd name="T1" fmla="*/ 37 h 58"/>
                <a:gd name="T2" fmla="*/ 83 w 105"/>
                <a:gd name="T3" fmla="*/ 34 h 58"/>
                <a:gd name="T4" fmla="*/ 81 w 105"/>
                <a:gd name="T5" fmla="*/ 35 h 58"/>
                <a:gd name="T6" fmla="*/ 78 w 105"/>
                <a:gd name="T7" fmla="*/ 35 h 58"/>
                <a:gd name="T8" fmla="*/ 75 w 105"/>
                <a:gd name="T9" fmla="*/ 35 h 58"/>
                <a:gd name="T10" fmla="*/ 72 w 105"/>
                <a:gd name="T11" fmla="*/ 32 h 58"/>
                <a:gd name="T12" fmla="*/ 68 w 105"/>
                <a:gd name="T13" fmla="*/ 31 h 58"/>
                <a:gd name="T14" fmla="*/ 64 w 105"/>
                <a:gd name="T15" fmla="*/ 31 h 58"/>
                <a:gd name="T16" fmla="*/ 64 w 105"/>
                <a:gd name="T17" fmla="*/ 27 h 58"/>
                <a:gd name="T18" fmla="*/ 61 w 105"/>
                <a:gd name="T19" fmla="*/ 26 h 58"/>
                <a:gd name="T20" fmla="*/ 54 w 105"/>
                <a:gd name="T21" fmla="*/ 24 h 58"/>
                <a:gd name="T22" fmla="*/ 51 w 105"/>
                <a:gd name="T23" fmla="*/ 19 h 58"/>
                <a:gd name="T24" fmla="*/ 46 w 105"/>
                <a:gd name="T25" fmla="*/ 16 h 58"/>
                <a:gd name="T26" fmla="*/ 43 w 105"/>
                <a:gd name="T27" fmla="*/ 16 h 58"/>
                <a:gd name="T28" fmla="*/ 38 w 105"/>
                <a:gd name="T29" fmla="*/ 12 h 58"/>
                <a:gd name="T30" fmla="*/ 30 w 105"/>
                <a:gd name="T31" fmla="*/ 8 h 58"/>
                <a:gd name="T32" fmla="*/ 19 w 105"/>
                <a:gd name="T33" fmla="*/ 0 h 58"/>
                <a:gd name="T34" fmla="*/ 15 w 105"/>
                <a:gd name="T35" fmla="*/ 0 h 58"/>
                <a:gd name="T36" fmla="*/ 13 w 105"/>
                <a:gd name="T37" fmla="*/ 4 h 58"/>
                <a:gd name="T38" fmla="*/ 10 w 105"/>
                <a:gd name="T39" fmla="*/ 5 h 58"/>
                <a:gd name="T40" fmla="*/ 7 w 105"/>
                <a:gd name="T41" fmla="*/ 4 h 58"/>
                <a:gd name="T42" fmla="*/ 2 w 105"/>
                <a:gd name="T43" fmla="*/ 12 h 58"/>
                <a:gd name="T44" fmla="*/ 2 w 105"/>
                <a:gd name="T45" fmla="*/ 15 h 58"/>
                <a:gd name="T46" fmla="*/ 0 w 105"/>
                <a:gd name="T47" fmla="*/ 19 h 58"/>
                <a:gd name="T48" fmla="*/ 0 w 105"/>
                <a:gd name="T49" fmla="*/ 23 h 58"/>
                <a:gd name="T50" fmla="*/ 5 w 105"/>
                <a:gd name="T51" fmla="*/ 26 h 58"/>
                <a:gd name="T52" fmla="*/ 13 w 105"/>
                <a:gd name="T53" fmla="*/ 27 h 58"/>
                <a:gd name="T54" fmla="*/ 22 w 105"/>
                <a:gd name="T55" fmla="*/ 35 h 58"/>
                <a:gd name="T56" fmla="*/ 26 w 105"/>
                <a:gd name="T57" fmla="*/ 35 h 58"/>
                <a:gd name="T58" fmla="*/ 30 w 105"/>
                <a:gd name="T59" fmla="*/ 39 h 58"/>
                <a:gd name="T60" fmla="*/ 37 w 105"/>
                <a:gd name="T61" fmla="*/ 40 h 58"/>
                <a:gd name="T62" fmla="*/ 43 w 105"/>
                <a:gd name="T63" fmla="*/ 43 h 58"/>
                <a:gd name="T64" fmla="*/ 48 w 105"/>
                <a:gd name="T65" fmla="*/ 43 h 58"/>
                <a:gd name="T66" fmla="*/ 51 w 105"/>
                <a:gd name="T67" fmla="*/ 43 h 58"/>
                <a:gd name="T68" fmla="*/ 61 w 105"/>
                <a:gd name="T69" fmla="*/ 43 h 58"/>
                <a:gd name="T70" fmla="*/ 61 w 105"/>
                <a:gd name="T71" fmla="*/ 46 h 58"/>
                <a:gd name="T72" fmla="*/ 65 w 105"/>
                <a:gd name="T73" fmla="*/ 50 h 58"/>
                <a:gd name="T74" fmla="*/ 70 w 105"/>
                <a:gd name="T75" fmla="*/ 53 h 58"/>
                <a:gd name="T76" fmla="*/ 72 w 105"/>
                <a:gd name="T77" fmla="*/ 51 h 58"/>
                <a:gd name="T78" fmla="*/ 75 w 105"/>
                <a:gd name="T79" fmla="*/ 53 h 58"/>
                <a:gd name="T80" fmla="*/ 78 w 105"/>
                <a:gd name="T81" fmla="*/ 54 h 58"/>
                <a:gd name="T82" fmla="*/ 84 w 105"/>
                <a:gd name="T83" fmla="*/ 56 h 58"/>
                <a:gd name="T84" fmla="*/ 91 w 105"/>
                <a:gd name="T85" fmla="*/ 54 h 58"/>
                <a:gd name="T86" fmla="*/ 97 w 105"/>
                <a:gd name="T87" fmla="*/ 58 h 58"/>
                <a:gd name="T88" fmla="*/ 103 w 105"/>
                <a:gd name="T89" fmla="*/ 56 h 58"/>
                <a:gd name="T90" fmla="*/ 105 w 105"/>
                <a:gd name="T91" fmla="*/ 50 h 58"/>
                <a:gd name="T92" fmla="*/ 102 w 105"/>
                <a:gd name="T93" fmla="*/ 43 h 58"/>
                <a:gd name="T94" fmla="*/ 102 w 105"/>
                <a:gd name="T95" fmla="*/ 37 h 58"/>
                <a:gd name="T96" fmla="*/ 92 w 105"/>
                <a:gd name="T97" fmla="*/ 37 h 58"/>
                <a:gd name="T98" fmla="*/ 92 w 105"/>
                <a:gd name="T99" fmla="*/ 37 h 58"/>
                <a:gd name="T100" fmla="*/ 92 w 105"/>
                <a:gd name="T101" fmla="*/ 37 h 58"/>
                <a:gd name="T102" fmla="*/ 92 w 105"/>
                <a:gd name="T103" fmla="*/ 37 h 58"/>
                <a:gd name="T104" fmla="*/ 92 w 105"/>
                <a:gd name="T105"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58">
                  <a:moveTo>
                    <a:pt x="92" y="37"/>
                  </a:moveTo>
                  <a:lnTo>
                    <a:pt x="89" y="37"/>
                  </a:lnTo>
                  <a:lnTo>
                    <a:pt x="84" y="35"/>
                  </a:lnTo>
                  <a:lnTo>
                    <a:pt x="83" y="34"/>
                  </a:lnTo>
                  <a:lnTo>
                    <a:pt x="81" y="34"/>
                  </a:lnTo>
                  <a:lnTo>
                    <a:pt x="81" y="35"/>
                  </a:lnTo>
                  <a:lnTo>
                    <a:pt x="81" y="35"/>
                  </a:lnTo>
                  <a:lnTo>
                    <a:pt x="78" y="35"/>
                  </a:lnTo>
                  <a:lnTo>
                    <a:pt x="78" y="32"/>
                  </a:lnTo>
                  <a:lnTo>
                    <a:pt x="75" y="35"/>
                  </a:lnTo>
                  <a:lnTo>
                    <a:pt x="75" y="35"/>
                  </a:lnTo>
                  <a:lnTo>
                    <a:pt x="72" y="32"/>
                  </a:lnTo>
                  <a:lnTo>
                    <a:pt x="70" y="29"/>
                  </a:lnTo>
                  <a:lnTo>
                    <a:pt x="68" y="31"/>
                  </a:lnTo>
                  <a:lnTo>
                    <a:pt x="67" y="31"/>
                  </a:lnTo>
                  <a:lnTo>
                    <a:pt x="64" y="31"/>
                  </a:lnTo>
                  <a:lnTo>
                    <a:pt x="62" y="29"/>
                  </a:lnTo>
                  <a:lnTo>
                    <a:pt x="64" y="27"/>
                  </a:lnTo>
                  <a:lnTo>
                    <a:pt x="62" y="26"/>
                  </a:lnTo>
                  <a:lnTo>
                    <a:pt x="61" y="26"/>
                  </a:lnTo>
                  <a:lnTo>
                    <a:pt x="57" y="26"/>
                  </a:lnTo>
                  <a:lnTo>
                    <a:pt x="54" y="24"/>
                  </a:lnTo>
                  <a:lnTo>
                    <a:pt x="51" y="23"/>
                  </a:lnTo>
                  <a:lnTo>
                    <a:pt x="51" y="19"/>
                  </a:lnTo>
                  <a:lnTo>
                    <a:pt x="49" y="16"/>
                  </a:lnTo>
                  <a:lnTo>
                    <a:pt x="46" y="16"/>
                  </a:lnTo>
                  <a:lnTo>
                    <a:pt x="45" y="16"/>
                  </a:lnTo>
                  <a:lnTo>
                    <a:pt x="43" y="16"/>
                  </a:lnTo>
                  <a:lnTo>
                    <a:pt x="41" y="15"/>
                  </a:lnTo>
                  <a:lnTo>
                    <a:pt x="38" y="12"/>
                  </a:lnTo>
                  <a:lnTo>
                    <a:pt x="35" y="12"/>
                  </a:lnTo>
                  <a:lnTo>
                    <a:pt x="30" y="8"/>
                  </a:lnTo>
                  <a:lnTo>
                    <a:pt x="19" y="2"/>
                  </a:lnTo>
                  <a:lnTo>
                    <a:pt x="19" y="0"/>
                  </a:lnTo>
                  <a:lnTo>
                    <a:pt x="16" y="0"/>
                  </a:lnTo>
                  <a:lnTo>
                    <a:pt x="15" y="0"/>
                  </a:lnTo>
                  <a:lnTo>
                    <a:pt x="13" y="0"/>
                  </a:lnTo>
                  <a:lnTo>
                    <a:pt x="13" y="4"/>
                  </a:lnTo>
                  <a:lnTo>
                    <a:pt x="11" y="5"/>
                  </a:lnTo>
                  <a:lnTo>
                    <a:pt x="10" y="5"/>
                  </a:lnTo>
                  <a:lnTo>
                    <a:pt x="8" y="4"/>
                  </a:lnTo>
                  <a:lnTo>
                    <a:pt x="7" y="4"/>
                  </a:lnTo>
                  <a:lnTo>
                    <a:pt x="5" y="5"/>
                  </a:lnTo>
                  <a:lnTo>
                    <a:pt x="2" y="12"/>
                  </a:lnTo>
                  <a:lnTo>
                    <a:pt x="2" y="15"/>
                  </a:lnTo>
                  <a:lnTo>
                    <a:pt x="2" y="15"/>
                  </a:lnTo>
                  <a:lnTo>
                    <a:pt x="2" y="16"/>
                  </a:lnTo>
                  <a:lnTo>
                    <a:pt x="0" y="19"/>
                  </a:lnTo>
                  <a:lnTo>
                    <a:pt x="0" y="21"/>
                  </a:lnTo>
                  <a:lnTo>
                    <a:pt x="0" y="23"/>
                  </a:lnTo>
                  <a:lnTo>
                    <a:pt x="3" y="24"/>
                  </a:lnTo>
                  <a:lnTo>
                    <a:pt x="5" y="26"/>
                  </a:lnTo>
                  <a:lnTo>
                    <a:pt x="7" y="24"/>
                  </a:lnTo>
                  <a:lnTo>
                    <a:pt x="13" y="27"/>
                  </a:lnTo>
                  <a:lnTo>
                    <a:pt x="19" y="34"/>
                  </a:lnTo>
                  <a:lnTo>
                    <a:pt x="22" y="35"/>
                  </a:lnTo>
                  <a:lnTo>
                    <a:pt x="26" y="37"/>
                  </a:lnTo>
                  <a:lnTo>
                    <a:pt x="26" y="35"/>
                  </a:lnTo>
                  <a:lnTo>
                    <a:pt x="27" y="37"/>
                  </a:lnTo>
                  <a:lnTo>
                    <a:pt x="30" y="39"/>
                  </a:lnTo>
                  <a:lnTo>
                    <a:pt x="35" y="40"/>
                  </a:lnTo>
                  <a:lnTo>
                    <a:pt x="37" y="40"/>
                  </a:lnTo>
                  <a:lnTo>
                    <a:pt x="40" y="43"/>
                  </a:lnTo>
                  <a:lnTo>
                    <a:pt x="43" y="43"/>
                  </a:lnTo>
                  <a:lnTo>
                    <a:pt x="45" y="43"/>
                  </a:lnTo>
                  <a:lnTo>
                    <a:pt x="48" y="43"/>
                  </a:lnTo>
                  <a:lnTo>
                    <a:pt x="51" y="43"/>
                  </a:lnTo>
                  <a:lnTo>
                    <a:pt x="51" y="43"/>
                  </a:lnTo>
                  <a:lnTo>
                    <a:pt x="54" y="43"/>
                  </a:lnTo>
                  <a:lnTo>
                    <a:pt x="61" y="43"/>
                  </a:lnTo>
                  <a:lnTo>
                    <a:pt x="61" y="46"/>
                  </a:lnTo>
                  <a:lnTo>
                    <a:pt x="61" y="46"/>
                  </a:lnTo>
                  <a:lnTo>
                    <a:pt x="62" y="50"/>
                  </a:lnTo>
                  <a:lnTo>
                    <a:pt x="65" y="50"/>
                  </a:lnTo>
                  <a:lnTo>
                    <a:pt x="68" y="51"/>
                  </a:lnTo>
                  <a:lnTo>
                    <a:pt x="70" y="53"/>
                  </a:lnTo>
                  <a:lnTo>
                    <a:pt x="70" y="51"/>
                  </a:lnTo>
                  <a:lnTo>
                    <a:pt x="72" y="51"/>
                  </a:lnTo>
                  <a:lnTo>
                    <a:pt x="75" y="51"/>
                  </a:lnTo>
                  <a:lnTo>
                    <a:pt x="75" y="53"/>
                  </a:lnTo>
                  <a:lnTo>
                    <a:pt x="75" y="54"/>
                  </a:lnTo>
                  <a:lnTo>
                    <a:pt x="78" y="54"/>
                  </a:lnTo>
                  <a:lnTo>
                    <a:pt x="81" y="54"/>
                  </a:lnTo>
                  <a:lnTo>
                    <a:pt x="84" y="56"/>
                  </a:lnTo>
                  <a:lnTo>
                    <a:pt x="88" y="56"/>
                  </a:lnTo>
                  <a:lnTo>
                    <a:pt x="91" y="54"/>
                  </a:lnTo>
                  <a:lnTo>
                    <a:pt x="92" y="58"/>
                  </a:lnTo>
                  <a:lnTo>
                    <a:pt x="97" y="58"/>
                  </a:lnTo>
                  <a:lnTo>
                    <a:pt x="102" y="58"/>
                  </a:lnTo>
                  <a:lnTo>
                    <a:pt x="103" y="56"/>
                  </a:lnTo>
                  <a:lnTo>
                    <a:pt x="105" y="54"/>
                  </a:lnTo>
                  <a:lnTo>
                    <a:pt x="105" y="50"/>
                  </a:lnTo>
                  <a:lnTo>
                    <a:pt x="102" y="46"/>
                  </a:lnTo>
                  <a:lnTo>
                    <a:pt x="102" y="43"/>
                  </a:lnTo>
                  <a:lnTo>
                    <a:pt x="102" y="40"/>
                  </a:lnTo>
                  <a:lnTo>
                    <a:pt x="102" y="37"/>
                  </a:lnTo>
                  <a:lnTo>
                    <a:pt x="97" y="37"/>
                  </a:lnTo>
                  <a:lnTo>
                    <a:pt x="92" y="37"/>
                  </a:lnTo>
                  <a:lnTo>
                    <a:pt x="92" y="37"/>
                  </a:lnTo>
                  <a:lnTo>
                    <a:pt x="92" y="37"/>
                  </a:lnTo>
                  <a:lnTo>
                    <a:pt x="92" y="37"/>
                  </a:lnTo>
                  <a:lnTo>
                    <a:pt x="92" y="37"/>
                  </a:lnTo>
                  <a:lnTo>
                    <a:pt x="92" y="37"/>
                  </a:lnTo>
                  <a:lnTo>
                    <a:pt x="92" y="37"/>
                  </a:lnTo>
                  <a:lnTo>
                    <a:pt x="92" y="37"/>
                  </a:lnTo>
                  <a:lnTo>
                    <a:pt x="92" y="3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3" name="Freeform 295">
              <a:extLst>
                <a:ext uri="{FF2B5EF4-FFF2-40B4-BE49-F238E27FC236}">
                  <a16:creationId xmlns:a16="http://schemas.microsoft.com/office/drawing/2014/main" id="{8BA6BD99-1798-173C-C49C-9F034701EA84}"/>
                </a:ext>
              </a:extLst>
            </p:cNvPr>
            <p:cNvSpPr>
              <a:spLocks/>
            </p:cNvSpPr>
            <p:nvPr/>
          </p:nvSpPr>
          <p:spPr bwMode="auto">
            <a:xfrm>
              <a:off x="7617463" y="2634405"/>
              <a:ext cx="264682" cy="127856"/>
            </a:xfrm>
            <a:custGeom>
              <a:avLst/>
              <a:gdLst>
                <a:gd name="T0" fmla="*/ 108 w 118"/>
                <a:gd name="T1" fmla="*/ 11 h 57"/>
                <a:gd name="T2" fmla="*/ 103 w 118"/>
                <a:gd name="T3" fmla="*/ 8 h 57"/>
                <a:gd name="T4" fmla="*/ 88 w 118"/>
                <a:gd name="T5" fmla="*/ 5 h 57"/>
                <a:gd name="T6" fmla="*/ 81 w 118"/>
                <a:gd name="T7" fmla="*/ 5 h 57"/>
                <a:gd name="T8" fmla="*/ 72 w 118"/>
                <a:gd name="T9" fmla="*/ 5 h 57"/>
                <a:gd name="T10" fmla="*/ 64 w 118"/>
                <a:gd name="T11" fmla="*/ 5 h 57"/>
                <a:gd name="T12" fmla="*/ 62 w 118"/>
                <a:gd name="T13" fmla="*/ 7 h 57"/>
                <a:gd name="T14" fmla="*/ 43 w 118"/>
                <a:gd name="T15" fmla="*/ 0 h 57"/>
                <a:gd name="T16" fmla="*/ 38 w 118"/>
                <a:gd name="T17" fmla="*/ 5 h 57"/>
                <a:gd name="T18" fmla="*/ 38 w 118"/>
                <a:gd name="T19" fmla="*/ 11 h 57"/>
                <a:gd name="T20" fmla="*/ 32 w 118"/>
                <a:gd name="T21" fmla="*/ 8 h 57"/>
                <a:gd name="T22" fmla="*/ 23 w 118"/>
                <a:gd name="T23" fmla="*/ 7 h 57"/>
                <a:gd name="T24" fmla="*/ 11 w 118"/>
                <a:gd name="T25" fmla="*/ 8 h 57"/>
                <a:gd name="T26" fmla="*/ 11 w 118"/>
                <a:gd name="T27" fmla="*/ 15 h 57"/>
                <a:gd name="T28" fmla="*/ 8 w 118"/>
                <a:gd name="T29" fmla="*/ 18 h 57"/>
                <a:gd name="T30" fmla="*/ 8 w 118"/>
                <a:gd name="T31" fmla="*/ 26 h 57"/>
                <a:gd name="T32" fmla="*/ 15 w 118"/>
                <a:gd name="T33" fmla="*/ 29 h 57"/>
                <a:gd name="T34" fmla="*/ 19 w 118"/>
                <a:gd name="T35" fmla="*/ 30 h 57"/>
                <a:gd name="T36" fmla="*/ 21 w 118"/>
                <a:gd name="T37" fmla="*/ 24 h 57"/>
                <a:gd name="T38" fmla="*/ 29 w 118"/>
                <a:gd name="T39" fmla="*/ 29 h 57"/>
                <a:gd name="T40" fmla="*/ 32 w 118"/>
                <a:gd name="T41" fmla="*/ 32 h 57"/>
                <a:gd name="T42" fmla="*/ 42 w 118"/>
                <a:gd name="T43" fmla="*/ 35 h 57"/>
                <a:gd name="T44" fmla="*/ 32 w 118"/>
                <a:gd name="T45" fmla="*/ 38 h 57"/>
                <a:gd name="T46" fmla="*/ 29 w 118"/>
                <a:gd name="T47" fmla="*/ 40 h 57"/>
                <a:gd name="T48" fmla="*/ 27 w 118"/>
                <a:gd name="T49" fmla="*/ 43 h 57"/>
                <a:gd name="T50" fmla="*/ 23 w 118"/>
                <a:gd name="T51" fmla="*/ 43 h 57"/>
                <a:gd name="T52" fmla="*/ 18 w 118"/>
                <a:gd name="T53" fmla="*/ 46 h 57"/>
                <a:gd name="T54" fmla="*/ 11 w 118"/>
                <a:gd name="T55" fmla="*/ 43 h 57"/>
                <a:gd name="T56" fmla="*/ 7 w 118"/>
                <a:gd name="T57" fmla="*/ 43 h 57"/>
                <a:gd name="T58" fmla="*/ 2 w 118"/>
                <a:gd name="T59" fmla="*/ 45 h 57"/>
                <a:gd name="T60" fmla="*/ 0 w 118"/>
                <a:gd name="T61" fmla="*/ 46 h 57"/>
                <a:gd name="T62" fmla="*/ 2 w 118"/>
                <a:gd name="T63" fmla="*/ 53 h 57"/>
                <a:gd name="T64" fmla="*/ 8 w 118"/>
                <a:gd name="T65" fmla="*/ 53 h 57"/>
                <a:gd name="T66" fmla="*/ 11 w 118"/>
                <a:gd name="T67" fmla="*/ 53 h 57"/>
                <a:gd name="T68" fmla="*/ 18 w 118"/>
                <a:gd name="T69" fmla="*/ 53 h 57"/>
                <a:gd name="T70" fmla="*/ 23 w 118"/>
                <a:gd name="T71" fmla="*/ 54 h 57"/>
                <a:gd name="T72" fmla="*/ 27 w 118"/>
                <a:gd name="T73" fmla="*/ 53 h 57"/>
                <a:gd name="T74" fmla="*/ 32 w 118"/>
                <a:gd name="T75" fmla="*/ 56 h 57"/>
                <a:gd name="T76" fmla="*/ 38 w 118"/>
                <a:gd name="T77" fmla="*/ 56 h 57"/>
                <a:gd name="T78" fmla="*/ 46 w 118"/>
                <a:gd name="T79" fmla="*/ 54 h 57"/>
                <a:gd name="T80" fmla="*/ 53 w 118"/>
                <a:gd name="T81" fmla="*/ 53 h 57"/>
                <a:gd name="T82" fmla="*/ 53 w 118"/>
                <a:gd name="T83" fmla="*/ 49 h 57"/>
                <a:gd name="T84" fmla="*/ 59 w 118"/>
                <a:gd name="T85" fmla="*/ 43 h 57"/>
                <a:gd name="T86" fmla="*/ 62 w 118"/>
                <a:gd name="T87" fmla="*/ 40 h 57"/>
                <a:gd name="T88" fmla="*/ 69 w 118"/>
                <a:gd name="T89" fmla="*/ 38 h 57"/>
                <a:gd name="T90" fmla="*/ 73 w 118"/>
                <a:gd name="T91" fmla="*/ 40 h 57"/>
                <a:gd name="T92" fmla="*/ 81 w 118"/>
                <a:gd name="T93" fmla="*/ 40 h 57"/>
                <a:gd name="T94" fmla="*/ 84 w 118"/>
                <a:gd name="T95" fmla="*/ 32 h 57"/>
                <a:gd name="T96" fmla="*/ 96 w 118"/>
                <a:gd name="T97" fmla="*/ 32 h 57"/>
                <a:gd name="T98" fmla="*/ 100 w 118"/>
                <a:gd name="T99" fmla="*/ 26 h 57"/>
                <a:gd name="T100" fmla="*/ 107 w 118"/>
                <a:gd name="T101" fmla="*/ 22 h 57"/>
                <a:gd name="T102" fmla="*/ 115 w 118"/>
                <a:gd name="T103" fmla="*/ 13 h 57"/>
                <a:gd name="T104" fmla="*/ 115 w 118"/>
                <a:gd name="T105" fmla="*/ 11 h 57"/>
                <a:gd name="T106" fmla="*/ 115 w 118"/>
                <a:gd name="T107" fmla="*/ 11 h 57"/>
                <a:gd name="T108" fmla="*/ 115 w 118"/>
                <a:gd name="T109" fmla="*/ 1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57">
                  <a:moveTo>
                    <a:pt x="115" y="11"/>
                  </a:moveTo>
                  <a:lnTo>
                    <a:pt x="108" y="11"/>
                  </a:lnTo>
                  <a:lnTo>
                    <a:pt x="108" y="11"/>
                  </a:lnTo>
                  <a:lnTo>
                    <a:pt x="107" y="11"/>
                  </a:lnTo>
                  <a:lnTo>
                    <a:pt x="105" y="8"/>
                  </a:lnTo>
                  <a:lnTo>
                    <a:pt x="103" y="8"/>
                  </a:lnTo>
                  <a:lnTo>
                    <a:pt x="99" y="7"/>
                  </a:lnTo>
                  <a:lnTo>
                    <a:pt x="92" y="5"/>
                  </a:lnTo>
                  <a:lnTo>
                    <a:pt x="88" y="5"/>
                  </a:lnTo>
                  <a:lnTo>
                    <a:pt x="86" y="5"/>
                  </a:lnTo>
                  <a:lnTo>
                    <a:pt x="84" y="5"/>
                  </a:lnTo>
                  <a:lnTo>
                    <a:pt x="81" y="5"/>
                  </a:lnTo>
                  <a:lnTo>
                    <a:pt x="80" y="5"/>
                  </a:lnTo>
                  <a:lnTo>
                    <a:pt x="78" y="5"/>
                  </a:lnTo>
                  <a:lnTo>
                    <a:pt x="72" y="5"/>
                  </a:lnTo>
                  <a:lnTo>
                    <a:pt x="70" y="5"/>
                  </a:lnTo>
                  <a:lnTo>
                    <a:pt x="67" y="5"/>
                  </a:lnTo>
                  <a:lnTo>
                    <a:pt x="64" y="5"/>
                  </a:lnTo>
                  <a:lnTo>
                    <a:pt x="62" y="5"/>
                  </a:lnTo>
                  <a:lnTo>
                    <a:pt x="62" y="7"/>
                  </a:lnTo>
                  <a:lnTo>
                    <a:pt x="62" y="7"/>
                  </a:lnTo>
                  <a:lnTo>
                    <a:pt x="59" y="7"/>
                  </a:lnTo>
                  <a:lnTo>
                    <a:pt x="53" y="5"/>
                  </a:lnTo>
                  <a:lnTo>
                    <a:pt x="43" y="0"/>
                  </a:lnTo>
                  <a:lnTo>
                    <a:pt x="42" y="2"/>
                  </a:lnTo>
                  <a:lnTo>
                    <a:pt x="38" y="2"/>
                  </a:lnTo>
                  <a:lnTo>
                    <a:pt x="38" y="5"/>
                  </a:lnTo>
                  <a:lnTo>
                    <a:pt x="38" y="7"/>
                  </a:lnTo>
                  <a:lnTo>
                    <a:pt x="38" y="11"/>
                  </a:lnTo>
                  <a:lnTo>
                    <a:pt x="38" y="11"/>
                  </a:lnTo>
                  <a:lnTo>
                    <a:pt x="35" y="11"/>
                  </a:lnTo>
                  <a:lnTo>
                    <a:pt x="35" y="11"/>
                  </a:lnTo>
                  <a:lnTo>
                    <a:pt x="32" y="8"/>
                  </a:lnTo>
                  <a:lnTo>
                    <a:pt x="29" y="8"/>
                  </a:lnTo>
                  <a:lnTo>
                    <a:pt x="24" y="7"/>
                  </a:lnTo>
                  <a:lnTo>
                    <a:pt x="23" y="7"/>
                  </a:lnTo>
                  <a:lnTo>
                    <a:pt x="19" y="7"/>
                  </a:lnTo>
                  <a:lnTo>
                    <a:pt x="18" y="7"/>
                  </a:lnTo>
                  <a:lnTo>
                    <a:pt x="11" y="8"/>
                  </a:lnTo>
                  <a:lnTo>
                    <a:pt x="11" y="11"/>
                  </a:lnTo>
                  <a:lnTo>
                    <a:pt x="8" y="11"/>
                  </a:lnTo>
                  <a:lnTo>
                    <a:pt x="11" y="15"/>
                  </a:lnTo>
                  <a:lnTo>
                    <a:pt x="11" y="15"/>
                  </a:lnTo>
                  <a:lnTo>
                    <a:pt x="15" y="15"/>
                  </a:lnTo>
                  <a:lnTo>
                    <a:pt x="8" y="18"/>
                  </a:lnTo>
                  <a:lnTo>
                    <a:pt x="7" y="21"/>
                  </a:lnTo>
                  <a:lnTo>
                    <a:pt x="5" y="24"/>
                  </a:lnTo>
                  <a:lnTo>
                    <a:pt x="8" y="26"/>
                  </a:lnTo>
                  <a:lnTo>
                    <a:pt x="11" y="26"/>
                  </a:lnTo>
                  <a:lnTo>
                    <a:pt x="11" y="27"/>
                  </a:lnTo>
                  <a:lnTo>
                    <a:pt x="15" y="29"/>
                  </a:lnTo>
                  <a:lnTo>
                    <a:pt x="15" y="29"/>
                  </a:lnTo>
                  <a:lnTo>
                    <a:pt x="18" y="29"/>
                  </a:lnTo>
                  <a:lnTo>
                    <a:pt x="19" y="30"/>
                  </a:lnTo>
                  <a:lnTo>
                    <a:pt x="19" y="27"/>
                  </a:lnTo>
                  <a:lnTo>
                    <a:pt x="21" y="27"/>
                  </a:lnTo>
                  <a:lnTo>
                    <a:pt x="21" y="24"/>
                  </a:lnTo>
                  <a:lnTo>
                    <a:pt x="23" y="26"/>
                  </a:lnTo>
                  <a:lnTo>
                    <a:pt x="26" y="27"/>
                  </a:lnTo>
                  <a:lnTo>
                    <a:pt x="29" y="29"/>
                  </a:lnTo>
                  <a:lnTo>
                    <a:pt x="29" y="30"/>
                  </a:lnTo>
                  <a:lnTo>
                    <a:pt x="29" y="32"/>
                  </a:lnTo>
                  <a:lnTo>
                    <a:pt x="32" y="32"/>
                  </a:lnTo>
                  <a:lnTo>
                    <a:pt x="32" y="32"/>
                  </a:lnTo>
                  <a:lnTo>
                    <a:pt x="35" y="34"/>
                  </a:lnTo>
                  <a:lnTo>
                    <a:pt x="42" y="35"/>
                  </a:lnTo>
                  <a:lnTo>
                    <a:pt x="38" y="37"/>
                  </a:lnTo>
                  <a:lnTo>
                    <a:pt x="35" y="38"/>
                  </a:lnTo>
                  <a:lnTo>
                    <a:pt x="32" y="38"/>
                  </a:lnTo>
                  <a:lnTo>
                    <a:pt x="35" y="40"/>
                  </a:lnTo>
                  <a:lnTo>
                    <a:pt x="32" y="40"/>
                  </a:lnTo>
                  <a:lnTo>
                    <a:pt x="29" y="40"/>
                  </a:lnTo>
                  <a:lnTo>
                    <a:pt x="29" y="43"/>
                  </a:lnTo>
                  <a:lnTo>
                    <a:pt x="27" y="43"/>
                  </a:lnTo>
                  <a:lnTo>
                    <a:pt x="27" y="43"/>
                  </a:lnTo>
                  <a:lnTo>
                    <a:pt x="26" y="43"/>
                  </a:lnTo>
                  <a:lnTo>
                    <a:pt x="24" y="43"/>
                  </a:lnTo>
                  <a:lnTo>
                    <a:pt x="23" y="43"/>
                  </a:lnTo>
                  <a:lnTo>
                    <a:pt x="21" y="43"/>
                  </a:lnTo>
                  <a:lnTo>
                    <a:pt x="18" y="43"/>
                  </a:lnTo>
                  <a:lnTo>
                    <a:pt x="18" y="46"/>
                  </a:lnTo>
                  <a:lnTo>
                    <a:pt x="15" y="46"/>
                  </a:lnTo>
                  <a:lnTo>
                    <a:pt x="15" y="46"/>
                  </a:lnTo>
                  <a:lnTo>
                    <a:pt x="11" y="43"/>
                  </a:lnTo>
                  <a:lnTo>
                    <a:pt x="8" y="43"/>
                  </a:lnTo>
                  <a:lnTo>
                    <a:pt x="7" y="43"/>
                  </a:lnTo>
                  <a:lnTo>
                    <a:pt x="7" y="43"/>
                  </a:lnTo>
                  <a:lnTo>
                    <a:pt x="5" y="43"/>
                  </a:lnTo>
                  <a:lnTo>
                    <a:pt x="3" y="43"/>
                  </a:lnTo>
                  <a:lnTo>
                    <a:pt x="2" y="45"/>
                  </a:lnTo>
                  <a:lnTo>
                    <a:pt x="2" y="46"/>
                  </a:lnTo>
                  <a:lnTo>
                    <a:pt x="2" y="46"/>
                  </a:lnTo>
                  <a:lnTo>
                    <a:pt x="0" y="46"/>
                  </a:lnTo>
                  <a:lnTo>
                    <a:pt x="0" y="49"/>
                  </a:lnTo>
                  <a:lnTo>
                    <a:pt x="0" y="53"/>
                  </a:lnTo>
                  <a:lnTo>
                    <a:pt x="2" y="53"/>
                  </a:lnTo>
                  <a:lnTo>
                    <a:pt x="3" y="53"/>
                  </a:lnTo>
                  <a:lnTo>
                    <a:pt x="5" y="53"/>
                  </a:lnTo>
                  <a:lnTo>
                    <a:pt x="8" y="53"/>
                  </a:lnTo>
                  <a:lnTo>
                    <a:pt x="8" y="53"/>
                  </a:lnTo>
                  <a:lnTo>
                    <a:pt x="8" y="53"/>
                  </a:lnTo>
                  <a:lnTo>
                    <a:pt x="11" y="53"/>
                  </a:lnTo>
                  <a:lnTo>
                    <a:pt x="11" y="53"/>
                  </a:lnTo>
                  <a:lnTo>
                    <a:pt x="15" y="53"/>
                  </a:lnTo>
                  <a:lnTo>
                    <a:pt x="18" y="53"/>
                  </a:lnTo>
                  <a:lnTo>
                    <a:pt x="18" y="54"/>
                  </a:lnTo>
                  <a:lnTo>
                    <a:pt x="19" y="54"/>
                  </a:lnTo>
                  <a:lnTo>
                    <a:pt x="23" y="54"/>
                  </a:lnTo>
                  <a:lnTo>
                    <a:pt x="24" y="53"/>
                  </a:lnTo>
                  <a:lnTo>
                    <a:pt x="26" y="53"/>
                  </a:lnTo>
                  <a:lnTo>
                    <a:pt x="27" y="53"/>
                  </a:lnTo>
                  <a:lnTo>
                    <a:pt x="29" y="54"/>
                  </a:lnTo>
                  <a:lnTo>
                    <a:pt x="29" y="56"/>
                  </a:lnTo>
                  <a:lnTo>
                    <a:pt x="32" y="56"/>
                  </a:lnTo>
                  <a:lnTo>
                    <a:pt x="35" y="56"/>
                  </a:lnTo>
                  <a:lnTo>
                    <a:pt x="35" y="57"/>
                  </a:lnTo>
                  <a:lnTo>
                    <a:pt x="38" y="56"/>
                  </a:lnTo>
                  <a:lnTo>
                    <a:pt x="42" y="54"/>
                  </a:lnTo>
                  <a:lnTo>
                    <a:pt x="43" y="54"/>
                  </a:lnTo>
                  <a:lnTo>
                    <a:pt x="46" y="54"/>
                  </a:lnTo>
                  <a:lnTo>
                    <a:pt x="49" y="54"/>
                  </a:lnTo>
                  <a:lnTo>
                    <a:pt x="51" y="54"/>
                  </a:lnTo>
                  <a:lnTo>
                    <a:pt x="53" y="53"/>
                  </a:lnTo>
                  <a:lnTo>
                    <a:pt x="56" y="53"/>
                  </a:lnTo>
                  <a:lnTo>
                    <a:pt x="53" y="49"/>
                  </a:lnTo>
                  <a:lnTo>
                    <a:pt x="53" y="49"/>
                  </a:lnTo>
                  <a:lnTo>
                    <a:pt x="53" y="46"/>
                  </a:lnTo>
                  <a:lnTo>
                    <a:pt x="56" y="46"/>
                  </a:lnTo>
                  <a:lnTo>
                    <a:pt x="59" y="43"/>
                  </a:lnTo>
                  <a:lnTo>
                    <a:pt x="59" y="43"/>
                  </a:lnTo>
                  <a:lnTo>
                    <a:pt x="62" y="40"/>
                  </a:lnTo>
                  <a:lnTo>
                    <a:pt x="62" y="40"/>
                  </a:lnTo>
                  <a:lnTo>
                    <a:pt x="64" y="40"/>
                  </a:lnTo>
                  <a:lnTo>
                    <a:pt x="67" y="40"/>
                  </a:lnTo>
                  <a:lnTo>
                    <a:pt x="69" y="38"/>
                  </a:lnTo>
                  <a:lnTo>
                    <a:pt x="70" y="38"/>
                  </a:lnTo>
                  <a:lnTo>
                    <a:pt x="72" y="40"/>
                  </a:lnTo>
                  <a:lnTo>
                    <a:pt x="73" y="40"/>
                  </a:lnTo>
                  <a:lnTo>
                    <a:pt x="75" y="40"/>
                  </a:lnTo>
                  <a:lnTo>
                    <a:pt x="80" y="40"/>
                  </a:lnTo>
                  <a:lnTo>
                    <a:pt x="81" y="40"/>
                  </a:lnTo>
                  <a:lnTo>
                    <a:pt x="83" y="37"/>
                  </a:lnTo>
                  <a:lnTo>
                    <a:pt x="83" y="34"/>
                  </a:lnTo>
                  <a:lnTo>
                    <a:pt x="84" y="32"/>
                  </a:lnTo>
                  <a:lnTo>
                    <a:pt x="86" y="32"/>
                  </a:lnTo>
                  <a:lnTo>
                    <a:pt x="91" y="32"/>
                  </a:lnTo>
                  <a:lnTo>
                    <a:pt x="96" y="32"/>
                  </a:lnTo>
                  <a:lnTo>
                    <a:pt x="99" y="30"/>
                  </a:lnTo>
                  <a:lnTo>
                    <a:pt x="99" y="29"/>
                  </a:lnTo>
                  <a:lnTo>
                    <a:pt x="100" y="26"/>
                  </a:lnTo>
                  <a:lnTo>
                    <a:pt x="102" y="24"/>
                  </a:lnTo>
                  <a:lnTo>
                    <a:pt x="102" y="24"/>
                  </a:lnTo>
                  <a:lnTo>
                    <a:pt x="107" y="22"/>
                  </a:lnTo>
                  <a:lnTo>
                    <a:pt x="111" y="19"/>
                  </a:lnTo>
                  <a:lnTo>
                    <a:pt x="118" y="18"/>
                  </a:lnTo>
                  <a:lnTo>
                    <a:pt x="115" y="13"/>
                  </a:lnTo>
                  <a:lnTo>
                    <a:pt x="115" y="11"/>
                  </a:lnTo>
                  <a:lnTo>
                    <a:pt x="115" y="11"/>
                  </a:lnTo>
                  <a:lnTo>
                    <a:pt x="115" y="11"/>
                  </a:lnTo>
                  <a:lnTo>
                    <a:pt x="115" y="11"/>
                  </a:lnTo>
                  <a:lnTo>
                    <a:pt x="115" y="11"/>
                  </a:lnTo>
                  <a:lnTo>
                    <a:pt x="115" y="11"/>
                  </a:lnTo>
                  <a:lnTo>
                    <a:pt x="115" y="11"/>
                  </a:lnTo>
                  <a:lnTo>
                    <a:pt x="115" y="11"/>
                  </a:lnTo>
                  <a:lnTo>
                    <a:pt x="115" y="1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4" name="Freeform 297">
              <a:extLst>
                <a:ext uri="{FF2B5EF4-FFF2-40B4-BE49-F238E27FC236}">
                  <a16:creationId xmlns:a16="http://schemas.microsoft.com/office/drawing/2014/main" id="{B1393551-3F47-A77B-6A79-B660F0BC8C44}"/>
                </a:ext>
              </a:extLst>
            </p:cNvPr>
            <p:cNvSpPr>
              <a:spLocks/>
            </p:cNvSpPr>
            <p:nvPr/>
          </p:nvSpPr>
          <p:spPr bwMode="auto">
            <a:xfrm>
              <a:off x="7417828" y="2784690"/>
              <a:ext cx="370108" cy="291599"/>
            </a:xfrm>
            <a:custGeom>
              <a:avLst/>
              <a:gdLst>
                <a:gd name="T0" fmla="*/ 156 w 165"/>
                <a:gd name="T1" fmla="*/ 16 h 130"/>
                <a:gd name="T2" fmla="*/ 148 w 165"/>
                <a:gd name="T3" fmla="*/ 16 h 130"/>
                <a:gd name="T4" fmla="*/ 137 w 165"/>
                <a:gd name="T5" fmla="*/ 22 h 130"/>
                <a:gd name="T6" fmla="*/ 127 w 165"/>
                <a:gd name="T7" fmla="*/ 27 h 130"/>
                <a:gd name="T8" fmla="*/ 121 w 165"/>
                <a:gd name="T9" fmla="*/ 16 h 130"/>
                <a:gd name="T10" fmla="*/ 121 w 165"/>
                <a:gd name="T11" fmla="*/ 9 h 130"/>
                <a:gd name="T12" fmla="*/ 118 w 165"/>
                <a:gd name="T13" fmla="*/ 3 h 130"/>
                <a:gd name="T14" fmla="*/ 108 w 165"/>
                <a:gd name="T15" fmla="*/ 6 h 130"/>
                <a:gd name="T16" fmla="*/ 107 w 165"/>
                <a:gd name="T17" fmla="*/ 11 h 130"/>
                <a:gd name="T18" fmla="*/ 105 w 165"/>
                <a:gd name="T19" fmla="*/ 14 h 130"/>
                <a:gd name="T20" fmla="*/ 99 w 165"/>
                <a:gd name="T21" fmla="*/ 14 h 130"/>
                <a:gd name="T22" fmla="*/ 97 w 165"/>
                <a:gd name="T23" fmla="*/ 21 h 130"/>
                <a:gd name="T24" fmla="*/ 92 w 165"/>
                <a:gd name="T25" fmla="*/ 19 h 130"/>
                <a:gd name="T26" fmla="*/ 86 w 165"/>
                <a:gd name="T27" fmla="*/ 21 h 130"/>
                <a:gd name="T28" fmla="*/ 83 w 165"/>
                <a:gd name="T29" fmla="*/ 22 h 130"/>
                <a:gd name="T30" fmla="*/ 73 w 165"/>
                <a:gd name="T31" fmla="*/ 19 h 130"/>
                <a:gd name="T32" fmla="*/ 61 w 165"/>
                <a:gd name="T33" fmla="*/ 17 h 130"/>
                <a:gd name="T34" fmla="*/ 54 w 165"/>
                <a:gd name="T35" fmla="*/ 14 h 130"/>
                <a:gd name="T36" fmla="*/ 51 w 165"/>
                <a:gd name="T37" fmla="*/ 19 h 130"/>
                <a:gd name="T38" fmla="*/ 45 w 165"/>
                <a:gd name="T39" fmla="*/ 21 h 130"/>
                <a:gd name="T40" fmla="*/ 43 w 165"/>
                <a:gd name="T41" fmla="*/ 30 h 130"/>
                <a:gd name="T42" fmla="*/ 31 w 165"/>
                <a:gd name="T43" fmla="*/ 38 h 130"/>
                <a:gd name="T44" fmla="*/ 27 w 165"/>
                <a:gd name="T45" fmla="*/ 43 h 130"/>
                <a:gd name="T46" fmla="*/ 23 w 165"/>
                <a:gd name="T47" fmla="*/ 46 h 130"/>
                <a:gd name="T48" fmla="*/ 16 w 165"/>
                <a:gd name="T49" fmla="*/ 44 h 130"/>
                <a:gd name="T50" fmla="*/ 7 w 165"/>
                <a:gd name="T51" fmla="*/ 41 h 130"/>
                <a:gd name="T52" fmla="*/ 7 w 165"/>
                <a:gd name="T53" fmla="*/ 43 h 130"/>
                <a:gd name="T54" fmla="*/ 5 w 165"/>
                <a:gd name="T55" fmla="*/ 51 h 130"/>
                <a:gd name="T56" fmla="*/ 4 w 165"/>
                <a:gd name="T57" fmla="*/ 59 h 130"/>
                <a:gd name="T58" fmla="*/ 0 w 165"/>
                <a:gd name="T59" fmla="*/ 65 h 130"/>
                <a:gd name="T60" fmla="*/ 7 w 165"/>
                <a:gd name="T61" fmla="*/ 71 h 130"/>
                <a:gd name="T62" fmla="*/ 4 w 165"/>
                <a:gd name="T63" fmla="*/ 78 h 130"/>
                <a:gd name="T64" fmla="*/ 8 w 165"/>
                <a:gd name="T65" fmla="*/ 90 h 130"/>
                <a:gd name="T66" fmla="*/ 15 w 165"/>
                <a:gd name="T67" fmla="*/ 102 h 130"/>
                <a:gd name="T68" fmla="*/ 23 w 165"/>
                <a:gd name="T69" fmla="*/ 106 h 130"/>
                <a:gd name="T70" fmla="*/ 19 w 165"/>
                <a:gd name="T71" fmla="*/ 117 h 130"/>
                <a:gd name="T72" fmla="*/ 23 w 165"/>
                <a:gd name="T73" fmla="*/ 129 h 130"/>
                <a:gd name="T74" fmla="*/ 50 w 165"/>
                <a:gd name="T75" fmla="*/ 129 h 130"/>
                <a:gd name="T76" fmla="*/ 61 w 165"/>
                <a:gd name="T77" fmla="*/ 129 h 130"/>
                <a:gd name="T78" fmla="*/ 80 w 165"/>
                <a:gd name="T79" fmla="*/ 125 h 130"/>
                <a:gd name="T80" fmla="*/ 80 w 165"/>
                <a:gd name="T81" fmla="*/ 113 h 130"/>
                <a:gd name="T82" fmla="*/ 85 w 165"/>
                <a:gd name="T83" fmla="*/ 103 h 130"/>
                <a:gd name="T84" fmla="*/ 96 w 165"/>
                <a:gd name="T85" fmla="*/ 103 h 130"/>
                <a:gd name="T86" fmla="*/ 97 w 165"/>
                <a:gd name="T87" fmla="*/ 97 h 130"/>
                <a:gd name="T88" fmla="*/ 105 w 165"/>
                <a:gd name="T89" fmla="*/ 97 h 130"/>
                <a:gd name="T90" fmla="*/ 112 w 165"/>
                <a:gd name="T91" fmla="*/ 97 h 130"/>
                <a:gd name="T92" fmla="*/ 113 w 165"/>
                <a:gd name="T93" fmla="*/ 84 h 130"/>
                <a:gd name="T94" fmla="*/ 116 w 165"/>
                <a:gd name="T95" fmla="*/ 78 h 130"/>
                <a:gd name="T96" fmla="*/ 118 w 165"/>
                <a:gd name="T97" fmla="*/ 70 h 130"/>
                <a:gd name="T98" fmla="*/ 118 w 165"/>
                <a:gd name="T99" fmla="*/ 65 h 130"/>
                <a:gd name="T100" fmla="*/ 131 w 165"/>
                <a:gd name="T101" fmla="*/ 62 h 130"/>
                <a:gd name="T102" fmla="*/ 127 w 165"/>
                <a:gd name="T103" fmla="*/ 56 h 130"/>
                <a:gd name="T104" fmla="*/ 131 w 165"/>
                <a:gd name="T105" fmla="*/ 46 h 130"/>
                <a:gd name="T106" fmla="*/ 124 w 165"/>
                <a:gd name="T107" fmla="*/ 38 h 130"/>
                <a:gd name="T108" fmla="*/ 131 w 165"/>
                <a:gd name="T109" fmla="*/ 30 h 130"/>
                <a:gd name="T110" fmla="*/ 151 w 165"/>
                <a:gd name="T111" fmla="*/ 24 h 130"/>
                <a:gd name="T112" fmla="*/ 162 w 165"/>
                <a:gd name="T113" fmla="*/ 2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30">
                  <a:moveTo>
                    <a:pt x="162" y="19"/>
                  </a:moveTo>
                  <a:lnTo>
                    <a:pt x="162" y="19"/>
                  </a:lnTo>
                  <a:lnTo>
                    <a:pt x="165" y="19"/>
                  </a:lnTo>
                  <a:lnTo>
                    <a:pt x="165" y="19"/>
                  </a:lnTo>
                  <a:lnTo>
                    <a:pt x="159" y="16"/>
                  </a:lnTo>
                  <a:lnTo>
                    <a:pt x="159" y="16"/>
                  </a:lnTo>
                  <a:lnTo>
                    <a:pt x="156" y="16"/>
                  </a:lnTo>
                  <a:lnTo>
                    <a:pt x="156" y="16"/>
                  </a:lnTo>
                  <a:lnTo>
                    <a:pt x="153" y="17"/>
                  </a:lnTo>
                  <a:lnTo>
                    <a:pt x="153" y="17"/>
                  </a:lnTo>
                  <a:lnTo>
                    <a:pt x="150" y="19"/>
                  </a:lnTo>
                  <a:lnTo>
                    <a:pt x="150" y="19"/>
                  </a:lnTo>
                  <a:lnTo>
                    <a:pt x="150" y="16"/>
                  </a:lnTo>
                  <a:lnTo>
                    <a:pt x="150" y="16"/>
                  </a:lnTo>
                  <a:lnTo>
                    <a:pt x="148" y="16"/>
                  </a:lnTo>
                  <a:lnTo>
                    <a:pt x="148" y="16"/>
                  </a:lnTo>
                  <a:lnTo>
                    <a:pt x="143" y="16"/>
                  </a:lnTo>
                  <a:lnTo>
                    <a:pt x="143" y="16"/>
                  </a:lnTo>
                  <a:lnTo>
                    <a:pt x="140" y="17"/>
                  </a:lnTo>
                  <a:lnTo>
                    <a:pt x="140" y="17"/>
                  </a:lnTo>
                  <a:lnTo>
                    <a:pt x="138" y="21"/>
                  </a:lnTo>
                  <a:lnTo>
                    <a:pt x="138" y="21"/>
                  </a:lnTo>
                  <a:lnTo>
                    <a:pt x="137" y="22"/>
                  </a:lnTo>
                  <a:lnTo>
                    <a:pt x="137" y="22"/>
                  </a:lnTo>
                  <a:lnTo>
                    <a:pt x="135" y="22"/>
                  </a:lnTo>
                  <a:lnTo>
                    <a:pt x="135" y="22"/>
                  </a:lnTo>
                  <a:lnTo>
                    <a:pt x="132" y="22"/>
                  </a:lnTo>
                  <a:lnTo>
                    <a:pt x="132" y="22"/>
                  </a:lnTo>
                  <a:lnTo>
                    <a:pt x="131" y="25"/>
                  </a:lnTo>
                  <a:lnTo>
                    <a:pt x="131" y="25"/>
                  </a:lnTo>
                  <a:lnTo>
                    <a:pt x="127" y="27"/>
                  </a:lnTo>
                  <a:lnTo>
                    <a:pt x="127" y="27"/>
                  </a:lnTo>
                  <a:lnTo>
                    <a:pt x="127" y="25"/>
                  </a:lnTo>
                  <a:lnTo>
                    <a:pt x="127" y="25"/>
                  </a:lnTo>
                  <a:lnTo>
                    <a:pt x="127" y="25"/>
                  </a:lnTo>
                  <a:lnTo>
                    <a:pt x="127" y="25"/>
                  </a:lnTo>
                  <a:lnTo>
                    <a:pt x="124" y="22"/>
                  </a:lnTo>
                  <a:lnTo>
                    <a:pt x="124" y="22"/>
                  </a:lnTo>
                  <a:lnTo>
                    <a:pt x="124" y="22"/>
                  </a:lnTo>
                  <a:lnTo>
                    <a:pt x="121" y="16"/>
                  </a:lnTo>
                  <a:lnTo>
                    <a:pt x="121" y="16"/>
                  </a:lnTo>
                  <a:lnTo>
                    <a:pt x="121" y="14"/>
                  </a:lnTo>
                  <a:lnTo>
                    <a:pt x="121" y="14"/>
                  </a:lnTo>
                  <a:lnTo>
                    <a:pt x="121" y="13"/>
                  </a:lnTo>
                  <a:lnTo>
                    <a:pt x="121" y="13"/>
                  </a:lnTo>
                  <a:lnTo>
                    <a:pt x="121" y="11"/>
                  </a:lnTo>
                  <a:lnTo>
                    <a:pt x="121" y="11"/>
                  </a:lnTo>
                  <a:lnTo>
                    <a:pt x="121" y="9"/>
                  </a:lnTo>
                  <a:lnTo>
                    <a:pt x="121" y="9"/>
                  </a:lnTo>
                  <a:lnTo>
                    <a:pt x="121" y="8"/>
                  </a:lnTo>
                  <a:lnTo>
                    <a:pt x="121" y="8"/>
                  </a:lnTo>
                  <a:lnTo>
                    <a:pt x="118" y="8"/>
                  </a:lnTo>
                  <a:lnTo>
                    <a:pt x="118" y="8"/>
                  </a:lnTo>
                  <a:lnTo>
                    <a:pt x="118" y="6"/>
                  </a:lnTo>
                  <a:lnTo>
                    <a:pt x="118" y="6"/>
                  </a:lnTo>
                  <a:lnTo>
                    <a:pt x="118" y="3"/>
                  </a:lnTo>
                  <a:lnTo>
                    <a:pt x="118" y="3"/>
                  </a:lnTo>
                  <a:lnTo>
                    <a:pt x="116" y="3"/>
                  </a:lnTo>
                  <a:lnTo>
                    <a:pt x="116" y="3"/>
                  </a:lnTo>
                  <a:lnTo>
                    <a:pt x="113" y="0"/>
                  </a:lnTo>
                  <a:lnTo>
                    <a:pt x="113" y="0"/>
                  </a:lnTo>
                  <a:lnTo>
                    <a:pt x="110" y="3"/>
                  </a:lnTo>
                  <a:lnTo>
                    <a:pt x="110" y="3"/>
                  </a:lnTo>
                  <a:lnTo>
                    <a:pt x="108" y="6"/>
                  </a:lnTo>
                  <a:lnTo>
                    <a:pt x="108" y="6"/>
                  </a:lnTo>
                  <a:lnTo>
                    <a:pt x="107" y="6"/>
                  </a:lnTo>
                  <a:lnTo>
                    <a:pt x="107" y="6"/>
                  </a:lnTo>
                  <a:lnTo>
                    <a:pt x="105" y="9"/>
                  </a:lnTo>
                  <a:lnTo>
                    <a:pt x="105" y="9"/>
                  </a:lnTo>
                  <a:lnTo>
                    <a:pt x="105" y="9"/>
                  </a:lnTo>
                  <a:lnTo>
                    <a:pt x="105" y="9"/>
                  </a:lnTo>
                  <a:lnTo>
                    <a:pt x="107" y="11"/>
                  </a:lnTo>
                  <a:lnTo>
                    <a:pt x="107" y="11"/>
                  </a:lnTo>
                  <a:lnTo>
                    <a:pt x="107" y="13"/>
                  </a:lnTo>
                  <a:lnTo>
                    <a:pt x="107" y="13"/>
                  </a:lnTo>
                  <a:lnTo>
                    <a:pt x="107" y="14"/>
                  </a:lnTo>
                  <a:lnTo>
                    <a:pt x="107" y="14"/>
                  </a:lnTo>
                  <a:lnTo>
                    <a:pt x="107" y="14"/>
                  </a:lnTo>
                  <a:lnTo>
                    <a:pt x="105" y="14"/>
                  </a:lnTo>
                  <a:lnTo>
                    <a:pt x="105" y="14"/>
                  </a:lnTo>
                  <a:lnTo>
                    <a:pt x="105" y="14"/>
                  </a:lnTo>
                  <a:lnTo>
                    <a:pt x="105" y="14"/>
                  </a:lnTo>
                  <a:lnTo>
                    <a:pt x="102" y="13"/>
                  </a:lnTo>
                  <a:lnTo>
                    <a:pt x="102" y="13"/>
                  </a:lnTo>
                  <a:lnTo>
                    <a:pt x="100" y="13"/>
                  </a:lnTo>
                  <a:lnTo>
                    <a:pt x="100" y="13"/>
                  </a:lnTo>
                  <a:lnTo>
                    <a:pt x="99" y="14"/>
                  </a:lnTo>
                  <a:lnTo>
                    <a:pt x="99" y="14"/>
                  </a:lnTo>
                  <a:lnTo>
                    <a:pt x="97" y="14"/>
                  </a:lnTo>
                  <a:lnTo>
                    <a:pt x="97" y="14"/>
                  </a:lnTo>
                  <a:lnTo>
                    <a:pt x="97" y="17"/>
                  </a:lnTo>
                  <a:lnTo>
                    <a:pt x="97" y="17"/>
                  </a:lnTo>
                  <a:lnTo>
                    <a:pt x="97" y="19"/>
                  </a:lnTo>
                  <a:lnTo>
                    <a:pt x="97" y="19"/>
                  </a:lnTo>
                  <a:lnTo>
                    <a:pt x="97" y="21"/>
                  </a:lnTo>
                  <a:lnTo>
                    <a:pt x="97" y="21"/>
                  </a:lnTo>
                  <a:lnTo>
                    <a:pt x="96" y="21"/>
                  </a:lnTo>
                  <a:lnTo>
                    <a:pt x="96" y="21"/>
                  </a:lnTo>
                  <a:lnTo>
                    <a:pt x="96" y="19"/>
                  </a:lnTo>
                  <a:lnTo>
                    <a:pt x="96" y="19"/>
                  </a:lnTo>
                  <a:lnTo>
                    <a:pt x="92" y="17"/>
                  </a:lnTo>
                  <a:lnTo>
                    <a:pt x="92" y="17"/>
                  </a:lnTo>
                  <a:lnTo>
                    <a:pt x="92" y="19"/>
                  </a:lnTo>
                  <a:lnTo>
                    <a:pt x="92" y="19"/>
                  </a:lnTo>
                  <a:lnTo>
                    <a:pt x="92" y="19"/>
                  </a:lnTo>
                  <a:lnTo>
                    <a:pt x="92" y="19"/>
                  </a:lnTo>
                  <a:lnTo>
                    <a:pt x="89" y="17"/>
                  </a:lnTo>
                  <a:lnTo>
                    <a:pt x="89" y="17"/>
                  </a:lnTo>
                  <a:lnTo>
                    <a:pt x="89" y="19"/>
                  </a:lnTo>
                  <a:lnTo>
                    <a:pt x="89" y="19"/>
                  </a:lnTo>
                  <a:lnTo>
                    <a:pt x="86" y="21"/>
                  </a:lnTo>
                  <a:lnTo>
                    <a:pt x="86" y="21"/>
                  </a:lnTo>
                  <a:lnTo>
                    <a:pt x="86" y="21"/>
                  </a:lnTo>
                  <a:lnTo>
                    <a:pt x="86" y="21"/>
                  </a:lnTo>
                  <a:lnTo>
                    <a:pt x="86" y="22"/>
                  </a:lnTo>
                  <a:lnTo>
                    <a:pt x="86" y="22"/>
                  </a:lnTo>
                  <a:lnTo>
                    <a:pt x="85" y="22"/>
                  </a:lnTo>
                  <a:lnTo>
                    <a:pt x="85" y="22"/>
                  </a:lnTo>
                  <a:lnTo>
                    <a:pt x="83" y="22"/>
                  </a:lnTo>
                  <a:lnTo>
                    <a:pt x="83" y="22"/>
                  </a:lnTo>
                  <a:lnTo>
                    <a:pt x="81" y="22"/>
                  </a:lnTo>
                  <a:lnTo>
                    <a:pt x="81" y="22"/>
                  </a:lnTo>
                  <a:lnTo>
                    <a:pt x="78" y="19"/>
                  </a:lnTo>
                  <a:lnTo>
                    <a:pt x="78" y="19"/>
                  </a:lnTo>
                  <a:lnTo>
                    <a:pt x="75" y="19"/>
                  </a:lnTo>
                  <a:lnTo>
                    <a:pt x="75" y="19"/>
                  </a:lnTo>
                  <a:lnTo>
                    <a:pt x="73" y="19"/>
                  </a:lnTo>
                  <a:lnTo>
                    <a:pt x="73" y="19"/>
                  </a:lnTo>
                  <a:lnTo>
                    <a:pt x="72" y="17"/>
                  </a:lnTo>
                  <a:lnTo>
                    <a:pt x="72" y="17"/>
                  </a:lnTo>
                  <a:lnTo>
                    <a:pt x="69" y="16"/>
                  </a:lnTo>
                  <a:lnTo>
                    <a:pt x="69" y="16"/>
                  </a:lnTo>
                  <a:lnTo>
                    <a:pt x="64" y="16"/>
                  </a:lnTo>
                  <a:lnTo>
                    <a:pt x="64" y="16"/>
                  </a:lnTo>
                  <a:lnTo>
                    <a:pt x="61" y="17"/>
                  </a:lnTo>
                  <a:lnTo>
                    <a:pt x="61" y="17"/>
                  </a:lnTo>
                  <a:lnTo>
                    <a:pt x="61" y="16"/>
                  </a:lnTo>
                  <a:lnTo>
                    <a:pt x="61" y="16"/>
                  </a:lnTo>
                  <a:lnTo>
                    <a:pt x="58" y="16"/>
                  </a:lnTo>
                  <a:lnTo>
                    <a:pt x="58" y="16"/>
                  </a:lnTo>
                  <a:lnTo>
                    <a:pt x="58" y="14"/>
                  </a:lnTo>
                  <a:lnTo>
                    <a:pt x="58" y="14"/>
                  </a:lnTo>
                  <a:lnTo>
                    <a:pt x="54" y="14"/>
                  </a:lnTo>
                  <a:lnTo>
                    <a:pt x="54" y="14"/>
                  </a:lnTo>
                  <a:lnTo>
                    <a:pt x="54" y="14"/>
                  </a:lnTo>
                  <a:lnTo>
                    <a:pt x="54" y="14"/>
                  </a:lnTo>
                  <a:lnTo>
                    <a:pt x="51" y="16"/>
                  </a:lnTo>
                  <a:lnTo>
                    <a:pt x="51" y="16"/>
                  </a:lnTo>
                  <a:lnTo>
                    <a:pt x="51" y="19"/>
                  </a:lnTo>
                  <a:lnTo>
                    <a:pt x="51" y="19"/>
                  </a:lnTo>
                  <a:lnTo>
                    <a:pt x="51" y="19"/>
                  </a:lnTo>
                  <a:lnTo>
                    <a:pt x="51" y="19"/>
                  </a:lnTo>
                  <a:lnTo>
                    <a:pt x="50" y="19"/>
                  </a:lnTo>
                  <a:lnTo>
                    <a:pt x="50" y="19"/>
                  </a:lnTo>
                  <a:lnTo>
                    <a:pt x="48" y="19"/>
                  </a:lnTo>
                  <a:lnTo>
                    <a:pt x="48" y="19"/>
                  </a:lnTo>
                  <a:lnTo>
                    <a:pt x="46" y="19"/>
                  </a:lnTo>
                  <a:lnTo>
                    <a:pt x="46" y="19"/>
                  </a:lnTo>
                  <a:lnTo>
                    <a:pt x="45" y="21"/>
                  </a:lnTo>
                  <a:lnTo>
                    <a:pt x="45" y="21"/>
                  </a:lnTo>
                  <a:lnTo>
                    <a:pt x="43" y="22"/>
                  </a:lnTo>
                  <a:lnTo>
                    <a:pt x="43" y="22"/>
                  </a:lnTo>
                  <a:lnTo>
                    <a:pt x="43" y="24"/>
                  </a:lnTo>
                  <a:lnTo>
                    <a:pt x="43" y="24"/>
                  </a:lnTo>
                  <a:lnTo>
                    <a:pt x="43" y="25"/>
                  </a:lnTo>
                  <a:lnTo>
                    <a:pt x="43" y="25"/>
                  </a:lnTo>
                  <a:lnTo>
                    <a:pt x="43" y="30"/>
                  </a:lnTo>
                  <a:lnTo>
                    <a:pt x="43" y="30"/>
                  </a:lnTo>
                  <a:lnTo>
                    <a:pt x="42" y="32"/>
                  </a:lnTo>
                  <a:lnTo>
                    <a:pt x="42" y="32"/>
                  </a:lnTo>
                  <a:lnTo>
                    <a:pt x="37" y="35"/>
                  </a:lnTo>
                  <a:lnTo>
                    <a:pt x="37" y="35"/>
                  </a:lnTo>
                  <a:lnTo>
                    <a:pt x="34" y="38"/>
                  </a:lnTo>
                  <a:lnTo>
                    <a:pt x="34" y="38"/>
                  </a:lnTo>
                  <a:lnTo>
                    <a:pt x="31" y="38"/>
                  </a:lnTo>
                  <a:lnTo>
                    <a:pt x="31" y="38"/>
                  </a:lnTo>
                  <a:lnTo>
                    <a:pt x="27" y="38"/>
                  </a:lnTo>
                  <a:lnTo>
                    <a:pt x="27" y="38"/>
                  </a:lnTo>
                  <a:lnTo>
                    <a:pt x="29" y="41"/>
                  </a:lnTo>
                  <a:lnTo>
                    <a:pt x="29" y="41"/>
                  </a:lnTo>
                  <a:lnTo>
                    <a:pt x="27" y="41"/>
                  </a:lnTo>
                  <a:lnTo>
                    <a:pt x="27" y="41"/>
                  </a:lnTo>
                  <a:lnTo>
                    <a:pt x="27" y="43"/>
                  </a:lnTo>
                  <a:lnTo>
                    <a:pt x="27" y="43"/>
                  </a:lnTo>
                  <a:lnTo>
                    <a:pt x="26" y="44"/>
                  </a:lnTo>
                  <a:lnTo>
                    <a:pt x="26" y="44"/>
                  </a:lnTo>
                  <a:lnTo>
                    <a:pt x="26" y="46"/>
                  </a:lnTo>
                  <a:lnTo>
                    <a:pt x="26" y="46"/>
                  </a:lnTo>
                  <a:lnTo>
                    <a:pt x="23" y="46"/>
                  </a:lnTo>
                  <a:lnTo>
                    <a:pt x="23" y="46"/>
                  </a:lnTo>
                  <a:lnTo>
                    <a:pt x="23" y="46"/>
                  </a:lnTo>
                  <a:lnTo>
                    <a:pt x="23" y="46"/>
                  </a:lnTo>
                  <a:lnTo>
                    <a:pt x="19" y="48"/>
                  </a:lnTo>
                  <a:lnTo>
                    <a:pt x="19" y="48"/>
                  </a:lnTo>
                  <a:lnTo>
                    <a:pt x="19" y="49"/>
                  </a:lnTo>
                  <a:lnTo>
                    <a:pt x="19" y="49"/>
                  </a:lnTo>
                  <a:lnTo>
                    <a:pt x="16" y="46"/>
                  </a:lnTo>
                  <a:lnTo>
                    <a:pt x="16" y="46"/>
                  </a:lnTo>
                  <a:lnTo>
                    <a:pt x="16" y="44"/>
                  </a:lnTo>
                  <a:lnTo>
                    <a:pt x="16" y="44"/>
                  </a:lnTo>
                  <a:lnTo>
                    <a:pt x="13" y="44"/>
                  </a:lnTo>
                  <a:lnTo>
                    <a:pt x="13" y="44"/>
                  </a:lnTo>
                  <a:lnTo>
                    <a:pt x="11" y="44"/>
                  </a:lnTo>
                  <a:lnTo>
                    <a:pt x="11" y="44"/>
                  </a:lnTo>
                  <a:lnTo>
                    <a:pt x="8" y="41"/>
                  </a:lnTo>
                  <a:lnTo>
                    <a:pt x="8" y="41"/>
                  </a:lnTo>
                  <a:lnTo>
                    <a:pt x="7" y="41"/>
                  </a:lnTo>
                  <a:lnTo>
                    <a:pt x="7" y="41"/>
                  </a:lnTo>
                  <a:lnTo>
                    <a:pt x="4" y="38"/>
                  </a:lnTo>
                  <a:lnTo>
                    <a:pt x="4" y="38"/>
                  </a:lnTo>
                  <a:lnTo>
                    <a:pt x="5" y="41"/>
                  </a:lnTo>
                  <a:lnTo>
                    <a:pt x="5" y="41"/>
                  </a:lnTo>
                  <a:lnTo>
                    <a:pt x="7" y="41"/>
                  </a:lnTo>
                  <a:lnTo>
                    <a:pt x="7" y="41"/>
                  </a:lnTo>
                  <a:lnTo>
                    <a:pt x="7" y="43"/>
                  </a:lnTo>
                  <a:lnTo>
                    <a:pt x="7" y="43"/>
                  </a:lnTo>
                  <a:lnTo>
                    <a:pt x="5" y="44"/>
                  </a:lnTo>
                  <a:lnTo>
                    <a:pt x="5" y="44"/>
                  </a:lnTo>
                  <a:lnTo>
                    <a:pt x="5" y="46"/>
                  </a:lnTo>
                  <a:lnTo>
                    <a:pt x="5" y="46"/>
                  </a:lnTo>
                  <a:lnTo>
                    <a:pt x="5" y="48"/>
                  </a:lnTo>
                  <a:lnTo>
                    <a:pt x="5" y="48"/>
                  </a:lnTo>
                  <a:lnTo>
                    <a:pt x="5" y="51"/>
                  </a:lnTo>
                  <a:lnTo>
                    <a:pt x="5" y="51"/>
                  </a:lnTo>
                  <a:lnTo>
                    <a:pt x="5" y="54"/>
                  </a:lnTo>
                  <a:lnTo>
                    <a:pt x="5" y="54"/>
                  </a:lnTo>
                  <a:lnTo>
                    <a:pt x="4" y="56"/>
                  </a:lnTo>
                  <a:lnTo>
                    <a:pt x="4" y="56"/>
                  </a:lnTo>
                  <a:lnTo>
                    <a:pt x="2" y="57"/>
                  </a:lnTo>
                  <a:lnTo>
                    <a:pt x="2" y="57"/>
                  </a:lnTo>
                  <a:lnTo>
                    <a:pt x="4" y="59"/>
                  </a:lnTo>
                  <a:lnTo>
                    <a:pt x="4" y="59"/>
                  </a:lnTo>
                  <a:lnTo>
                    <a:pt x="4" y="59"/>
                  </a:lnTo>
                  <a:lnTo>
                    <a:pt x="4" y="59"/>
                  </a:lnTo>
                  <a:lnTo>
                    <a:pt x="2" y="62"/>
                  </a:lnTo>
                  <a:lnTo>
                    <a:pt x="2" y="62"/>
                  </a:lnTo>
                  <a:lnTo>
                    <a:pt x="0" y="62"/>
                  </a:lnTo>
                  <a:lnTo>
                    <a:pt x="0" y="62"/>
                  </a:lnTo>
                  <a:lnTo>
                    <a:pt x="0" y="65"/>
                  </a:lnTo>
                  <a:lnTo>
                    <a:pt x="0" y="65"/>
                  </a:lnTo>
                  <a:lnTo>
                    <a:pt x="0" y="67"/>
                  </a:lnTo>
                  <a:lnTo>
                    <a:pt x="0" y="67"/>
                  </a:lnTo>
                  <a:lnTo>
                    <a:pt x="2" y="70"/>
                  </a:lnTo>
                  <a:lnTo>
                    <a:pt x="2" y="70"/>
                  </a:lnTo>
                  <a:lnTo>
                    <a:pt x="4" y="71"/>
                  </a:lnTo>
                  <a:lnTo>
                    <a:pt x="4" y="71"/>
                  </a:lnTo>
                  <a:lnTo>
                    <a:pt x="7" y="71"/>
                  </a:lnTo>
                  <a:lnTo>
                    <a:pt x="7" y="71"/>
                  </a:lnTo>
                  <a:lnTo>
                    <a:pt x="7" y="73"/>
                  </a:lnTo>
                  <a:lnTo>
                    <a:pt x="7" y="73"/>
                  </a:lnTo>
                  <a:lnTo>
                    <a:pt x="5" y="75"/>
                  </a:lnTo>
                  <a:lnTo>
                    <a:pt x="5" y="75"/>
                  </a:lnTo>
                  <a:lnTo>
                    <a:pt x="4" y="76"/>
                  </a:lnTo>
                  <a:lnTo>
                    <a:pt x="4" y="76"/>
                  </a:lnTo>
                  <a:lnTo>
                    <a:pt x="4" y="78"/>
                  </a:lnTo>
                  <a:lnTo>
                    <a:pt x="4" y="78"/>
                  </a:lnTo>
                  <a:lnTo>
                    <a:pt x="4" y="79"/>
                  </a:lnTo>
                  <a:lnTo>
                    <a:pt x="4" y="79"/>
                  </a:lnTo>
                  <a:lnTo>
                    <a:pt x="5" y="84"/>
                  </a:lnTo>
                  <a:lnTo>
                    <a:pt x="5" y="84"/>
                  </a:lnTo>
                  <a:lnTo>
                    <a:pt x="7" y="87"/>
                  </a:lnTo>
                  <a:lnTo>
                    <a:pt x="7" y="87"/>
                  </a:lnTo>
                  <a:lnTo>
                    <a:pt x="8" y="90"/>
                  </a:lnTo>
                  <a:lnTo>
                    <a:pt x="8" y="90"/>
                  </a:lnTo>
                  <a:lnTo>
                    <a:pt x="10" y="97"/>
                  </a:lnTo>
                  <a:lnTo>
                    <a:pt x="10" y="97"/>
                  </a:lnTo>
                  <a:lnTo>
                    <a:pt x="10" y="98"/>
                  </a:lnTo>
                  <a:lnTo>
                    <a:pt x="10" y="98"/>
                  </a:lnTo>
                  <a:lnTo>
                    <a:pt x="11" y="100"/>
                  </a:lnTo>
                  <a:lnTo>
                    <a:pt x="11" y="100"/>
                  </a:lnTo>
                  <a:lnTo>
                    <a:pt x="15" y="102"/>
                  </a:lnTo>
                  <a:lnTo>
                    <a:pt x="15" y="102"/>
                  </a:lnTo>
                  <a:lnTo>
                    <a:pt x="16" y="102"/>
                  </a:lnTo>
                  <a:lnTo>
                    <a:pt x="16" y="102"/>
                  </a:lnTo>
                  <a:lnTo>
                    <a:pt x="19" y="102"/>
                  </a:lnTo>
                  <a:lnTo>
                    <a:pt x="19" y="102"/>
                  </a:lnTo>
                  <a:lnTo>
                    <a:pt x="23" y="105"/>
                  </a:lnTo>
                  <a:lnTo>
                    <a:pt x="23" y="105"/>
                  </a:lnTo>
                  <a:lnTo>
                    <a:pt x="23" y="106"/>
                  </a:lnTo>
                  <a:lnTo>
                    <a:pt x="23" y="106"/>
                  </a:lnTo>
                  <a:lnTo>
                    <a:pt x="23" y="108"/>
                  </a:lnTo>
                  <a:lnTo>
                    <a:pt x="23" y="108"/>
                  </a:lnTo>
                  <a:lnTo>
                    <a:pt x="23" y="111"/>
                  </a:lnTo>
                  <a:lnTo>
                    <a:pt x="23" y="111"/>
                  </a:lnTo>
                  <a:lnTo>
                    <a:pt x="23" y="111"/>
                  </a:lnTo>
                  <a:lnTo>
                    <a:pt x="19" y="114"/>
                  </a:lnTo>
                  <a:lnTo>
                    <a:pt x="19" y="114"/>
                  </a:lnTo>
                  <a:lnTo>
                    <a:pt x="19" y="117"/>
                  </a:lnTo>
                  <a:lnTo>
                    <a:pt x="19" y="117"/>
                  </a:lnTo>
                  <a:lnTo>
                    <a:pt x="16" y="122"/>
                  </a:lnTo>
                  <a:lnTo>
                    <a:pt x="16" y="122"/>
                  </a:lnTo>
                  <a:lnTo>
                    <a:pt x="16" y="122"/>
                  </a:lnTo>
                  <a:lnTo>
                    <a:pt x="15" y="125"/>
                  </a:lnTo>
                  <a:lnTo>
                    <a:pt x="15" y="125"/>
                  </a:lnTo>
                  <a:lnTo>
                    <a:pt x="23" y="129"/>
                  </a:lnTo>
                  <a:lnTo>
                    <a:pt x="23" y="129"/>
                  </a:lnTo>
                  <a:lnTo>
                    <a:pt x="29" y="130"/>
                  </a:lnTo>
                  <a:lnTo>
                    <a:pt x="29" y="130"/>
                  </a:lnTo>
                  <a:lnTo>
                    <a:pt x="37" y="130"/>
                  </a:lnTo>
                  <a:lnTo>
                    <a:pt x="37" y="130"/>
                  </a:lnTo>
                  <a:lnTo>
                    <a:pt x="45" y="129"/>
                  </a:lnTo>
                  <a:lnTo>
                    <a:pt x="45" y="129"/>
                  </a:lnTo>
                  <a:lnTo>
                    <a:pt x="50" y="129"/>
                  </a:lnTo>
                  <a:lnTo>
                    <a:pt x="50" y="129"/>
                  </a:lnTo>
                  <a:lnTo>
                    <a:pt x="51" y="130"/>
                  </a:lnTo>
                  <a:lnTo>
                    <a:pt x="51" y="130"/>
                  </a:lnTo>
                  <a:lnTo>
                    <a:pt x="54" y="130"/>
                  </a:lnTo>
                  <a:lnTo>
                    <a:pt x="54" y="130"/>
                  </a:lnTo>
                  <a:lnTo>
                    <a:pt x="58" y="129"/>
                  </a:lnTo>
                  <a:lnTo>
                    <a:pt x="58" y="129"/>
                  </a:lnTo>
                  <a:lnTo>
                    <a:pt x="61" y="129"/>
                  </a:lnTo>
                  <a:lnTo>
                    <a:pt x="61" y="129"/>
                  </a:lnTo>
                  <a:lnTo>
                    <a:pt x="64" y="129"/>
                  </a:lnTo>
                  <a:lnTo>
                    <a:pt x="64" y="129"/>
                  </a:lnTo>
                  <a:lnTo>
                    <a:pt x="70" y="129"/>
                  </a:lnTo>
                  <a:lnTo>
                    <a:pt x="70" y="129"/>
                  </a:lnTo>
                  <a:lnTo>
                    <a:pt x="77" y="125"/>
                  </a:lnTo>
                  <a:lnTo>
                    <a:pt x="77" y="125"/>
                  </a:lnTo>
                  <a:lnTo>
                    <a:pt x="80" y="125"/>
                  </a:lnTo>
                  <a:lnTo>
                    <a:pt x="80" y="125"/>
                  </a:lnTo>
                  <a:lnTo>
                    <a:pt x="81" y="122"/>
                  </a:lnTo>
                  <a:lnTo>
                    <a:pt x="81" y="122"/>
                  </a:lnTo>
                  <a:lnTo>
                    <a:pt x="80" y="122"/>
                  </a:lnTo>
                  <a:lnTo>
                    <a:pt x="80" y="122"/>
                  </a:lnTo>
                  <a:lnTo>
                    <a:pt x="80" y="119"/>
                  </a:lnTo>
                  <a:lnTo>
                    <a:pt x="80" y="119"/>
                  </a:lnTo>
                  <a:lnTo>
                    <a:pt x="80" y="113"/>
                  </a:lnTo>
                  <a:lnTo>
                    <a:pt x="80" y="113"/>
                  </a:lnTo>
                  <a:lnTo>
                    <a:pt x="80" y="109"/>
                  </a:lnTo>
                  <a:lnTo>
                    <a:pt x="80" y="109"/>
                  </a:lnTo>
                  <a:lnTo>
                    <a:pt x="81" y="108"/>
                  </a:lnTo>
                  <a:lnTo>
                    <a:pt x="81" y="108"/>
                  </a:lnTo>
                  <a:lnTo>
                    <a:pt x="83" y="105"/>
                  </a:lnTo>
                  <a:lnTo>
                    <a:pt x="83" y="105"/>
                  </a:lnTo>
                  <a:lnTo>
                    <a:pt x="85" y="103"/>
                  </a:lnTo>
                  <a:lnTo>
                    <a:pt x="85" y="103"/>
                  </a:lnTo>
                  <a:lnTo>
                    <a:pt x="86" y="103"/>
                  </a:lnTo>
                  <a:lnTo>
                    <a:pt x="86" y="103"/>
                  </a:lnTo>
                  <a:lnTo>
                    <a:pt x="86" y="105"/>
                  </a:lnTo>
                  <a:lnTo>
                    <a:pt x="86" y="105"/>
                  </a:lnTo>
                  <a:lnTo>
                    <a:pt x="89" y="105"/>
                  </a:lnTo>
                  <a:lnTo>
                    <a:pt x="89" y="105"/>
                  </a:lnTo>
                  <a:lnTo>
                    <a:pt x="96" y="103"/>
                  </a:lnTo>
                  <a:lnTo>
                    <a:pt x="96" y="103"/>
                  </a:lnTo>
                  <a:lnTo>
                    <a:pt x="92" y="102"/>
                  </a:lnTo>
                  <a:lnTo>
                    <a:pt x="92" y="102"/>
                  </a:lnTo>
                  <a:lnTo>
                    <a:pt x="92" y="100"/>
                  </a:lnTo>
                  <a:lnTo>
                    <a:pt x="92" y="100"/>
                  </a:lnTo>
                  <a:lnTo>
                    <a:pt x="96" y="98"/>
                  </a:lnTo>
                  <a:lnTo>
                    <a:pt x="96" y="98"/>
                  </a:lnTo>
                  <a:lnTo>
                    <a:pt x="97" y="97"/>
                  </a:lnTo>
                  <a:lnTo>
                    <a:pt x="97" y="97"/>
                  </a:lnTo>
                  <a:lnTo>
                    <a:pt x="99" y="97"/>
                  </a:lnTo>
                  <a:lnTo>
                    <a:pt x="99" y="97"/>
                  </a:lnTo>
                  <a:lnTo>
                    <a:pt x="102" y="97"/>
                  </a:lnTo>
                  <a:lnTo>
                    <a:pt x="102" y="97"/>
                  </a:lnTo>
                  <a:lnTo>
                    <a:pt x="104" y="97"/>
                  </a:lnTo>
                  <a:lnTo>
                    <a:pt x="104" y="97"/>
                  </a:lnTo>
                  <a:lnTo>
                    <a:pt x="105" y="97"/>
                  </a:lnTo>
                  <a:lnTo>
                    <a:pt x="105" y="97"/>
                  </a:lnTo>
                  <a:lnTo>
                    <a:pt x="107" y="98"/>
                  </a:lnTo>
                  <a:lnTo>
                    <a:pt x="107" y="98"/>
                  </a:lnTo>
                  <a:lnTo>
                    <a:pt x="110" y="98"/>
                  </a:lnTo>
                  <a:lnTo>
                    <a:pt x="110" y="98"/>
                  </a:lnTo>
                  <a:lnTo>
                    <a:pt x="112" y="97"/>
                  </a:lnTo>
                  <a:lnTo>
                    <a:pt x="112" y="97"/>
                  </a:lnTo>
                  <a:lnTo>
                    <a:pt x="112" y="97"/>
                  </a:lnTo>
                  <a:lnTo>
                    <a:pt x="112" y="97"/>
                  </a:lnTo>
                  <a:lnTo>
                    <a:pt x="112" y="90"/>
                  </a:lnTo>
                  <a:lnTo>
                    <a:pt x="112" y="90"/>
                  </a:lnTo>
                  <a:lnTo>
                    <a:pt x="112" y="87"/>
                  </a:lnTo>
                  <a:lnTo>
                    <a:pt x="112" y="87"/>
                  </a:lnTo>
                  <a:lnTo>
                    <a:pt x="112" y="87"/>
                  </a:lnTo>
                  <a:lnTo>
                    <a:pt x="112" y="87"/>
                  </a:lnTo>
                  <a:lnTo>
                    <a:pt x="113" y="84"/>
                  </a:lnTo>
                  <a:lnTo>
                    <a:pt x="113" y="84"/>
                  </a:lnTo>
                  <a:lnTo>
                    <a:pt x="113" y="81"/>
                  </a:lnTo>
                  <a:lnTo>
                    <a:pt x="113" y="81"/>
                  </a:lnTo>
                  <a:lnTo>
                    <a:pt x="113" y="79"/>
                  </a:lnTo>
                  <a:lnTo>
                    <a:pt x="113" y="79"/>
                  </a:lnTo>
                  <a:lnTo>
                    <a:pt x="113" y="78"/>
                  </a:lnTo>
                  <a:lnTo>
                    <a:pt x="113" y="78"/>
                  </a:lnTo>
                  <a:lnTo>
                    <a:pt x="116" y="78"/>
                  </a:lnTo>
                  <a:lnTo>
                    <a:pt x="116" y="78"/>
                  </a:lnTo>
                  <a:lnTo>
                    <a:pt x="118" y="76"/>
                  </a:lnTo>
                  <a:lnTo>
                    <a:pt x="118" y="76"/>
                  </a:lnTo>
                  <a:lnTo>
                    <a:pt x="121" y="75"/>
                  </a:lnTo>
                  <a:lnTo>
                    <a:pt x="121" y="75"/>
                  </a:lnTo>
                  <a:lnTo>
                    <a:pt x="121" y="73"/>
                  </a:lnTo>
                  <a:lnTo>
                    <a:pt x="121" y="73"/>
                  </a:lnTo>
                  <a:lnTo>
                    <a:pt x="118" y="70"/>
                  </a:lnTo>
                  <a:lnTo>
                    <a:pt x="118" y="70"/>
                  </a:lnTo>
                  <a:lnTo>
                    <a:pt x="118" y="68"/>
                  </a:lnTo>
                  <a:lnTo>
                    <a:pt x="118" y="68"/>
                  </a:lnTo>
                  <a:lnTo>
                    <a:pt x="116" y="67"/>
                  </a:lnTo>
                  <a:lnTo>
                    <a:pt x="116" y="67"/>
                  </a:lnTo>
                  <a:lnTo>
                    <a:pt x="115" y="65"/>
                  </a:lnTo>
                  <a:lnTo>
                    <a:pt x="115" y="65"/>
                  </a:lnTo>
                  <a:lnTo>
                    <a:pt x="118" y="65"/>
                  </a:lnTo>
                  <a:lnTo>
                    <a:pt x="118" y="65"/>
                  </a:lnTo>
                  <a:lnTo>
                    <a:pt x="118" y="65"/>
                  </a:lnTo>
                  <a:lnTo>
                    <a:pt x="118" y="65"/>
                  </a:lnTo>
                  <a:lnTo>
                    <a:pt x="124" y="65"/>
                  </a:lnTo>
                  <a:lnTo>
                    <a:pt x="124" y="65"/>
                  </a:lnTo>
                  <a:lnTo>
                    <a:pt x="127" y="65"/>
                  </a:lnTo>
                  <a:lnTo>
                    <a:pt x="127" y="65"/>
                  </a:lnTo>
                  <a:lnTo>
                    <a:pt x="131" y="62"/>
                  </a:lnTo>
                  <a:lnTo>
                    <a:pt x="131" y="62"/>
                  </a:lnTo>
                  <a:lnTo>
                    <a:pt x="127" y="59"/>
                  </a:lnTo>
                  <a:lnTo>
                    <a:pt x="127" y="59"/>
                  </a:lnTo>
                  <a:lnTo>
                    <a:pt x="124" y="59"/>
                  </a:lnTo>
                  <a:lnTo>
                    <a:pt x="124" y="59"/>
                  </a:lnTo>
                  <a:lnTo>
                    <a:pt x="127" y="57"/>
                  </a:lnTo>
                  <a:lnTo>
                    <a:pt x="127" y="57"/>
                  </a:lnTo>
                  <a:lnTo>
                    <a:pt x="127" y="56"/>
                  </a:lnTo>
                  <a:lnTo>
                    <a:pt x="127" y="56"/>
                  </a:lnTo>
                  <a:lnTo>
                    <a:pt x="127" y="54"/>
                  </a:lnTo>
                  <a:lnTo>
                    <a:pt x="127" y="54"/>
                  </a:lnTo>
                  <a:lnTo>
                    <a:pt x="131" y="51"/>
                  </a:lnTo>
                  <a:lnTo>
                    <a:pt x="131" y="51"/>
                  </a:lnTo>
                  <a:lnTo>
                    <a:pt x="132" y="48"/>
                  </a:lnTo>
                  <a:lnTo>
                    <a:pt x="132" y="48"/>
                  </a:lnTo>
                  <a:lnTo>
                    <a:pt x="131" y="46"/>
                  </a:lnTo>
                  <a:lnTo>
                    <a:pt x="131" y="46"/>
                  </a:lnTo>
                  <a:lnTo>
                    <a:pt x="131" y="44"/>
                  </a:lnTo>
                  <a:lnTo>
                    <a:pt x="131" y="44"/>
                  </a:lnTo>
                  <a:lnTo>
                    <a:pt x="131" y="41"/>
                  </a:lnTo>
                  <a:lnTo>
                    <a:pt x="131" y="41"/>
                  </a:lnTo>
                  <a:lnTo>
                    <a:pt x="127" y="38"/>
                  </a:lnTo>
                  <a:lnTo>
                    <a:pt x="127" y="38"/>
                  </a:lnTo>
                  <a:lnTo>
                    <a:pt x="124" y="38"/>
                  </a:lnTo>
                  <a:lnTo>
                    <a:pt x="124" y="38"/>
                  </a:lnTo>
                  <a:lnTo>
                    <a:pt x="124" y="35"/>
                  </a:lnTo>
                  <a:lnTo>
                    <a:pt x="124" y="35"/>
                  </a:lnTo>
                  <a:lnTo>
                    <a:pt x="127" y="32"/>
                  </a:lnTo>
                  <a:lnTo>
                    <a:pt x="127" y="32"/>
                  </a:lnTo>
                  <a:lnTo>
                    <a:pt x="127" y="30"/>
                  </a:lnTo>
                  <a:lnTo>
                    <a:pt x="127" y="30"/>
                  </a:lnTo>
                  <a:lnTo>
                    <a:pt x="131" y="30"/>
                  </a:lnTo>
                  <a:lnTo>
                    <a:pt x="131" y="30"/>
                  </a:lnTo>
                  <a:lnTo>
                    <a:pt x="131" y="29"/>
                  </a:lnTo>
                  <a:lnTo>
                    <a:pt x="131" y="29"/>
                  </a:lnTo>
                  <a:lnTo>
                    <a:pt x="134" y="27"/>
                  </a:lnTo>
                  <a:lnTo>
                    <a:pt x="134" y="27"/>
                  </a:lnTo>
                  <a:lnTo>
                    <a:pt x="138" y="25"/>
                  </a:lnTo>
                  <a:lnTo>
                    <a:pt x="138" y="25"/>
                  </a:lnTo>
                  <a:lnTo>
                    <a:pt x="151" y="24"/>
                  </a:lnTo>
                  <a:lnTo>
                    <a:pt x="151" y="24"/>
                  </a:lnTo>
                  <a:lnTo>
                    <a:pt x="153" y="24"/>
                  </a:lnTo>
                  <a:lnTo>
                    <a:pt x="153" y="24"/>
                  </a:lnTo>
                  <a:lnTo>
                    <a:pt x="156" y="25"/>
                  </a:lnTo>
                  <a:lnTo>
                    <a:pt x="156" y="25"/>
                  </a:lnTo>
                  <a:lnTo>
                    <a:pt x="156" y="24"/>
                  </a:lnTo>
                  <a:lnTo>
                    <a:pt x="156" y="24"/>
                  </a:lnTo>
                  <a:lnTo>
                    <a:pt x="162" y="22"/>
                  </a:lnTo>
                  <a:lnTo>
                    <a:pt x="162" y="22"/>
                  </a:lnTo>
                  <a:lnTo>
                    <a:pt x="159" y="21"/>
                  </a:lnTo>
                  <a:lnTo>
                    <a:pt x="159" y="21"/>
                  </a:lnTo>
                  <a:lnTo>
                    <a:pt x="159" y="21"/>
                  </a:lnTo>
                  <a:lnTo>
                    <a:pt x="159" y="19"/>
                  </a:lnTo>
                  <a:lnTo>
                    <a:pt x="162" y="19"/>
                  </a:lnTo>
                  <a:lnTo>
                    <a:pt x="162" y="19"/>
                  </a:lnTo>
                  <a:lnTo>
                    <a:pt x="162" y="1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5" name="Freeform 299">
              <a:extLst>
                <a:ext uri="{FF2B5EF4-FFF2-40B4-BE49-F238E27FC236}">
                  <a16:creationId xmlns:a16="http://schemas.microsoft.com/office/drawing/2014/main" id="{340D69B3-0669-063C-5145-EB6F6AC26C93}"/>
                </a:ext>
              </a:extLst>
            </p:cNvPr>
            <p:cNvSpPr>
              <a:spLocks/>
            </p:cNvSpPr>
            <p:nvPr/>
          </p:nvSpPr>
          <p:spPr bwMode="auto">
            <a:xfrm>
              <a:off x="7175577" y="2650107"/>
              <a:ext cx="388052" cy="244495"/>
            </a:xfrm>
            <a:custGeom>
              <a:avLst/>
              <a:gdLst>
                <a:gd name="T0" fmla="*/ 167 w 173"/>
                <a:gd name="T1" fmla="*/ 66 h 109"/>
                <a:gd name="T2" fmla="*/ 159 w 173"/>
                <a:gd name="T3" fmla="*/ 63 h 109"/>
                <a:gd name="T4" fmla="*/ 139 w 173"/>
                <a:gd name="T5" fmla="*/ 54 h 109"/>
                <a:gd name="T6" fmla="*/ 121 w 173"/>
                <a:gd name="T7" fmla="*/ 42 h 109"/>
                <a:gd name="T8" fmla="*/ 107 w 173"/>
                <a:gd name="T9" fmla="*/ 22 h 109"/>
                <a:gd name="T10" fmla="*/ 99 w 173"/>
                <a:gd name="T11" fmla="*/ 22 h 109"/>
                <a:gd name="T12" fmla="*/ 86 w 173"/>
                <a:gd name="T13" fmla="*/ 20 h 109"/>
                <a:gd name="T14" fmla="*/ 83 w 173"/>
                <a:gd name="T15" fmla="*/ 11 h 109"/>
                <a:gd name="T16" fmla="*/ 78 w 173"/>
                <a:gd name="T17" fmla="*/ 6 h 109"/>
                <a:gd name="T18" fmla="*/ 70 w 173"/>
                <a:gd name="T19" fmla="*/ 3 h 109"/>
                <a:gd name="T20" fmla="*/ 62 w 173"/>
                <a:gd name="T21" fmla="*/ 0 h 109"/>
                <a:gd name="T22" fmla="*/ 58 w 173"/>
                <a:gd name="T23" fmla="*/ 1 h 109"/>
                <a:gd name="T24" fmla="*/ 54 w 173"/>
                <a:gd name="T25" fmla="*/ 6 h 109"/>
                <a:gd name="T26" fmla="*/ 51 w 173"/>
                <a:gd name="T27" fmla="*/ 8 h 109"/>
                <a:gd name="T28" fmla="*/ 51 w 173"/>
                <a:gd name="T29" fmla="*/ 20 h 109"/>
                <a:gd name="T30" fmla="*/ 42 w 173"/>
                <a:gd name="T31" fmla="*/ 20 h 109"/>
                <a:gd name="T32" fmla="*/ 32 w 173"/>
                <a:gd name="T33" fmla="*/ 20 h 109"/>
                <a:gd name="T34" fmla="*/ 27 w 173"/>
                <a:gd name="T35" fmla="*/ 17 h 109"/>
                <a:gd name="T36" fmla="*/ 12 w 173"/>
                <a:gd name="T37" fmla="*/ 6 h 109"/>
                <a:gd name="T38" fmla="*/ 13 w 173"/>
                <a:gd name="T39" fmla="*/ 17 h 109"/>
                <a:gd name="T40" fmla="*/ 23 w 173"/>
                <a:gd name="T41" fmla="*/ 22 h 109"/>
                <a:gd name="T42" fmla="*/ 19 w 173"/>
                <a:gd name="T43" fmla="*/ 25 h 109"/>
                <a:gd name="T44" fmla="*/ 19 w 173"/>
                <a:gd name="T45" fmla="*/ 28 h 109"/>
                <a:gd name="T46" fmla="*/ 10 w 173"/>
                <a:gd name="T47" fmla="*/ 25 h 109"/>
                <a:gd name="T48" fmla="*/ 8 w 173"/>
                <a:gd name="T49" fmla="*/ 28 h 109"/>
                <a:gd name="T50" fmla="*/ 4 w 173"/>
                <a:gd name="T51" fmla="*/ 25 h 109"/>
                <a:gd name="T52" fmla="*/ 0 w 173"/>
                <a:gd name="T53" fmla="*/ 22 h 109"/>
                <a:gd name="T54" fmla="*/ 2 w 173"/>
                <a:gd name="T55" fmla="*/ 38 h 109"/>
                <a:gd name="T56" fmla="*/ 4 w 173"/>
                <a:gd name="T57" fmla="*/ 38 h 109"/>
                <a:gd name="T58" fmla="*/ 12 w 173"/>
                <a:gd name="T59" fmla="*/ 42 h 109"/>
                <a:gd name="T60" fmla="*/ 13 w 173"/>
                <a:gd name="T61" fmla="*/ 46 h 109"/>
                <a:gd name="T62" fmla="*/ 8 w 173"/>
                <a:gd name="T63" fmla="*/ 46 h 109"/>
                <a:gd name="T64" fmla="*/ 12 w 173"/>
                <a:gd name="T65" fmla="*/ 47 h 109"/>
                <a:gd name="T66" fmla="*/ 16 w 173"/>
                <a:gd name="T67" fmla="*/ 50 h 109"/>
                <a:gd name="T68" fmla="*/ 19 w 173"/>
                <a:gd name="T69" fmla="*/ 55 h 109"/>
                <a:gd name="T70" fmla="*/ 21 w 173"/>
                <a:gd name="T71" fmla="*/ 73 h 109"/>
                <a:gd name="T72" fmla="*/ 31 w 173"/>
                <a:gd name="T73" fmla="*/ 76 h 109"/>
                <a:gd name="T74" fmla="*/ 32 w 173"/>
                <a:gd name="T75" fmla="*/ 73 h 109"/>
                <a:gd name="T76" fmla="*/ 39 w 173"/>
                <a:gd name="T77" fmla="*/ 68 h 109"/>
                <a:gd name="T78" fmla="*/ 48 w 173"/>
                <a:gd name="T79" fmla="*/ 66 h 109"/>
                <a:gd name="T80" fmla="*/ 51 w 173"/>
                <a:gd name="T81" fmla="*/ 63 h 109"/>
                <a:gd name="T82" fmla="*/ 66 w 173"/>
                <a:gd name="T83" fmla="*/ 68 h 109"/>
                <a:gd name="T84" fmla="*/ 77 w 173"/>
                <a:gd name="T85" fmla="*/ 73 h 109"/>
                <a:gd name="T86" fmla="*/ 89 w 173"/>
                <a:gd name="T87" fmla="*/ 77 h 109"/>
                <a:gd name="T88" fmla="*/ 96 w 173"/>
                <a:gd name="T89" fmla="*/ 82 h 109"/>
                <a:gd name="T90" fmla="*/ 102 w 173"/>
                <a:gd name="T91" fmla="*/ 87 h 109"/>
                <a:gd name="T92" fmla="*/ 107 w 173"/>
                <a:gd name="T93" fmla="*/ 87 h 109"/>
                <a:gd name="T94" fmla="*/ 113 w 173"/>
                <a:gd name="T95" fmla="*/ 92 h 109"/>
                <a:gd name="T96" fmla="*/ 113 w 173"/>
                <a:gd name="T97" fmla="*/ 98 h 109"/>
                <a:gd name="T98" fmla="*/ 115 w 173"/>
                <a:gd name="T99" fmla="*/ 101 h 109"/>
                <a:gd name="T100" fmla="*/ 121 w 173"/>
                <a:gd name="T101" fmla="*/ 104 h 109"/>
                <a:gd name="T102" fmla="*/ 129 w 173"/>
                <a:gd name="T103" fmla="*/ 108 h 109"/>
                <a:gd name="T104" fmla="*/ 134 w 173"/>
                <a:gd name="T105" fmla="*/ 106 h 109"/>
                <a:gd name="T106" fmla="*/ 139 w 173"/>
                <a:gd name="T107" fmla="*/ 101 h 109"/>
                <a:gd name="T108" fmla="*/ 142 w 173"/>
                <a:gd name="T109" fmla="*/ 98 h 109"/>
                <a:gd name="T110" fmla="*/ 151 w 173"/>
                <a:gd name="T111" fmla="*/ 85 h 109"/>
                <a:gd name="T112" fmla="*/ 153 w 173"/>
                <a:gd name="T113" fmla="*/ 81 h 109"/>
                <a:gd name="T114" fmla="*/ 159 w 173"/>
                <a:gd name="T115" fmla="*/ 79 h 109"/>
                <a:gd name="T116" fmla="*/ 162 w 173"/>
                <a:gd name="T117" fmla="*/ 74 h 109"/>
                <a:gd name="T118" fmla="*/ 169 w 173"/>
                <a:gd name="T119" fmla="*/ 76 h 109"/>
                <a:gd name="T120" fmla="*/ 170 w 173"/>
                <a:gd name="T121" fmla="*/ 7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109">
                  <a:moveTo>
                    <a:pt x="170" y="71"/>
                  </a:moveTo>
                  <a:lnTo>
                    <a:pt x="170" y="71"/>
                  </a:lnTo>
                  <a:lnTo>
                    <a:pt x="170" y="68"/>
                  </a:lnTo>
                  <a:lnTo>
                    <a:pt x="170" y="68"/>
                  </a:lnTo>
                  <a:lnTo>
                    <a:pt x="170" y="66"/>
                  </a:lnTo>
                  <a:lnTo>
                    <a:pt x="170" y="66"/>
                  </a:lnTo>
                  <a:lnTo>
                    <a:pt x="167" y="66"/>
                  </a:lnTo>
                  <a:lnTo>
                    <a:pt x="167" y="66"/>
                  </a:lnTo>
                  <a:lnTo>
                    <a:pt x="164" y="63"/>
                  </a:lnTo>
                  <a:lnTo>
                    <a:pt x="164" y="63"/>
                  </a:lnTo>
                  <a:lnTo>
                    <a:pt x="162" y="63"/>
                  </a:lnTo>
                  <a:lnTo>
                    <a:pt x="162" y="63"/>
                  </a:lnTo>
                  <a:lnTo>
                    <a:pt x="159" y="63"/>
                  </a:lnTo>
                  <a:lnTo>
                    <a:pt x="159" y="63"/>
                  </a:lnTo>
                  <a:lnTo>
                    <a:pt x="156" y="63"/>
                  </a:lnTo>
                  <a:lnTo>
                    <a:pt x="156" y="63"/>
                  </a:lnTo>
                  <a:lnTo>
                    <a:pt x="151" y="60"/>
                  </a:lnTo>
                  <a:lnTo>
                    <a:pt x="151" y="60"/>
                  </a:lnTo>
                  <a:lnTo>
                    <a:pt x="145" y="57"/>
                  </a:lnTo>
                  <a:lnTo>
                    <a:pt x="145" y="57"/>
                  </a:lnTo>
                  <a:lnTo>
                    <a:pt x="139" y="54"/>
                  </a:lnTo>
                  <a:lnTo>
                    <a:pt x="139" y="54"/>
                  </a:lnTo>
                  <a:lnTo>
                    <a:pt x="135" y="50"/>
                  </a:lnTo>
                  <a:lnTo>
                    <a:pt x="135" y="50"/>
                  </a:lnTo>
                  <a:lnTo>
                    <a:pt x="127" y="46"/>
                  </a:lnTo>
                  <a:lnTo>
                    <a:pt x="127" y="46"/>
                  </a:lnTo>
                  <a:lnTo>
                    <a:pt x="121" y="42"/>
                  </a:lnTo>
                  <a:lnTo>
                    <a:pt x="121" y="42"/>
                  </a:lnTo>
                  <a:lnTo>
                    <a:pt x="118" y="39"/>
                  </a:lnTo>
                  <a:lnTo>
                    <a:pt x="118" y="39"/>
                  </a:lnTo>
                  <a:lnTo>
                    <a:pt x="115" y="38"/>
                  </a:lnTo>
                  <a:lnTo>
                    <a:pt x="115" y="38"/>
                  </a:lnTo>
                  <a:lnTo>
                    <a:pt x="110" y="28"/>
                  </a:lnTo>
                  <a:lnTo>
                    <a:pt x="110" y="28"/>
                  </a:lnTo>
                  <a:lnTo>
                    <a:pt x="107" y="22"/>
                  </a:lnTo>
                  <a:lnTo>
                    <a:pt x="107" y="22"/>
                  </a:lnTo>
                  <a:lnTo>
                    <a:pt x="104" y="22"/>
                  </a:lnTo>
                  <a:lnTo>
                    <a:pt x="104" y="22"/>
                  </a:lnTo>
                  <a:lnTo>
                    <a:pt x="100" y="20"/>
                  </a:lnTo>
                  <a:lnTo>
                    <a:pt x="100" y="20"/>
                  </a:lnTo>
                  <a:lnTo>
                    <a:pt x="99" y="22"/>
                  </a:lnTo>
                  <a:lnTo>
                    <a:pt x="99" y="22"/>
                  </a:lnTo>
                  <a:lnTo>
                    <a:pt x="97" y="22"/>
                  </a:lnTo>
                  <a:lnTo>
                    <a:pt x="97" y="22"/>
                  </a:lnTo>
                  <a:lnTo>
                    <a:pt x="92" y="22"/>
                  </a:lnTo>
                  <a:lnTo>
                    <a:pt x="92" y="22"/>
                  </a:lnTo>
                  <a:lnTo>
                    <a:pt x="86" y="20"/>
                  </a:lnTo>
                  <a:lnTo>
                    <a:pt x="86" y="20"/>
                  </a:lnTo>
                  <a:lnTo>
                    <a:pt x="86" y="20"/>
                  </a:lnTo>
                  <a:lnTo>
                    <a:pt x="86" y="20"/>
                  </a:lnTo>
                  <a:lnTo>
                    <a:pt x="83" y="17"/>
                  </a:lnTo>
                  <a:lnTo>
                    <a:pt x="83" y="17"/>
                  </a:lnTo>
                  <a:lnTo>
                    <a:pt x="83" y="14"/>
                  </a:lnTo>
                  <a:lnTo>
                    <a:pt x="83" y="14"/>
                  </a:lnTo>
                  <a:lnTo>
                    <a:pt x="83" y="11"/>
                  </a:lnTo>
                  <a:lnTo>
                    <a:pt x="83" y="11"/>
                  </a:lnTo>
                  <a:lnTo>
                    <a:pt x="80" y="11"/>
                  </a:lnTo>
                  <a:lnTo>
                    <a:pt x="80" y="11"/>
                  </a:lnTo>
                  <a:lnTo>
                    <a:pt x="80" y="9"/>
                  </a:lnTo>
                  <a:lnTo>
                    <a:pt x="80" y="9"/>
                  </a:lnTo>
                  <a:lnTo>
                    <a:pt x="80" y="6"/>
                  </a:lnTo>
                  <a:lnTo>
                    <a:pt x="80" y="6"/>
                  </a:lnTo>
                  <a:lnTo>
                    <a:pt x="78" y="6"/>
                  </a:lnTo>
                  <a:lnTo>
                    <a:pt x="78" y="6"/>
                  </a:lnTo>
                  <a:lnTo>
                    <a:pt x="73" y="6"/>
                  </a:lnTo>
                  <a:lnTo>
                    <a:pt x="73" y="6"/>
                  </a:lnTo>
                  <a:lnTo>
                    <a:pt x="72" y="4"/>
                  </a:lnTo>
                  <a:lnTo>
                    <a:pt x="72" y="4"/>
                  </a:lnTo>
                  <a:lnTo>
                    <a:pt x="70" y="3"/>
                  </a:lnTo>
                  <a:lnTo>
                    <a:pt x="70" y="3"/>
                  </a:lnTo>
                  <a:lnTo>
                    <a:pt x="67" y="1"/>
                  </a:lnTo>
                  <a:lnTo>
                    <a:pt x="67" y="1"/>
                  </a:lnTo>
                  <a:lnTo>
                    <a:pt x="66" y="1"/>
                  </a:lnTo>
                  <a:lnTo>
                    <a:pt x="66" y="1"/>
                  </a:lnTo>
                  <a:lnTo>
                    <a:pt x="64" y="0"/>
                  </a:lnTo>
                  <a:lnTo>
                    <a:pt x="64" y="0"/>
                  </a:lnTo>
                  <a:lnTo>
                    <a:pt x="62" y="0"/>
                  </a:lnTo>
                  <a:lnTo>
                    <a:pt x="62" y="0"/>
                  </a:lnTo>
                  <a:lnTo>
                    <a:pt x="61" y="0"/>
                  </a:lnTo>
                  <a:lnTo>
                    <a:pt x="61" y="0"/>
                  </a:lnTo>
                  <a:lnTo>
                    <a:pt x="59" y="1"/>
                  </a:lnTo>
                  <a:lnTo>
                    <a:pt x="59" y="1"/>
                  </a:lnTo>
                  <a:lnTo>
                    <a:pt x="58" y="1"/>
                  </a:lnTo>
                  <a:lnTo>
                    <a:pt x="58" y="1"/>
                  </a:lnTo>
                  <a:lnTo>
                    <a:pt x="59" y="3"/>
                  </a:lnTo>
                  <a:lnTo>
                    <a:pt x="59" y="3"/>
                  </a:lnTo>
                  <a:lnTo>
                    <a:pt x="58" y="3"/>
                  </a:lnTo>
                  <a:lnTo>
                    <a:pt x="58" y="3"/>
                  </a:lnTo>
                  <a:lnTo>
                    <a:pt x="58" y="4"/>
                  </a:lnTo>
                  <a:lnTo>
                    <a:pt x="58" y="4"/>
                  </a:lnTo>
                  <a:lnTo>
                    <a:pt x="54" y="6"/>
                  </a:lnTo>
                  <a:lnTo>
                    <a:pt x="54" y="6"/>
                  </a:lnTo>
                  <a:lnTo>
                    <a:pt x="54" y="8"/>
                  </a:lnTo>
                  <a:lnTo>
                    <a:pt x="54" y="8"/>
                  </a:lnTo>
                  <a:lnTo>
                    <a:pt x="51" y="8"/>
                  </a:lnTo>
                  <a:lnTo>
                    <a:pt x="51" y="8"/>
                  </a:lnTo>
                  <a:lnTo>
                    <a:pt x="51" y="8"/>
                  </a:lnTo>
                  <a:lnTo>
                    <a:pt x="51" y="8"/>
                  </a:lnTo>
                  <a:lnTo>
                    <a:pt x="48" y="12"/>
                  </a:lnTo>
                  <a:lnTo>
                    <a:pt x="48" y="12"/>
                  </a:lnTo>
                  <a:lnTo>
                    <a:pt x="48" y="14"/>
                  </a:lnTo>
                  <a:lnTo>
                    <a:pt x="48" y="14"/>
                  </a:lnTo>
                  <a:lnTo>
                    <a:pt x="48" y="19"/>
                  </a:lnTo>
                  <a:lnTo>
                    <a:pt x="48" y="19"/>
                  </a:lnTo>
                  <a:lnTo>
                    <a:pt x="51" y="20"/>
                  </a:lnTo>
                  <a:lnTo>
                    <a:pt x="51" y="20"/>
                  </a:lnTo>
                  <a:lnTo>
                    <a:pt x="48" y="20"/>
                  </a:lnTo>
                  <a:lnTo>
                    <a:pt x="48" y="20"/>
                  </a:lnTo>
                  <a:lnTo>
                    <a:pt x="45" y="20"/>
                  </a:lnTo>
                  <a:lnTo>
                    <a:pt x="45" y="20"/>
                  </a:lnTo>
                  <a:lnTo>
                    <a:pt x="42" y="20"/>
                  </a:lnTo>
                  <a:lnTo>
                    <a:pt x="42" y="20"/>
                  </a:lnTo>
                  <a:lnTo>
                    <a:pt x="39" y="20"/>
                  </a:lnTo>
                  <a:lnTo>
                    <a:pt x="39" y="20"/>
                  </a:lnTo>
                  <a:lnTo>
                    <a:pt x="37" y="20"/>
                  </a:lnTo>
                  <a:lnTo>
                    <a:pt x="37" y="20"/>
                  </a:lnTo>
                  <a:lnTo>
                    <a:pt x="34" y="20"/>
                  </a:lnTo>
                  <a:lnTo>
                    <a:pt x="34" y="20"/>
                  </a:lnTo>
                  <a:lnTo>
                    <a:pt x="32" y="20"/>
                  </a:lnTo>
                  <a:lnTo>
                    <a:pt x="32" y="20"/>
                  </a:lnTo>
                  <a:lnTo>
                    <a:pt x="29" y="19"/>
                  </a:lnTo>
                  <a:lnTo>
                    <a:pt x="29" y="19"/>
                  </a:lnTo>
                  <a:lnTo>
                    <a:pt x="29" y="17"/>
                  </a:lnTo>
                  <a:lnTo>
                    <a:pt x="29" y="17"/>
                  </a:lnTo>
                  <a:lnTo>
                    <a:pt x="29" y="17"/>
                  </a:lnTo>
                  <a:lnTo>
                    <a:pt x="27" y="17"/>
                  </a:lnTo>
                  <a:lnTo>
                    <a:pt x="27" y="17"/>
                  </a:lnTo>
                  <a:lnTo>
                    <a:pt x="23" y="12"/>
                  </a:lnTo>
                  <a:lnTo>
                    <a:pt x="23" y="12"/>
                  </a:lnTo>
                  <a:lnTo>
                    <a:pt x="16" y="8"/>
                  </a:lnTo>
                  <a:lnTo>
                    <a:pt x="16" y="8"/>
                  </a:lnTo>
                  <a:lnTo>
                    <a:pt x="12" y="6"/>
                  </a:lnTo>
                  <a:lnTo>
                    <a:pt x="12" y="6"/>
                  </a:lnTo>
                  <a:lnTo>
                    <a:pt x="8" y="6"/>
                  </a:lnTo>
                  <a:lnTo>
                    <a:pt x="8" y="6"/>
                  </a:lnTo>
                  <a:lnTo>
                    <a:pt x="12" y="11"/>
                  </a:lnTo>
                  <a:lnTo>
                    <a:pt x="12" y="11"/>
                  </a:lnTo>
                  <a:lnTo>
                    <a:pt x="13" y="15"/>
                  </a:lnTo>
                  <a:lnTo>
                    <a:pt x="13" y="15"/>
                  </a:lnTo>
                  <a:lnTo>
                    <a:pt x="13" y="17"/>
                  </a:lnTo>
                  <a:lnTo>
                    <a:pt x="13" y="17"/>
                  </a:lnTo>
                  <a:lnTo>
                    <a:pt x="16" y="19"/>
                  </a:lnTo>
                  <a:lnTo>
                    <a:pt x="16" y="19"/>
                  </a:lnTo>
                  <a:lnTo>
                    <a:pt x="19" y="20"/>
                  </a:lnTo>
                  <a:lnTo>
                    <a:pt x="19" y="20"/>
                  </a:lnTo>
                  <a:lnTo>
                    <a:pt x="23" y="22"/>
                  </a:lnTo>
                  <a:lnTo>
                    <a:pt x="23" y="22"/>
                  </a:lnTo>
                  <a:lnTo>
                    <a:pt x="23" y="25"/>
                  </a:lnTo>
                  <a:lnTo>
                    <a:pt x="23" y="25"/>
                  </a:lnTo>
                  <a:lnTo>
                    <a:pt x="19" y="25"/>
                  </a:lnTo>
                  <a:lnTo>
                    <a:pt x="19" y="25"/>
                  </a:lnTo>
                  <a:lnTo>
                    <a:pt x="19" y="25"/>
                  </a:lnTo>
                  <a:lnTo>
                    <a:pt x="19" y="25"/>
                  </a:lnTo>
                  <a:lnTo>
                    <a:pt x="19" y="25"/>
                  </a:lnTo>
                  <a:lnTo>
                    <a:pt x="19" y="25"/>
                  </a:lnTo>
                  <a:lnTo>
                    <a:pt x="16" y="25"/>
                  </a:lnTo>
                  <a:lnTo>
                    <a:pt x="16" y="25"/>
                  </a:lnTo>
                  <a:lnTo>
                    <a:pt x="16" y="25"/>
                  </a:lnTo>
                  <a:lnTo>
                    <a:pt x="16" y="25"/>
                  </a:lnTo>
                  <a:lnTo>
                    <a:pt x="19" y="28"/>
                  </a:lnTo>
                  <a:lnTo>
                    <a:pt x="19" y="28"/>
                  </a:lnTo>
                  <a:lnTo>
                    <a:pt x="16" y="28"/>
                  </a:lnTo>
                  <a:lnTo>
                    <a:pt x="16" y="28"/>
                  </a:lnTo>
                  <a:lnTo>
                    <a:pt x="13" y="28"/>
                  </a:lnTo>
                  <a:lnTo>
                    <a:pt x="13" y="28"/>
                  </a:lnTo>
                  <a:lnTo>
                    <a:pt x="12" y="28"/>
                  </a:lnTo>
                  <a:lnTo>
                    <a:pt x="12" y="28"/>
                  </a:lnTo>
                  <a:lnTo>
                    <a:pt x="10" y="25"/>
                  </a:lnTo>
                  <a:lnTo>
                    <a:pt x="10" y="25"/>
                  </a:lnTo>
                  <a:lnTo>
                    <a:pt x="10" y="25"/>
                  </a:lnTo>
                  <a:lnTo>
                    <a:pt x="10" y="25"/>
                  </a:lnTo>
                  <a:lnTo>
                    <a:pt x="8" y="25"/>
                  </a:lnTo>
                  <a:lnTo>
                    <a:pt x="8" y="25"/>
                  </a:lnTo>
                  <a:lnTo>
                    <a:pt x="8" y="28"/>
                  </a:lnTo>
                  <a:lnTo>
                    <a:pt x="8" y="28"/>
                  </a:lnTo>
                  <a:lnTo>
                    <a:pt x="7" y="25"/>
                  </a:lnTo>
                  <a:lnTo>
                    <a:pt x="7" y="25"/>
                  </a:lnTo>
                  <a:lnTo>
                    <a:pt x="5" y="25"/>
                  </a:lnTo>
                  <a:lnTo>
                    <a:pt x="5" y="25"/>
                  </a:lnTo>
                  <a:lnTo>
                    <a:pt x="4" y="25"/>
                  </a:lnTo>
                  <a:lnTo>
                    <a:pt x="4" y="25"/>
                  </a:lnTo>
                  <a:lnTo>
                    <a:pt x="4" y="25"/>
                  </a:lnTo>
                  <a:lnTo>
                    <a:pt x="4" y="25"/>
                  </a:lnTo>
                  <a:lnTo>
                    <a:pt x="2" y="22"/>
                  </a:lnTo>
                  <a:lnTo>
                    <a:pt x="2" y="22"/>
                  </a:lnTo>
                  <a:lnTo>
                    <a:pt x="0" y="22"/>
                  </a:lnTo>
                  <a:lnTo>
                    <a:pt x="0" y="22"/>
                  </a:lnTo>
                  <a:lnTo>
                    <a:pt x="0" y="22"/>
                  </a:lnTo>
                  <a:lnTo>
                    <a:pt x="0" y="22"/>
                  </a:lnTo>
                  <a:lnTo>
                    <a:pt x="2" y="25"/>
                  </a:lnTo>
                  <a:lnTo>
                    <a:pt x="2" y="25"/>
                  </a:lnTo>
                  <a:lnTo>
                    <a:pt x="2" y="28"/>
                  </a:lnTo>
                  <a:lnTo>
                    <a:pt x="2" y="28"/>
                  </a:lnTo>
                  <a:lnTo>
                    <a:pt x="0" y="35"/>
                  </a:lnTo>
                  <a:lnTo>
                    <a:pt x="0" y="35"/>
                  </a:lnTo>
                  <a:lnTo>
                    <a:pt x="2" y="38"/>
                  </a:lnTo>
                  <a:lnTo>
                    <a:pt x="2" y="38"/>
                  </a:lnTo>
                  <a:lnTo>
                    <a:pt x="4" y="39"/>
                  </a:lnTo>
                  <a:lnTo>
                    <a:pt x="4" y="39"/>
                  </a:lnTo>
                  <a:lnTo>
                    <a:pt x="5" y="39"/>
                  </a:lnTo>
                  <a:lnTo>
                    <a:pt x="5" y="39"/>
                  </a:lnTo>
                  <a:lnTo>
                    <a:pt x="4" y="38"/>
                  </a:lnTo>
                  <a:lnTo>
                    <a:pt x="4" y="38"/>
                  </a:lnTo>
                  <a:lnTo>
                    <a:pt x="8" y="38"/>
                  </a:lnTo>
                  <a:lnTo>
                    <a:pt x="8" y="38"/>
                  </a:lnTo>
                  <a:lnTo>
                    <a:pt x="12" y="39"/>
                  </a:lnTo>
                  <a:lnTo>
                    <a:pt x="12" y="39"/>
                  </a:lnTo>
                  <a:lnTo>
                    <a:pt x="12" y="41"/>
                  </a:lnTo>
                  <a:lnTo>
                    <a:pt x="12" y="41"/>
                  </a:lnTo>
                  <a:lnTo>
                    <a:pt x="12" y="42"/>
                  </a:lnTo>
                  <a:lnTo>
                    <a:pt x="12" y="42"/>
                  </a:lnTo>
                  <a:lnTo>
                    <a:pt x="12" y="44"/>
                  </a:lnTo>
                  <a:lnTo>
                    <a:pt x="12" y="44"/>
                  </a:lnTo>
                  <a:lnTo>
                    <a:pt x="13" y="44"/>
                  </a:lnTo>
                  <a:lnTo>
                    <a:pt x="13" y="44"/>
                  </a:lnTo>
                  <a:lnTo>
                    <a:pt x="13" y="46"/>
                  </a:lnTo>
                  <a:lnTo>
                    <a:pt x="13" y="46"/>
                  </a:lnTo>
                  <a:lnTo>
                    <a:pt x="12" y="46"/>
                  </a:lnTo>
                  <a:lnTo>
                    <a:pt x="12" y="46"/>
                  </a:lnTo>
                  <a:lnTo>
                    <a:pt x="10" y="44"/>
                  </a:lnTo>
                  <a:lnTo>
                    <a:pt x="10" y="44"/>
                  </a:lnTo>
                  <a:lnTo>
                    <a:pt x="10" y="42"/>
                  </a:lnTo>
                  <a:lnTo>
                    <a:pt x="10" y="42"/>
                  </a:lnTo>
                  <a:lnTo>
                    <a:pt x="8" y="46"/>
                  </a:lnTo>
                  <a:lnTo>
                    <a:pt x="8" y="46"/>
                  </a:lnTo>
                  <a:lnTo>
                    <a:pt x="10" y="49"/>
                  </a:lnTo>
                  <a:lnTo>
                    <a:pt x="10" y="49"/>
                  </a:lnTo>
                  <a:lnTo>
                    <a:pt x="10" y="47"/>
                  </a:lnTo>
                  <a:lnTo>
                    <a:pt x="10" y="47"/>
                  </a:lnTo>
                  <a:lnTo>
                    <a:pt x="12" y="47"/>
                  </a:lnTo>
                  <a:lnTo>
                    <a:pt x="12" y="47"/>
                  </a:lnTo>
                  <a:lnTo>
                    <a:pt x="13" y="49"/>
                  </a:lnTo>
                  <a:lnTo>
                    <a:pt x="13" y="49"/>
                  </a:lnTo>
                  <a:lnTo>
                    <a:pt x="13" y="52"/>
                  </a:lnTo>
                  <a:lnTo>
                    <a:pt x="13" y="52"/>
                  </a:lnTo>
                  <a:lnTo>
                    <a:pt x="16" y="52"/>
                  </a:lnTo>
                  <a:lnTo>
                    <a:pt x="16" y="52"/>
                  </a:lnTo>
                  <a:lnTo>
                    <a:pt x="16" y="50"/>
                  </a:lnTo>
                  <a:lnTo>
                    <a:pt x="16" y="50"/>
                  </a:lnTo>
                  <a:lnTo>
                    <a:pt x="16" y="54"/>
                  </a:lnTo>
                  <a:lnTo>
                    <a:pt x="16" y="54"/>
                  </a:lnTo>
                  <a:lnTo>
                    <a:pt x="19" y="54"/>
                  </a:lnTo>
                  <a:lnTo>
                    <a:pt x="19" y="54"/>
                  </a:lnTo>
                  <a:lnTo>
                    <a:pt x="19" y="55"/>
                  </a:lnTo>
                  <a:lnTo>
                    <a:pt x="19" y="55"/>
                  </a:lnTo>
                  <a:lnTo>
                    <a:pt x="19" y="57"/>
                  </a:lnTo>
                  <a:lnTo>
                    <a:pt x="19" y="57"/>
                  </a:lnTo>
                  <a:lnTo>
                    <a:pt x="19" y="60"/>
                  </a:lnTo>
                  <a:lnTo>
                    <a:pt x="19" y="60"/>
                  </a:lnTo>
                  <a:lnTo>
                    <a:pt x="19" y="71"/>
                  </a:lnTo>
                  <a:lnTo>
                    <a:pt x="19" y="71"/>
                  </a:lnTo>
                  <a:lnTo>
                    <a:pt x="21" y="73"/>
                  </a:lnTo>
                  <a:lnTo>
                    <a:pt x="21" y="73"/>
                  </a:lnTo>
                  <a:lnTo>
                    <a:pt x="23" y="76"/>
                  </a:lnTo>
                  <a:lnTo>
                    <a:pt x="23" y="76"/>
                  </a:lnTo>
                  <a:lnTo>
                    <a:pt x="26" y="77"/>
                  </a:lnTo>
                  <a:lnTo>
                    <a:pt x="26" y="77"/>
                  </a:lnTo>
                  <a:lnTo>
                    <a:pt x="31" y="76"/>
                  </a:lnTo>
                  <a:lnTo>
                    <a:pt x="31" y="76"/>
                  </a:lnTo>
                  <a:lnTo>
                    <a:pt x="31" y="76"/>
                  </a:lnTo>
                  <a:lnTo>
                    <a:pt x="31" y="76"/>
                  </a:lnTo>
                  <a:lnTo>
                    <a:pt x="31" y="74"/>
                  </a:lnTo>
                  <a:lnTo>
                    <a:pt x="31" y="74"/>
                  </a:lnTo>
                  <a:lnTo>
                    <a:pt x="32" y="74"/>
                  </a:lnTo>
                  <a:lnTo>
                    <a:pt x="32" y="74"/>
                  </a:lnTo>
                  <a:lnTo>
                    <a:pt x="32" y="73"/>
                  </a:lnTo>
                  <a:lnTo>
                    <a:pt x="32" y="73"/>
                  </a:lnTo>
                  <a:lnTo>
                    <a:pt x="32" y="71"/>
                  </a:lnTo>
                  <a:lnTo>
                    <a:pt x="32" y="71"/>
                  </a:lnTo>
                  <a:lnTo>
                    <a:pt x="35" y="68"/>
                  </a:lnTo>
                  <a:lnTo>
                    <a:pt x="35" y="68"/>
                  </a:lnTo>
                  <a:lnTo>
                    <a:pt x="39" y="68"/>
                  </a:lnTo>
                  <a:lnTo>
                    <a:pt x="39" y="68"/>
                  </a:lnTo>
                  <a:lnTo>
                    <a:pt x="40" y="66"/>
                  </a:lnTo>
                  <a:lnTo>
                    <a:pt x="40" y="66"/>
                  </a:lnTo>
                  <a:lnTo>
                    <a:pt x="42" y="66"/>
                  </a:lnTo>
                  <a:lnTo>
                    <a:pt x="42" y="66"/>
                  </a:lnTo>
                  <a:lnTo>
                    <a:pt x="45" y="66"/>
                  </a:lnTo>
                  <a:lnTo>
                    <a:pt x="45" y="66"/>
                  </a:lnTo>
                  <a:lnTo>
                    <a:pt x="48" y="66"/>
                  </a:lnTo>
                  <a:lnTo>
                    <a:pt x="48" y="66"/>
                  </a:lnTo>
                  <a:lnTo>
                    <a:pt x="48" y="66"/>
                  </a:lnTo>
                  <a:lnTo>
                    <a:pt x="48" y="66"/>
                  </a:lnTo>
                  <a:lnTo>
                    <a:pt x="51" y="63"/>
                  </a:lnTo>
                  <a:lnTo>
                    <a:pt x="51" y="63"/>
                  </a:lnTo>
                  <a:lnTo>
                    <a:pt x="51" y="63"/>
                  </a:lnTo>
                  <a:lnTo>
                    <a:pt x="51" y="63"/>
                  </a:lnTo>
                  <a:lnTo>
                    <a:pt x="58" y="63"/>
                  </a:lnTo>
                  <a:lnTo>
                    <a:pt x="58" y="63"/>
                  </a:lnTo>
                  <a:lnTo>
                    <a:pt x="61" y="63"/>
                  </a:lnTo>
                  <a:lnTo>
                    <a:pt x="61" y="63"/>
                  </a:lnTo>
                  <a:lnTo>
                    <a:pt x="62" y="66"/>
                  </a:lnTo>
                  <a:lnTo>
                    <a:pt x="62" y="66"/>
                  </a:lnTo>
                  <a:lnTo>
                    <a:pt x="66" y="68"/>
                  </a:lnTo>
                  <a:lnTo>
                    <a:pt x="66" y="68"/>
                  </a:lnTo>
                  <a:lnTo>
                    <a:pt x="69" y="69"/>
                  </a:lnTo>
                  <a:lnTo>
                    <a:pt x="69" y="69"/>
                  </a:lnTo>
                  <a:lnTo>
                    <a:pt x="72" y="71"/>
                  </a:lnTo>
                  <a:lnTo>
                    <a:pt x="72" y="71"/>
                  </a:lnTo>
                  <a:lnTo>
                    <a:pt x="77" y="73"/>
                  </a:lnTo>
                  <a:lnTo>
                    <a:pt x="77" y="73"/>
                  </a:lnTo>
                  <a:lnTo>
                    <a:pt x="80" y="73"/>
                  </a:lnTo>
                  <a:lnTo>
                    <a:pt x="80" y="73"/>
                  </a:lnTo>
                  <a:lnTo>
                    <a:pt x="83" y="73"/>
                  </a:lnTo>
                  <a:lnTo>
                    <a:pt x="83" y="73"/>
                  </a:lnTo>
                  <a:lnTo>
                    <a:pt x="86" y="74"/>
                  </a:lnTo>
                  <a:lnTo>
                    <a:pt x="86" y="74"/>
                  </a:lnTo>
                  <a:lnTo>
                    <a:pt x="89" y="77"/>
                  </a:lnTo>
                  <a:lnTo>
                    <a:pt x="89" y="77"/>
                  </a:lnTo>
                  <a:lnTo>
                    <a:pt x="89" y="79"/>
                  </a:lnTo>
                  <a:lnTo>
                    <a:pt x="89" y="79"/>
                  </a:lnTo>
                  <a:lnTo>
                    <a:pt x="92" y="81"/>
                  </a:lnTo>
                  <a:lnTo>
                    <a:pt x="92" y="81"/>
                  </a:lnTo>
                  <a:lnTo>
                    <a:pt x="96" y="82"/>
                  </a:lnTo>
                  <a:lnTo>
                    <a:pt x="96" y="82"/>
                  </a:lnTo>
                  <a:lnTo>
                    <a:pt x="99" y="84"/>
                  </a:lnTo>
                  <a:lnTo>
                    <a:pt x="99" y="84"/>
                  </a:lnTo>
                  <a:lnTo>
                    <a:pt x="100" y="85"/>
                  </a:lnTo>
                  <a:lnTo>
                    <a:pt x="100" y="85"/>
                  </a:lnTo>
                  <a:lnTo>
                    <a:pt x="100" y="87"/>
                  </a:lnTo>
                  <a:lnTo>
                    <a:pt x="100" y="87"/>
                  </a:lnTo>
                  <a:lnTo>
                    <a:pt x="102" y="87"/>
                  </a:lnTo>
                  <a:lnTo>
                    <a:pt x="102" y="87"/>
                  </a:lnTo>
                  <a:lnTo>
                    <a:pt x="104" y="87"/>
                  </a:lnTo>
                  <a:lnTo>
                    <a:pt x="104" y="87"/>
                  </a:lnTo>
                  <a:lnTo>
                    <a:pt x="107" y="87"/>
                  </a:lnTo>
                  <a:lnTo>
                    <a:pt x="107" y="87"/>
                  </a:lnTo>
                  <a:lnTo>
                    <a:pt x="107" y="87"/>
                  </a:lnTo>
                  <a:lnTo>
                    <a:pt x="107" y="87"/>
                  </a:lnTo>
                  <a:lnTo>
                    <a:pt x="110" y="87"/>
                  </a:lnTo>
                  <a:lnTo>
                    <a:pt x="110" y="87"/>
                  </a:lnTo>
                  <a:lnTo>
                    <a:pt x="110" y="87"/>
                  </a:lnTo>
                  <a:lnTo>
                    <a:pt x="110" y="87"/>
                  </a:lnTo>
                  <a:lnTo>
                    <a:pt x="113" y="92"/>
                  </a:lnTo>
                  <a:lnTo>
                    <a:pt x="113" y="92"/>
                  </a:lnTo>
                  <a:lnTo>
                    <a:pt x="113" y="92"/>
                  </a:lnTo>
                  <a:lnTo>
                    <a:pt x="113" y="92"/>
                  </a:lnTo>
                  <a:lnTo>
                    <a:pt x="113" y="95"/>
                  </a:lnTo>
                  <a:lnTo>
                    <a:pt x="113" y="95"/>
                  </a:lnTo>
                  <a:lnTo>
                    <a:pt x="113" y="95"/>
                  </a:lnTo>
                  <a:lnTo>
                    <a:pt x="113" y="95"/>
                  </a:lnTo>
                  <a:lnTo>
                    <a:pt x="113" y="98"/>
                  </a:lnTo>
                  <a:lnTo>
                    <a:pt x="113" y="98"/>
                  </a:lnTo>
                  <a:lnTo>
                    <a:pt x="113" y="101"/>
                  </a:lnTo>
                  <a:lnTo>
                    <a:pt x="113" y="101"/>
                  </a:lnTo>
                  <a:lnTo>
                    <a:pt x="113" y="101"/>
                  </a:lnTo>
                  <a:lnTo>
                    <a:pt x="113" y="101"/>
                  </a:lnTo>
                  <a:lnTo>
                    <a:pt x="115" y="101"/>
                  </a:lnTo>
                  <a:lnTo>
                    <a:pt x="115" y="101"/>
                  </a:lnTo>
                  <a:lnTo>
                    <a:pt x="115" y="101"/>
                  </a:lnTo>
                  <a:lnTo>
                    <a:pt x="115" y="101"/>
                  </a:lnTo>
                  <a:lnTo>
                    <a:pt x="116" y="101"/>
                  </a:lnTo>
                  <a:lnTo>
                    <a:pt x="116" y="101"/>
                  </a:lnTo>
                  <a:lnTo>
                    <a:pt x="119" y="104"/>
                  </a:lnTo>
                  <a:lnTo>
                    <a:pt x="119" y="104"/>
                  </a:lnTo>
                  <a:lnTo>
                    <a:pt x="121" y="104"/>
                  </a:lnTo>
                  <a:lnTo>
                    <a:pt x="121" y="104"/>
                  </a:lnTo>
                  <a:lnTo>
                    <a:pt x="124" y="104"/>
                  </a:lnTo>
                  <a:lnTo>
                    <a:pt x="124" y="104"/>
                  </a:lnTo>
                  <a:lnTo>
                    <a:pt x="126" y="106"/>
                  </a:lnTo>
                  <a:lnTo>
                    <a:pt x="126" y="106"/>
                  </a:lnTo>
                  <a:lnTo>
                    <a:pt x="127" y="109"/>
                  </a:lnTo>
                  <a:lnTo>
                    <a:pt x="127" y="109"/>
                  </a:lnTo>
                  <a:lnTo>
                    <a:pt x="129" y="108"/>
                  </a:lnTo>
                  <a:lnTo>
                    <a:pt x="129" y="108"/>
                  </a:lnTo>
                  <a:lnTo>
                    <a:pt x="131" y="106"/>
                  </a:lnTo>
                  <a:lnTo>
                    <a:pt x="131" y="106"/>
                  </a:lnTo>
                  <a:lnTo>
                    <a:pt x="132" y="106"/>
                  </a:lnTo>
                  <a:lnTo>
                    <a:pt x="132" y="106"/>
                  </a:lnTo>
                  <a:lnTo>
                    <a:pt x="134" y="106"/>
                  </a:lnTo>
                  <a:lnTo>
                    <a:pt x="134" y="106"/>
                  </a:lnTo>
                  <a:lnTo>
                    <a:pt x="135" y="104"/>
                  </a:lnTo>
                  <a:lnTo>
                    <a:pt x="135" y="104"/>
                  </a:lnTo>
                  <a:lnTo>
                    <a:pt x="135" y="103"/>
                  </a:lnTo>
                  <a:lnTo>
                    <a:pt x="135" y="103"/>
                  </a:lnTo>
                  <a:lnTo>
                    <a:pt x="135" y="101"/>
                  </a:lnTo>
                  <a:lnTo>
                    <a:pt x="135" y="101"/>
                  </a:lnTo>
                  <a:lnTo>
                    <a:pt x="139" y="101"/>
                  </a:lnTo>
                  <a:lnTo>
                    <a:pt x="139" y="101"/>
                  </a:lnTo>
                  <a:lnTo>
                    <a:pt x="135" y="98"/>
                  </a:lnTo>
                  <a:lnTo>
                    <a:pt x="135" y="98"/>
                  </a:lnTo>
                  <a:lnTo>
                    <a:pt x="139" y="98"/>
                  </a:lnTo>
                  <a:lnTo>
                    <a:pt x="139" y="98"/>
                  </a:lnTo>
                  <a:lnTo>
                    <a:pt x="142" y="98"/>
                  </a:lnTo>
                  <a:lnTo>
                    <a:pt x="142" y="98"/>
                  </a:lnTo>
                  <a:lnTo>
                    <a:pt x="145" y="95"/>
                  </a:lnTo>
                  <a:lnTo>
                    <a:pt x="145" y="95"/>
                  </a:lnTo>
                  <a:lnTo>
                    <a:pt x="150" y="92"/>
                  </a:lnTo>
                  <a:lnTo>
                    <a:pt x="150" y="92"/>
                  </a:lnTo>
                  <a:lnTo>
                    <a:pt x="151" y="90"/>
                  </a:lnTo>
                  <a:lnTo>
                    <a:pt x="151" y="90"/>
                  </a:lnTo>
                  <a:lnTo>
                    <a:pt x="151" y="85"/>
                  </a:lnTo>
                  <a:lnTo>
                    <a:pt x="151" y="85"/>
                  </a:lnTo>
                  <a:lnTo>
                    <a:pt x="151" y="84"/>
                  </a:lnTo>
                  <a:lnTo>
                    <a:pt x="151" y="84"/>
                  </a:lnTo>
                  <a:lnTo>
                    <a:pt x="151" y="82"/>
                  </a:lnTo>
                  <a:lnTo>
                    <a:pt x="151" y="82"/>
                  </a:lnTo>
                  <a:lnTo>
                    <a:pt x="153" y="81"/>
                  </a:lnTo>
                  <a:lnTo>
                    <a:pt x="153" y="81"/>
                  </a:lnTo>
                  <a:lnTo>
                    <a:pt x="154" y="79"/>
                  </a:lnTo>
                  <a:lnTo>
                    <a:pt x="154" y="79"/>
                  </a:lnTo>
                  <a:lnTo>
                    <a:pt x="156" y="79"/>
                  </a:lnTo>
                  <a:lnTo>
                    <a:pt x="156" y="79"/>
                  </a:lnTo>
                  <a:lnTo>
                    <a:pt x="158" y="79"/>
                  </a:lnTo>
                  <a:lnTo>
                    <a:pt x="158" y="79"/>
                  </a:lnTo>
                  <a:lnTo>
                    <a:pt x="159" y="79"/>
                  </a:lnTo>
                  <a:lnTo>
                    <a:pt x="159" y="79"/>
                  </a:lnTo>
                  <a:lnTo>
                    <a:pt x="161" y="79"/>
                  </a:lnTo>
                  <a:lnTo>
                    <a:pt x="161" y="79"/>
                  </a:lnTo>
                  <a:lnTo>
                    <a:pt x="161" y="76"/>
                  </a:lnTo>
                  <a:lnTo>
                    <a:pt x="161" y="76"/>
                  </a:lnTo>
                  <a:lnTo>
                    <a:pt x="162" y="74"/>
                  </a:lnTo>
                  <a:lnTo>
                    <a:pt x="162" y="74"/>
                  </a:lnTo>
                  <a:lnTo>
                    <a:pt x="164" y="74"/>
                  </a:lnTo>
                  <a:lnTo>
                    <a:pt x="164" y="74"/>
                  </a:lnTo>
                  <a:lnTo>
                    <a:pt x="166" y="74"/>
                  </a:lnTo>
                  <a:lnTo>
                    <a:pt x="166" y="74"/>
                  </a:lnTo>
                  <a:lnTo>
                    <a:pt x="167" y="76"/>
                  </a:lnTo>
                  <a:lnTo>
                    <a:pt x="167" y="76"/>
                  </a:lnTo>
                  <a:lnTo>
                    <a:pt x="169" y="76"/>
                  </a:lnTo>
                  <a:lnTo>
                    <a:pt x="169" y="76"/>
                  </a:lnTo>
                  <a:lnTo>
                    <a:pt x="170" y="77"/>
                  </a:lnTo>
                  <a:lnTo>
                    <a:pt x="170" y="77"/>
                  </a:lnTo>
                  <a:lnTo>
                    <a:pt x="173" y="76"/>
                  </a:lnTo>
                  <a:lnTo>
                    <a:pt x="173" y="76"/>
                  </a:lnTo>
                  <a:lnTo>
                    <a:pt x="170" y="74"/>
                  </a:lnTo>
                  <a:lnTo>
                    <a:pt x="170" y="71"/>
                  </a:lnTo>
                  <a:lnTo>
                    <a:pt x="170" y="71"/>
                  </a:lnTo>
                  <a:lnTo>
                    <a:pt x="170" y="7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6" name="Freeform 301">
              <a:extLst>
                <a:ext uri="{FF2B5EF4-FFF2-40B4-BE49-F238E27FC236}">
                  <a16:creationId xmlns:a16="http://schemas.microsoft.com/office/drawing/2014/main" id="{C63B0A58-8A7A-9E26-D87D-003C15B10E11}"/>
                </a:ext>
              </a:extLst>
            </p:cNvPr>
            <p:cNvSpPr>
              <a:spLocks/>
            </p:cNvSpPr>
            <p:nvPr/>
          </p:nvSpPr>
          <p:spPr bwMode="auto">
            <a:xfrm>
              <a:off x="7671296" y="2883385"/>
              <a:ext cx="794047" cy="883770"/>
            </a:xfrm>
            <a:custGeom>
              <a:avLst/>
              <a:gdLst>
                <a:gd name="T0" fmla="*/ 340 w 354"/>
                <a:gd name="T1" fmla="*/ 99 h 394"/>
                <a:gd name="T2" fmla="*/ 332 w 354"/>
                <a:gd name="T3" fmla="*/ 88 h 394"/>
                <a:gd name="T4" fmla="*/ 318 w 354"/>
                <a:gd name="T5" fmla="*/ 89 h 394"/>
                <a:gd name="T6" fmla="*/ 300 w 354"/>
                <a:gd name="T7" fmla="*/ 100 h 394"/>
                <a:gd name="T8" fmla="*/ 284 w 354"/>
                <a:gd name="T9" fmla="*/ 112 h 394"/>
                <a:gd name="T10" fmla="*/ 283 w 354"/>
                <a:gd name="T11" fmla="*/ 124 h 394"/>
                <a:gd name="T12" fmla="*/ 251 w 354"/>
                <a:gd name="T13" fmla="*/ 119 h 394"/>
                <a:gd name="T14" fmla="*/ 246 w 354"/>
                <a:gd name="T15" fmla="*/ 107 h 394"/>
                <a:gd name="T16" fmla="*/ 235 w 354"/>
                <a:gd name="T17" fmla="*/ 131 h 394"/>
                <a:gd name="T18" fmla="*/ 208 w 354"/>
                <a:gd name="T19" fmla="*/ 124 h 394"/>
                <a:gd name="T20" fmla="*/ 186 w 354"/>
                <a:gd name="T21" fmla="*/ 116 h 394"/>
                <a:gd name="T22" fmla="*/ 157 w 354"/>
                <a:gd name="T23" fmla="*/ 107 h 394"/>
                <a:gd name="T24" fmla="*/ 140 w 354"/>
                <a:gd name="T25" fmla="*/ 85 h 394"/>
                <a:gd name="T26" fmla="*/ 130 w 354"/>
                <a:gd name="T27" fmla="*/ 67 h 394"/>
                <a:gd name="T28" fmla="*/ 113 w 354"/>
                <a:gd name="T29" fmla="*/ 51 h 394"/>
                <a:gd name="T30" fmla="*/ 119 w 354"/>
                <a:gd name="T31" fmla="*/ 43 h 394"/>
                <a:gd name="T32" fmla="*/ 108 w 354"/>
                <a:gd name="T33" fmla="*/ 23 h 394"/>
                <a:gd name="T34" fmla="*/ 92 w 354"/>
                <a:gd name="T35" fmla="*/ 0 h 394"/>
                <a:gd name="T36" fmla="*/ 60 w 354"/>
                <a:gd name="T37" fmla="*/ 13 h 394"/>
                <a:gd name="T38" fmla="*/ 54 w 354"/>
                <a:gd name="T39" fmla="*/ 23 h 394"/>
                <a:gd name="T40" fmla="*/ 60 w 354"/>
                <a:gd name="T41" fmla="*/ 39 h 394"/>
                <a:gd name="T42" fmla="*/ 64 w 354"/>
                <a:gd name="T43" fmla="*/ 54 h 394"/>
                <a:gd name="T44" fmla="*/ 59 w 354"/>
                <a:gd name="T45" fmla="*/ 78 h 394"/>
                <a:gd name="T46" fmla="*/ 38 w 354"/>
                <a:gd name="T47" fmla="*/ 110 h 394"/>
                <a:gd name="T48" fmla="*/ 13 w 354"/>
                <a:gd name="T49" fmla="*/ 124 h 394"/>
                <a:gd name="T50" fmla="*/ 29 w 354"/>
                <a:gd name="T51" fmla="*/ 145 h 394"/>
                <a:gd name="T52" fmla="*/ 27 w 354"/>
                <a:gd name="T53" fmla="*/ 159 h 394"/>
                <a:gd name="T54" fmla="*/ 3 w 354"/>
                <a:gd name="T55" fmla="*/ 166 h 394"/>
                <a:gd name="T56" fmla="*/ 21 w 354"/>
                <a:gd name="T57" fmla="*/ 183 h 394"/>
                <a:gd name="T58" fmla="*/ 21 w 354"/>
                <a:gd name="T59" fmla="*/ 189 h 394"/>
                <a:gd name="T60" fmla="*/ 40 w 354"/>
                <a:gd name="T61" fmla="*/ 213 h 394"/>
                <a:gd name="T62" fmla="*/ 52 w 354"/>
                <a:gd name="T63" fmla="*/ 194 h 394"/>
                <a:gd name="T64" fmla="*/ 59 w 354"/>
                <a:gd name="T65" fmla="*/ 194 h 394"/>
                <a:gd name="T66" fmla="*/ 64 w 354"/>
                <a:gd name="T67" fmla="*/ 207 h 394"/>
                <a:gd name="T68" fmla="*/ 67 w 354"/>
                <a:gd name="T69" fmla="*/ 234 h 394"/>
                <a:gd name="T70" fmla="*/ 70 w 354"/>
                <a:gd name="T71" fmla="*/ 248 h 394"/>
                <a:gd name="T72" fmla="*/ 84 w 354"/>
                <a:gd name="T73" fmla="*/ 289 h 394"/>
                <a:gd name="T74" fmla="*/ 92 w 354"/>
                <a:gd name="T75" fmla="*/ 305 h 394"/>
                <a:gd name="T76" fmla="*/ 119 w 354"/>
                <a:gd name="T77" fmla="*/ 364 h 394"/>
                <a:gd name="T78" fmla="*/ 122 w 354"/>
                <a:gd name="T79" fmla="*/ 381 h 394"/>
                <a:gd name="T80" fmla="*/ 145 w 354"/>
                <a:gd name="T81" fmla="*/ 381 h 394"/>
                <a:gd name="T82" fmla="*/ 162 w 354"/>
                <a:gd name="T83" fmla="*/ 361 h 394"/>
                <a:gd name="T84" fmla="*/ 168 w 354"/>
                <a:gd name="T85" fmla="*/ 318 h 394"/>
                <a:gd name="T86" fmla="*/ 164 w 354"/>
                <a:gd name="T87" fmla="*/ 289 h 394"/>
                <a:gd name="T88" fmla="*/ 187 w 354"/>
                <a:gd name="T89" fmla="*/ 273 h 394"/>
                <a:gd name="T90" fmla="*/ 202 w 354"/>
                <a:gd name="T91" fmla="*/ 250 h 394"/>
                <a:gd name="T92" fmla="*/ 221 w 354"/>
                <a:gd name="T93" fmla="*/ 224 h 394"/>
                <a:gd name="T94" fmla="*/ 240 w 354"/>
                <a:gd name="T95" fmla="*/ 213 h 394"/>
                <a:gd name="T96" fmla="*/ 256 w 354"/>
                <a:gd name="T97" fmla="*/ 199 h 394"/>
                <a:gd name="T98" fmla="*/ 259 w 354"/>
                <a:gd name="T99" fmla="*/ 196 h 394"/>
                <a:gd name="T100" fmla="*/ 262 w 354"/>
                <a:gd name="T101" fmla="*/ 189 h 394"/>
                <a:gd name="T102" fmla="*/ 256 w 354"/>
                <a:gd name="T103" fmla="*/ 164 h 394"/>
                <a:gd name="T104" fmla="*/ 256 w 354"/>
                <a:gd name="T105" fmla="*/ 148 h 394"/>
                <a:gd name="T106" fmla="*/ 245 w 354"/>
                <a:gd name="T107" fmla="*/ 135 h 394"/>
                <a:gd name="T108" fmla="*/ 256 w 354"/>
                <a:gd name="T109" fmla="*/ 134 h 394"/>
                <a:gd name="T110" fmla="*/ 287 w 354"/>
                <a:gd name="T111" fmla="*/ 148 h 394"/>
                <a:gd name="T112" fmla="*/ 289 w 354"/>
                <a:gd name="T113" fmla="*/ 164 h 394"/>
                <a:gd name="T114" fmla="*/ 297 w 354"/>
                <a:gd name="T115" fmla="*/ 170 h 394"/>
                <a:gd name="T116" fmla="*/ 316 w 354"/>
                <a:gd name="T117" fmla="*/ 189 h 394"/>
                <a:gd name="T118" fmla="*/ 324 w 354"/>
                <a:gd name="T119" fmla="*/ 167 h 394"/>
                <a:gd name="T120" fmla="*/ 329 w 354"/>
                <a:gd name="T121" fmla="*/ 127 h 394"/>
                <a:gd name="T122" fmla="*/ 349 w 354"/>
                <a:gd name="T123" fmla="*/ 119 h 394"/>
                <a:gd name="T124" fmla="*/ 349 w 354"/>
                <a:gd name="T125" fmla="*/ 10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394">
                  <a:moveTo>
                    <a:pt x="349" y="102"/>
                  </a:moveTo>
                  <a:lnTo>
                    <a:pt x="349" y="102"/>
                  </a:lnTo>
                  <a:lnTo>
                    <a:pt x="349" y="102"/>
                  </a:lnTo>
                  <a:lnTo>
                    <a:pt x="349" y="102"/>
                  </a:lnTo>
                  <a:lnTo>
                    <a:pt x="348" y="102"/>
                  </a:lnTo>
                  <a:lnTo>
                    <a:pt x="348" y="102"/>
                  </a:lnTo>
                  <a:lnTo>
                    <a:pt x="345" y="100"/>
                  </a:lnTo>
                  <a:lnTo>
                    <a:pt x="345" y="100"/>
                  </a:lnTo>
                  <a:lnTo>
                    <a:pt x="343" y="100"/>
                  </a:lnTo>
                  <a:lnTo>
                    <a:pt x="343" y="100"/>
                  </a:lnTo>
                  <a:lnTo>
                    <a:pt x="343" y="100"/>
                  </a:lnTo>
                  <a:lnTo>
                    <a:pt x="343" y="100"/>
                  </a:lnTo>
                  <a:lnTo>
                    <a:pt x="341" y="102"/>
                  </a:lnTo>
                  <a:lnTo>
                    <a:pt x="341" y="102"/>
                  </a:lnTo>
                  <a:lnTo>
                    <a:pt x="340" y="102"/>
                  </a:lnTo>
                  <a:lnTo>
                    <a:pt x="340" y="102"/>
                  </a:lnTo>
                  <a:lnTo>
                    <a:pt x="338" y="100"/>
                  </a:lnTo>
                  <a:lnTo>
                    <a:pt x="338" y="100"/>
                  </a:lnTo>
                  <a:lnTo>
                    <a:pt x="338" y="100"/>
                  </a:lnTo>
                  <a:lnTo>
                    <a:pt x="338" y="100"/>
                  </a:lnTo>
                  <a:lnTo>
                    <a:pt x="340" y="99"/>
                  </a:lnTo>
                  <a:lnTo>
                    <a:pt x="340" y="99"/>
                  </a:lnTo>
                  <a:lnTo>
                    <a:pt x="341" y="96"/>
                  </a:lnTo>
                  <a:lnTo>
                    <a:pt x="341" y="96"/>
                  </a:lnTo>
                  <a:lnTo>
                    <a:pt x="340" y="94"/>
                  </a:lnTo>
                  <a:lnTo>
                    <a:pt x="340" y="94"/>
                  </a:lnTo>
                  <a:lnTo>
                    <a:pt x="340" y="92"/>
                  </a:lnTo>
                  <a:lnTo>
                    <a:pt x="340" y="92"/>
                  </a:lnTo>
                  <a:lnTo>
                    <a:pt x="340" y="92"/>
                  </a:lnTo>
                  <a:lnTo>
                    <a:pt x="340" y="92"/>
                  </a:lnTo>
                  <a:lnTo>
                    <a:pt x="338" y="92"/>
                  </a:lnTo>
                  <a:lnTo>
                    <a:pt x="338" y="92"/>
                  </a:lnTo>
                  <a:lnTo>
                    <a:pt x="337" y="92"/>
                  </a:lnTo>
                  <a:lnTo>
                    <a:pt x="337" y="92"/>
                  </a:lnTo>
                  <a:lnTo>
                    <a:pt x="335" y="92"/>
                  </a:lnTo>
                  <a:lnTo>
                    <a:pt x="335" y="92"/>
                  </a:lnTo>
                  <a:lnTo>
                    <a:pt x="335" y="92"/>
                  </a:lnTo>
                  <a:lnTo>
                    <a:pt x="335" y="92"/>
                  </a:lnTo>
                  <a:lnTo>
                    <a:pt x="337" y="89"/>
                  </a:lnTo>
                  <a:lnTo>
                    <a:pt x="337" y="89"/>
                  </a:lnTo>
                  <a:lnTo>
                    <a:pt x="335" y="88"/>
                  </a:lnTo>
                  <a:lnTo>
                    <a:pt x="335" y="88"/>
                  </a:lnTo>
                  <a:lnTo>
                    <a:pt x="332" y="88"/>
                  </a:lnTo>
                  <a:lnTo>
                    <a:pt x="332" y="88"/>
                  </a:lnTo>
                  <a:lnTo>
                    <a:pt x="332" y="88"/>
                  </a:lnTo>
                  <a:lnTo>
                    <a:pt x="332" y="88"/>
                  </a:lnTo>
                  <a:lnTo>
                    <a:pt x="329" y="89"/>
                  </a:lnTo>
                  <a:lnTo>
                    <a:pt x="329" y="89"/>
                  </a:lnTo>
                  <a:lnTo>
                    <a:pt x="326" y="92"/>
                  </a:lnTo>
                  <a:lnTo>
                    <a:pt x="326" y="92"/>
                  </a:lnTo>
                  <a:lnTo>
                    <a:pt x="326" y="92"/>
                  </a:lnTo>
                  <a:lnTo>
                    <a:pt x="326" y="92"/>
                  </a:lnTo>
                  <a:lnTo>
                    <a:pt x="324" y="92"/>
                  </a:lnTo>
                  <a:lnTo>
                    <a:pt x="324" y="92"/>
                  </a:lnTo>
                  <a:lnTo>
                    <a:pt x="324" y="92"/>
                  </a:lnTo>
                  <a:lnTo>
                    <a:pt x="324" y="92"/>
                  </a:lnTo>
                  <a:lnTo>
                    <a:pt x="322" y="92"/>
                  </a:lnTo>
                  <a:lnTo>
                    <a:pt x="322" y="92"/>
                  </a:lnTo>
                  <a:lnTo>
                    <a:pt x="321" y="89"/>
                  </a:lnTo>
                  <a:lnTo>
                    <a:pt x="321" y="89"/>
                  </a:lnTo>
                  <a:lnTo>
                    <a:pt x="321" y="92"/>
                  </a:lnTo>
                  <a:lnTo>
                    <a:pt x="321" y="92"/>
                  </a:lnTo>
                  <a:lnTo>
                    <a:pt x="319" y="89"/>
                  </a:lnTo>
                  <a:lnTo>
                    <a:pt x="319" y="89"/>
                  </a:lnTo>
                  <a:lnTo>
                    <a:pt x="318" y="89"/>
                  </a:lnTo>
                  <a:lnTo>
                    <a:pt x="318" y="89"/>
                  </a:lnTo>
                  <a:lnTo>
                    <a:pt x="316" y="89"/>
                  </a:lnTo>
                  <a:lnTo>
                    <a:pt x="316" y="89"/>
                  </a:lnTo>
                  <a:lnTo>
                    <a:pt x="314" y="89"/>
                  </a:lnTo>
                  <a:lnTo>
                    <a:pt x="314" y="89"/>
                  </a:lnTo>
                  <a:lnTo>
                    <a:pt x="313" y="89"/>
                  </a:lnTo>
                  <a:lnTo>
                    <a:pt x="313" y="89"/>
                  </a:lnTo>
                  <a:lnTo>
                    <a:pt x="311" y="92"/>
                  </a:lnTo>
                  <a:lnTo>
                    <a:pt x="311" y="92"/>
                  </a:lnTo>
                  <a:lnTo>
                    <a:pt x="308" y="96"/>
                  </a:lnTo>
                  <a:lnTo>
                    <a:pt x="308" y="96"/>
                  </a:lnTo>
                  <a:lnTo>
                    <a:pt x="307" y="97"/>
                  </a:lnTo>
                  <a:lnTo>
                    <a:pt x="307" y="97"/>
                  </a:lnTo>
                  <a:lnTo>
                    <a:pt x="305" y="97"/>
                  </a:lnTo>
                  <a:lnTo>
                    <a:pt x="305" y="97"/>
                  </a:lnTo>
                  <a:lnTo>
                    <a:pt x="303" y="97"/>
                  </a:lnTo>
                  <a:lnTo>
                    <a:pt x="303" y="97"/>
                  </a:lnTo>
                  <a:lnTo>
                    <a:pt x="302" y="97"/>
                  </a:lnTo>
                  <a:lnTo>
                    <a:pt x="302" y="97"/>
                  </a:lnTo>
                  <a:lnTo>
                    <a:pt x="300" y="99"/>
                  </a:lnTo>
                  <a:lnTo>
                    <a:pt x="300" y="99"/>
                  </a:lnTo>
                  <a:lnTo>
                    <a:pt x="300" y="100"/>
                  </a:lnTo>
                  <a:lnTo>
                    <a:pt x="300" y="100"/>
                  </a:lnTo>
                  <a:lnTo>
                    <a:pt x="300" y="102"/>
                  </a:lnTo>
                  <a:lnTo>
                    <a:pt x="300" y="102"/>
                  </a:lnTo>
                  <a:lnTo>
                    <a:pt x="297" y="104"/>
                  </a:lnTo>
                  <a:lnTo>
                    <a:pt x="297" y="104"/>
                  </a:lnTo>
                  <a:lnTo>
                    <a:pt x="297" y="104"/>
                  </a:lnTo>
                  <a:lnTo>
                    <a:pt x="297" y="107"/>
                  </a:lnTo>
                  <a:lnTo>
                    <a:pt x="297" y="107"/>
                  </a:lnTo>
                  <a:lnTo>
                    <a:pt x="294" y="110"/>
                  </a:lnTo>
                  <a:lnTo>
                    <a:pt x="294" y="110"/>
                  </a:lnTo>
                  <a:lnTo>
                    <a:pt x="294" y="110"/>
                  </a:lnTo>
                  <a:lnTo>
                    <a:pt x="294" y="110"/>
                  </a:lnTo>
                  <a:lnTo>
                    <a:pt x="291" y="110"/>
                  </a:lnTo>
                  <a:lnTo>
                    <a:pt x="291" y="110"/>
                  </a:lnTo>
                  <a:lnTo>
                    <a:pt x="289" y="110"/>
                  </a:lnTo>
                  <a:lnTo>
                    <a:pt x="289" y="110"/>
                  </a:lnTo>
                  <a:lnTo>
                    <a:pt x="291" y="112"/>
                  </a:lnTo>
                  <a:lnTo>
                    <a:pt x="291" y="112"/>
                  </a:lnTo>
                  <a:lnTo>
                    <a:pt x="289" y="112"/>
                  </a:lnTo>
                  <a:lnTo>
                    <a:pt x="289" y="112"/>
                  </a:lnTo>
                  <a:lnTo>
                    <a:pt x="286" y="112"/>
                  </a:lnTo>
                  <a:lnTo>
                    <a:pt x="286" y="112"/>
                  </a:lnTo>
                  <a:lnTo>
                    <a:pt x="284" y="112"/>
                  </a:lnTo>
                  <a:lnTo>
                    <a:pt x="284" y="112"/>
                  </a:lnTo>
                  <a:lnTo>
                    <a:pt x="284" y="113"/>
                  </a:lnTo>
                  <a:lnTo>
                    <a:pt x="284" y="113"/>
                  </a:lnTo>
                  <a:lnTo>
                    <a:pt x="286" y="116"/>
                  </a:lnTo>
                  <a:lnTo>
                    <a:pt x="286" y="116"/>
                  </a:lnTo>
                  <a:lnTo>
                    <a:pt x="287" y="116"/>
                  </a:lnTo>
                  <a:lnTo>
                    <a:pt x="287" y="116"/>
                  </a:lnTo>
                  <a:lnTo>
                    <a:pt x="291" y="116"/>
                  </a:lnTo>
                  <a:lnTo>
                    <a:pt x="291" y="116"/>
                  </a:lnTo>
                  <a:lnTo>
                    <a:pt x="291" y="119"/>
                  </a:lnTo>
                  <a:lnTo>
                    <a:pt x="291" y="119"/>
                  </a:lnTo>
                  <a:lnTo>
                    <a:pt x="291" y="123"/>
                  </a:lnTo>
                  <a:lnTo>
                    <a:pt x="291" y="123"/>
                  </a:lnTo>
                  <a:lnTo>
                    <a:pt x="291" y="123"/>
                  </a:lnTo>
                  <a:lnTo>
                    <a:pt x="291" y="123"/>
                  </a:lnTo>
                  <a:lnTo>
                    <a:pt x="291" y="124"/>
                  </a:lnTo>
                  <a:lnTo>
                    <a:pt x="291" y="124"/>
                  </a:lnTo>
                  <a:lnTo>
                    <a:pt x="287" y="124"/>
                  </a:lnTo>
                  <a:lnTo>
                    <a:pt x="287" y="124"/>
                  </a:lnTo>
                  <a:lnTo>
                    <a:pt x="284" y="124"/>
                  </a:lnTo>
                  <a:lnTo>
                    <a:pt x="284" y="124"/>
                  </a:lnTo>
                  <a:lnTo>
                    <a:pt x="283" y="124"/>
                  </a:lnTo>
                  <a:lnTo>
                    <a:pt x="283" y="124"/>
                  </a:lnTo>
                  <a:lnTo>
                    <a:pt x="281" y="124"/>
                  </a:lnTo>
                  <a:lnTo>
                    <a:pt x="281" y="124"/>
                  </a:lnTo>
                  <a:lnTo>
                    <a:pt x="276" y="124"/>
                  </a:lnTo>
                  <a:lnTo>
                    <a:pt x="276" y="124"/>
                  </a:lnTo>
                  <a:lnTo>
                    <a:pt x="270" y="123"/>
                  </a:lnTo>
                  <a:lnTo>
                    <a:pt x="270" y="123"/>
                  </a:lnTo>
                  <a:lnTo>
                    <a:pt x="268" y="124"/>
                  </a:lnTo>
                  <a:lnTo>
                    <a:pt x="268" y="124"/>
                  </a:lnTo>
                  <a:lnTo>
                    <a:pt x="267" y="124"/>
                  </a:lnTo>
                  <a:lnTo>
                    <a:pt x="267" y="124"/>
                  </a:lnTo>
                  <a:lnTo>
                    <a:pt x="265" y="126"/>
                  </a:lnTo>
                  <a:lnTo>
                    <a:pt x="265" y="126"/>
                  </a:lnTo>
                  <a:lnTo>
                    <a:pt x="262" y="124"/>
                  </a:lnTo>
                  <a:lnTo>
                    <a:pt x="262" y="124"/>
                  </a:lnTo>
                  <a:lnTo>
                    <a:pt x="259" y="124"/>
                  </a:lnTo>
                  <a:lnTo>
                    <a:pt x="259" y="124"/>
                  </a:lnTo>
                  <a:lnTo>
                    <a:pt x="254" y="123"/>
                  </a:lnTo>
                  <a:lnTo>
                    <a:pt x="254" y="123"/>
                  </a:lnTo>
                  <a:lnTo>
                    <a:pt x="253" y="123"/>
                  </a:lnTo>
                  <a:lnTo>
                    <a:pt x="253" y="123"/>
                  </a:lnTo>
                  <a:lnTo>
                    <a:pt x="251" y="119"/>
                  </a:lnTo>
                  <a:lnTo>
                    <a:pt x="251" y="119"/>
                  </a:lnTo>
                  <a:lnTo>
                    <a:pt x="249" y="119"/>
                  </a:lnTo>
                  <a:lnTo>
                    <a:pt x="249" y="119"/>
                  </a:lnTo>
                  <a:lnTo>
                    <a:pt x="251" y="116"/>
                  </a:lnTo>
                  <a:lnTo>
                    <a:pt x="251" y="116"/>
                  </a:lnTo>
                  <a:lnTo>
                    <a:pt x="249" y="116"/>
                  </a:lnTo>
                  <a:lnTo>
                    <a:pt x="249" y="116"/>
                  </a:lnTo>
                  <a:lnTo>
                    <a:pt x="249" y="113"/>
                  </a:lnTo>
                  <a:lnTo>
                    <a:pt x="249" y="113"/>
                  </a:lnTo>
                  <a:lnTo>
                    <a:pt x="249" y="113"/>
                  </a:lnTo>
                  <a:lnTo>
                    <a:pt x="249" y="113"/>
                  </a:lnTo>
                  <a:lnTo>
                    <a:pt x="249" y="113"/>
                  </a:lnTo>
                  <a:lnTo>
                    <a:pt x="249" y="113"/>
                  </a:lnTo>
                  <a:lnTo>
                    <a:pt x="249" y="112"/>
                  </a:lnTo>
                  <a:lnTo>
                    <a:pt x="249" y="112"/>
                  </a:lnTo>
                  <a:lnTo>
                    <a:pt x="249" y="110"/>
                  </a:lnTo>
                  <a:lnTo>
                    <a:pt x="249" y="110"/>
                  </a:lnTo>
                  <a:lnTo>
                    <a:pt x="248" y="107"/>
                  </a:lnTo>
                  <a:lnTo>
                    <a:pt x="248" y="107"/>
                  </a:lnTo>
                  <a:lnTo>
                    <a:pt x="248" y="107"/>
                  </a:lnTo>
                  <a:lnTo>
                    <a:pt x="248" y="107"/>
                  </a:lnTo>
                  <a:lnTo>
                    <a:pt x="246" y="107"/>
                  </a:lnTo>
                  <a:lnTo>
                    <a:pt x="246" y="107"/>
                  </a:lnTo>
                  <a:lnTo>
                    <a:pt x="245" y="107"/>
                  </a:lnTo>
                  <a:lnTo>
                    <a:pt x="245" y="107"/>
                  </a:lnTo>
                  <a:lnTo>
                    <a:pt x="240" y="108"/>
                  </a:lnTo>
                  <a:lnTo>
                    <a:pt x="240" y="108"/>
                  </a:lnTo>
                  <a:lnTo>
                    <a:pt x="240" y="110"/>
                  </a:lnTo>
                  <a:lnTo>
                    <a:pt x="240" y="110"/>
                  </a:lnTo>
                  <a:lnTo>
                    <a:pt x="240" y="113"/>
                  </a:lnTo>
                  <a:lnTo>
                    <a:pt x="240" y="113"/>
                  </a:lnTo>
                  <a:lnTo>
                    <a:pt x="240" y="116"/>
                  </a:lnTo>
                  <a:lnTo>
                    <a:pt x="240" y="116"/>
                  </a:lnTo>
                  <a:lnTo>
                    <a:pt x="240" y="119"/>
                  </a:lnTo>
                  <a:lnTo>
                    <a:pt x="240" y="119"/>
                  </a:lnTo>
                  <a:lnTo>
                    <a:pt x="243" y="123"/>
                  </a:lnTo>
                  <a:lnTo>
                    <a:pt x="243" y="123"/>
                  </a:lnTo>
                  <a:lnTo>
                    <a:pt x="243" y="127"/>
                  </a:lnTo>
                  <a:lnTo>
                    <a:pt x="243" y="127"/>
                  </a:lnTo>
                  <a:lnTo>
                    <a:pt x="241" y="129"/>
                  </a:lnTo>
                  <a:lnTo>
                    <a:pt x="241" y="129"/>
                  </a:lnTo>
                  <a:lnTo>
                    <a:pt x="240" y="131"/>
                  </a:lnTo>
                  <a:lnTo>
                    <a:pt x="240" y="131"/>
                  </a:lnTo>
                  <a:lnTo>
                    <a:pt x="235" y="131"/>
                  </a:lnTo>
                  <a:lnTo>
                    <a:pt x="235" y="131"/>
                  </a:lnTo>
                  <a:lnTo>
                    <a:pt x="230" y="131"/>
                  </a:lnTo>
                  <a:lnTo>
                    <a:pt x="230" y="131"/>
                  </a:lnTo>
                  <a:lnTo>
                    <a:pt x="230" y="127"/>
                  </a:lnTo>
                  <a:lnTo>
                    <a:pt x="230" y="127"/>
                  </a:lnTo>
                  <a:lnTo>
                    <a:pt x="227" y="129"/>
                  </a:lnTo>
                  <a:lnTo>
                    <a:pt x="227" y="129"/>
                  </a:lnTo>
                  <a:lnTo>
                    <a:pt x="224" y="129"/>
                  </a:lnTo>
                  <a:lnTo>
                    <a:pt x="224" y="129"/>
                  </a:lnTo>
                  <a:lnTo>
                    <a:pt x="221" y="127"/>
                  </a:lnTo>
                  <a:lnTo>
                    <a:pt x="221" y="127"/>
                  </a:lnTo>
                  <a:lnTo>
                    <a:pt x="218" y="127"/>
                  </a:lnTo>
                  <a:lnTo>
                    <a:pt x="218" y="127"/>
                  </a:lnTo>
                  <a:lnTo>
                    <a:pt x="214" y="127"/>
                  </a:lnTo>
                  <a:lnTo>
                    <a:pt x="214" y="127"/>
                  </a:lnTo>
                  <a:lnTo>
                    <a:pt x="214" y="126"/>
                  </a:lnTo>
                  <a:lnTo>
                    <a:pt x="214" y="126"/>
                  </a:lnTo>
                  <a:lnTo>
                    <a:pt x="213" y="124"/>
                  </a:lnTo>
                  <a:lnTo>
                    <a:pt x="213" y="124"/>
                  </a:lnTo>
                  <a:lnTo>
                    <a:pt x="211" y="124"/>
                  </a:lnTo>
                  <a:lnTo>
                    <a:pt x="211" y="124"/>
                  </a:lnTo>
                  <a:lnTo>
                    <a:pt x="208" y="124"/>
                  </a:lnTo>
                  <a:lnTo>
                    <a:pt x="208" y="124"/>
                  </a:lnTo>
                  <a:lnTo>
                    <a:pt x="208" y="126"/>
                  </a:lnTo>
                  <a:lnTo>
                    <a:pt x="208" y="126"/>
                  </a:lnTo>
                  <a:lnTo>
                    <a:pt x="206" y="124"/>
                  </a:lnTo>
                  <a:lnTo>
                    <a:pt x="206" y="124"/>
                  </a:lnTo>
                  <a:lnTo>
                    <a:pt x="203" y="123"/>
                  </a:lnTo>
                  <a:lnTo>
                    <a:pt x="203" y="123"/>
                  </a:lnTo>
                  <a:lnTo>
                    <a:pt x="200" y="123"/>
                  </a:lnTo>
                  <a:lnTo>
                    <a:pt x="200" y="123"/>
                  </a:lnTo>
                  <a:lnTo>
                    <a:pt x="199" y="119"/>
                  </a:lnTo>
                  <a:lnTo>
                    <a:pt x="199" y="119"/>
                  </a:lnTo>
                  <a:lnTo>
                    <a:pt x="199" y="119"/>
                  </a:lnTo>
                  <a:lnTo>
                    <a:pt x="199" y="119"/>
                  </a:lnTo>
                  <a:lnTo>
                    <a:pt x="199" y="116"/>
                  </a:lnTo>
                  <a:lnTo>
                    <a:pt x="199" y="116"/>
                  </a:lnTo>
                  <a:lnTo>
                    <a:pt x="192" y="116"/>
                  </a:lnTo>
                  <a:lnTo>
                    <a:pt x="192" y="116"/>
                  </a:lnTo>
                  <a:lnTo>
                    <a:pt x="189" y="116"/>
                  </a:lnTo>
                  <a:lnTo>
                    <a:pt x="189" y="116"/>
                  </a:lnTo>
                  <a:lnTo>
                    <a:pt x="189" y="116"/>
                  </a:lnTo>
                  <a:lnTo>
                    <a:pt x="189" y="116"/>
                  </a:lnTo>
                  <a:lnTo>
                    <a:pt x="186" y="116"/>
                  </a:lnTo>
                  <a:lnTo>
                    <a:pt x="186" y="116"/>
                  </a:lnTo>
                  <a:lnTo>
                    <a:pt x="183" y="116"/>
                  </a:lnTo>
                  <a:lnTo>
                    <a:pt x="183" y="116"/>
                  </a:lnTo>
                  <a:lnTo>
                    <a:pt x="181" y="116"/>
                  </a:lnTo>
                  <a:lnTo>
                    <a:pt x="181" y="116"/>
                  </a:lnTo>
                  <a:lnTo>
                    <a:pt x="178" y="116"/>
                  </a:lnTo>
                  <a:lnTo>
                    <a:pt x="178" y="116"/>
                  </a:lnTo>
                  <a:lnTo>
                    <a:pt x="175" y="113"/>
                  </a:lnTo>
                  <a:lnTo>
                    <a:pt x="175" y="113"/>
                  </a:lnTo>
                  <a:lnTo>
                    <a:pt x="175" y="113"/>
                  </a:lnTo>
                  <a:lnTo>
                    <a:pt x="175" y="113"/>
                  </a:lnTo>
                  <a:lnTo>
                    <a:pt x="168" y="112"/>
                  </a:lnTo>
                  <a:lnTo>
                    <a:pt x="168" y="112"/>
                  </a:lnTo>
                  <a:lnTo>
                    <a:pt x="165" y="110"/>
                  </a:lnTo>
                  <a:lnTo>
                    <a:pt x="165" y="110"/>
                  </a:lnTo>
                  <a:lnTo>
                    <a:pt x="165" y="108"/>
                  </a:lnTo>
                  <a:lnTo>
                    <a:pt x="165" y="108"/>
                  </a:lnTo>
                  <a:lnTo>
                    <a:pt x="164" y="110"/>
                  </a:lnTo>
                  <a:lnTo>
                    <a:pt x="164" y="110"/>
                  </a:lnTo>
                  <a:lnTo>
                    <a:pt x="160" y="108"/>
                  </a:lnTo>
                  <a:lnTo>
                    <a:pt x="160" y="108"/>
                  </a:lnTo>
                  <a:lnTo>
                    <a:pt x="157" y="107"/>
                  </a:lnTo>
                  <a:lnTo>
                    <a:pt x="157" y="107"/>
                  </a:lnTo>
                  <a:lnTo>
                    <a:pt x="151" y="100"/>
                  </a:lnTo>
                  <a:lnTo>
                    <a:pt x="151" y="100"/>
                  </a:lnTo>
                  <a:lnTo>
                    <a:pt x="145" y="97"/>
                  </a:lnTo>
                  <a:lnTo>
                    <a:pt x="145" y="97"/>
                  </a:lnTo>
                  <a:lnTo>
                    <a:pt x="143" y="99"/>
                  </a:lnTo>
                  <a:lnTo>
                    <a:pt x="143" y="99"/>
                  </a:lnTo>
                  <a:lnTo>
                    <a:pt x="143" y="97"/>
                  </a:lnTo>
                  <a:lnTo>
                    <a:pt x="143" y="97"/>
                  </a:lnTo>
                  <a:lnTo>
                    <a:pt x="140" y="96"/>
                  </a:lnTo>
                  <a:lnTo>
                    <a:pt x="140" y="96"/>
                  </a:lnTo>
                  <a:lnTo>
                    <a:pt x="140" y="94"/>
                  </a:lnTo>
                  <a:lnTo>
                    <a:pt x="140" y="94"/>
                  </a:lnTo>
                  <a:lnTo>
                    <a:pt x="140" y="92"/>
                  </a:lnTo>
                  <a:lnTo>
                    <a:pt x="140" y="92"/>
                  </a:lnTo>
                  <a:lnTo>
                    <a:pt x="140" y="89"/>
                  </a:lnTo>
                  <a:lnTo>
                    <a:pt x="140" y="89"/>
                  </a:lnTo>
                  <a:lnTo>
                    <a:pt x="140" y="89"/>
                  </a:lnTo>
                  <a:lnTo>
                    <a:pt x="140" y="89"/>
                  </a:lnTo>
                  <a:lnTo>
                    <a:pt x="140" y="88"/>
                  </a:lnTo>
                  <a:lnTo>
                    <a:pt x="140" y="88"/>
                  </a:lnTo>
                  <a:lnTo>
                    <a:pt x="140" y="85"/>
                  </a:lnTo>
                  <a:lnTo>
                    <a:pt x="140" y="85"/>
                  </a:lnTo>
                  <a:lnTo>
                    <a:pt x="143" y="80"/>
                  </a:lnTo>
                  <a:lnTo>
                    <a:pt x="143" y="80"/>
                  </a:lnTo>
                  <a:lnTo>
                    <a:pt x="145" y="77"/>
                  </a:lnTo>
                  <a:lnTo>
                    <a:pt x="145" y="77"/>
                  </a:lnTo>
                  <a:lnTo>
                    <a:pt x="146" y="77"/>
                  </a:lnTo>
                  <a:lnTo>
                    <a:pt x="146" y="77"/>
                  </a:lnTo>
                  <a:lnTo>
                    <a:pt x="145" y="75"/>
                  </a:lnTo>
                  <a:lnTo>
                    <a:pt x="145" y="75"/>
                  </a:lnTo>
                  <a:lnTo>
                    <a:pt x="143" y="73"/>
                  </a:lnTo>
                  <a:lnTo>
                    <a:pt x="143" y="73"/>
                  </a:lnTo>
                  <a:lnTo>
                    <a:pt x="143" y="73"/>
                  </a:lnTo>
                  <a:lnTo>
                    <a:pt x="143" y="73"/>
                  </a:lnTo>
                  <a:lnTo>
                    <a:pt x="140" y="72"/>
                  </a:lnTo>
                  <a:lnTo>
                    <a:pt x="140" y="72"/>
                  </a:lnTo>
                  <a:lnTo>
                    <a:pt x="137" y="70"/>
                  </a:lnTo>
                  <a:lnTo>
                    <a:pt x="137" y="70"/>
                  </a:lnTo>
                  <a:lnTo>
                    <a:pt x="137" y="69"/>
                  </a:lnTo>
                  <a:lnTo>
                    <a:pt x="137" y="69"/>
                  </a:lnTo>
                  <a:lnTo>
                    <a:pt x="133" y="67"/>
                  </a:lnTo>
                  <a:lnTo>
                    <a:pt x="133" y="67"/>
                  </a:lnTo>
                  <a:lnTo>
                    <a:pt x="130" y="67"/>
                  </a:lnTo>
                  <a:lnTo>
                    <a:pt x="130" y="67"/>
                  </a:lnTo>
                  <a:lnTo>
                    <a:pt x="130" y="64"/>
                  </a:lnTo>
                  <a:lnTo>
                    <a:pt x="130" y="64"/>
                  </a:lnTo>
                  <a:lnTo>
                    <a:pt x="127" y="64"/>
                  </a:lnTo>
                  <a:lnTo>
                    <a:pt x="127" y="64"/>
                  </a:lnTo>
                  <a:lnTo>
                    <a:pt x="124" y="64"/>
                  </a:lnTo>
                  <a:lnTo>
                    <a:pt x="124" y="64"/>
                  </a:lnTo>
                  <a:lnTo>
                    <a:pt x="122" y="61"/>
                  </a:lnTo>
                  <a:lnTo>
                    <a:pt x="122" y="61"/>
                  </a:lnTo>
                  <a:lnTo>
                    <a:pt x="121" y="61"/>
                  </a:lnTo>
                  <a:lnTo>
                    <a:pt x="121" y="61"/>
                  </a:lnTo>
                  <a:lnTo>
                    <a:pt x="119" y="58"/>
                  </a:lnTo>
                  <a:lnTo>
                    <a:pt x="119" y="58"/>
                  </a:lnTo>
                  <a:lnTo>
                    <a:pt x="118" y="61"/>
                  </a:lnTo>
                  <a:lnTo>
                    <a:pt x="118" y="61"/>
                  </a:lnTo>
                  <a:lnTo>
                    <a:pt x="116" y="61"/>
                  </a:lnTo>
                  <a:lnTo>
                    <a:pt x="116" y="61"/>
                  </a:lnTo>
                  <a:lnTo>
                    <a:pt x="116" y="58"/>
                  </a:lnTo>
                  <a:lnTo>
                    <a:pt x="116" y="58"/>
                  </a:lnTo>
                  <a:lnTo>
                    <a:pt x="114" y="54"/>
                  </a:lnTo>
                  <a:lnTo>
                    <a:pt x="114" y="54"/>
                  </a:lnTo>
                  <a:lnTo>
                    <a:pt x="113" y="51"/>
                  </a:lnTo>
                  <a:lnTo>
                    <a:pt x="113" y="51"/>
                  </a:lnTo>
                  <a:lnTo>
                    <a:pt x="111" y="50"/>
                  </a:lnTo>
                  <a:lnTo>
                    <a:pt x="111" y="50"/>
                  </a:lnTo>
                  <a:lnTo>
                    <a:pt x="110" y="48"/>
                  </a:lnTo>
                  <a:lnTo>
                    <a:pt x="110" y="48"/>
                  </a:lnTo>
                  <a:lnTo>
                    <a:pt x="108" y="45"/>
                  </a:lnTo>
                  <a:lnTo>
                    <a:pt x="108" y="45"/>
                  </a:lnTo>
                  <a:lnTo>
                    <a:pt x="108" y="42"/>
                  </a:lnTo>
                  <a:lnTo>
                    <a:pt x="108" y="42"/>
                  </a:lnTo>
                  <a:lnTo>
                    <a:pt x="110" y="42"/>
                  </a:lnTo>
                  <a:lnTo>
                    <a:pt x="110" y="42"/>
                  </a:lnTo>
                  <a:lnTo>
                    <a:pt x="111" y="42"/>
                  </a:lnTo>
                  <a:lnTo>
                    <a:pt x="111" y="42"/>
                  </a:lnTo>
                  <a:lnTo>
                    <a:pt x="113" y="43"/>
                  </a:lnTo>
                  <a:lnTo>
                    <a:pt x="113" y="43"/>
                  </a:lnTo>
                  <a:lnTo>
                    <a:pt x="114" y="45"/>
                  </a:lnTo>
                  <a:lnTo>
                    <a:pt x="114" y="45"/>
                  </a:lnTo>
                  <a:lnTo>
                    <a:pt x="116" y="43"/>
                  </a:lnTo>
                  <a:lnTo>
                    <a:pt x="116" y="43"/>
                  </a:lnTo>
                  <a:lnTo>
                    <a:pt x="118" y="43"/>
                  </a:lnTo>
                  <a:lnTo>
                    <a:pt x="118" y="43"/>
                  </a:lnTo>
                  <a:lnTo>
                    <a:pt x="119" y="43"/>
                  </a:lnTo>
                  <a:lnTo>
                    <a:pt x="119" y="43"/>
                  </a:lnTo>
                  <a:lnTo>
                    <a:pt x="121" y="42"/>
                  </a:lnTo>
                  <a:lnTo>
                    <a:pt x="121" y="42"/>
                  </a:lnTo>
                  <a:lnTo>
                    <a:pt x="121" y="40"/>
                  </a:lnTo>
                  <a:lnTo>
                    <a:pt x="121" y="40"/>
                  </a:lnTo>
                  <a:lnTo>
                    <a:pt x="121" y="39"/>
                  </a:lnTo>
                  <a:lnTo>
                    <a:pt x="121" y="39"/>
                  </a:lnTo>
                  <a:lnTo>
                    <a:pt x="119" y="37"/>
                  </a:lnTo>
                  <a:lnTo>
                    <a:pt x="119" y="37"/>
                  </a:lnTo>
                  <a:lnTo>
                    <a:pt x="118" y="34"/>
                  </a:lnTo>
                  <a:lnTo>
                    <a:pt x="118" y="34"/>
                  </a:lnTo>
                  <a:lnTo>
                    <a:pt x="118" y="32"/>
                  </a:lnTo>
                  <a:lnTo>
                    <a:pt x="118" y="32"/>
                  </a:lnTo>
                  <a:lnTo>
                    <a:pt x="114" y="32"/>
                  </a:lnTo>
                  <a:lnTo>
                    <a:pt x="114" y="32"/>
                  </a:lnTo>
                  <a:lnTo>
                    <a:pt x="111" y="29"/>
                  </a:lnTo>
                  <a:lnTo>
                    <a:pt x="111" y="29"/>
                  </a:lnTo>
                  <a:lnTo>
                    <a:pt x="111" y="29"/>
                  </a:lnTo>
                  <a:lnTo>
                    <a:pt x="111" y="29"/>
                  </a:lnTo>
                  <a:lnTo>
                    <a:pt x="108" y="26"/>
                  </a:lnTo>
                  <a:lnTo>
                    <a:pt x="108" y="26"/>
                  </a:lnTo>
                  <a:lnTo>
                    <a:pt x="108" y="23"/>
                  </a:lnTo>
                  <a:lnTo>
                    <a:pt x="108" y="23"/>
                  </a:lnTo>
                  <a:lnTo>
                    <a:pt x="108" y="19"/>
                  </a:lnTo>
                  <a:lnTo>
                    <a:pt x="108" y="19"/>
                  </a:lnTo>
                  <a:lnTo>
                    <a:pt x="108" y="19"/>
                  </a:lnTo>
                  <a:lnTo>
                    <a:pt x="108" y="19"/>
                  </a:lnTo>
                  <a:lnTo>
                    <a:pt x="110" y="19"/>
                  </a:lnTo>
                  <a:lnTo>
                    <a:pt x="110" y="19"/>
                  </a:lnTo>
                  <a:lnTo>
                    <a:pt x="110" y="18"/>
                  </a:lnTo>
                  <a:lnTo>
                    <a:pt x="110" y="18"/>
                  </a:lnTo>
                  <a:lnTo>
                    <a:pt x="108" y="18"/>
                  </a:lnTo>
                  <a:lnTo>
                    <a:pt x="108" y="18"/>
                  </a:lnTo>
                  <a:lnTo>
                    <a:pt x="105" y="15"/>
                  </a:lnTo>
                  <a:lnTo>
                    <a:pt x="105" y="15"/>
                  </a:lnTo>
                  <a:lnTo>
                    <a:pt x="99" y="12"/>
                  </a:lnTo>
                  <a:lnTo>
                    <a:pt x="99" y="12"/>
                  </a:lnTo>
                  <a:lnTo>
                    <a:pt x="99" y="10"/>
                  </a:lnTo>
                  <a:lnTo>
                    <a:pt x="99" y="10"/>
                  </a:lnTo>
                  <a:lnTo>
                    <a:pt x="97" y="7"/>
                  </a:lnTo>
                  <a:lnTo>
                    <a:pt x="97" y="7"/>
                  </a:lnTo>
                  <a:lnTo>
                    <a:pt x="95" y="4"/>
                  </a:lnTo>
                  <a:lnTo>
                    <a:pt x="95" y="4"/>
                  </a:lnTo>
                  <a:lnTo>
                    <a:pt x="92" y="0"/>
                  </a:lnTo>
                  <a:lnTo>
                    <a:pt x="92" y="0"/>
                  </a:lnTo>
                  <a:lnTo>
                    <a:pt x="91" y="0"/>
                  </a:lnTo>
                  <a:lnTo>
                    <a:pt x="91" y="0"/>
                  </a:lnTo>
                  <a:lnTo>
                    <a:pt x="87" y="2"/>
                  </a:lnTo>
                  <a:lnTo>
                    <a:pt x="87" y="2"/>
                  </a:lnTo>
                  <a:lnTo>
                    <a:pt x="84" y="4"/>
                  </a:lnTo>
                  <a:lnTo>
                    <a:pt x="84" y="4"/>
                  </a:lnTo>
                  <a:lnTo>
                    <a:pt x="84" y="5"/>
                  </a:lnTo>
                  <a:lnTo>
                    <a:pt x="84" y="5"/>
                  </a:lnTo>
                  <a:lnTo>
                    <a:pt x="83" y="8"/>
                  </a:lnTo>
                  <a:lnTo>
                    <a:pt x="83" y="8"/>
                  </a:lnTo>
                  <a:lnTo>
                    <a:pt x="81" y="10"/>
                  </a:lnTo>
                  <a:lnTo>
                    <a:pt x="81" y="10"/>
                  </a:lnTo>
                  <a:lnTo>
                    <a:pt x="76" y="12"/>
                  </a:lnTo>
                  <a:lnTo>
                    <a:pt x="76" y="12"/>
                  </a:lnTo>
                  <a:lnTo>
                    <a:pt x="73" y="13"/>
                  </a:lnTo>
                  <a:lnTo>
                    <a:pt x="73" y="13"/>
                  </a:lnTo>
                  <a:lnTo>
                    <a:pt x="70" y="15"/>
                  </a:lnTo>
                  <a:lnTo>
                    <a:pt x="70" y="15"/>
                  </a:lnTo>
                  <a:lnTo>
                    <a:pt x="67" y="15"/>
                  </a:lnTo>
                  <a:lnTo>
                    <a:pt x="67" y="15"/>
                  </a:lnTo>
                  <a:lnTo>
                    <a:pt x="60" y="13"/>
                  </a:lnTo>
                  <a:lnTo>
                    <a:pt x="60" y="13"/>
                  </a:lnTo>
                  <a:lnTo>
                    <a:pt x="56" y="12"/>
                  </a:lnTo>
                  <a:lnTo>
                    <a:pt x="56" y="12"/>
                  </a:lnTo>
                  <a:lnTo>
                    <a:pt x="52" y="10"/>
                  </a:lnTo>
                  <a:lnTo>
                    <a:pt x="52" y="10"/>
                  </a:lnTo>
                  <a:lnTo>
                    <a:pt x="49" y="12"/>
                  </a:lnTo>
                  <a:lnTo>
                    <a:pt x="49" y="12"/>
                  </a:lnTo>
                  <a:lnTo>
                    <a:pt x="46" y="15"/>
                  </a:lnTo>
                  <a:lnTo>
                    <a:pt x="46" y="15"/>
                  </a:lnTo>
                  <a:lnTo>
                    <a:pt x="46" y="16"/>
                  </a:lnTo>
                  <a:lnTo>
                    <a:pt x="46" y="16"/>
                  </a:lnTo>
                  <a:lnTo>
                    <a:pt x="48" y="18"/>
                  </a:lnTo>
                  <a:lnTo>
                    <a:pt x="48" y="18"/>
                  </a:lnTo>
                  <a:lnTo>
                    <a:pt x="49" y="18"/>
                  </a:lnTo>
                  <a:lnTo>
                    <a:pt x="49" y="18"/>
                  </a:lnTo>
                  <a:lnTo>
                    <a:pt x="49" y="19"/>
                  </a:lnTo>
                  <a:lnTo>
                    <a:pt x="49" y="19"/>
                  </a:lnTo>
                  <a:lnTo>
                    <a:pt x="49" y="21"/>
                  </a:lnTo>
                  <a:lnTo>
                    <a:pt x="49" y="21"/>
                  </a:lnTo>
                  <a:lnTo>
                    <a:pt x="52" y="21"/>
                  </a:lnTo>
                  <a:lnTo>
                    <a:pt x="52" y="21"/>
                  </a:lnTo>
                  <a:lnTo>
                    <a:pt x="54" y="23"/>
                  </a:lnTo>
                  <a:lnTo>
                    <a:pt x="54" y="23"/>
                  </a:lnTo>
                  <a:lnTo>
                    <a:pt x="51" y="26"/>
                  </a:lnTo>
                  <a:lnTo>
                    <a:pt x="51" y="26"/>
                  </a:lnTo>
                  <a:lnTo>
                    <a:pt x="51" y="26"/>
                  </a:lnTo>
                  <a:lnTo>
                    <a:pt x="51" y="26"/>
                  </a:lnTo>
                  <a:lnTo>
                    <a:pt x="52" y="26"/>
                  </a:lnTo>
                  <a:lnTo>
                    <a:pt x="52" y="26"/>
                  </a:lnTo>
                  <a:lnTo>
                    <a:pt x="54" y="29"/>
                  </a:lnTo>
                  <a:lnTo>
                    <a:pt x="54" y="29"/>
                  </a:lnTo>
                  <a:lnTo>
                    <a:pt x="54" y="29"/>
                  </a:lnTo>
                  <a:lnTo>
                    <a:pt x="54" y="29"/>
                  </a:lnTo>
                  <a:lnTo>
                    <a:pt x="52" y="32"/>
                  </a:lnTo>
                  <a:lnTo>
                    <a:pt x="52" y="32"/>
                  </a:lnTo>
                  <a:lnTo>
                    <a:pt x="54" y="32"/>
                  </a:lnTo>
                  <a:lnTo>
                    <a:pt x="54" y="32"/>
                  </a:lnTo>
                  <a:lnTo>
                    <a:pt x="57" y="35"/>
                  </a:lnTo>
                  <a:lnTo>
                    <a:pt x="57" y="35"/>
                  </a:lnTo>
                  <a:lnTo>
                    <a:pt x="59" y="37"/>
                  </a:lnTo>
                  <a:lnTo>
                    <a:pt x="59" y="37"/>
                  </a:lnTo>
                  <a:lnTo>
                    <a:pt x="59" y="39"/>
                  </a:lnTo>
                  <a:lnTo>
                    <a:pt x="59" y="39"/>
                  </a:lnTo>
                  <a:lnTo>
                    <a:pt x="60" y="39"/>
                  </a:lnTo>
                  <a:lnTo>
                    <a:pt x="60" y="39"/>
                  </a:lnTo>
                  <a:lnTo>
                    <a:pt x="62" y="40"/>
                  </a:lnTo>
                  <a:lnTo>
                    <a:pt x="62" y="40"/>
                  </a:lnTo>
                  <a:lnTo>
                    <a:pt x="64" y="42"/>
                  </a:lnTo>
                  <a:lnTo>
                    <a:pt x="64" y="42"/>
                  </a:lnTo>
                  <a:lnTo>
                    <a:pt x="64" y="43"/>
                  </a:lnTo>
                  <a:lnTo>
                    <a:pt x="64" y="43"/>
                  </a:lnTo>
                  <a:lnTo>
                    <a:pt x="70" y="45"/>
                  </a:lnTo>
                  <a:lnTo>
                    <a:pt x="70" y="45"/>
                  </a:lnTo>
                  <a:lnTo>
                    <a:pt x="73" y="46"/>
                  </a:lnTo>
                  <a:lnTo>
                    <a:pt x="73" y="46"/>
                  </a:lnTo>
                  <a:lnTo>
                    <a:pt x="73" y="48"/>
                  </a:lnTo>
                  <a:lnTo>
                    <a:pt x="73" y="48"/>
                  </a:lnTo>
                  <a:lnTo>
                    <a:pt x="70" y="48"/>
                  </a:lnTo>
                  <a:lnTo>
                    <a:pt x="70" y="48"/>
                  </a:lnTo>
                  <a:lnTo>
                    <a:pt x="67" y="50"/>
                  </a:lnTo>
                  <a:lnTo>
                    <a:pt x="67" y="50"/>
                  </a:lnTo>
                  <a:lnTo>
                    <a:pt x="64" y="53"/>
                  </a:lnTo>
                  <a:lnTo>
                    <a:pt x="64" y="53"/>
                  </a:lnTo>
                  <a:lnTo>
                    <a:pt x="64" y="54"/>
                  </a:lnTo>
                  <a:lnTo>
                    <a:pt x="64" y="54"/>
                  </a:lnTo>
                  <a:lnTo>
                    <a:pt x="64" y="54"/>
                  </a:lnTo>
                  <a:lnTo>
                    <a:pt x="64" y="54"/>
                  </a:lnTo>
                  <a:lnTo>
                    <a:pt x="64" y="58"/>
                  </a:lnTo>
                  <a:lnTo>
                    <a:pt x="64" y="58"/>
                  </a:lnTo>
                  <a:lnTo>
                    <a:pt x="64" y="61"/>
                  </a:lnTo>
                  <a:lnTo>
                    <a:pt x="64" y="61"/>
                  </a:lnTo>
                  <a:lnTo>
                    <a:pt x="64" y="64"/>
                  </a:lnTo>
                  <a:lnTo>
                    <a:pt x="64" y="64"/>
                  </a:lnTo>
                  <a:lnTo>
                    <a:pt x="67" y="64"/>
                  </a:lnTo>
                  <a:lnTo>
                    <a:pt x="67" y="64"/>
                  </a:lnTo>
                  <a:lnTo>
                    <a:pt x="64" y="64"/>
                  </a:lnTo>
                  <a:lnTo>
                    <a:pt x="64" y="64"/>
                  </a:lnTo>
                  <a:lnTo>
                    <a:pt x="64" y="67"/>
                  </a:lnTo>
                  <a:lnTo>
                    <a:pt x="64" y="67"/>
                  </a:lnTo>
                  <a:lnTo>
                    <a:pt x="60" y="70"/>
                  </a:lnTo>
                  <a:lnTo>
                    <a:pt x="60" y="70"/>
                  </a:lnTo>
                  <a:lnTo>
                    <a:pt x="59" y="73"/>
                  </a:lnTo>
                  <a:lnTo>
                    <a:pt x="59" y="73"/>
                  </a:lnTo>
                  <a:lnTo>
                    <a:pt x="59" y="75"/>
                  </a:lnTo>
                  <a:lnTo>
                    <a:pt x="59" y="75"/>
                  </a:lnTo>
                  <a:lnTo>
                    <a:pt x="60" y="77"/>
                  </a:lnTo>
                  <a:lnTo>
                    <a:pt x="60" y="77"/>
                  </a:lnTo>
                  <a:lnTo>
                    <a:pt x="59" y="78"/>
                  </a:lnTo>
                  <a:lnTo>
                    <a:pt x="59" y="78"/>
                  </a:lnTo>
                  <a:lnTo>
                    <a:pt x="56" y="80"/>
                  </a:lnTo>
                  <a:lnTo>
                    <a:pt x="56" y="80"/>
                  </a:lnTo>
                  <a:lnTo>
                    <a:pt x="54" y="81"/>
                  </a:lnTo>
                  <a:lnTo>
                    <a:pt x="54" y="81"/>
                  </a:lnTo>
                  <a:lnTo>
                    <a:pt x="54" y="85"/>
                  </a:lnTo>
                  <a:lnTo>
                    <a:pt x="54" y="85"/>
                  </a:lnTo>
                  <a:lnTo>
                    <a:pt x="51" y="89"/>
                  </a:lnTo>
                  <a:lnTo>
                    <a:pt x="51" y="89"/>
                  </a:lnTo>
                  <a:lnTo>
                    <a:pt x="48" y="92"/>
                  </a:lnTo>
                  <a:lnTo>
                    <a:pt x="48" y="92"/>
                  </a:lnTo>
                  <a:lnTo>
                    <a:pt x="45" y="96"/>
                  </a:lnTo>
                  <a:lnTo>
                    <a:pt x="45" y="96"/>
                  </a:lnTo>
                  <a:lnTo>
                    <a:pt x="43" y="100"/>
                  </a:lnTo>
                  <a:lnTo>
                    <a:pt x="43" y="100"/>
                  </a:lnTo>
                  <a:lnTo>
                    <a:pt x="41" y="104"/>
                  </a:lnTo>
                  <a:lnTo>
                    <a:pt x="41" y="104"/>
                  </a:lnTo>
                  <a:lnTo>
                    <a:pt x="40" y="107"/>
                  </a:lnTo>
                  <a:lnTo>
                    <a:pt x="40" y="107"/>
                  </a:lnTo>
                  <a:lnTo>
                    <a:pt x="38" y="108"/>
                  </a:lnTo>
                  <a:lnTo>
                    <a:pt x="38" y="108"/>
                  </a:lnTo>
                  <a:lnTo>
                    <a:pt x="38" y="110"/>
                  </a:lnTo>
                  <a:lnTo>
                    <a:pt x="38" y="110"/>
                  </a:lnTo>
                  <a:lnTo>
                    <a:pt x="32" y="110"/>
                  </a:lnTo>
                  <a:lnTo>
                    <a:pt x="32" y="110"/>
                  </a:lnTo>
                  <a:lnTo>
                    <a:pt x="29" y="112"/>
                  </a:lnTo>
                  <a:lnTo>
                    <a:pt x="29" y="112"/>
                  </a:lnTo>
                  <a:lnTo>
                    <a:pt x="27" y="112"/>
                  </a:lnTo>
                  <a:lnTo>
                    <a:pt x="27" y="112"/>
                  </a:lnTo>
                  <a:lnTo>
                    <a:pt x="25" y="110"/>
                  </a:lnTo>
                  <a:lnTo>
                    <a:pt x="25" y="110"/>
                  </a:lnTo>
                  <a:lnTo>
                    <a:pt x="24" y="108"/>
                  </a:lnTo>
                  <a:lnTo>
                    <a:pt x="24" y="108"/>
                  </a:lnTo>
                  <a:lnTo>
                    <a:pt x="22" y="107"/>
                  </a:lnTo>
                  <a:lnTo>
                    <a:pt x="22" y="107"/>
                  </a:lnTo>
                  <a:lnTo>
                    <a:pt x="21" y="108"/>
                  </a:lnTo>
                  <a:lnTo>
                    <a:pt x="21" y="108"/>
                  </a:lnTo>
                  <a:lnTo>
                    <a:pt x="18" y="112"/>
                  </a:lnTo>
                  <a:lnTo>
                    <a:pt x="18" y="112"/>
                  </a:lnTo>
                  <a:lnTo>
                    <a:pt x="13" y="119"/>
                  </a:lnTo>
                  <a:lnTo>
                    <a:pt x="13" y="119"/>
                  </a:lnTo>
                  <a:lnTo>
                    <a:pt x="13" y="123"/>
                  </a:lnTo>
                  <a:lnTo>
                    <a:pt x="13" y="123"/>
                  </a:lnTo>
                  <a:lnTo>
                    <a:pt x="13" y="124"/>
                  </a:lnTo>
                  <a:lnTo>
                    <a:pt x="13" y="124"/>
                  </a:lnTo>
                  <a:lnTo>
                    <a:pt x="18" y="127"/>
                  </a:lnTo>
                  <a:lnTo>
                    <a:pt x="18" y="127"/>
                  </a:lnTo>
                  <a:lnTo>
                    <a:pt x="21" y="129"/>
                  </a:lnTo>
                  <a:lnTo>
                    <a:pt x="21" y="129"/>
                  </a:lnTo>
                  <a:lnTo>
                    <a:pt x="22" y="131"/>
                  </a:lnTo>
                  <a:lnTo>
                    <a:pt x="22" y="131"/>
                  </a:lnTo>
                  <a:lnTo>
                    <a:pt x="22" y="132"/>
                  </a:lnTo>
                  <a:lnTo>
                    <a:pt x="22" y="132"/>
                  </a:lnTo>
                  <a:lnTo>
                    <a:pt x="22" y="139"/>
                  </a:lnTo>
                  <a:lnTo>
                    <a:pt x="22" y="139"/>
                  </a:lnTo>
                  <a:lnTo>
                    <a:pt x="24" y="140"/>
                  </a:lnTo>
                  <a:lnTo>
                    <a:pt x="24" y="140"/>
                  </a:lnTo>
                  <a:lnTo>
                    <a:pt x="25" y="142"/>
                  </a:lnTo>
                  <a:lnTo>
                    <a:pt x="25" y="142"/>
                  </a:lnTo>
                  <a:lnTo>
                    <a:pt x="29" y="140"/>
                  </a:lnTo>
                  <a:lnTo>
                    <a:pt x="29" y="140"/>
                  </a:lnTo>
                  <a:lnTo>
                    <a:pt x="29" y="142"/>
                  </a:lnTo>
                  <a:lnTo>
                    <a:pt x="29" y="142"/>
                  </a:lnTo>
                  <a:lnTo>
                    <a:pt x="29" y="143"/>
                  </a:lnTo>
                  <a:lnTo>
                    <a:pt x="29" y="143"/>
                  </a:lnTo>
                  <a:lnTo>
                    <a:pt x="29" y="145"/>
                  </a:lnTo>
                  <a:lnTo>
                    <a:pt x="29" y="145"/>
                  </a:lnTo>
                  <a:lnTo>
                    <a:pt x="32" y="151"/>
                  </a:lnTo>
                  <a:lnTo>
                    <a:pt x="32" y="151"/>
                  </a:lnTo>
                  <a:lnTo>
                    <a:pt x="35" y="154"/>
                  </a:lnTo>
                  <a:lnTo>
                    <a:pt x="35" y="154"/>
                  </a:lnTo>
                  <a:lnTo>
                    <a:pt x="35" y="154"/>
                  </a:lnTo>
                  <a:lnTo>
                    <a:pt x="35" y="154"/>
                  </a:lnTo>
                  <a:lnTo>
                    <a:pt x="35" y="158"/>
                  </a:lnTo>
                  <a:lnTo>
                    <a:pt x="35" y="158"/>
                  </a:lnTo>
                  <a:lnTo>
                    <a:pt x="35" y="158"/>
                  </a:lnTo>
                  <a:lnTo>
                    <a:pt x="35" y="158"/>
                  </a:lnTo>
                  <a:lnTo>
                    <a:pt x="38" y="159"/>
                  </a:lnTo>
                  <a:lnTo>
                    <a:pt x="38" y="159"/>
                  </a:lnTo>
                  <a:lnTo>
                    <a:pt x="32" y="161"/>
                  </a:lnTo>
                  <a:lnTo>
                    <a:pt x="32" y="161"/>
                  </a:lnTo>
                  <a:lnTo>
                    <a:pt x="32" y="161"/>
                  </a:lnTo>
                  <a:lnTo>
                    <a:pt x="32" y="161"/>
                  </a:lnTo>
                  <a:lnTo>
                    <a:pt x="29" y="159"/>
                  </a:lnTo>
                  <a:lnTo>
                    <a:pt x="29" y="159"/>
                  </a:lnTo>
                  <a:lnTo>
                    <a:pt x="29" y="159"/>
                  </a:lnTo>
                  <a:lnTo>
                    <a:pt x="29" y="159"/>
                  </a:lnTo>
                  <a:lnTo>
                    <a:pt x="27" y="159"/>
                  </a:lnTo>
                  <a:lnTo>
                    <a:pt x="27" y="159"/>
                  </a:lnTo>
                  <a:lnTo>
                    <a:pt x="25" y="161"/>
                  </a:lnTo>
                  <a:lnTo>
                    <a:pt x="25" y="161"/>
                  </a:lnTo>
                  <a:lnTo>
                    <a:pt x="24" y="162"/>
                  </a:lnTo>
                  <a:lnTo>
                    <a:pt x="24" y="162"/>
                  </a:lnTo>
                  <a:lnTo>
                    <a:pt x="21" y="162"/>
                  </a:lnTo>
                  <a:lnTo>
                    <a:pt x="21" y="162"/>
                  </a:lnTo>
                  <a:lnTo>
                    <a:pt x="19" y="162"/>
                  </a:lnTo>
                  <a:lnTo>
                    <a:pt x="19" y="162"/>
                  </a:lnTo>
                  <a:lnTo>
                    <a:pt x="13" y="161"/>
                  </a:lnTo>
                  <a:lnTo>
                    <a:pt x="13" y="161"/>
                  </a:lnTo>
                  <a:lnTo>
                    <a:pt x="11" y="161"/>
                  </a:lnTo>
                  <a:lnTo>
                    <a:pt x="11" y="161"/>
                  </a:lnTo>
                  <a:lnTo>
                    <a:pt x="10" y="161"/>
                  </a:lnTo>
                  <a:lnTo>
                    <a:pt x="10" y="161"/>
                  </a:lnTo>
                  <a:lnTo>
                    <a:pt x="6" y="161"/>
                  </a:lnTo>
                  <a:lnTo>
                    <a:pt x="6" y="161"/>
                  </a:lnTo>
                  <a:lnTo>
                    <a:pt x="8" y="164"/>
                  </a:lnTo>
                  <a:lnTo>
                    <a:pt x="8" y="164"/>
                  </a:lnTo>
                  <a:lnTo>
                    <a:pt x="6" y="166"/>
                  </a:lnTo>
                  <a:lnTo>
                    <a:pt x="6" y="166"/>
                  </a:lnTo>
                  <a:lnTo>
                    <a:pt x="3" y="166"/>
                  </a:lnTo>
                  <a:lnTo>
                    <a:pt x="3" y="166"/>
                  </a:lnTo>
                  <a:lnTo>
                    <a:pt x="3" y="167"/>
                  </a:lnTo>
                  <a:lnTo>
                    <a:pt x="3" y="167"/>
                  </a:lnTo>
                  <a:lnTo>
                    <a:pt x="0" y="169"/>
                  </a:lnTo>
                  <a:lnTo>
                    <a:pt x="0" y="169"/>
                  </a:lnTo>
                  <a:lnTo>
                    <a:pt x="0" y="172"/>
                  </a:lnTo>
                  <a:lnTo>
                    <a:pt x="0" y="172"/>
                  </a:lnTo>
                  <a:lnTo>
                    <a:pt x="3" y="172"/>
                  </a:lnTo>
                  <a:lnTo>
                    <a:pt x="3" y="172"/>
                  </a:lnTo>
                  <a:lnTo>
                    <a:pt x="5" y="170"/>
                  </a:lnTo>
                  <a:lnTo>
                    <a:pt x="5" y="170"/>
                  </a:lnTo>
                  <a:lnTo>
                    <a:pt x="3" y="173"/>
                  </a:lnTo>
                  <a:lnTo>
                    <a:pt x="3" y="173"/>
                  </a:lnTo>
                  <a:lnTo>
                    <a:pt x="6" y="175"/>
                  </a:lnTo>
                  <a:lnTo>
                    <a:pt x="6" y="175"/>
                  </a:lnTo>
                  <a:lnTo>
                    <a:pt x="8" y="177"/>
                  </a:lnTo>
                  <a:lnTo>
                    <a:pt x="8" y="177"/>
                  </a:lnTo>
                  <a:lnTo>
                    <a:pt x="8" y="178"/>
                  </a:lnTo>
                  <a:lnTo>
                    <a:pt x="8" y="178"/>
                  </a:lnTo>
                  <a:lnTo>
                    <a:pt x="14" y="180"/>
                  </a:lnTo>
                  <a:lnTo>
                    <a:pt x="14" y="180"/>
                  </a:lnTo>
                  <a:lnTo>
                    <a:pt x="21" y="183"/>
                  </a:lnTo>
                  <a:lnTo>
                    <a:pt x="21" y="183"/>
                  </a:lnTo>
                  <a:lnTo>
                    <a:pt x="22" y="183"/>
                  </a:lnTo>
                  <a:lnTo>
                    <a:pt x="22" y="183"/>
                  </a:lnTo>
                  <a:lnTo>
                    <a:pt x="24" y="180"/>
                  </a:lnTo>
                  <a:lnTo>
                    <a:pt x="24" y="180"/>
                  </a:lnTo>
                  <a:lnTo>
                    <a:pt x="29" y="180"/>
                  </a:lnTo>
                  <a:lnTo>
                    <a:pt x="29" y="180"/>
                  </a:lnTo>
                  <a:lnTo>
                    <a:pt x="29" y="180"/>
                  </a:lnTo>
                  <a:lnTo>
                    <a:pt x="29" y="180"/>
                  </a:lnTo>
                  <a:lnTo>
                    <a:pt x="32" y="178"/>
                  </a:lnTo>
                  <a:lnTo>
                    <a:pt x="32" y="178"/>
                  </a:lnTo>
                  <a:lnTo>
                    <a:pt x="32" y="180"/>
                  </a:lnTo>
                  <a:lnTo>
                    <a:pt x="32" y="180"/>
                  </a:lnTo>
                  <a:lnTo>
                    <a:pt x="29" y="180"/>
                  </a:lnTo>
                  <a:lnTo>
                    <a:pt x="29" y="180"/>
                  </a:lnTo>
                  <a:lnTo>
                    <a:pt x="29" y="186"/>
                  </a:lnTo>
                  <a:lnTo>
                    <a:pt x="29" y="186"/>
                  </a:lnTo>
                  <a:lnTo>
                    <a:pt x="24" y="189"/>
                  </a:lnTo>
                  <a:lnTo>
                    <a:pt x="24" y="189"/>
                  </a:lnTo>
                  <a:lnTo>
                    <a:pt x="22" y="189"/>
                  </a:lnTo>
                  <a:lnTo>
                    <a:pt x="22" y="189"/>
                  </a:lnTo>
                  <a:lnTo>
                    <a:pt x="21" y="189"/>
                  </a:lnTo>
                  <a:lnTo>
                    <a:pt x="21" y="189"/>
                  </a:lnTo>
                  <a:lnTo>
                    <a:pt x="18" y="189"/>
                  </a:lnTo>
                  <a:lnTo>
                    <a:pt x="18" y="189"/>
                  </a:lnTo>
                  <a:lnTo>
                    <a:pt x="16" y="189"/>
                  </a:lnTo>
                  <a:lnTo>
                    <a:pt x="16" y="189"/>
                  </a:lnTo>
                  <a:lnTo>
                    <a:pt x="14" y="189"/>
                  </a:lnTo>
                  <a:lnTo>
                    <a:pt x="14" y="189"/>
                  </a:lnTo>
                  <a:lnTo>
                    <a:pt x="13" y="189"/>
                  </a:lnTo>
                  <a:lnTo>
                    <a:pt x="13" y="189"/>
                  </a:lnTo>
                  <a:lnTo>
                    <a:pt x="13" y="189"/>
                  </a:lnTo>
                  <a:lnTo>
                    <a:pt x="13" y="189"/>
                  </a:lnTo>
                  <a:lnTo>
                    <a:pt x="14" y="193"/>
                  </a:lnTo>
                  <a:lnTo>
                    <a:pt x="14" y="193"/>
                  </a:lnTo>
                  <a:lnTo>
                    <a:pt x="21" y="199"/>
                  </a:lnTo>
                  <a:lnTo>
                    <a:pt x="21" y="199"/>
                  </a:lnTo>
                  <a:lnTo>
                    <a:pt x="27" y="205"/>
                  </a:lnTo>
                  <a:lnTo>
                    <a:pt x="27" y="205"/>
                  </a:lnTo>
                  <a:lnTo>
                    <a:pt x="32" y="210"/>
                  </a:lnTo>
                  <a:lnTo>
                    <a:pt x="32" y="210"/>
                  </a:lnTo>
                  <a:lnTo>
                    <a:pt x="38" y="213"/>
                  </a:lnTo>
                  <a:lnTo>
                    <a:pt x="38" y="213"/>
                  </a:lnTo>
                  <a:lnTo>
                    <a:pt x="40" y="213"/>
                  </a:lnTo>
                  <a:lnTo>
                    <a:pt x="40" y="213"/>
                  </a:lnTo>
                  <a:lnTo>
                    <a:pt x="41" y="213"/>
                  </a:lnTo>
                  <a:lnTo>
                    <a:pt x="41" y="213"/>
                  </a:lnTo>
                  <a:lnTo>
                    <a:pt x="46" y="210"/>
                  </a:lnTo>
                  <a:lnTo>
                    <a:pt x="46" y="210"/>
                  </a:lnTo>
                  <a:lnTo>
                    <a:pt x="52" y="207"/>
                  </a:lnTo>
                  <a:lnTo>
                    <a:pt x="52" y="207"/>
                  </a:lnTo>
                  <a:lnTo>
                    <a:pt x="54" y="205"/>
                  </a:lnTo>
                  <a:lnTo>
                    <a:pt x="54" y="205"/>
                  </a:lnTo>
                  <a:lnTo>
                    <a:pt x="54" y="204"/>
                  </a:lnTo>
                  <a:lnTo>
                    <a:pt x="54" y="204"/>
                  </a:lnTo>
                  <a:lnTo>
                    <a:pt x="56" y="200"/>
                  </a:lnTo>
                  <a:lnTo>
                    <a:pt x="56" y="200"/>
                  </a:lnTo>
                  <a:lnTo>
                    <a:pt x="56" y="199"/>
                  </a:lnTo>
                  <a:lnTo>
                    <a:pt x="56" y="199"/>
                  </a:lnTo>
                  <a:lnTo>
                    <a:pt x="51" y="197"/>
                  </a:lnTo>
                  <a:lnTo>
                    <a:pt x="51" y="197"/>
                  </a:lnTo>
                  <a:lnTo>
                    <a:pt x="52" y="196"/>
                  </a:lnTo>
                  <a:lnTo>
                    <a:pt x="52" y="196"/>
                  </a:lnTo>
                  <a:lnTo>
                    <a:pt x="54" y="196"/>
                  </a:lnTo>
                  <a:lnTo>
                    <a:pt x="54" y="196"/>
                  </a:lnTo>
                  <a:lnTo>
                    <a:pt x="52" y="194"/>
                  </a:lnTo>
                  <a:lnTo>
                    <a:pt x="52" y="194"/>
                  </a:lnTo>
                  <a:lnTo>
                    <a:pt x="54" y="194"/>
                  </a:lnTo>
                  <a:lnTo>
                    <a:pt x="54" y="194"/>
                  </a:lnTo>
                  <a:lnTo>
                    <a:pt x="56" y="191"/>
                  </a:lnTo>
                  <a:lnTo>
                    <a:pt x="56" y="191"/>
                  </a:lnTo>
                  <a:lnTo>
                    <a:pt x="54" y="189"/>
                  </a:lnTo>
                  <a:lnTo>
                    <a:pt x="54" y="189"/>
                  </a:lnTo>
                  <a:lnTo>
                    <a:pt x="56" y="189"/>
                  </a:lnTo>
                  <a:lnTo>
                    <a:pt x="56" y="189"/>
                  </a:lnTo>
                  <a:lnTo>
                    <a:pt x="56" y="189"/>
                  </a:lnTo>
                  <a:lnTo>
                    <a:pt x="56" y="189"/>
                  </a:lnTo>
                  <a:lnTo>
                    <a:pt x="59" y="189"/>
                  </a:lnTo>
                  <a:lnTo>
                    <a:pt x="59" y="189"/>
                  </a:lnTo>
                  <a:lnTo>
                    <a:pt x="62" y="191"/>
                  </a:lnTo>
                  <a:lnTo>
                    <a:pt x="62" y="191"/>
                  </a:lnTo>
                  <a:lnTo>
                    <a:pt x="60" y="191"/>
                  </a:lnTo>
                  <a:lnTo>
                    <a:pt x="60" y="191"/>
                  </a:lnTo>
                  <a:lnTo>
                    <a:pt x="59" y="193"/>
                  </a:lnTo>
                  <a:lnTo>
                    <a:pt x="59" y="193"/>
                  </a:lnTo>
                  <a:lnTo>
                    <a:pt x="57" y="193"/>
                  </a:lnTo>
                  <a:lnTo>
                    <a:pt x="57" y="193"/>
                  </a:lnTo>
                  <a:lnTo>
                    <a:pt x="59" y="194"/>
                  </a:lnTo>
                  <a:lnTo>
                    <a:pt x="59" y="194"/>
                  </a:lnTo>
                  <a:lnTo>
                    <a:pt x="60" y="194"/>
                  </a:lnTo>
                  <a:lnTo>
                    <a:pt x="60" y="194"/>
                  </a:lnTo>
                  <a:lnTo>
                    <a:pt x="59" y="197"/>
                  </a:lnTo>
                  <a:lnTo>
                    <a:pt x="59" y="197"/>
                  </a:lnTo>
                  <a:lnTo>
                    <a:pt x="60" y="199"/>
                  </a:lnTo>
                  <a:lnTo>
                    <a:pt x="60" y="199"/>
                  </a:lnTo>
                  <a:lnTo>
                    <a:pt x="64" y="199"/>
                  </a:lnTo>
                  <a:lnTo>
                    <a:pt x="64" y="199"/>
                  </a:lnTo>
                  <a:lnTo>
                    <a:pt x="60" y="200"/>
                  </a:lnTo>
                  <a:lnTo>
                    <a:pt x="60" y="200"/>
                  </a:lnTo>
                  <a:lnTo>
                    <a:pt x="60" y="204"/>
                  </a:lnTo>
                  <a:lnTo>
                    <a:pt x="60" y="204"/>
                  </a:lnTo>
                  <a:lnTo>
                    <a:pt x="60" y="205"/>
                  </a:lnTo>
                  <a:lnTo>
                    <a:pt x="60" y="205"/>
                  </a:lnTo>
                  <a:lnTo>
                    <a:pt x="62" y="207"/>
                  </a:lnTo>
                  <a:lnTo>
                    <a:pt x="62" y="207"/>
                  </a:lnTo>
                  <a:lnTo>
                    <a:pt x="62" y="207"/>
                  </a:lnTo>
                  <a:lnTo>
                    <a:pt x="62" y="207"/>
                  </a:lnTo>
                  <a:lnTo>
                    <a:pt x="64" y="207"/>
                  </a:lnTo>
                  <a:lnTo>
                    <a:pt x="64" y="207"/>
                  </a:lnTo>
                  <a:lnTo>
                    <a:pt x="64" y="207"/>
                  </a:lnTo>
                  <a:lnTo>
                    <a:pt x="64" y="207"/>
                  </a:lnTo>
                  <a:lnTo>
                    <a:pt x="64" y="210"/>
                  </a:lnTo>
                  <a:lnTo>
                    <a:pt x="64" y="210"/>
                  </a:lnTo>
                  <a:lnTo>
                    <a:pt x="64" y="213"/>
                  </a:lnTo>
                  <a:lnTo>
                    <a:pt x="64" y="213"/>
                  </a:lnTo>
                  <a:lnTo>
                    <a:pt x="64" y="215"/>
                  </a:lnTo>
                  <a:lnTo>
                    <a:pt x="64" y="215"/>
                  </a:lnTo>
                  <a:lnTo>
                    <a:pt x="64" y="221"/>
                  </a:lnTo>
                  <a:lnTo>
                    <a:pt x="64" y="221"/>
                  </a:lnTo>
                  <a:lnTo>
                    <a:pt x="64" y="227"/>
                  </a:lnTo>
                  <a:lnTo>
                    <a:pt x="64" y="227"/>
                  </a:lnTo>
                  <a:lnTo>
                    <a:pt x="64" y="229"/>
                  </a:lnTo>
                  <a:lnTo>
                    <a:pt x="64" y="229"/>
                  </a:lnTo>
                  <a:lnTo>
                    <a:pt x="64" y="231"/>
                  </a:lnTo>
                  <a:lnTo>
                    <a:pt x="64" y="231"/>
                  </a:lnTo>
                  <a:lnTo>
                    <a:pt x="64" y="232"/>
                  </a:lnTo>
                  <a:lnTo>
                    <a:pt x="64" y="232"/>
                  </a:lnTo>
                  <a:lnTo>
                    <a:pt x="67" y="232"/>
                  </a:lnTo>
                  <a:lnTo>
                    <a:pt x="67" y="232"/>
                  </a:lnTo>
                  <a:lnTo>
                    <a:pt x="70" y="234"/>
                  </a:lnTo>
                  <a:lnTo>
                    <a:pt x="70" y="234"/>
                  </a:lnTo>
                  <a:lnTo>
                    <a:pt x="67" y="234"/>
                  </a:lnTo>
                  <a:lnTo>
                    <a:pt x="67" y="234"/>
                  </a:lnTo>
                  <a:lnTo>
                    <a:pt x="67" y="239"/>
                  </a:lnTo>
                  <a:lnTo>
                    <a:pt x="67" y="239"/>
                  </a:lnTo>
                  <a:lnTo>
                    <a:pt x="67" y="235"/>
                  </a:lnTo>
                  <a:lnTo>
                    <a:pt x="67" y="235"/>
                  </a:lnTo>
                  <a:lnTo>
                    <a:pt x="67" y="235"/>
                  </a:lnTo>
                  <a:lnTo>
                    <a:pt x="67" y="235"/>
                  </a:lnTo>
                  <a:lnTo>
                    <a:pt x="67" y="239"/>
                  </a:lnTo>
                  <a:lnTo>
                    <a:pt x="67" y="239"/>
                  </a:lnTo>
                  <a:lnTo>
                    <a:pt x="67" y="239"/>
                  </a:lnTo>
                  <a:lnTo>
                    <a:pt x="67" y="239"/>
                  </a:lnTo>
                  <a:lnTo>
                    <a:pt x="67" y="242"/>
                  </a:lnTo>
                  <a:lnTo>
                    <a:pt x="67" y="242"/>
                  </a:lnTo>
                  <a:lnTo>
                    <a:pt x="67" y="242"/>
                  </a:lnTo>
                  <a:lnTo>
                    <a:pt x="67" y="242"/>
                  </a:lnTo>
                  <a:lnTo>
                    <a:pt x="70" y="245"/>
                  </a:lnTo>
                  <a:lnTo>
                    <a:pt x="70" y="245"/>
                  </a:lnTo>
                  <a:lnTo>
                    <a:pt x="67" y="245"/>
                  </a:lnTo>
                  <a:lnTo>
                    <a:pt x="67" y="245"/>
                  </a:lnTo>
                  <a:lnTo>
                    <a:pt x="67" y="245"/>
                  </a:lnTo>
                  <a:lnTo>
                    <a:pt x="67" y="245"/>
                  </a:lnTo>
                  <a:lnTo>
                    <a:pt x="70" y="248"/>
                  </a:lnTo>
                  <a:lnTo>
                    <a:pt x="70" y="248"/>
                  </a:lnTo>
                  <a:lnTo>
                    <a:pt x="70" y="250"/>
                  </a:lnTo>
                  <a:lnTo>
                    <a:pt x="70" y="250"/>
                  </a:lnTo>
                  <a:lnTo>
                    <a:pt x="70" y="253"/>
                  </a:lnTo>
                  <a:lnTo>
                    <a:pt x="70" y="253"/>
                  </a:lnTo>
                  <a:lnTo>
                    <a:pt x="73" y="259"/>
                  </a:lnTo>
                  <a:lnTo>
                    <a:pt x="73" y="259"/>
                  </a:lnTo>
                  <a:lnTo>
                    <a:pt x="73" y="267"/>
                  </a:lnTo>
                  <a:lnTo>
                    <a:pt x="73" y="267"/>
                  </a:lnTo>
                  <a:lnTo>
                    <a:pt x="75" y="273"/>
                  </a:lnTo>
                  <a:lnTo>
                    <a:pt x="75" y="273"/>
                  </a:lnTo>
                  <a:lnTo>
                    <a:pt x="78" y="280"/>
                  </a:lnTo>
                  <a:lnTo>
                    <a:pt x="78" y="280"/>
                  </a:lnTo>
                  <a:lnTo>
                    <a:pt x="79" y="283"/>
                  </a:lnTo>
                  <a:lnTo>
                    <a:pt x="79" y="283"/>
                  </a:lnTo>
                  <a:lnTo>
                    <a:pt x="81" y="285"/>
                  </a:lnTo>
                  <a:lnTo>
                    <a:pt x="81" y="285"/>
                  </a:lnTo>
                  <a:lnTo>
                    <a:pt x="83" y="286"/>
                  </a:lnTo>
                  <a:lnTo>
                    <a:pt x="83" y="286"/>
                  </a:lnTo>
                  <a:lnTo>
                    <a:pt x="83" y="288"/>
                  </a:lnTo>
                  <a:lnTo>
                    <a:pt x="83" y="288"/>
                  </a:lnTo>
                  <a:lnTo>
                    <a:pt x="84" y="289"/>
                  </a:lnTo>
                  <a:lnTo>
                    <a:pt x="84" y="289"/>
                  </a:lnTo>
                  <a:lnTo>
                    <a:pt x="83" y="289"/>
                  </a:lnTo>
                  <a:lnTo>
                    <a:pt x="83" y="289"/>
                  </a:lnTo>
                  <a:lnTo>
                    <a:pt x="84" y="291"/>
                  </a:lnTo>
                  <a:lnTo>
                    <a:pt x="84" y="291"/>
                  </a:lnTo>
                  <a:lnTo>
                    <a:pt x="86" y="294"/>
                  </a:lnTo>
                  <a:lnTo>
                    <a:pt x="86" y="294"/>
                  </a:lnTo>
                  <a:lnTo>
                    <a:pt x="87" y="296"/>
                  </a:lnTo>
                  <a:lnTo>
                    <a:pt x="87" y="296"/>
                  </a:lnTo>
                  <a:lnTo>
                    <a:pt x="87" y="297"/>
                  </a:lnTo>
                  <a:lnTo>
                    <a:pt x="87" y="297"/>
                  </a:lnTo>
                  <a:lnTo>
                    <a:pt x="87" y="299"/>
                  </a:lnTo>
                  <a:lnTo>
                    <a:pt x="87" y="299"/>
                  </a:lnTo>
                  <a:lnTo>
                    <a:pt x="91" y="300"/>
                  </a:lnTo>
                  <a:lnTo>
                    <a:pt x="91" y="300"/>
                  </a:lnTo>
                  <a:lnTo>
                    <a:pt x="91" y="304"/>
                  </a:lnTo>
                  <a:lnTo>
                    <a:pt x="91" y="304"/>
                  </a:lnTo>
                  <a:lnTo>
                    <a:pt x="92" y="305"/>
                  </a:lnTo>
                  <a:lnTo>
                    <a:pt x="92" y="305"/>
                  </a:lnTo>
                  <a:lnTo>
                    <a:pt x="94" y="305"/>
                  </a:lnTo>
                  <a:lnTo>
                    <a:pt x="94" y="305"/>
                  </a:lnTo>
                  <a:lnTo>
                    <a:pt x="92" y="305"/>
                  </a:lnTo>
                  <a:lnTo>
                    <a:pt x="92" y="305"/>
                  </a:lnTo>
                  <a:lnTo>
                    <a:pt x="94" y="308"/>
                  </a:lnTo>
                  <a:lnTo>
                    <a:pt x="94" y="308"/>
                  </a:lnTo>
                  <a:lnTo>
                    <a:pt x="95" y="315"/>
                  </a:lnTo>
                  <a:lnTo>
                    <a:pt x="95" y="315"/>
                  </a:lnTo>
                  <a:lnTo>
                    <a:pt x="97" y="320"/>
                  </a:lnTo>
                  <a:lnTo>
                    <a:pt x="97" y="320"/>
                  </a:lnTo>
                  <a:lnTo>
                    <a:pt x="99" y="329"/>
                  </a:lnTo>
                  <a:lnTo>
                    <a:pt x="99" y="329"/>
                  </a:lnTo>
                  <a:lnTo>
                    <a:pt x="105" y="339"/>
                  </a:lnTo>
                  <a:lnTo>
                    <a:pt x="105" y="339"/>
                  </a:lnTo>
                  <a:lnTo>
                    <a:pt x="113" y="351"/>
                  </a:lnTo>
                  <a:lnTo>
                    <a:pt x="113" y="351"/>
                  </a:lnTo>
                  <a:lnTo>
                    <a:pt x="116" y="361"/>
                  </a:lnTo>
                  <a:lnTo>
                    <a:pt x="116" y="361"/>
                  </a:lnTo>
                  <a:lnTo>
                    <a:pt x="118" y="364"/>
                  </a:lnTo>
                  <a:lnTo>
                    <a:pt x="118" y="364"/>
                  </a:lnTo>
                  <a:lnTo>
                    <a:pt x="118" y="364"/>
                  </a:lnTo>
                  <a:lnTo>
                    <a:pt x="118" y="364"/>
                  </a:lnTo>
                  <a:lnTo>
                    <a:pt x="118" y="367"/>
                  </a:lnTo>
                  <a:lnTo>
                    <a:pt x="118" y="367"/>
                  </a:lnTo>
                  <a:lnTo>
                    <a:pt x="119" y="364"/>
                  </a:lnTo>
                  <a:lnTo>
                    <a:pt x="119" y="364"/>
                  </a:lnTo>
                  <a:lnTo>
                    <a:pt x="119" y="367"/>
                  </a:lnTo>
                  <a:lnTo>
                    <a:pt x="119" y="367"/>
                  </a:lnTo>
                  <a:lnTo>
                    <a:pt x="121" y="370"/>
                  </a:lnTo>
                  <a:lnTo>
                    <a:pt x="121" y="370"/>
                  </a:lnTo>
                  <a:lnTo>
                    <a:pt x="122" y="373"/>
                  </a:lnTo>
                  <a:lnTo>
                    <a:pt x="122" y="373"/>
                  </a:lnTo>
                  <a:lnTo>
                    <a:pt x="121" y="373"/>
                  </a:lnTo>
                  <a:lnTo>
                    <a:pt x="121" y="373"/>
                  </a:lnTo>
                  <a:lnTo>
                    <a:pt x="121" y="370"/>
                  </a:lnTo>
                  <a:lnTo>
                    <a:pt x="121" y="370"/>
                  </a:lnTo>
                  <a:lnTo>
                    <a:pt x="121" y="370"/>
                  </a:lnTo>
                  <a:lnTo>
                    <a:pt x="121" y="370"/>
                  </a:lnTo>
                  <a:lnTo>
                    <a:pt x="119" y="370"/>
                  </a:lnTo>
                  <a:lnTo>
                    <a:pt x="119" y="370"/>
                  </a:lnTo>
                  <a:lnTo>
                    <a:pt x="119" y="373"/>
                  </a:lnTo>
                  <a:lnTo>
                    <a:pt x="119" y="373"/>
                  </a:lnTo>
                  <a:lnTo>
                    <a:pt x="121" y="375"/>
                  </a:lnTo>
                  <a:lnTo>
                    <a:pt x="121" y="375"/>
                  </a:lnTo>
                  <a:lnTo>
                    <a:pt x="122" y="380"/>
                  </a:lnTo>
                  <a:lnTo>
                    <a:pt x="122" y="380"/>
                  </a:lnTo>
                  <a:lnTo>
                    <a:pt x="122" y="381"/>
                  </a:lnTo>
                  <a:lnTo>
                    <a:pt x="122" y="381"/>
                  </a:lnTo>
                  <a:lnTo>
                    <a:pt x="124" y="381"/>
                  </a:lnTo>
                  <a:lnTo>
                    <a:pt x="124" y="381"/>
                  </a:lnTo>
                  <a:lnTo>
                    <a:pt x="124" y="383"/>
                  </a:lnTo>
                  <a:lnTo>
                    <a:pt x="124" y="383"/>
                  </a:lnTo>
                  <a:lnTo>
                    <a:pt x="127" y="386"/>
                  </a:lnTo>
                  <a:lnTo>
                    <a:pt x="127" y="386"/>
                  </a:lnTo>
                  <a:lnTo>
                    <a:pt x="130" y="393"/>
                  </a:lnTo>
                  <a:lnTo>
                    <a:pt x="130" y="393"/>
                  </a:lnTo>
                  <a:lnTo>
                    <a:pt x="133" y="394"/>
                  </a:lnTo>
                  <a:lnTo>
                    <a:pt x="133" y="394"/>
                  </a:lnTo>
                  <a:lnTo>
                    <a:pt x="137" y="394"/>
                  </a:lnTo>
                  <a:lnTo>
                    <a:pt x="137" y="394"/>
                  </a:lnTo>
                  <a:lnTo>
                    <a:pt x="140" y="393"/>
                  </a:lnTo>
                  <a:lnTo>
                    <a:pt x="140" y="393"/>
                  </a:lnTo>
                  <a:lnTo>
                    <a:pt x="143" y="389"/>
                  </a:lnTo>
                  <a:lnTo>
                    <a:pt x="143" y="389"/>
                  </a:lnTo>
                  <a:lnTo>
                    <a:pt x="143" y="386"/>
                  </a:lnTo>
                  <a:lnTo>
                    <a:pt x="143" y="386"/>
                  </a:lnTo>
                  <a:lnTo>
                    <a:pt x="145" y="385"/>
                  </a:lnTo>
                  <a:lnTo>
                    <a:pt x="145" y="385"/>
                  </a:lnTo>
                  <a:lnTo>
                    <a:pt x="145" y="381"/>
                  </a:lnTo>
                  <a:lnTo>
                    <a:pt x="145" y="381"/>
                  </a:lnTo>
                  <a:lnTo>
                    <a:pt x="148" y="380"/>
                  </a:lnTo>
                  <a:lnTo>
                    <a:pt x="148" y="380"/>
                  </a:lnTo>
                  <a:lnTo>
                    <a:pt x="154" y="377"/>
                  </a:lnTo>
                  <a:lnTo>
                    <a:pt x="154" y="377"/>
                  </a:lnTo>
                  <a:lnTo>
                    <a:pt x="156" y="377"/>
                  </a:lnTo>
                  <a:lnTo>
                    <a:pt x="156" y="377"/>
                  </a:lnTo>
                  <a:lnTo>
                    <a:pt x="153" y="375"/>
                  </a:lnTo>
                  <a:lnTo>
                    <a:pt x="153" y="375"/>
                  </a:lnTo>
                  <a:lnTo>
                    <a:pt x="153" y="373"/>
                  </a:lnTo>
                  <a:lnTo>
                    <a:pt x="153" y="373"/>
                  </a:lnTo>
                  <a:lnTo>
                    <a:pt x="156" y="370"/>
                  </a:lnTo>
                  <a:lnTo>
                    <a:pt x="156" y="370"/>
                  </a:lnTo>
                  <a:lnTo>
                    <a:pt x="157" y="367"/>
                  </a:lnTo>
                  <a:lnTo>
                    <a:pt x="157" y="367"/>
                  </a:lnTo>
                  <a:lnTo>
                    <a:pt x="157" y="364"/>
                  </a:lnTo>
                  <a:lnTo>
                    <a:pt x="157" y="364"/>
                  </a:lnTo>
                  <a:lnTo>
                    <a:pt x="157" y="364"/>
                  </a:lnTo>
                  <a:lnTo>
                    <a:pt x="157" y="364"/>
                  </a:lnTo>
                  <a:lnTo>
                    <a:pt x="159" y="361"/>
                  </a:lnTo>
                  <a:lnTo>
                    <a:pt x="159" y="361"/>
                  </a:lnTo>
                  <a:lnTo>
                    <a:pt x="162" y="361"/>
                  </a:lnTo>
                  <a:lnTo>
                    <a:pt x="162" y="361"/>
                  </a:lnTo>
                  <a:lnTo>
                    <a:pt x="165" y="361"/>
                  </a:lnTo>
                  <a:lnTo>
                    <a:pt x="165" y="361"/>
                  </a:lnTo>
                  <a:lnTo>
                    <a:pt x="164" y="353"/>
                  </a:lnTo>
                  <a:lnTo>
                    <a:pt x="164" y="353"/>
                  </a:lnTo>
                  <a:lnTo>
                    <a:pt x="164" y="350"/>
                  </a:lnTo>
                  <a:lnTo>
                    <a:pt x="164" y="350"/>
                  </a:lnTo>
                  <a:lnTo>
                    <a:pt x="162" y="347"/>
                  </a:lnTo>
                  <a:lnTo>
                    <a:pt x="162" y="347"/>
                  </a:lnTo>
                  <a:lnTo>
                    <a:pt x="162" y="345"/>
                  </a:lnTo>
                  <a:lnTo>
                    <a:pt x="162" y="345"/>
                  </a:lnTo>
                  <a:lnTo>
                    <a:pt x="164" y="343"/>
                  </a:lnTo>
                  <a:lnTo>
                    <a:pt x="164" y="343"/>
                  </a:lnTo>
                  <a:lnTo>
                    <a:pt x="164" y="339"/>
                  </a:lnTo>
                  <a:lnTo>
                    <a:pt x="164" y="339"/>
                  </a:lnTo>
                  <a:lnTo>
                    <a:pt x="165" y="332"/>
                  </a:lnTo>
                  <a:lnTo>
                    <a:pt x="165" y="332"/>
                  </a:lnTo>
                  <a:lnTo>
                    <a:pt x="168" y="327"/>
                  </a:lnTo>
                  <a:lnTo>
                    <a:pt x="168" y="327"/>
                  </a:lnTo>
                  <a:lnTo>
                    <a:pt x="168" y="323"/>
                  </a:lnTo>
                  <a:lnTo>
                    <a:pt x="168" y="323"/>
                  </a:lnTo>
                  <a:lnTo>
                    <a:pt x="168" y="318"/>
                  </a:lnTo>
                  <a:lnTo>
                    <a:pt x="168" y="318"/>
                  </a:lnTo>
                  <a:lnTo>
                    <a:pt x="165" y="316"/>
                  </a:lnTo>
                  <a:lnTo>
                    <a:pt x="165" y="316"/>
                  </a:lnTo>
                  <a:lnTo>
                    <a:pt x="165" y="315"/>
                  </a:lnTo>
                  <a:lnTo>
                    <a:pt x="165" y="315"/>
                  </a:lnTo>
                  <a:lnTo>
                    <a:pt x="164" y="315"/>
                  </a:lnTo>
                  <a:lnTo>
                    <a:pt x="164" y="315"/>
                  </a:lnTo>
                  <a:lnTo>
                    <a:pt x="165" y="315"/>
                  </a:lnTo>
                  <a:lnTo>
                    <a:pt x="165" y="315"/>
                  </a:lnTo>
                  <a:lnTo>
                    <a:pt x="165" y="316"/>
                  </a:lnTo>
                  <a:lnTo>
                    <a:pt x="165" y="316"/>
                  </a:lnTo>
                  <a:lnTo>
                    <a:pt x="165" y="308"/>
                  </a:lnTo>
                  <a:lnTo>
                    <a:pt x="165" y="308"/>
                  </a:lnTo>
                  <a:lnTo>
                    <a:pt x="165" y="304"/>
                  </a:lnTo>
                  <a:lnTo>
                    <a:pt x="165" y="304"/>
                  </a:lnTo>
                  <a:lnTo>
                    <a:pt x="164" y="299"/>
                  </a:lnTo>
                  <a:lnTo>
                    <a:pt x="164" y="299"/>
                  </a:lnTo>
                  <a:lnTo>
                    <a:pt x="162" y="296"/>
                  </a:lnTo>
                  <a:lnTo>
                    <a:pt x="162" y="296"/>
                  </a:lnTo>
                  <a:lnTo>
                    <a:pt x="162" y="293"/>
                  </a:lnTo>
                  <a:lnTo>
                    <a:pt x="162" y="293"/>
                  </a:lnTo>
                  <a:lnTo>
                    <a:pt x="164" y="289"/>
                  </a:lnTo>
                  <a:lnTo>
                    <a:pt x="164" y="289"/>
                  </a:lnTo>
                  <a:lnTo>
                    <a:pt x="165" y="285"/>
                  </a:lnTo>
                  <a:lnTo>
                    <a:pt x="165" y="285"/>
                  </a:lnTo>
                  <a:lnTo>
                    <a:pt x="168" y="283"/>
                  </a:lnTo>
                  <a:lnTo>
                    <a:pt x="168" y="283"/>
                  </a:lnTo>
                  <a:lnTo>
                    <a:pt x="172" y="283"/>
                  </a:lnTo>
                  <a:lnTo>
                    <a:pt x="172" y="283"/>
                  </a:lnTo>
                  <a:lnTo>
                    <a:pt x="172" y="280"/>
                  </a:lnTo>
                  <a:lnTo>
                    <a:pt x="172" y="280"/>
                  </a:lnTo>
                  <a:lnTo>
                    <a:pt x="172" y="283"/>
                  </a:lnTo>
                  <a:lnTo>
                    <a:pt x="172" y="283"/>
                  </a:lnTo>
                  <a:lnTo>
                    <a:pt x="175" y="283"/>
                  </a:lnTo>
                  <a:lnTo>
                    <a:pt x="175" y="283"/>
                  </a:lnTo>
                  <a:lnTo>
                    <a:pt x="175" y="277"/>
                  </a:lnTo>
                  <a:lnTo>
                    <a:pt x="175" y="277"/>
                  </a:lnTo>
                  <a:lnTo>
                    <a:pt x="175" y="277"/>
                  </a:lnTo>
                  <a:lnTo>
                    <a:pt x="175" y="277"/>
                  </a:lnTo>
                  <a:lnTo>
                    <a:pt x="176" y="277"/>
                  </a:lnTo>
                  <a:lnTo>
                    <a:pt x="176" y="277"/>
                  </a:lnTo>
                  <a:lnTo>
                    <a:pt x="184" y="273"/>
                  </a:lnTo>
                  <a:lnTo>
                    <a:pt x="184" y="273"/>
                  </a:lnTo>
                  <a:lnTo>
                    <a:pt x="187" y="273"/>
                  </a:lnTo>
                  <a:lnTo>
                    <a:pt x="187" y="273"/>
                  </a:lnTo>
                  <a:lnTo>
                    <a:pt x="189" y="270"/>
                  </a:lnTo>
                  <a:lnTo>
                    <a:pt x="189" y="270"/>
                  </a:lnTo>
                  <a:lnTo>
                    <a:pt x="189" y="270"/>
                  </a:lnTo>
                  <a:lnTo>
                    <a:pt x="189" y="270"/>
                  </a:lnTo>
                  <a:lnTo>
                    <a:pt x="189" y="269"/>
                  </a:lnTo>
                  <a:lnTo>
                    <a:pt x="189" y="269"/>
                  </a:lnTo>
                  <a:lnTo>
                    <a:pt x="187" y="267"/>
                  </a:lnTo>
                  <a:lnTo>
                    <a:pt x="187" y="267"/>
                  </a:lnTo>
                  <a:lnTo>
                    <a:pt x="189" y="262"/>
                  </a:lnTo>
                  <a:lnTo>
                    <a:pt x="189" y="262"/>
                  </a:lnTo>
                  <a:lnTo>
                    <a:pt x="195" y="259"/>
                  </a:lnTo>
                  <a:lnTo>
                    <a:pt x="195" y="259"/>
                  </a:lnTo>
                  <a:lnTo>
                    <a:pt x="199" y="258"/>
                  </a:lnTo>
                  <a:lnTo>
                    <a:pt x="199" y="258"/>
                  </a:lnTo>
                  <a:lnTo>
                    <a:pt x="199" y="256"/>
                  </a:lnTo>
                  <a:lnTo>
                    <a:pt x="199" y="256"/>
                  </a:lnTo>
                  <a:lnTo>
                    <a:pt x="200" y="254"/>
                  </a:lnTo>
                  <a:lnTo>
                    <a:pt x="200" y="254"/>
                  </a:lnTo>
                  <a:lnTo>
                    <a:pt x="202" y="253"/>
                  </a:lnTo>
                  <a:lnTo>
                    <a:pt x="202" y="253"/>
                  </a:lnTo>
                  <a:lnTo>
                    <a:pt x="202" y="250"/>
                  </a:lnTo>
                  <a:lnTo>
                    <a:pt x="202" y="250"/>
                  </a:lnTo>
                  <a:lnTo>
                    <a:pt x="205" y="250"/>
                  </a:lnTo>
                  <a:lnTo>
                    <a:pt x="205" y="250"/>
                  </a:lnTo>
                  <a:lnTo>
                    <a:pt x="210" y="245"/>
                  </a:lnTo>
                  <a:lnTo>
                    <a:pt x="210" y="245"/>
                  </a:lnTo>
                  <a:lnTo>
                    <a:pt x="213" y="242"/>
                  </a:lnTo>
                  <a:lnTo>
                    <a:pt x="213" y="242"/>
                  </a:lnTo>
                  <a:lnTo>
                    <a:pt x="214" y="235"/>
                  </a:lnTo>
                  <a:lnTo>
                    <a:pt x="214" y="235"/>
                  </a:lnTo>
                  <a:lnTo>
                    <a:pt x="218" y="232"/>
                  </a:lnTo>
                  <a:lnTo>
                    <a:pt x="218" y="232"/>
                  </a:lnTo>
                  <a:lnTo>
                    <a:pt x="221" y="231"/>
                  </a:lnTo>
                  <a:lnTo>
                    <a:pt x="221" y="231"/>
                  </a:lnTo>
                  <a:lnTo>
                    <a:pt x="221" y="227"/>
                  </a:lnTo>
                  <a:lnTo>
                    <a:pt x="221" y="227"/>
                  </a:lnTo>
                  <a:lnTo>
                    <a:pt x="221" y="229"/>
                  </a:lnTo>
                  <a:lnTo>
                    <a:pt x="221" y="229"/>
                  </a:lnTo>
                  <a:lnTo>
                    <a:pt x="219" y="231"/>
                  </a:lnTo>
                  <a:lnTo>
                    <a:pt x="219" y="231"/>
                  </a:lnTo>
                  <a:lnTo>
                    <a:pt x="221" y="227"/>
                  </a:lnTo>
                  <a:lnTo>
                    <a:pt x="221" y="227"/>
                  </a:lnTo>
                  <a:lnTo>
                    <a:pt x="221" y="224"/>
                  </a:lnTo>
                  <a:lnTo>
                    <a:pt x="221" y="224"/>
                  </a:lnTo>
                  <a:lnTo>
                    <a:pt x="224" y="224"/>
                  </a:lnTo>
                  <a:lnTo>
                    <a:pt x="224" y="224"/>
                  </a:lnTo>
                  <a:lnTo>
                    <a:pt x="224" y="226"/>
                  </a:lnTo>
                  <a:lnTo>
                    <a:pt x="224" y="226"/>
                  </a:lnTo>
                  <a:lnTo>
                    <a:pt x="224" y="227"/>
                  </a:lnTo>
                  <a:lnTo>
                    <a:pt x="224" y="227"/>
                  </a:lnTo>
                  <a:lnTo>
                    <a:pt x="230" y="226"/>
                  </a:lnTo>
                  <a:lnTo>
                    <a:pt x="230" y="226"/>
                  </a:lnTo>
                  <a:lnTo>
                    <a:pt x="233" y="223"/>
                  </a:lnTo>
                  <a:lnTo>
                    <a:pt x="233" y="223"/>
                  </a:lnTo>
                  <a:lnTo>
                    <a:pt x="233" y="223"/>
                  </a:lnTo>
                  <a:lnTo>
                    <a:pt x="233" y="223"/>
                  </a:lnTo>
                  <a:lnTo>
                    <a:pt x="233" y="221"/>
                  </a:lnTo>
                  <a:lnTo>
                    <a:pt x="233" y="221"/>
                  </a:lnTo>
                  <a:lnTo>
                    <a:pt x="237" y="218"/>
                  </a:lnTo>
                  <a:lnTo>
                    <a:pt x="237" y="218"/>
                  </a:lnTo>
                  <a:lnTo>
                    <a:pt x="238" y="216"/>
                  </a:lnTo>
                  <a:lnTo>
                    <a:pt x="238" y="216"/>
                  </a:lnTo>
                  <a:lnTo>
                    <a:pt x="238" y="215"/>
                  </a:lnTo>
                  <a:lnTo>
                    <a:pt x="238" y="215"/>
                  </a:lnTo>
                  <a:lnTo>
                    <a:pt x="240" y="213"/>
                  </a:lnTo>
                  <a:lnTo>
                    <a:pt x="240" y="213"/>
                  </a:lnTo>
                  <a:lnTo>
                    <a:pt x="238" y="210"/>
                  </a:lnTo>
                  <a:lnTo>
                    <a:pt x="238" y="210"/>
                  </a:lnTo>
                  <a:lnTo>
                    <a:pt x="238" y="205"/>
                  </a:lnTo>
                  <a:lnTo>
                    <a:pt x="238" y="205"/>
                  </a:lnTo>
                  <a:lnTo>
                    <a:pt x="240" y="202"/>
                  </a:lnTo>
                  <a:lnTo>
                    <a:pt x="240" y="202"/>
                  </a:lnTo>
                  <a:lnTo>
                    <a:pt x="243" y="200"/>
                  </a:lnTo>
                  <a:lnTo>
                    <a:pt x="243" y="200"/>
                  </a:lnTo>
                  <a:lnTo>
                    <a:pt x="249" y="199"/>
                  </a:lnTo>
                  <a:lnTo>
                    <a:pt x="249" y="199"/>
                  </a:lnTo>
                  <a:lnTo>
                    <a:pt x="253" y="194"/>
                  </a:lnTo>
                  <a:lnTo>
                    <a:pt x="253" y="194"/>
                  </a:lnTo>
                  <a:lnTo>
                    <a:pt x="253" y="193"/>
                  </a:lnTo>
                  <a:lnTo>
                    <a:pt x="253" y="193"/>
                  </a:lnTo>
                  <a:lnTo>
                    <a:pt x="254" y="194"/>
                  </a:lnTo>
                  <a:lnTo>
                    <a:pt x="254" y="194"/>
                  </a:lnTo>
                  <a:lnTo>
                    <a:pt x="254" y="197"/>
                  </a:lnTo>
                  <a:lnTo>
                    <a:pt x="254" y="197"/>
                  </a:lnTo>
                  <a:lnTo>
                    <a:pt x="256" y="200"/>
                  </a:lnTo>
                  <a:lnTo>
                    <a:pt x="256" y="200"/>
                  </a:lnTo>
                  <a:lnTo>
                    <a:pt x="256" y="199"/>
                  </a:lnTo>
                  <a:lnTo>
                    <a:pt x="256" y="199"/>
                  </a:lnTo>
                  <a:lnTo>
                    <a:pt x="256" y="199"/>
                  </a:lnTo>
                  <a:lnTo>
                    <a:pt x="256" y="199"/>
                  </a:lnTo>
                  <a:lnTo>
                    <a:pt x="256" y="197"/>
                  </a:lnTo>
                  <a:lnTo>
                    <a:pt x="256" y="197"/>
                  </a:lnTo>
                  <a:lnTo>
                    <a:pt x="256" y="196"/>
                  </a:lnTo>
                  <a:lnTo>
                    <a:pt x="256" y="196"/>
                  </a:lnTo>
                  <a:lnTo>
                    <a:pt x="259" y="199"/>
                  </a:lnTo>
                  <a:lnTo>
                    <a:pt x="259" y="199"/>
                  </a:lnTo>
                  <a:lnTo>
                    <a:pt x="259" y="196"/>
                  </a:lnTo>
                  <a:lnTo>
                    <a:pt x="259" y="196"/>
                  </a:lnTo>
                  <a:lnTo>
                    <a:pt x="259" y="194"/>
                  </a:lnTo>
                  <a:lnTo>
                    <a:pt x="259" y="194"/>
                  </a:lnTo>
                  <a:lnTo>
                    <a:pt x="259" y="193"/>
                  </a:lnTo>
                  <a:lnTo>
                    <a:pt x="259" y="193"/>
                  </a:lnTo>
                  <a:lnTo>
                    <a:pt x="259" y="191"/>
                  </a:lnTo>
                  <a:lnTo>
                    <a:pt x="259" y="191"/>
                  </a:lnTo>
                  <a:lnTo>
                    <a:pt x="259" y="194"/>
                  </a:lnTo>
                  <a:lnTo>
                    <a:pt x="259" y="194"/>
                  </a:lnTo>
                  <a:lnTo>
                    <a:pt x="259" y="193"/>
                  </a:lnTo>
                  <a:lnTo>
                    <a:pt x="259" y="193"/>
                  </a:lnTo>
                  <a:lnTo>
                    <a:pt x="259" y="196"/>
                  </a:lnTo>
                  <a:lnTo>
                    <a:pt x="259" y="196"/>
                  </a:lnTo>
                  <a:lnTo>
                    <a:pt x="259" y="199"/>
                  </a:lnTo>
                  <a:lnTo>
                    <a:pt x="259" y="199"/>
                  </a:lnTo>
                  <a:lnTo>
                    <a:pt x="262" y="199"/>
                  </a:lnTo>
                  <a:lnTo>
                    <a:pt x="262" y="199"/>
                  </a:lnTo>
                  <a:lnTo>
                    <a:pt x="262" y="197"/>
                  </a:lnTo>
                  <a:lnTo>
                    <a:pt x="262" y="197"/>
                  </a:lnTo>
                  <a:lnTo>
                    <a:pt x="262" y="199"/>
                  </a:lnTo>
                  <a:lnTo>
                    <a:pt x="262" y="199"/>
                  </a:lnTo>
                  <a:lnTo>
                    <a:pt x="265" y="199"/>
                  </a:lnTo>
                  <a:lnTo>
                    <a:pt x="265" y="199"/>
                  </a:lnTo>
                  <a:lnTo>
                    <a:pt x="265" y="197"/>
                  </a:lnTo>
                  <a:lnTo>
                    <a:pt x="265" y="197"/>
                  </a:lnTo>
                  <a:lnTo>
                    <a:pt x="262" y="194"/>
                  </a:lnTo>
                  <a:lnTo>
                    <a:pt x="262" y="194"/>
                  </a:lnTo>
                  <a:lnTo>
                    <a:pt x="265" y="196"/>
                  </a:lnTo>
                  <a:lnTo>
                    <a:pt x="265" y="196"/>
                  </a:lnTo>
                  <a:lnTo>
                    <a:pt x="265" y="193"/>
                  </a:lnTo>
                  <a:lnTo>
                    <a:pt x="265" y="193"/>
                  </a:lnTo>
                  <a:lnTo>
                    <a:pt x="265" y="191"/>
                  </a:lnTo>
                  <a:lnTo>
                    <a:pt x="265" y="191"/>
                  </a:lnTo>
                  <a:lnTo>
                    <a:pt x="262" y="189"/>
                  </a:lnTo>
                  <a:lnTo>
                    <a:pt x="262" y="189"/>
                  </a:lnTo>
                  <a:lnTo>
                    <a:pt x="262" y="183"/>
                  </a:lnTo>
                  <a:lnTo>
                    <a:pt x="262" y="183"/>
                  </a:lnTo>
                  <a:lnTo>
                    <a:pt x="262" y="180"/>
                  </a:lnTo>
                  <a:lnTo>
                    <a:pt x="262" y="180"/>
                  </a:lnTo>
                  <a:lnTo>
                    <a:pt x="262" y="178"/>
                  </a:lnTo>
                  <a:lnTo>
                    <a:pt x="262" y="178"/>
                  </a:lnTo>
                  <a:lnTo>
                    <a:pt x="259" y="177"/>
                  </a:lnTo>
                  <a:lnTo>
                    <a:pt x="259" y="177"/>
                  </a:lnTo>
                  <a:lnTo>
                    <a:pt x="259" y="177"/>
                  </a:lnTo>
                  <a:lnTo>
                    <a:pt x="259" y="177"/>
                  </a:lnTo>
                  <a:lnTo>
                    <a:pt x="259" y="172"/>
                  </a:lnTo>
                  <a:lnTo>
                    <a:pt x="259" y="172"/>
                  </a:lnTo>
                  <a:lnTo>
                    <a:pt x="256" y="170"/>
                  </a:lnTo>
                  <a:lnTo>
                    <a:pt x="256" y="170"/>
                  </a:lnTo>
                  <a:lnTo>
                    <a:pt x="256" y="169"/>
                  </a:lnTo>
                  <a:lnTo>
                    <a:pt x="256" y="169"/>
                  </a:lnTo>
                  <a:lnTo>
                    <a:pt x="256" y="167"/>
                  </a:lnTo>
                  <a:lnTo>
                    <a:pt x="256" y="167"/>
                  </a:lnTo>
                  <a:lnTo>
                    <a:pt x="256" y="166"/>
                  </a:lnTo>
                  <a:lnTo>
                    <a:pt x="256" y="166"/>
                  </a:lnTo>
                  <a:lnTo>
                    <a:pt x="256" y="164"/>
                  </a:lnTo>
                  <a:lnTo>
                    <a:pt x="256" y="164"/>
                  </a:lnTo>
                  <a:lnTo>
                    <a:pt x="256" y="161"/>
                  </a:lnTo>
                  <a:lnTo>
                    <a:pt x="256" y="161"/>
                  </a:lnTo>
                  <a:lnTo>
                    <a:pt x="253" y="159"/>
                  </a:lnTo>
                  <a:lnTo>
                    <a:pt x="253" y="159"/>
                  </a:lnTo>
                  <a:lnTo>
                    <a:pt x="248" y="158"/>
                  </a:lnTo>
                  <a:lnTo>
                    <a:pt x="248" y="158"/>
                  </a:lnTo>
                  <a:lnTo>
                    <a:pt x="246" y="158"/>
                  </a:lnTo>
                  <a:lnTo>
                    <a:pt x="246" y="158"/>
                  </a:lnTo>
                  <a:lnTo>
                    <a:pt x="246" y="154"/>
                  </a:lnTo>
                  <a:lnTo>
                    <a:pt x="246" y="154"/>
                  </a:lnTo>
                  <a:lnTo>
                    <a:pt x="248" y="151"/>
                  </a:lnTo>
                  <a:lnTo>
                    <a:pt x="248" y="151"/>
                  </a:lnTo>
                  <a:lnTo>
                    <a:pt x="249" y="151"/>
                  </a:lnTo>
                  <a:lnTo>
                    <a:pt x="249" y="151"/>
                  </a:lnTo>
                  <a:lnTo>
                    <a:pt x="251" y="151"/>
                  </a:lnTo>
                  <a:lnTo>
                    <a:pt x="251" y="151"/>
                  </a:lnTo>
                  <a:lnTo>
                    <a:pt x="251" y="148"/>
                  </a:lnTo>
                  <a:lnTo>
                    <a:pt x="251" y="148"/>
                  </a:lnTo>
                  <a:lnTo>
                    <a:pt x="253" y="148"/>
                  </a:lnTo>
                  <a:lnTo>
                    <a:pt x="253" y="148"/>
                  </a:lnTo>
                  <a:lnTo>
                    <a:pt x="256" y="148"/>
                  </a:lnTo>
                  <a:lnTo>
                    <a:pt x="256" y="148"/>
                  </a:lnTo>
                  <a:lnTo>
                    <a:pt x="256" y="148"/>
                  </a:lnTo>
                  <a:lnTo>
                    <a:pt x="256" y="148"/>
                  </a:lnTo>
                  <a:lnTo>
                    <a:pt x="256" y="145"/>
                  </a:lnTo>
                  <a:lnTo>
                    <a:pt x="256" y="145"/>
                  </a:lnTo>
                  <a:lnTo>
                    <a:pt x="256" y="145"/>
                  </a:lnTo>
                  <a:lnTo>
                    <a:pt x="256" y="145"/>
                  </a:lnTo>
                  <a:lnTo>
                    <a:pt x="256" y="145"/>
                  </a:lnTo>
                  <a:lnTo>
                    <a:pt x="256" y="145"/>
                  </a:lnTo>
                  <a:lnTo>
                    <a:pt x="254" y="145"/>
                  </a:lnTo>
                  <a:lnTo>
                    <a:pt x="254" y="145"/>
                  </a:lnTo>
                  <a:lnTo>
                    <a:pt x="254" y="143"/>
                  </a:lnTo>
                  <a:lnTo>
                    <a:pt x="254" y="143"/>
                  </a:lnTo>
                  <a:lnTo>
                    <a:pt x="251" y="143"/>
                  </a:lnTo>
                  <a:lnTo>
                    <a:pt x="251" y="143"/>
                  </a:lnTo>
                  <a:lnTo>
                    <a:pt x="249" y="142"/>
                  </a:lnTo>
                  <a:lnTo>
                    <a:pt x="249" y="142"/>
                  </a:lnTo>
                  <a:lnTo>
                    <a:pt x="248" y="140"/>
                  </a:lnTo>
                  <a:lnTo>
                    <a:pt x="248" y="140"/>
                  </a:lnTo>
                  <a:lnTo>
                    <a:pt x="245" y="139"/>
                  </a:lnTo>
                  <a:lnTo>
                    <a:pt x="245" y="139"/>
                  </a:lnTo>
                  <a:lnTo>
                    <a:pt x="245" y="135"/>
                  </a:lnTo>
                  <a:lnTo>
                    <a:pt x="245" y="135"/>
                  </a:lnTo>
                  <a:lnTo>
                    <a:pt x="246" y="132"/>
                  </a:lnTo>
                  <a:lnTo>
                    <a:pt x="246" y="132"/>
                  </a:lnTo>
                  <a:lnTo>
                    <a:pt x="249" y="131"/>
                  </a:lnTo>
                  <a:lnTo>
                    <a:pt x="249" y="131"/>
                  </a:lnTo>
                  <a:lnTo>
                    <a:pt x="248" y="129"/>
                  </a:lnTo>
                  <a:lnTo>
                    <a:pt x="248" y="129"/>
                  </a:lnTo>
                  <a:lnTo>
                    <a:pt x="246" y="129"/>
                  </a:lnTo>
                  <a:lnTo>
                    <a:pt x="246" y="129"/>
                  </a:lnTo>
                  <a:lnTo>
                    <a:pt x="246" y="127"/>
                  </a:lnTo>
                  <a:lnTo>
                    <a:pt x="246" y="127"/>
                  </a:lnTo>
                  <a:lnTo>
                    <a:pt x="249" y="129"/>
                  </a:lnTo>
                  <a:lnTo>
                    <a:pt x="249" y="129"/>
                  </a:lnTo>
                  <a:lnTo>
                    <a:pt x="251" y="132"/>
                  </a:lnTo>
                  <a:lnTo>
                    <a:pt x="251" y="132"/>
                  </a:lnTo>
                  <a:lnTo>
                    <a:pt x="253" y="132"/>
                  </a:lnTo>
                  <a:lnTo>
                    <a:pt x="253" y="132"/>
                  </a:lnTo>
                  <a:lnTo>
                    <a:pt x="253" y="132"/>
                  </a:lnTo>
                  <a:lnTo>
                    <a:pt x="253" y="132"/>
                  </a:lnTo>
                  <a:lnTo>
                    <a:pt x="256" y="132"/>
                  </a:lnTo>
                  <a:lnTo>
                    <a:pt x="256" y="132"/>
                  </a:lnTo>
                  <a:lnTo>
                    <a:pt x="256" y="134"/>
                  </a:lnTo>
                  <a:lnTo>
                    <a:pt x="256" y="134"/>
                  </a:lnTo>
                  <a:lnTo>
                    <a:pt x="259" y="135"/>
                  </a:lnTo>
                  <a:lnTo>
                    <a:pt x="259" y="135"/>
                  </a:lnTo>
                  <a:lnTo>
                    <a:pt x="262" y="137"/>
                  </a:lnTo>
                  <a:lnTo>
                    <a:pt x="262" y="137"/>
                  </a:lnTo>
                  <a:lnTo>
                    <a:pt x="262" y="135"/>
                  </a:lnTo>
                  <a:lnTo>
                    <a:pt x="262" y="135"/>
                  </a:lnTo>
                  <a:lnTo>
                    <a:pt x="262" y="134"/>
                  </a:lnTo>
                  <a:lnTo>
                    <a:pt x="262" y="134"/>
                  </a:lnTo>
                  <a:lnTo>
                    <a:pt x="265" y="135"/>
                  </a:lnTo>
                  <a:lnTo>
                    <a:pt x="265" y="135"/>
                  </a:lnTo>
                  <a:lnTo>
                    <a:pt x="265" y="139"/>
                  </a:lnTo>
                  <a:lnTo>
                    <a:pt x="265" y="139"/>
                  </a:lnTo>
                  <a:lnTo>
                    <a:pt x="267" y="143"/>
                  </a:lnTo>
                  <a:lnTo>
                    <a:pt x="267" y="143"/>
                  </a:lnTo>
                  <a:lnTo>
                    <a:pt x="267" y="145"/>
                  </a:lnTo>
                  <a:lnTo>
                    <a:pt x="267" y="145"/>
                  </a:lnTo>
                  <a:lnTo>
                    <a:pt x="272" y="148"/>
                  </a:lnTo>
                  <a:lnTo>
                    <a:pt x="272" y="148"/>
                  </a:lnTo>
                  <a:lnTo>
                    <a:pt x="280" y="148"/>
                  </a:lnTo>
                  <a:lnTo>
                    <a:pt x="280" y="148"/>
                  </a:lnTo>
                  <a:lnTo>
                    <a:pt x="287" y="148"/>
                  </a:lnTo>
                  <a:lnTo>
                    <a:pt x="287" y="148"/>
                  </a:lnTo>
                  <a:lnTo>
                    <a:pt x="294" y="148"/>
                  </a:lnTo>
                  <a:lnTo>
                    <a:pt x="294" y="148"/>
                  </a:lnTo>
                  <a:lnTo>
                    <a:pt x="297" y="148"/>
                  </a:lnTo>
                  <a:lnTo>
                    <a:pt x="297" y="148"/>
                  </a:lnTo>
                  <a:lnTo>
                    <a:pt x="300" y="151"/>
                  </a:lnTo>
                  <a:lnTo>
                    <a:pt x="300" y="151"/>
                  </a:lnTo>
                  <a:lnTo>
                    <a:pt x="297" y="151"/>
                  </a:lnTo>
                  <a:lnTo>
                    <a:pt x="297" y="151"/>
                  </a:lnTo>
                  <a:lnTo>
                    <a:pt x="300" y="154"/>
                  </a:lnTo>
                  <a:lnTo>
                    <a:pt x="300" y="154"/>
                  </a:lnTo>
                  <a:lnTo>
                    <a:pt x="297" y="158"/>
                  </a:lnTo>
                  <a:lnTo>
                    <a:pt x="297" y="158"/>
                  </a:lnTo>
                  <a:lnTo>
                    <a:pt x="294" y="162"/>
                  </a:lnTo>
                  <a:lnTo>
                    <a:pt x="294" y="162"/>
                  </a:lnTo>
                  <a:lnTo>
                    <a:pt x="294" y="162"/>
                  </a:lnTo>
                  <a:lnTo>
                    <a:pt x="294" y="162"/>
                  </a:lnTo>
                  <a:lnTo>
                    <a:pt x="291" y="162"/>
                  </a:lnTo>
                  <a:lnTo>
                    <a:pt x="291" y="162"/>
                  </a:lnTo>
                  <a:lnTo>
                    <a:pt x="291" y="164"/>
                  </a:lnTo>
                  <a:lnTo>
                    <a:pt x="291" y="164"/>
                  </a:lnTo>
                  <a:lnTo>
                    <a:pt x="289" y="164"/>
                  </a:lnTo>
                  <a:lnTo>
                    <a:pt x="289" y="164"/>
                  </a:lnTo>
                  <a:lnTo>
                    <a:pt x="289" y="167"/>
                  </a:lnTo>
                  <a:lnTo>
                    <a:pt x="289" y="167"/>
                  </a:lnTo>
                  <a:lnTo>
                    <a:pt x="287" y="172"/>
                  </a:lnTo>
                  <a:lnTo>
                    <a:pt x="287" y="172"/>
                  </a:lnTo>
                  <a:lnTo>
                    <a:pt x="291" y="178"/>
                  </a:lnTo>
                  <a:lnTo>
                    <a:pt x="291" y="178"/>
                  </a:lnTo>
                  <a:lnTo>
                    <a:pt x="291" y="177"/>
                  </a:lnTo>
                  <a:lnTo>
                    <a:pt x="291" y="177"/>
                  </a:lnTo>
                  <a:lnTo>
                    <a:pt x="294" y="180"/>
                  </a:lnTo>
                  <a:lnTo>
                    <a:pt x="294" y="180"/>
                  </a:lnTo>
                  <a:lnTo>
                    <a:pt x="297" y="180"/>
                  </a:lnTo>
                  <a:lnTo>
                    <a:pt x="297" y="180"/>
                  </a:lnTo>
                  <a:lnTo>
                    <a:pt x="297" y="178"/>
                  </a:lnTo>
                  <a:lnTo>
                    <a:pt x="297" y="178"/>
                  </a:lnTo>
                  <a:lnTo>
                    <a:pt x="297" y="177"/>
                  </a:lnTo>
                  <a:lnTo>
                    <a:pt x="297" y="177"/>
                  </a:lnTo>
                  <a:lnTo>
                    <a:pt x="297" y="173"/>
                  </a:lnTo>
                  <a:lnTo>
                    <a:pt x="297" y="173"/>
                  </a:lnTo>
                  <a:lnTo>
                    <a:pt x="297" y="172"/>
                  </a:lnTo>
                  <a:lnTo>
                    <a:pt x="297" y="172"/>
                  </a:lnTo>
                  <a:lnTo>
                    <a:pt x="297" y="170"/>
                  </a:lnTo>
                  <a:lnTo>
                    <a:pt x="297" y="170"/>
                  </a:lnTo>
                  <a:lnTo>
                    <a:pt x="297" y="170"/>
                  </a:lnTo>
                  <a:lnTo>
                    <a:pt x="297" y="170"/>
                  </a:lnTo>
                  <a:lnTo>
                    <a:pt x="300" y="170"/>
                  </a:lnTo>
                  <a:lnTo>
                    <a:pt x="300" y="170"/>
                  </a:lnTo>
                  <a:lnTo>
                    <a:pt x="300" y="169"/>
                  </a:lnTo>
                  <a:lnTo>
                    <a:pt x="300" y="169"/>
                  </a:lnTo>
                  <a:lnTo>
                    <a:pt x="300" y="170"/>
                  </a:lnTo>
                  <a:lnTo>
                    <a:pt x="300" y="170"/>
                  </a:lnTo>
                  <a:lnTo>
                    <a:pt x="307" y="189"/>
                  </a:lnTo>
                  <a:lnTo>
                    <a:pt x="307" y="189"/>
                  </a:lnTo>
                  <a:lnTo>
                    <a:pt x="308" y="194"/>
                  </a:lnTo>
                  <a:lnTo>
                    <a:pt x="308" y="194"/>
                  </a:lnTo>
                  <a:lnTo>
                    <a:pt x="310" y="191"/>
                  </a:lnTo>
                  <a:lnTo>
                    <a:pt x="310" y="191"/>
                  </a:lnTo>
                  <a:lnTo>
                    <a:pt x="313" y="194"/>
                  </a:lnTo>
                  <a:lnTo>
                    <a:pt x="313" y="194"/>
                  </a:lnTo>
                  <a:lnTo>
                    <a:pt x="313" y="191"/>
                  </a:lnTo>
                  <a:lnTo>
                    <a:pt x="313" y="191"/>
                  </a:lnTo>
                  <a:lnTo>
                    <a:pt x="314" y="191"/>
                  </a:lnTo>
                  <a:lnTo>
                    <a:pt x="314" y="191"/>
                  </a:lnTo>
                  <a:lnTo>
                    <a:pt x="316" y="189"/>
                  </a:lnTo>
                  <a:lnTo>
                    <a:pt x="316" y="189"/>
                  </a:lnTo>
                  <a:lnTo>
                    <a:pt x="314" y="189"/>
                  </a:lnTo>
                  <a:lnTo>
                    <a:pt x="314" y="189"/>
                  </a:lnTo>
                  <a:lnTo>
                    <a:pt x="313" y="183"/>
                  </a:lnTo>
                  <a:lnTo>
                    <a:pt x="313" y="183"/>
                  </a:lnTo>
                  <a:lnTo>
                    <a:pt x="313" y="180"/>
                  </a:lnTo>
                  <a:lnTo>
                    <a:pt x="313" y="180"/>
                  </a:lnTo>
                  <a:lnTo>
                    <a:pt x="314" y="180"/>
                  </a:lnTo>
                  <a:lnTo>
                    <a:pt x="314" y="180"/>
                  </a:lnTo>
                  <a:lnTo>
                    <a:pt x="316" y="178"/>
                  </a:lnTo>
                  <a:lnTo>
                    <a:pt x="316" y="178"/>
                  </a:lnTo>
                  <a:lnTo>
                    <a:pt x="316" y="175"/>
                  </a:lnTo>
                  <a:lnTo>
                    <a:pt x="316" y="175"/>
                  </a:lnTo>
                  <a:lnTo>
                    <a:pt x="313" y="166"/>
                  </a:lnTo>
                  <a:lnTo>
                    <a:pt x="313" y="166"/>
                  </a:lnTo>
                  <a:lnTo>
                    <a:pt x="314" y="166"/>
                  </a:lnTo>
                  <a:lnTo>
                    <a:pt x="314" y="166"/>
                  </a:lnTo>
                  <a:lnTo>
                    <a:pt x="316" y="166"/>
                  </a:lnTo>
                  <a:lnTo>
                    <a:pt x="316" y="166"/>
                  </a:lnTo>
                  <a:lnTo>
                    <a:pt x="318" y="166"/>
                  </a:lnTo>
                  <a:lnTo>
                    <a:pt x="318" y="166"/>
                  </a:lnTo>
                  <a:lnTo>
                    <a:pt x="324" y="167"/>
                  </a:lnTo>
                  <a:lnTo>
                    <a:pt x="324" y="167"/>
                  </a:lnTo>
                  <a:lnTo>
                    <a:pt x="326" y="159"/>
                  </a:lnTo>
                  <a:lnTo>
                    <a:pt x="326" y="159"/>
                  </a:lnTo>
                  <a:lnTo>
                    <a:pt x="329" y="151"/>
                  </a:lnTo>
                  <a:lnTo>
                    <a:pt x="329" y="151"/>
                  </a:lnTo>
                  <a:lnTo>
                    <a:pt x="326" y="148"/>
                  </a:lnTo>
                  <a:lnTo>
                    <a:pt x="326" y="148"/>
                  </a:lnTo>
                  <a:lnTo>
                    <a:pt x="326" y="145"/>
                  </a:lnTo>
                  <a:lnTo>
                    <a:pt x="326" y="145"/>
                  </a:lnTo>
                  <a:lnTo>
                    <a:pt x="329" y="143"/>
                  </a:lnTo>
                  <a:lnTo>
                    <a:pt x="329" y="143"/>
                  </a:lnTo>
                  <a:lnTo>
                    <a:pt x="329" y="142"/>
                  </a:lnTo>
                  <a:lnTo>
                    <a:pt x="329" y="142"/>
                  </a:lnTo>
                  <a:lnTo>
                    <a:pt x="332" y="139"/>
                  </a:lnTo>
                  <a:lnTo>
                    <a:pt x="332" y="139"/>
                  </a:lnTo>
                  <a:lnTo>
                    <a:pt x="332" y="135"/>
                  </a:lnTo>
                  <a:lnTo>
                    <a:pt x="332" y="135"/>
                  </a:lnTo>
                  <a:lnTo>
                    <a:pt x="329" y="132"/>
                  </a:lnTo>
                  <a:lnTo>
                    <a:pt x="329" y="132"/>
                  </a:lnTo>
                  <a:lnTo>
                    <a:pt x="329" y="131"/>
                  </a:lnTo>
                  <a:lnTo>
                    <a:pt x="329" y="131"/>
                  </a:lnTo>
                  <a:lnTo>
                    <a:pt x="329" y="127"/>
                  </a:lnTo>
                  <a:lnTo>
                    <a:pt x="329" y="127"/>
                  </a:lnTo>
                  <a:lnTo>
                    <a:pt x="332" y="126"/>
                  </a:lnTo>
                  <a:lnTo>
                    <a:pt x="332" y="126"/>
                  </a:lnTo>
                  <a:lnTo>
                    <a:pt x="332" y="126"/>
                  </a:lnTo>
                  <a:lnTo>
                    <a:pt x="332" y="126"/>
                  </a:lnTo>
                  <a:lnTo>
                    <a:pt x="335" y="126"/>
                  </a:lnTo>
                  <a:lnTo>
                    <a:pt x="335" y="126"/>
                  </a:lnTo>
                  <a:lnTo>
                    <a:pt x="335" y="124"/>
                  </a:lnTo>
                  <a:lnTo>
                    <a:pt x="335" y="124"/>
                  </a:lnTo>
                  <a:lnTo>
                    <a:pt x="335" y="123"/>
                  </a:lnTo>
                  <a:lnTo>
                    <a:pt x="335" y="123"/>
                  </a:lnTo>
                  <a:lnTo>
                    <a:pt x="337" y="123"/>
                  </a:lnTo>
                  <a:lnTo>
                    <a:pt x="337" y="123"/>
                  </a:lnTo>
                  <a:lnTo>
                    <a:pt x="338" y="119"/>
                  </a:lnTo>
                  <a:lnTo>
                    <a:pt x="338" y="119"/>
                  </a:lnTo>
                  <a:lnTo>
                    <a:pt x="341" y="119"/>
                  </a:lnTo>
                  <a:lnTo>
                    <a:pt x="341" y="119"/>
                  </a:lnTo>
                  <a:lnTo>
                    <a:pt x="348" y="116"/>
                  </a:lnTo>
                  <a:lnTo>
                    <a:pt x="348" y="116"/>
                  </a:lnTo>
                  <a:lnTo>
                    <a:pt x="349" y="116"/>
                  </a:lnTo>
                  <a:lnTo>
                    <a:pt x="349" y="116"/>
                  </a:lnTo>
                  <a:lnTo>
                    <a:pt x="349" y="119"/>
                  </a:lnTo>
                  <a:lnTo>
                    <a:pt x="349" y="119"/>
                  </a:lnTo>
                  <a:lnTo>
                    <a:pt x="351" y="119"/>
                  </a:lnTo>
                  <a:lnTo>
                    <a:pt x="351" y="119"/>
                  </a:lnTo>
                  <a:lnTo>
                    <a:pt x="354" y="119"/>
                  </a:lnTo>
                  <a:lnTo>
                    <a:pt x="354" y="119"/>
                  </a:lnTo>
                  <a:lnTo>
                    <a:pt x="353" y="119"/>
                  </a:lnTo>
                  <a:lnTo>
                    <a:pt x="353" y="119"/>
                  </a:lnTo>
                  <a:lnTo>
                    <a:pt x="351" y="116"/>
                  </a:lnTo>
                  <a:lnTo>
                    <a:pt x="351" y="116"/>
                  </a:lnTo>
                  <a:lnTo>
                    <a:pt x="349" y="113"/>
                  </a:lnTo>
                  <a:lnTo>
                    <a:pt x="349" y="113"/>
                  </a:lnTo>
                  <a:lnTo>
                    <a:pt x="351" y="112"/>
                  </a:lnTo>
                  <a:lnTo>
                    <a:pt x="351" y="112"/>
                  </a:lnTo>
                  <a:lnTo>
                    <a:pt x="354" y="108"/>
                  </a:lnTo>
                  <a:lnTo>
                    <a:pt x="354" y="108"/>
                  </a:lnTo>
                  <a:lnTo>
                    <a:pt x="353" y="107"/>
                  </a:lnTo>
                  <a:lnTo>
                    <a:pt x="353" y="107"/>
                  </a:lnTo>
                  <a:lnTo>
                    <a:pt x="353" y="105"/>
                  </a:lnTo>
                  <a:lnTo>
                    <a:pt x="353" y="105"/>
                  </a:lnTo>
                  <a:lnTo>
                    <a:pt x="351" y="104"/>
                  </a:lnTo>
                  <a:lnTo>
                    <a:pt x="349" y="102"/>
                  </a:lnTo>
                  <a:lnTo>
                    <a:pt x="349" y="102"/>
                  </a:lnTo>
                  <a:lnTo>
                    <a:pt x="349" y="10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7" name="Freeform 303">
              <a:extLst>
                <a:ext uri="{FF2B5EF4-FFF2-40B4-BE49-F238E27FC236}">
                  <a16:creationId xmlns:a16="http://schemas.microsoft.com/office/drawing/2014/main" id="{F4FB1698-F0D7-0C15-5B69-3D8E7645D421}"/>
                </a:ext>
              </a:extLst>
            </p:cNvPr>
            <p:cNvSpPr>
              <a:spLocks/>
            </p:cNvSpPr>
            <p:nvPr/>
          </p:nvSpPr>
          <p:spPr bwMode="auto">
            <a:xfrm>
              <a:off x="7451475" y="2834038"/>
              <a:ext cx="423941" cy="428427"/>
            </a:xfrm>
            <a:custGeom>
              <a:avLst/>
              <a:gdLst>
                <a:gd name="T0" fmla="*/ 109 w 189"/>
                <a:gd name="T1" fmla="*/ 183 h 191"/>
                <a:gd name="T2" fmla="*/ 122 w 189"/>
                <a:gd name="T3" fmla="*/ 184 h 191"/>
                <a:gd name="T4" fmla="*/ 130 w 189"/>
                <a:gd name="T5" fmla="*/ 183 h 191"/>
                <a:gd name="T6" fmla="*/ 135 w 189"/>
                <a:gd name="T7" fmla="*/ 176 h 191"/>
                <a:gd name="T8" fmla="*/ 128 w 189"/>
                <a:gd name="T9" fmla="*/ 164 h 191"/>
                <a:gd name="T10" fmla="*/ 120 w 189"/>
                <a:gd name="T11" fmla="*/ 154 h 191"/>
                <a:gd name="T12" fmla="*/ 112 w 189"/>
                <a:gd name="T13" fmla="*/ 145 h 191"/>
                <a:gd name="T14" fmla="*/ 122 w 189"/>
                <a:gd name="T15" fmla="*/ 130 h 191"/>
                <a:gd name="T16" fmla="*/ 136 w 189"/>
                <a:gd name="T17" fmla="*/ 132 h 191"/>
                <a:gd name="T18" fmla="*/ 144 w 189"/>
                <a:gd name="T19" fmla="*/ 118 h 191"/>
                <a:gd name="T20" fmla="*/ 154 w 189"/>
                <a:gd name="T21" fmla="*/ 100 h 191"/>
                <a:gd name="T22" fmla="*/ 158 w 189"/>
                <a:gd name="T23" fmla="*/ 92 h 191"/>
                <a:gd name="T24" fmla="*/ 163 w 189"/>
                <a:gd name="T25" fmla="*/ 83 h 191"/>
                <a:gd name="T26" fmla="*/ 166 w 189"/>
                <a:gd name="T27" fmla="*/ 72 h 191"/>
                <a:gd name="T28" fmla="*/ 163 w 189"/>
                <a:gd name="T29" fmla="*/ 65 h 191"/>
                <a:gd name="T30" fmla="*/ 157 w 189"/>
                <a:gd name="T31" fmla="*/ 59 h 191"/>
                <a:gd name="T32" fmla="*/ 152 w 189"/>
                <a:gd name="T33" fmla="*/ 51 h 191"/>
                <a:gd name="T34" fmla="*/ 150 w 189"/>
                <a:gd name="T35" fmla="*/ 43 h 191"/>
                <a:gd name="T36" fmla="*/ 144 w 189"/>
                <a:gd name="T37" fmla="*/ 38 h 191"/>
                <a:gd name="T38" fmla="*/ 158 w 189"/>
                <a:gd name="T39" fmla="*/ 35 h 191"/>
                <a:gd name="T40" fmla="*/ 179 w 189"/>
                <a:gd name="T41" fmla="*/ 32 h 191"/>
                <a:gd name="T42" fmla="*/ 189 w 189"/>
                <a:gd name="T43" fmla="*/ 22 h 191"/>
                <a:gd name="T44" fmla="*/ 173 w 189"/>
                <a:gd name="T45" fmla="*/ 19 h 191"/>
                <a:gd name="T46" fmla="*/ 165 w 189"/>
                <a:gd name="T47" fmla="*/ 10 h 191"/>
                <a:gd name="T48" fmla="*/ 150 w 189"/>
                <a:gd name="T49" fmla="*/ 0 h 191"/>
                <a:gd name="T50" fmla="*/ 141 w 189"/>
                <a:gd name="T51" fmla="*/ 3 h 191"/>
                <a:gd name="T52" fmla="*/ 116 w 189"/>
                <a:gd name="T53" fmla="*/ 7 h 191"/>
                <a:gd name="T54" fmla="*/ 109 w 189"/>
                <a:gd name="T55" fmla="*/ 16 h 191"/>
                <a:gd name="T56" fmla="*/ 117 w 189"/>
                <a:gd name="T57" fmla="*/ 26 h 191"/>
                <a:gd name="T58" fmla="*/ 109 w 189"/>
                <a:gd name="T59" fmla="*/ 37 h 191"/>
                <a:gd name="T60" fmla="*/ 103 w 189"/>
                <a:gd name="T61" fmla="*/ 45 h 191"/>
                <a:gd name="T62" fmla="*/ 103 w 189"/>
                <a:gd name="T63" fmla="*/ 48 h 191"/>
                <a:gd name="T64" fmla="*/ 98 w 189"/>
                <a:gd name="T65" fmla="*/ 56 h 191"/>
                <a:gd name="T66" fmla="*/ 95 w 189"/>
                <a:gd name="T67" fmla="*/ 67 h 191"/>
                <a:gd name="T68" fmla="*/ 92 w 189"/>
                <a:gd name="T69" fmla="*/ 76 h 191"/>
                <a:gd name="T70" fmla="*/ 82 w 189"/>
                <a:gd name="T71" fmla="*/ 76 h 191"/>
                <a:gd name="T72" fmla="*/ 74 w 189"/>
                <a:gd name="T73" fmla="*/ 83 h 191"/>
                <a:gd name="T74" fmla="*/ 66 w 189"/>
                <a:gd name="T75" fmla="*/ 86 h 191"/>
                <a:gd name="T76" fmla="*/ 66 w 189"/>
                <a:gd name="T77" fmla="*/ 100 h 191"/>
                <a:gd name="T78" fmla="*/ 46 w 189"/>
                <a:gd name="T79" fmla="*/ 107 h 191"/>
                <a:gd name="T80" fmla="*/ 30 w 189"/>
                <a:gd name="T81" fmla="*/ 107 h 191"/>
                <a:gd name="T82" fmla="*/ 1 w 189"/>
                <a:gd name="T83" fmla="*/ 107 h 191"/>
                <a:gd name="T84" fmla="*/ 19 w 189"/>
                <a:gd name="T85" fmla="*/ 124 h 191"/>
                <a:gd name="T86" fmla="*/ 28 w 189"/>
                <a:gd name="T87" fmla="*/ 138 h 191"/>
                <a:gd name="T88" fmla="*/ 35 w 189"/>
                <a:gd name="T89" fmla="*/ 148 h 191"/>
                <a:gd name="T90" fmla="*/ 22 w 189"/>
                <a:gd name="T91" fmla="*/ 151 h 191"/>
                <a:gd name="T92" fmla="*/ 16 w 189"/>
                <a:gd name="T93" fmla="*/ 167 h 191"/>
                <a:gd name="T94" fmla="*/ 17 w 189"/>
                <a:gd name="T95" fmla="*/ 170 h 191"/>
                <a:gd name="T96" fmla="*/ 25 w 189"/>
                <a:gd name="T97" fmla="*/ 170 h 191"/>
                <a:gd name="T98" fmla="*/ 38 w 189"/>
                <a:gd name="T99" fmla="*/ 167 h 191"/>
                <a:gd name="T100" fmla="*/ 47 w 189"/>
                <a:gd name="T101" fmla="*/ 167 h 191"/>
                <a:gd name="T102" fmla="*/ 55 w 189"/>
                <a:gd name="T103" fmla="*/ 170 h 191"/>
                <a:gd name="T104" fmla="*/ 71 w 189"/>
                <a:gd name="T105" fmla="*/ 165 h 191"/>
                <a:gd name="T106" fmla="*/ 79 w 189"/>
                <a:gd name="T107" fmla="*/ 173 h 191"/>
                <a:gd name="T108" fmla="*/ 87 w 189"/>
                <a:gd name="T109" fmla="*/ 180 h 191"/>
                <a:gd name="T110" fmla="*/ 92 w 189"/>
                <a:gd name="T111" fmla="*/ 186 h 191"/>
                <a:gd name="T112" fmla="*/ 95 w 189"/>
                <a:gd name="T113" fmla="*/ 189 h 191"/>
                <a:gd name="T114" fmla="*/ 101 w 189"/>
                <a:gd name="T115" fmla="*/ 188 h 191"/>
                <a:gd name="T116" fmla="*/ 101 w 189"/>
                <a:gd name="T117" fmla="*/ 18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91">
                  <a:moveTo>
                    <a:pt x="101" y="188"/>
                  </a:moveTo>
                  <a:lnTo>
                    <a:pt x="106" y="188"/>
                  </a:lnTo>
                  <a:lnTo>
                    <a:pt x="106" y="186"/>
                  </a:lnTo>
                  <a:lnTo>
                    <a:pt x="106" y="183"/>
                  </a:lnTo>
                  <a:lnTo>
                    <a:pt x="109" y="183"/>
                  </a:lnTo>
                  <a:lnTo>
                    <a:pt x="109" y="183"/>
                  </a:lnTo>
                  <a:lnTo>
                    <a:pt x="112" y="183"/>
                  </a:lnTo>
                  <a:lnTo>
                    <a:pt x="117" y="184"/>
                  </a:lnTo>
                  <a:lnTo>
                    <a:pt x="119" y="184"/>
                  </a:lnTo>
                  <a:lnTo>
                    <a:pt x="122" y="184"/>
                  </a:lnTo>
                  <a:lnTo>
                    <a:pt x="123" y="183"/>
                  </a:lnTo>
                  <a:lnTo>
                    <a:pt x="125" y="181"/>
                  </a:lnTo>
                  <a:lnTo>
                    <a:pt x="127" y="181"/>
                  </a:lnTo>
                  <a:lnTo>
                    <a:pt x="128" y="181"/>
                  </a:lnTo>
                  <a:lnTo>
                    <a:pt x="130" y="183"/>
                  </a:lnTo>
                  <a:lnTo>
                    <a:pt x="131" y="183"/>
                  </a:lnTo>
                  <a:lnTo>
                    <a:pt x="136" y="181"/>
                  </a:lnTo>
                  <a:lnTo>
                    <a:pt x="135" y="180"/>
                  </a:lnTo>
                  <a:lnTo>
                    <a:pt x="135" y="180"/>
                  </a:lnTo>
                  <a:lnTo>
                    <a:pt x="135" y="176"/>
                  </a:lnTo>
                  <a:lnTo>
                    <a:pt x="135" y="176"/>
                  </a:lnTo>
                  <a:lnTo>
                    <a:pt x="131" y="173"/>
                  </a:lnTo>
                  <a:lnTo>
                    <a:pt x="128" y="167"/>
                  </a:lnTo>
                  <a:lnTo>
                    <a:pt x="128" y="165"/>
                  </a:lnTo>
                  <a:lnTo>
                    <a:pt x="128" y="164"/>
                  </a:lnTo>
                  <a:lnTo>
                    <a:pt x="127" y="162"/>
                  </a:lnTo>
                  <a:lnTo>
                    <a:pt x="123" y="164"/>
                  </a:lnTo>
                  <a:lnTo>
                    <a:pt x="122" y="162"/>
                  </a:lnTo>
                  <a:lnTo>
                    <a:pt x="120" y="161"/>
                  </a:lnTo>
                  <a:lnTo>
                    <a:pt x="120" y="154"/>
                  </a:lnTo>
                  <a:lnTo>
                    <a:pt x="120" y="153"/>
                  </a:lnTo>
                  <a:lnTo>
                    <a:pt x="119" y="151"/>
                  </a:lnTo>
                  <a:lnTo>
                    <a:pt x="116" y="149"/>
                  </a:lnTo>
                  <a:lnTo>
                    <a:pt x="112" y="146"/>
                  </a:lnTo>
                  <a:lnTo>
                    <a:pt x="112" y="145"/>
                  </a:lnTo>
                  <a:lnTo>
                    <a:pt x="112" y="141"/>
                  </a:lnTo>
                  <a:lnTo>
                    <a:pt x="116" y="134"/>
                  </a:lnTo>
                  <a:lnTo>
                    <a:pt x="119" y="130"/>
                  </a:lnTo>
                  <a:lnTo>
                    <a:pt x="120" y="129"/>
                  </a:lnTo>
                  <a:lnTo>
                    <a:pt x="122" y="130"/>
                  </a:lnTo>
                  <a:lnTo>
                    <a:pt x="123" y="132"/>
                  </a:lnTo>
                  <a:lnTo>
                    <a:pt x="125" y="134"/>
                  </a:lnTo>
                  <a:lnTo>
                    <a:pt x="128" y="134"/>
                  </a:lnTo>
                  <a:lnTo>
                    <a:pt x="130" y="132"/>
                  </a:lnTo>
                  <a:lnTo>
                    <a:pt x="136" y="132"/>
                  </a:lnTo>
                  <a:lnTo>
                    <a:pt x="138" y="130"/>
                  </a:lnTo>
                  <a:lnTo>
                    <a:pt x="138" y="129"/>
                  </a:lnTo>
                  <a:lnTo>
                    <a:pt x="141" y="126"/>
                  </a:lnTo>
                  <a:lnTo>
                    <a:pt x="141" y="122"/>
                  </a:lnTo>
                  <a:lnTo>
                    <a:pt x="144" y="118"/>
                  </a:lnTo>
                  <a:lnTo>
                    <a:pt x="147" y="114"/>
                  </a:lnTo>
                  <a:lnTo>
                    <a:pt x="150" y="111"/>
                  </a:lnTo>
                  <a:lnTo>
                    <a:pt x="152" y="107"/>
                  </a:lnTo>
                  <a:lnTo>
                    <a:pt x="152" y="103"/>
                  </a:lnTo>
                  <a:lnTo>
                    <a:pt x="154" y="100"/>
                  </a:lnTo>
                  <a:lnTo>
                    <a:pt x="157" y="100"/>
                  </a:lnTo>
                  <a:lnTo>
                    <a:pt x="158" y="99"/>
                  </a:lnTo>
                  <a:lnTo>
                    <a:pt x="157" y="97"/>
                  </a:lnTo>
                  <a:lnTo>
                    <a:pt x="157" y="95"/>
                  </a:lnTo>
                  <a:lnTo>
                    <a:pt x="158" y="92"/>
                  </a:lnTo>
                  <a:lnTo>
                    <a:pt x="162" y="89"/>
                  </a:lnTo>
                  <a:lnTo>
                    <a:pt x="163" y="86"/>
                  </a:lnTo>
                  <a:lnTo>
                    <a:pt x="165" y="86"/>
                  </a:lnTo>
                  <a:lnTo>
                    <a:pt x="163" y="86"/>
                  </a:lnTo>
                  <a:lnTo>
                    <a:pt x="163" y="83"/>
                  </a:lnTo>
                  <a:lnTo>
                    <a:pt x="163" y="80"/>
                  </a:lnTo>
                  <a:lnTo>
                    <a:pt x="163" y="76"/>
                  </a:lnTo>
                  <a:lnTo>
                    <a:pt x="162" y="76"/>
                  </a:lnTo>
                  <a:lnTo>
                    <a:pt x="162" y="75"/>
                  </a:lnTo>
                  <a:lnTo>
                    <a:pt x="166" y="72"/>
                  </a:lnTo>
                  <a:lnTo>
                    <a:pt x="170" y="70"/>
                  </a:lnTo>
                  <a:lnTo>
                    <a:pt x="171" y="70"/>
                  </a:lnTo>
                  <a:lnTo>
                    <a:pt x="171" y="68"/>
                  </a:lnTo>
                  <a:lnTo>
                    <a:pt x="168" y="67"/>
                  </a:lnTo>
                  <a:lnTo>
                    <a:pt x="163" y="65"/>
                  </a:lnTo>
                  <a:lnTo>
                    <a:pt x="162" y="64"/>
                  </a:lnTo>
                  <a:lnTo>
                    <a:pt x="160" y="62"/>
                  </a:lnTo>
                  <a:lnTo>
                    <a:pt x="158" y="61"/>
                  </a:lnTo>
                  <a:lnTo>
                    <a:pt x="157" y="61"/>
                  </a:lnTo>
                  <a:lnTo>
                    <a:pt x="157" y="59"/>
                  </a:lnTo>
                  <a:lnTo>
                    <a:pt x="155" y="57"/>
                  </a:lnTo>
                  <a:lnTo>
                    <a:pt x="152" y="54"/>
                  </a:lnTo>
                  <a:lnTo>
                    <a:pt x="150" y="54"/>
                  </a:lnTo>
                  <a:lnTo>
                    <a:pt x="152" y="51"/>
                  </a:lnTo>
                  <a:lnTo>
                    <a:pt x="152" y="51"/>
                  </a:lnTo>
                  <a:lnTo>
                    <a:pt x="150" y="48"/>
                  </a:lnTo>
                  <a:lnTo>
                    <a:pt x="150" y="48"/>
                  </a:lnTo>
                  <a:lnTo>
                    <a:pt x="150" y="48"/>
                  </a:lnTo>
                  <a:lnTo>
                    <a:pt x="152" y="45"/>
                  </a:lnTo>
                  <a:lnTo>
                    <a:pt x="150" y="43"/>
                  </a:lnTo>
                  <a:lnTo>
                    <a:pt x="147" y="43"/>
                  </a:lnTo>
                  <a:lnTo>
                    <a:pt x="147" y="41"/>
                  </a:lnTo>
                  <a:lnTo>
                    <a:pt x="147" y="40"/>
                  </a:lnTo>
                  <a:lnTo>
                    <a:pt x="147" y="40"/>
                  </a:lnTo>
                  <a:lnTo>
                    <a:pt x="144" y="38"/>
                  </a:lnTo>
                  <a:lnTo>
                    <a:pt x="144" y="37"/>
                  </a:lnTo>
                  <a:lnTo>
                    <a:pt x="147" y="34"/>
                  </a:lnTo>
                  <a:lnTo>
                    <a:pt x="150" y="32"/>
                  </a:lnTo>
                  <a:lnTo>
                    <a:pt x="154" y="34"/>
                  </a:lnTo>
                  <a:lnTo>
                    <a:pt x="158" y="35"/>
                  </a:lnTo>
                  <a:lnTo>
                    <a:pt x="165" y="37"/>
                  </a:lnTo>
                  <a:lnTo>
                    <a:pt x="168" y="37"/>
                  </a:lnTo>
                  <a:lnTo>
                    <a:pt x="171" y="35"/>
                  </a:lnTo>
                  <a:lnTo>
                    <a:pt x="176" y="34"/>
                  </a:lnTo>
                  <a:lnTo>
                    <a:pt x="179" y="32"/>
                  </a:lnTo>
                  <a:lnTo>
                    <a:pt x="182" y="30"/>
                  </a:lnTo>
                  <a:lnTo>
                    <a:pt x="182" y="27"/>
                  </a:lnTo>
                  <a:lnTo>
                    <a:pt x="182" y="26"/>
                  </a:lnTo>
                  <a:lnTo>
                    <a:pt x="185" y="24"/>
                  </a:lnTo>
                  <a:lnTo>
                    <a:pt x="189" y="22"/>
                  </a:lnTo>
                  <a:lnTo>
                    <a:pt x="189" y="21"/>
                  </a:lnTo>
                  <a:lnTo>
                    <a:pt x="185" y="21"/>
                  </a:lnTo>
                  <a:lnTo>
                    <a:pt x="179" y="21"/>
                  </a:lnTo>
                  <a:lnTo>
                    <a:pt x="176" y="19"/>
                  </a:lnTo>
                  <a:lnTo>
                    <a:pt x="173" y="19"/>
                  </a:lnTo>
                  <a:lnTo>
                    <a:pt x="173" y="16"/>
                  </a:lnTo>
                  <a:lnTo>
                    <a:pt x="173" y="16"/>
                  </a:lnTo>
                  <a:lnTo>
                    <a:pt x="170" y="16"/>
                  </a:lnTo>
                  <a:lnTo>
                    <a:pt x="166" y="13"/>
                  </a:lnTo>
                  <a:lnTo>
                    <a:pt x="165" y="10"/>
                  </a:lnTo>
                  <a:lnTo>
                    <a:pt x="163" y="5"/>
                  </a:lnTo>
                  <a:lnTo>
                    <a:pt x="158" y="3"/>
                  </a:lnTo>
                  <a:lnTo>
                    <a:pt x="157" y="3"/>
                  </a:lnTo>
                  <a:lnTo>
                    <a:pt x="154" y="0"/>
                  </a:lnTo>
                  <a:lnTo>
                    <a:pt x="150" y="0"/>
                  </a:lnTo>
                  <a:lnTo>
                    <a:pt x="150" y="2"/>
                  </a:lnTo>
                  <a:lnTo>
                    <a:pt x="150" y="0"/>
                  </a:lnTo>
                  <a:lnTo>
                    <a:pt x="147" y="0"/>
                  </a:lnTo>
                  <a:lnTo>
                    <a:pt x="141" y="2"/>
                  </a:lnTo>
                  <a:lnTo>
                    <a:pt x="141" y="3"/>
                  </a:lnTo>
                  <a:lnTo>
                    <a:pt x="138" y="2"/>
                  </a:lnTo>
                  <a:lnTo>
                    <a:pt x="136" y="2"/>
                  </a:lnTo>
                  <a:lnTo>
                    <a:pt x="123" y="3"/>
                  </a:lnTo>
                  <a:lnTo>
                    <a:pt x="119" y="5"/>
                  </a:lnTo>
                  <a:lnTo>
                    <a:pt x="116" y="7"/>
                  </a:lnTo>
                  <a:lnTo>
                    <a:pt x="116" y="8"/>
                  </a:lnTo>
                  <a:lnTo>
                    <a:pt x="112" y="8"/>
                  </a:lnTo>
                  <a:lnTo>
                    <a:pt x="112" y="10"/>
                  </a:lnTo>
                  <a:lnTo>
                    <a:pt x="109" y="13"/>
                  </a:lnTo>
                  <a:lnTo>
                    <a:pt x="109" y="16"/>
                  </a:lnTo>
                  <a:lnTo>
                    <a:pt x="112" y="16"/>
                  </a:lnTo>
                  <a:lnTo>
                    <a:pt x="116" y="19"/>
                  </a:lnTo>
                  <a:lnTo>
                    <a:pt x="116" y="22"/>
                  </a:lnTo>
                  <a:lnTo>
                    <a:pt x="116" y="24"/>
                  </a:lnTo>
                  <a:lnTo>
                    <a:pt x="117" y="26"/>
                  </a:lnTo>
                  <a:lnTo>
                    <a:pt x="116" y="29"/>
                  </a:lnTo>
                  <a:lnTo>
                    <a:pt x="112" y="32"/>
                  </a:lnTo>
                  <a:lnTo>
                    <a:pt x="112" y="34"/>
                  </a:lnTo>
                  <a:lnTo>
                    <a:pt x="112" y="35"/>
                  </a:lnTo>
                  <a:lnTo>
                    <a:pt x="109" y="37"/>
                  </a:lnTo>
                  <a:lnTo>
                    <a:pt x="112" y="38"/>
                  </a:lnTo>
                  <a:lnTo>
                    <a:pt x="116" y="40"/>
                  </a:lnTo>
                  <a:lnTo>
                    <a:pt x="112" y="43"/>
                  </a:lnTo>
                  <a:lnTo>
                    <a:pt x="109" y="45"/>
                  </a:lnTo>
                  <a:lnTo>
                    <a:pt x="103" y="45"/>
                  </a:lnTo>
                  <a:lnTo>
                    <a:pt x="103" y="43"/>
                  </a:lnTo>
                  <a:lnTo>
                    <a:pt x="98" y="45"/>
                  </a:lnTo>
                  <a:lnTo>
                    <a:pt x="101" y="45"/>
                  </a:lnTo>
                  <a:lnTo>
                    <a:pt x="103" y="48"/>
                  </a:lnTo>
                  <a:lnTo>
                    <a:pt x="103" y="48"/>
                  </a:lnTo>
                  <a:lnTo>
                    <a:pt x="106" y="51"/>
                  </a:lnTo>
                  <a:lnTo>
                    <a:pt x="106" y="54"/>
                  </a:lnTo>
                  <a:lnTo>
                    <a:pt x="103" y="54"/>
                  </a:lnTo>
                  <a:lnTo>
                    <a:pt x="101" y="56"/>
                  </a:lnTo>
                  <a:lnTo>
                    <a:pt x="98" y="56"/>
                  </a:lnTo>
                  <a:lnTo>
                    <a:pt x="98" y="57"/>
                  </a:lnTo>
                  <a:lnTo>
                    <a:pt x="98" y="59"/>
                  </a:lnTo>
                  <a:lnTo>
                    <a:pt x="98" y="62"/>
                  </a:lnTo>
                  <a:lnTo>
                    <a:pt x="95" y="65"/>
                  </a:lnTo>
                  <a:lnTo>
                    <a:pt x="95" y="67"/>
                  </a:lnTo>
                  <a:lnTo>
                    <a:pt x="95" y="70"/>
                  </a:lnTo>
                  <a:lnTo>
                    <a:pt x="95" y="75"/>
                  </a:lnTo>
                  <a:lnTo>
                    <a:pt x="95" y="76"/>
                  </a:lnTo>
                  <a:lnTo>
                    <a:pt x="95" y="76"/>
                  </a:lnTo>
                  <a:lnTo>
                    <a:pt x="92" y="76"/>
                  </a:lnTo>
                  <a:lnTo>
                    <a:pt x="90" y="76"/>
                  </a:lnTo>
                  <a:lnTo>
                    <a:pt x="89" y="75"/>
                  </a:lnTo>
                  <a:lnTo>
                    <a:pt x="87" y="76"/>
                  </a:lnTo>
                  <a:lnTo>
                    <a:pt x="84" y="76"/>
                  </a:lnTo>
                  <a:lnTo>
                    <a:pt x="82" y="76"/>
                  </a:lnTo>
                  <a:lnTo>
                    <a:pt x="81" y="76"/>
                  </a:lnTo>
                  <a:lnTo>
                    <a:pt x="77" y="80"/>
                  </a:lnTo>
                  <a:lnTo>
                    <a:pt x="77" y="80"/>
                  </a:lnTo>
                  <a:lnTo>
                    <a:pt x="81" y="83"/>
                  </a:lnTo>
                  <a:lnTo>
                    <a:pt x="74" y="83"/>
                  </a:lnTo>
                  <a:lnTo>
                    <a:pt x="71" y="83"/>
                  </a:lnTo>
                  <a:lnTo>
                    <a:pt x="70" y="83"/>
                  </a:lnTo>
                  <a:lnTo>
                    <a:pt x="70" y="83"/>
                  </a:lnTo>
                  <a:lnTo>
                    <a:pt x="66" y="83"/>
                  </a:lnTo>
                  <a:lnTo>
                    <a:pt x="66" y="86"/>
                  </a:lnTo>
                  <a:lnTo>
                    <a:pt x="63" y="87"/>
                  </a:lnTo>
                  <a:lnTo>
                    <a:pt x="63" y="91"/>
                  </a:lnTo>
                  <a:lnTo>
                    <a:pt x="63" y="97"/>
                  </a:lnTo>
                  <a:lnTo>
                    <a:pt x="63" y="100"/>
                  </a:lnTo>
                  <a:lnTo>
                    <a:pt x="66" y="100"/>
                  </a:lnTo>
                  <a:lnTo>
                    <a:pt x="63" y="103"/>
                  </a:lnTo>
                  <a:lnTo>
                    <a:pt x="60" y="103"/>
                  </a:lnTo>
                  <a:lnTo>
                    <a:pt x="55" y="107"/>
                  </a:lnTo>
                  <a:lnTo>
                    <a:pt x="49" y="107"/>
                  </a:lnTo>
                  <a:lnTo>
                    <a:pt x="46" y="107"/>
                  </a:lnTo>
                  <a:lnTo>
                    <a:pt x="43" y="107"/>
                  </a:lnTo>
                  <a:lnTo>
                    <a:pt x="39" y="110"/>
                  </a:lnTo>
                  <a:lnTo>
                    <a:pt x="36" y="110"/>
                  </a:lnTo>
                  <a:lnTo>
                    <a:pt x="35" y="107"/>
                  </a:lnTo>
                  <a:lnTo>
                    <a:pt x="30" y="107"/>
                  </a:lnTo>
                  <a:lnTo>
                    <a:pt x="22" y="110"/>
                  </a:lnTo>
                  <a:lnTo>
                    <a:pt x="14" y="110"/>
                  </a:lnTo>
                  <a:lnTo>
                    <a:pt x="8" y="107"/>
                  </a:lnTo>
                  <a:lnTo>
                    <a:pt x="0" y="103"/>
                  </a:lnTo>
                  <a:lnTo>
                    <a:pt x="1" y="107"/>
                  </a:lnTo>
                  <a:lnTo>
                    <a:pt x="4" y="110"/>
                  </a:lnTo>
                  <a:lnTo>
                    <a:pt x="8" y="114"/>
                  </a:lnTo>
                  <a:lnTo>
                    <a:pt x="11" y="118"/>
                  </a:lnTo>
                  <a:lnTo>
                    <a:pt x="14" y="121"/>
                  </a:lnTo>
                  <a:lnTo>
                    <a:pt x="19" y="124"/>
                  </a:lnTo>
                  <a:lnTo>
                    <a:pt x="23" y="126"/>
                  </a:lnTo>
                  <a:lnTo>
                    <a:pt x="25" y="127"/>
                  </a:lnTo>
                  <a:lnTo>
                    <a:pt x="27" y="130"/>
                  </a:lnTo>
                  <a:lnTo>
                    <a:pt x="28" y="135"/>
                  </a:lnTo>
                  <a:lnTo>
                    <a:pt x="28" y="138"/>
                  </a:lnTo>
                  <a:lnTo>
                    <a:pt x="28" y="141"/>
                  </a:lnTo>
                  <a:lnTo>
                    <a:pt x="31" y="141"/>
                  </a:lnTo>
                  <a:lnTo>
                    <a:pt x="35" y="141"/>
                  </a:lnTo>
                  <a:lnTo>
                    <a:pt x="35" y="145"/>
                  </a:lnTo>
                  <a:lnTo>
                    <a:pt x="35" y="148"/>
                  </a:lnTo>
                  <a:lnTo>
                    <a:pt x="31" y="148"/>
                  </a:lnTo>
                  <a:lnTo>
                    <a:pt x="31" y="149"/>
                  </a:lnTo>
                  <a:lnTo>
                    <a:pt x="27" y="149"/>
                  </a:lnTo>
                  <a:lnTo>
                    <a:pt x="23" y="151"/>
                  </a:lnTo>
                  <a:lnTo>
                    <a:pt x="22" y="151"/>
                  </a:lnTo>
                  <a:lnTo>
                    <a:pt x="22" y="153"/>
                  </a:lnTo>
                  <a:lnTo>
                    <a:pt x="20" y="153"/>
                  </a:lnTo>
                  <a:lnTo>
                    <a:pt x="19" y="154"/>
                  </a:lnTo>
                  <a:lnTo>
                    <a:pt x="17" y="161"/>
                  </a:lnTo>
                  <a:lnTo>
                    <a:pt x="16" y="167"/>
                  </a:lnTo>
                  <a:lnTo>
                    <a:pt x="16" y="170"/>
                  </a:lnTo>
                  <a:lnTo>
                    <a:pt x="14" y="170"/>
                  </a:lnTo>
                  <a:lnTo>
                    <a:pt x="14" y="170"/>
                  </a:lnTo>
                  <a:lnTo>
                    <a:pt x="17" y="170"/>
                  </a:lnTo>
                  <a:lnTo>
                    <a:pt x="17" y="170"/>
                  </a:lnTo>
                  <a:lnTo>
                    <a:pt x="19" y="173"/>
                  </a:lnTo>
                  <a:lnTo>
                    <a:pt x="22" y="170"/>
                  </a:lnTo>
                  <a:lnTo>
                    <a:pt x="22" y="170"/>
                  </a:lnTo>
                  <a:lnTo>
                    <a:pt x="23" y="170"/>
                  </a:lnTo>
                  <a:lnTo>
                    <a:pt x="25" y="170"/>
                  </a:lnTo>
                  <a:lnTo>
                    <a:pt x="27" y="170"/>
                  </a:lnTo>
                  <a:lnTo>
                    <a:pt x="27" y="170"/>
                  </a:lnTo>
                  <a:lnTo>
                    <a:pt x="31" y="170"/>
                  </a:lnTo>
                  <a:lnTo>
                    <a:pt x="38" y="170"/>
                  </a:lnTo>
                  <a:lnTo>
                    <a:pt x="38" y="167"/>
                  </a:lnTo>
                  <a:lnTo>
                    <a:pt x="41" y="167"/>
                  </a:lnTo>
                  <a:lnTo>
                    <a:pt x="46" y="167"/>
                  </a:lnTo>
                  <a:lnTo>
                    <a:pt x="44" y="167"/>
                  </a:lnTo>
                  <a:lnTo>
                    <a:pt x="46" y="167"/>
                  </a:lnTo>
                  <a:lnTo>
                    <a:pt x="47" y="167"/>
                  </a:lnTo>
                  <a:lnTo>
                    <a:pt x="50" y="170"/>
                  </a:lnTo>
                  <a:lnTo>
                    <a:pt x="52" y="170"/>
                  </a:lnTo>
                  <a:lnTo>
                    <a:pt x="54" y="170"/>
                  </a:lnTo>
                  <a:lnTo>
                    <a:pt x="54" y="170"/>
                  </a:lnTo>
                  <a:lnTo>
                    <a:pt x="55" y="170"/>
                  </a:lnTo>
                  <a:lnTo>
                    <a:pt x="57" y="167"/>
                  </a:lnTo>
                  <a:lnTo>
                    <a:pt x="60" y="167"/>
                  </a:lnTo>
                  <a:lnTo>
                    <a:pt x="70" y="167"/>
                  </a:lnTo>
                  <a:lnTo>
                    <a:pt x="71" y="167"/>
                  </a:lnTo>
                  <a:lnTo>
                    <a:pt x="71" y="165"/>
                  </a:lnTo>
                  <a:lnTo>
                    <a:pt x="73" y="165"/>
                  </a:lnTo>
                  <a:lnTo>
                    <a:pt x="71" y="167"/>
                  </a:lnTo>
                  <a:lnTo>
                    <a:pt x="76" y="167"/>
                  </a:lnTo>
                  <a:lnTo>
                    <a:pt x="79" y="170"/>
                  </a:lnTo>
                  <a:lnTo>
                    <a:pt x="79" y="173"/>
                  </a:lnTo>
                  <a:lnTo>
                    <a:pt x="79" y="176"/>
                  </a:lnTo>
                  <a:lnTo>
                    <a:pt x="82" y="176"/>
                  </a:lnTo>
                  <a:lnTo>
                    <a:pt x="85" y="176"/>
                  </a:lnTo>
                  <a:lnTo>
                    <a:pt x="87" y="176"/>
                  </a:lnTo>
                  <a:lnTo>
                    <a:pt x="87" y="180"/>
                  </a:lnTo>
                  <a:lnTo>
                    <a:pt x="87" y="181"/>
                  </a:lnTo>
                  <a:lnTo>
                    <a:pt x="89" y="181"/>
                  </a:lnTo>
                  <a:lnTo>
                    <a:pt x="87" y="183"/>
                  </a:lnTo>
                  <a:lnTo>
                    <a:pt x="89" y="184"/>
                  </a:lnTo>
                  <a:lnTo>
                    <a:pt x="92" y="186"/>
                  </a:lnTo>
                  <a:lnTo>
                    <a:pt x="90" y="188"/>
                  </a:lnTo>
                  <a:lnTo>
                    <a:pt x="92" y="188"/>
                  </a:lnTo>
                  <a:lnTo>
                    <a:pt x="92" y="191"/>
                  </a:lnTo>
                  <a:lnTo>
                    <a:pt x="95" y="191"/>
                  </a:lnTo>
                  <a:lnTo>
                    <a:pt x="95" y="189"/>
                  </a:lnTo>
                  <a:lnTo>
                    <a:pt x="98" y="191"/>
                  </a:lnTo>
                  <a:lnTo>
                    <a:pt x="98" y="188"/>
                  </a:lnTo>
                  <a:lnTo>
                    <a:pt x="98" y="191"/>
                  </a:lnTo>
                  <a:lnTo>
                    <a:pt x="101" y="189"/>
                  </a:lnTo>
                  <a:lnTo>
                    <a:pt x="101" y="188"/>
                  </a:lnTo>
                  <a:lnTo>
                    <a:pt x="101" y="188"/>
                  </a:lnTo>
                  <a:lnTo>
                    <a:pt x="101" y="188"/>
                  </a:lnTo>
                  <a:lnTo>
                    <a:pt x="101" y="188"/>
                  </a:lnTo>
                  <a:lnTo>
                    <a:pt x="101" y="188"/>
                  </a:lnTo>
                  <a:lnTo>
                    <a:pt x="101" y="188"/>
                  </a:lnTo>
                  <a:lnTo>
                    <a:pt x="101" y="188"/>
                  </a:lnTo>
                  <a:lnTo>
                    <a:pt x="101" y="188"/>
                  </a:lnTo>
                  <a:lnTo>
                    <a:pt x="101" y="18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8" name="Freeform 305">
              <a:extLst>
                <a:ext uri="{FF2B5EF4-FFF2-40B4-BE49-F238E27FC236}">
                  <a16:creationId xmlns:a16="http://schemas.microsoft.com/office/drawing/2014/main" id="{EE67198A-307B-DA85-AD03-B9DED0A1192A}"/>
                </a:ext>
              </a:extLst>
            </p:cNvPr>
            <p:cNvSpPr>
              <a:spLocks/>
            </p:cNvSpPr>
            <p:nvPr/>
          </p:nvSpPr>
          <p:spPr bwMode="auto">
            <a:xfrm>
              <a:off x="8227578" y="3116665"/>
              <a:ext cx="96453" cy="49347"/>
            </a:xfrm>
            <a:custGeom>
              <a:avLst/>
              <a:gdLst>
                <a:gd name="T0" fmla="*/ 3 w 43"/>
                <a:gd name="T1" fmla="*/ 15 h 22"/>
                <a:gd name="T2" fmla="*/ 3 w 43"/>
                <a:gd name="T3" fmla="*/ 17 h 22"/>
                <a:gd name="T4" fmla="*/ 6 w 43"/>
                <a:gd name="T5" fmla="*/ 19 h 22"/>
                <a:gd name="T6" fmla="*/ 9 w 43"/>
                <a:gd name="T7" fmla="*/ 19 h 22"/>
                <a:gd name="T8" fmla="*/ 12 w 43"/>
                <a:gd name="T9" fmla="*/ 19 h 22"/>
                <a:gd name="T10" fmla="*/ 16 w 43"/>
                <a:gd name="T11" fmla="*/ 22 h 22"/>
                <a:gd name="T12" fmla="*/ 19 w 43"/>
                <a:gd name="T13" fmla="*/ 19 h 22"/>
                <a:gd name="T14" fmla="*/ 20 w 43"/>
                <a:gd name="T15" fmla="*/ 19 h 22"/>
                <a:gd name="T16" fmla="*/ 22 w 43"/>
                <a:gd name="T17" fmla="*/ 19 h 22"/>
                <a:gd name="T18" fmla="*/ 28 w 43"/>
                <a:gd name="T19" fmla="*/ 19 h 22"/>
                <a:gd name="T20" fmla="*/ 32 w 43"/>
                <a:gd name="T21" fmla="*/ 19 h 22"/>
                <a:gd name="T22" fmla="*/ 35 w 43"/>
                <a:gd name="T23" fmla="*/ 19 h 22"/>
                <a:gd name="T24" fmla="*/ 35 w 43"/>
                <a:gd name="T25" fmla="*/ 19 h 22"/>
                <a:gd name="T26" fmla="*/ 38 w 43"/>
                <a:gd name="T27" fmla="*/ 19 h 22"/>
                <a:gd name="T28" fmla="*/ 41 w 43"/>
                <a:gd name="T29" fmla="*/ 19 h 22"/>
                <a:gd name="T30" fmla="*/ 43 w 43"/>
                <a:gd name="T31" fmla="*/ 19 h 22"/>
                <a:gd name="T32" fmla="*/ 41 w 43"/>
                <a:gd name="T33" fmla="*/ 17 h 22"/>
                <a:gd name="T34" fmla="*/ 41 w 43"/>
                <a:gd name="T35" fmla="*/ 15 h 22"/>
                <a:gd name="T36" fmla="*/ 41 w 43"/>
                <a:gd name="T37" fmla="*/ 12 h 22"/>
                <a:gd name="T38" fmla="*/ 38 w 43"/>
                <a:gd name="T39" fmla="*/ 12 h 22"/>
                <a:gd name="T40" fmla="*/ 38 w 43"/>
                <a:gd name="T41" fmla="*/ 12 h 22"/>
                <a:gd name="T42" fmla="*/ 35 w 43"/>
                <a:gd name="T43" fmla="*/ 9 h 22"/>
                <a:gd name="T44" fmla="*/ 35 w 43"/>
                <a:gd name="T45" fmla="*/ 8 h 22"/>
                <a:gd name="T46" fmla="*/ 35 w 43"/>
                <a:gd name="T47" fmla="*/ 6 h 22"/>
                <a:gd name="T48" fmla="*/ 32 w 43"/>
                <a:gd name="T49" fmla="*/ 4 h 22"/>
                <a:gd name="T50" fmla="*/ 30 w 43"/>
                <a:gd name="T51" fmla="*/ 3 h 22"/>
                <a:gd name="T52" fmla="*/ 28 w 43"/>
                <a:gd name="T53" fmla="*/ 4 h 22"/>
                <a:gd name="T54" fmla="*/ 27 w 43"/>
                <a:gd name="T55" fmla="*/ 4 h 22"/>
                <a:gd name="T56" fmla="*/ 25 w 43"/>
                <a:gd name="T57" fmla="*/ 4 h 22"/>
                <a:gd name="T58" fmla="*/ 19 w 43"/>
                <a:gd name="T59" fmla="*/ 3 h 22"/>
                <a:gd name="T60" fmla="*/ 17 w 43"/>
                <a:gd name="T61" fmla="*/ 1 h 22"/>
                <a:gd name="T62" fmla="*/ 17 w 43"/>
                <a:gd name="T63" fmla="*/ 0 h 22"/>
                <a:gd name="T64" fmla="*/ 14 w 43"/>
                <a:gd name="T65" fmla="*/ 0 h 22"/>
                <a:gd name="T66" fmla="*/ 9 w 43"/>
                <a:gd name="T67" fmla="*/ 1 h 22"/>
                <a:gd name="T68" fmla="*/ 8 w 43"/>
                <a:gd name="T69" fmla="*/ 4 h 22"/>
                <a:gd name="T70" fmla="*/ 6 w 43"/>
                <a:gd name="T71" fmla="*/ 9 h 22"/>
                <a:gd name="T72" fmla="*/ 3 w 43"/>
                <a:gd name="T73" fmla="*/ 9 h 22"/>
                <a:gd name="T74" fmla="*/ 3 w 43"/>
                <a:gd name="T75" fmla="*/ 12 h 22"/>
                <a:gd name="T76" fmla="*/ 0 w 43"/>
                <a:gd name="T77" fmla="*/ 15 h 22"/>
                <a:gd name="T78" fmla="*/ 3 w 43"/>
                <a:gd name="T79" fmla="*/ 15 h 22"/>
                <a:gd name="T80" fmla="*/ 3 w 43"/>
                <a:gd name="T81" fmla="*/ 15 h 22"/>
                <a:gd name="T82" fmla="*/ 3 w 43"/>
                <a:gd name="T83" fmla="*/ 15 h 22"/>
                <a:gd name="T84" fmla="*/ 3 w 43"/>
                <a:gd name="T85" fmla="*/ 15 h 22"/>
                <a:gd name="T86" fmla="*/ 3 w 43"/>
                <a:gd name="T87" fmla="*/ 15 h 22"/>
                <a:gd name="T88" fmla="*/ 3 w 43"/>
                <a:gd name="T89" fmla="*/ 15 h 22"/>
                <a:gd name="T90" fmla="*/ 3 w 43"/>
                <a:gd name="T91" fmla="*/ 15 h 22"/>
                <a:gd name="T92" fmla="*/ 3 w 43"/>
                <a:gd name="T93" fmla="*/ 15 h 22"/>
                <a:gd name="T94" fmla="*/ 3 w 43"/>
                <a:gd name="T95"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2">
                  <a:moveTo>
                    <a:pt x="3" y="15"/>
                  </a:moveTo>
                  <a:lnTo>
                    <a:pt x="3" y="17"/>
                  </a:lnTo>
                  <a:lnTo>
                    <a:pt x="6" y="19"/>
                  </a:lnTo>
                  <a:lnTo>
                    <a:pt x="9" y="19"/>
                  </a:lnTo>
                  <a:lnTo>
                    <a:pt x="12" y="19"/>
                  </a:lnTo>
                  <a:lnTo>
                    <a:pt x="16" y="22"/>
                  </a:lnTo>
                  <a:lnTo>
                    <a:pt x="19" y="19"/>
                  </a:lnTo>
                  <a:lnTo>
                    <a:pt x="20" y="19"/>
                  </a:lnTo>
                  <a:lnTo>
                    <a:pt x="22" y="19"/>
                  </a:lnTo>
                  <a:lnTo>
                    <a:pt x="28" y="19"/>
                  </a:lnTo>
                  <a:lnTo>
                    <a:pt x="32" y="19"/>
                  </a:lnTo>
                  <a:lnTo>
                    <a:pt x="35" y="19"/>
                  </a:lnTo>
                  <a:lnTo>
                    <a:pt x="35" y="19"/>
                  </a:lnTo>
                  <a:lnTo>
                    <a:pt x="38" y="19"/>
                  </a:lnTo>
                  <a:lnTo>
                    <a:pt x="41" y="19"/>
                  </a:lnTo>
                  <a:lnTo>
                    <a:pt x="43" y="19"/>
                  </a:lnTo>
                  <a:lnTo>
                    <a:pt x="41" y="17"/>
                  </a:lnTo>
                  <a:lnTo>
                    <a:pt x="41" y="15"/>
                  </a:lnTo>
                  <a:lnTo>
                    <a:pt x="41" y="12"/>
                  </a:lnTo>
                  <a:lnTo>
                    <a:pt x="38" y="12"/>
                  </a:lnTo>
                  <a:lnTo>
                    <a:pt x="38" y="12"/>
                  </a:lnTo>
                  <a:lnTo>
                    <a:pt x="35" y="9"/>
                  </a:lnTo>
                  <a:lnTo>
                    <a:pt x="35" y="8"/>
                  </a:lnTo>
                  <a:lnTo>
                    <a:pt x="35" y="6"/>
                  </a:lnTo>
                  <a:lnTo>
                    <a:pt x="32" y="4"/>
                  </a:lnTo>
                  <a:lnTo>
                    <a:pt x="30" y="3"/>
                  </a:lnTo>
                  <a:lnTo>
                    <a:pt x="28" y="4"/>
                  </a:lnTo>
                  <a:lnTo>
                    <a:pt x="27" y="4"/>
                  </a:lnTo>
                  <a:lnTo>
                    <a:pt x="25" y="4"/>
                  </a:lnTo>
                  <a:lnTo>
                    <a:pt x="19" y="3"/>
                  </a:lnTo>
                  <a:lnTo>
                    <a:pt x="17" y="1"/>
                  </a:lnTo>
                  <a:lnTo>
                    <a:pt x="17" y="0"/>
                  </a:lnTo>
                  <a:lnTo>
                    <a:pt x="14" y="0"/>
                  </a:lnTo>
                  <a:lnTo>
                    <a:pt x="9" y="1"/>
                  </a:lnTo>
                  <a:lnTo>
                    <a:pt x="8" y="4"/>
                  </a:lnTo>
                  <a:lnTo>
                    <a:pt x="6" y="9"/>
                  </a:lnTo>
                  <a:lnTo>
                    <a:pt x="3" y="9"/>
                  </a:lnTo>
                  <a:lnTo>
                    <a:pt x="3" y="12"/>
                  </a:lnTo>
                  <a:lnTo>
                    <a:pt x="0" y="15"/>
                  </a:lnTo>
                  <a:lnTo>
                    <a:pt x="3" y="15"/>
                  </a:lnTo>
                  <a:lnTo>
                    <a:pt x="3" y="15"/>
                  </a:lnTo>
                  <a:lnTo>
                    <a:pt x="3" y="15"/>
                  </a:lnTo>
                  <a:lnTo>
                    <a:pt x="3" y="15"/>
                  </a:lnTo>
                  <a:lnTo>
                    <a:pt x="3" y="15"/>
                  </a:lnTo>
                  <a:lnTo>
                    <a:pt x="3" y="15"/>
                  </a:lnTo>
                  <a:lnTo>
                    <a:pt x="3" y="15"/>
                  </a:lnTo>
                  <a:lnTo>
                    <a:pt x="3" y="15"/>
                  </a:lnTo>
                  <a:lnTo>
                    <a:pt x="3" y="1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49" name="Freeform 367">
              <a:extLst>
                <a:ext uri="{FF2B5EF4-FFF2-40B4-BE49-F238E27FC236}">
                  <a16:creationId xmlns:a16="http://schemas.microsoft.com/office/drawing/2014/main" id="{4DA0DFBF-AD95-E0EE-0A2F-FFD5DC4C3B77}"/>
                </a:ext>
              </a:extLst>
            </p:cNvPr>
            <p:cNvSpPr>
              <a:spLocks/>
            </p:cNvSpPr>
            <p:nvPr/>
          </p:nvSpPr>
          <p:spPr bwMode="auto">
            <a:xfrm>
              <a:off x="7233897" y="2555897"/>
              <a:ext cx="473288" cy="278141"/>
            </a:xfrm>
            <a:custGeom>
              <a:avLst/>
              <a:gdLst>
                <a:gd name="T0" fmla="*/ 173 w 211"/>
                <a:gd name="T1" fmla="*/ 53 h 124"/>
                <a:gd name="T2" fmla="*/ 163 w 211"/>
                <a:gd name="T3" fmla="*/ 61 h 124"/>
                <a:gd name="T4" fmla="*/ 157 w 211"/>
                <a:gd name="T5" fmla="*/ 69 h 124"/>
                <a:gd name="T6" fmla="*/ 154 w 211"/>
                <a:gd name="T7" fmla="*/ 70 h 124"/>
                <a:gd name="T8" fmla="*/ 141 w 211"/>
                <a:gd name="T9" fmla="*/ 65 h 124"/>
                <a:gd name="T10" fmla="*/ 132 w 211"/>
                <a:gd name="T11" fmla="*/ 54 h 124"/>
                <a:gd name="T12" fmla="*/ 124 w 211"/>
                <a:gd name="T13" fmla="*/ 50 h 124"/>
                <a:gd name="T14" fmla="*/ 117 w 211"/>
                <a:gd name="T15" fmla="*/ 38 h 124"/>
                <a:gd name="T16" fmla="*/ 108 w 211"/>
                <a:gd name="T17" fmla="*/ 31 h 124"/>
                <a:gd name="T18" fmla="*/ 97 w 211"/>
                <a:gd name="T19" fmla="*/ 31 h 124"/>
                <a:gd name="T20" fmla="*/ 76 w 211"/>
                <a:gd name="T21" fmla="*/ 31 h 124"/>
                <a:gd name="T22" fmla="*/ 66 w 211"/>
                <a:gd name="T23" fmla="*/ 27 h 124"/>
                <a:gd name="T24" fmla="*/ 54 w 211"/>
                <a:gd name="T25" fmla="*/ 19 h 124"/>
                <a:gd name="T26" fmla="*/ 40 w 211"/>
                <a:gd name="T27" fmla="*/ 24 h 124"/>
                <a:gd name="T28" fmla="*/ 32 w 211"/>
                <a:gd name="T29" fmla="*/ 19 h 124"/>
                <a:gd name="T30" fmla="*/ 25 w 211"/>
                <a:gd name="T31" fmla="*/ 11 h 124"/>
                <a:gd name="T32" fmla="*/ 25 w 211"/>
                <a:gd name="T33" fmla="*/ 2 h 124"/>
                <a:gd name="T34" fmla="*/ 16 w 211"/>
                <a:gd name="T35" fmla="*/ 62 h 124"/>
                <a:gd name="T36" fmla="*/ 22 w 211"/>
                <a:gd name="T37" fmla="*/ 61 h 124"/>
                <a:gd name="T38" fmla="*/ 25 w 211"/>
                <a:gd name="T39" fmla="*/ 50 h 124"/>
                <a:gd name="T40" fmla="*/ 32 w 211"/>
                <a:gd name="T41" fmla="*/ 46 h 124"/>
                <a:gd name="T42" fmla="*/ 35 w 211"/>
                <a:gd name="T43" fmla="*/ 43 h 124"/>
                <a:gd name="T44" fmla="*/ 41 w 211"/>
                <a:gd name="T45" fmla="*/ 43 h 124"/>
                <a:gd name="T46" fmla="*/ 52 w 211"/>
                <a:gd name="T47" fmla="*/ 50 h 124"/>
                <a:gd name="T48" fmla="*/ 57 w 211"/>
                <a:gd name="T49" fmla="*/ 53 h 124"/>
                <a:gd name="T50" fmla="*/ 60 w 211"/>
                <a:gd name="T51" fmla="*/ 62 h 124"/>
                <a:gd name="T52" fmla="*/ 73 w 211"/>
                <a:gd name="T53" fmla="*/ 62 h 124"/>
                <a:gd name="T54" fmla="*/ 89 w 211"/>
                <a:gd name="T55" fmla="*/ 81 h 124"/>
                <a:gd name="T56" fmla="*/ 108 w 211"/>
                <a:gd name="T57" fmla="*/ 92 h 124"/>
                <a:gd name="T58" fmla="*/ 128 w 211"/>
                <a:gd name="T59" fmla="*/ 105 h 124"/>
                <a:gd name="T60" fmla="*/ 140 w 211"/>
                <a:gd name="T61" fmla="*/ 108 h 124"/>
                <a:gd name="T62" fmla="*/ 144 w 211"/>
                <a:gd name="T63" fmla="*/ 116 h 124"/>
                <a:gd name="T64" fmla="*/ 154 w 211"/>
                <a:gd name="T65" fmla="*/ 121 h 124"/>
                <a:gd name="T66" fmla="*/ 163 w 211"/>
                <a:gd name="T67" fmla="*/ 124 h 124"/>
                <a:gd name="T68" fmla="*/ 160 w 211"/>
                <a:gd name="T69" fmla="*/ 115 h 124"/>
                <a:gd name="T70" fmla="*/ 163 w 211"/>
                <a:gd name="T71" fmla="*/ 105 h 124"/>
                <a:gd name="T72" fmla="*/ 157 w 211"/>
                <a:gd name="T73" fmla="*/ 96 h 124"/>
                <a:gd name="T74" fmla="*/ 149 w 211"/>
                <a:gd name="T75" fmla="*/ 91 h 124"/>
                <a:gd name="T76" fmla="*/ 160 w 211"/>
                <a:gd name="T77" fmla="*/ 88 h 124"/>
                <a:gd name="T78" fmla="*/ 163 w 211"/>
                <a:gd name="T79" fmla="*/ 81 h 124"/>
                <a:gd name="T80" fmla="*/ 163 w 211"/>
                <a:gd name="T81" fmla="*/ 78 h 124"/>
                <a:gd name="T82" fmla="*/ 163 w 211"/>
                <a:gd name="T83" fmla="*/ 78 h 124"/>
                <a:gd name="T84" fmla="*/ 167 w 211"/>
                <a:gd name="T85" fmla="*/ 73 h 124"/>
                <a:gd name="T86" fmla="*/ 173 w 211"/>
                <a:gd name="T87" fmla="*/ 72 h 124"/>
                <a:gd name="T88" fmla="*/ 184 w 211"/>
                <a:gd name="T89" fmla="*/ 72 h 124"/>
                <a:gd name="T90" fmla="*/ 184 w 211"/>
                <a:gd name="T91" fmla="*/ 78 h 124"/>
                <a:gd name="T92" fmla="*/ 192 w 211"/>
                <a:gd name="T93" fmla="*/ 78 h 124"/>
                <a:gd name="T94" fmla="*/ 198 w 211"/>
                <a:gd name="T95" fmla="*/ 78 h 124"/>
                <a:gd name="T96" fmla="*/ 205 w 211"/>
                <a:gd name="T97" fmla="*/ 75 h 124"/>
                <a:gd name="T98" fmla="*/ 211 w 211"/>
                <a:gd name="T99" fmla="*/ 70 h 124"/>
                <a:gd name="T100" fmla="*/ 200 w 211"/>
                <a:gd name="T101" fmla="*/ 67 h 124"/>
                <a:gd name="T102" fmla="*/ 192 w 211"/>
                <a:gd name="T103" fmla="*/ 61 h 124"/>
                <a:gd name="T104" fmla="*/ 189 w 211"/>
                <a:gd name="T105" fmla="*/ 65 h 124"/>
                <a:gd name="T106" fmla="*/ 182 w 211"/>
                <a:gd name="T107" fmla="*/ 62 h 124"/>
                <a:gd name="T108" fmla="*/ 176 w 211"/>
                <a:gd name="T109" fmla="*/ 56 h 124"/>
                <a:gd name="T110" fmla="*/ 179 w 211"/>
                <a:gd name="T111" fmla="*/ 5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24">
                  <a:moveTo>
                    <a:pt x="178" y="53"/>
                  </a:moveTo>
                  <a:lnTo>
                    <a:pt x="176" y="53"/>
                  </a:lnTo>
                  <a:lnTo>
                    <a:pt x="174" y="53"/>
                  </a:lnTo>
                  <a:lnTo>
                    <a:pt x="173" y="53"/>
                  </a:lnTo>
                  <a:lnTo>
                    <a:pt x="173" y="54"/>
                  </a:lnTo>
                  <a:lnTo>
                    <a:pt x="170" y="56"/>
                  </a:lnTo>
                  <a:lnTo>
                    <a:pt x="167" y="59"/>
                  </a:lnTo>
                  <a:lnTo>
                    <a:pt x="163" y="61"/>
                  </a:lnTo>
                  <a:lnTo>
                    <a:pt x="163" y="62"/>
                  </a:lnTo>
                  <a:lnTo>
                    <a:pt x="163" y="64"/>
                  </a:lnTo>
                  <a:lnTo>
                    <a:pt x="160" y="65"/>
                  </a:lnTo>
                  <a:lnTo>
                    <a:pt x="157" y="69"/>
                  </a:lnTo>
                  <a:lnTo>
                    <a:pt x="157" y="70"/>
                  </a:lnTo>
                  <a:lnTo>
                    <a:pt x="160" y="73"/>
                  </a:lnTo>
                  <a:lnTo>
                    <a:pt x="154" y="72"/>
                  </a:lnTo>
                  <a:lnTo>
                    <a:pt x="154" y="70"/>
                  </a:lnTo>
                  <a:lnTo>
                    <a:pt x="152" y="69"/>
                  </a:lnTo>
                  <a:lnTo>
                    <a:pt x="152" y="65"/>
                  </a:lnTo>
                  <a:lnTo>
                    <a:pt x="149" y="64"/>
                  </a:lnTo>
                  <a:lnTo>
                    <a:pt x="141" y="65"/>
                  </a:lnTo>
                  <a:lnTo>
                    <a:pt x="140" y="65"/>
                  </a:lnTo>
                  <a:lnTo>
                    <a:pt x="136" y="65"/>
                  </a:lnTo>
                  <a:lnTo>
                    <a:pt x="133" y="64"/>
                  </a:lnTo>
                  <a:lnTo>
                    <a:pt x="132" y="54"/>
                  </a:lnTo>
                  <a:lnTo>
                    <a:pt x="128" y="53"/>
                  </a:lnTo>
                  <a:lnTo>
                    <a:pt x="128" y="53"/>
                  </a:lnTo>
                  <a:lnTo>
                    <a:pt x="125" y="53"/>
                  </a:lnTo>
                  <a:lnTo>
                    <a:pt x="124" y="50"/>
                  </a:lnTo>
                  <a:lnTo>
                    <a:pt x="122" y="46"/>
                  </a:lnTo>
                  <a:lnTo>
                    <a:pt x="122" y="38"/>
                  </a:lnTo>
                  <a:lnTo>
                    <a:pt x="119" y="40"/>
                  </a:lnTo>
                  <a:lnTo>
                    <a:pt x="117" y="38"/>
                  </a:lnTo>
                  <a:lnTo>
                    <a:pt x="114" y="35"/>
                  </a:lnTo>
                  <a:lnTo>
                    <a:pt x="113" y="34"/>
                  </a:lnTo>
                  <a:lnTo>
                    <a:pt x="111" y="31"/>
                  </a:lnTo>
                  <a:lnTo>
                    <a:pt x="108" y="31"/>
                  </a:lnTo>
                  <a:lnTo>
                    <a:pt x="105" y="27"/>
                  </a:lnTo>
                  <a:lnTo>
                    <a:pt x="105" y="29"/>
                  </a:lnTo>
                  <a:lnTo>
                    <a:pt x="101" y="31"/>
                  </a:lnTo>
                  <a:lnTo>
                    <a:pt x="97" y="31"/>
                  </a:lnTo>
                  <a:lnTo>
                    <a:pt x="92" y="31"/>
                  </a:lnTo>
                  <a:lnTo>
                    <a:pt x="84" y="29"/>
                  </a:lnTo>
                  <a:lnTo>
                    <a:pt x="79" y="31"/>
                  </a:lnTo>
                  <a:lnTo>
                    <a:pt x="76" y="31"/>
                  </a:lnTo>
                  <a:lnTo>
                    <a:pt x="73" y="31"/>
                  </a:lnTo>
                  <a:lnTo>
                    <a:pt x="70" y="31"/>
                  </a:lnTo>
                  <a:lnTo>
                    <a:pt x="70" y="27"/>
                  </a:lnTo>
                  <a:lnTo>
                    <a:pt x="66" y="27"/>
                  </a:lnTo>
                  <a:lnTo>
                    <a:pt x="60" y="18"/>
                  </a:lnTo>
                  <a:lnTo>
                    <a:pt x="54" y="16"/>
                  </a:lnTo>
                  <a:lnTo>
                    <a:pt x="54" y="15"/>
                  </a:lnTo>
                  <a:lnTo>
                    <a:pt x="54" y="19"/>
                  </a:lnTo>
                  <a:lnTo>
                    <a:pt x="49" y="23"/>
                  </a:lnTo>
                  <a:lnTo>
                    <a:pt x="46" y="23"/>
                  </a:lnTo>
                  <a:lnTo>
                    <a:pt x="41" y="23"/>
                  </a:lnTo>
                  <a:lnTo>
                    <a:pt x="40" y="24"/>
                  </a:lnTo>
                  <a:lnTo>
                    <a:pt x="38" y="23"/>
                  </a:lnTo>
                  <a:lnTo>
                    <a:pt x="38" y="21"/>
                  </a:lnTo>
                  <a:lnTo>
                    <a:pt x="36" y="19"/>
                  </a:lnTo>
                  <a:lnTo>
                    <a:pt x="32" y="19"/>
                  </a:lnTo>
                  <a:lnTo>
                    <a:pt x="28" y="19"/>
                  </a:lnTo>
                  <a:lnTo>
                    <a:pt x="28" y="18"/>
                  </a:lnTo>
                  <a:lnTo>
                    <a:pt x="28" y="15"/>
                  </a:lnTo>
                  <a:lnTo>
                    <a:pt x="25" y="11"/>
                  </a:lnTo>
                  <a:lnTo>
                    <a:pt x="25" y="7"/>
                  </a:lnTo>
                  <a:lnTo>
                    <a:pt x="28" y="4"/>
                  </a:lnTo>
                  <a:lnTo>
                    <a:pt x="28" y="0"/>
                  </a:lnTo>
                  <a:lnTo>
                    <a:pt x="25" y="2"/>
                  </a:lnTo>
                  <a:lnTo>
                    <a:pt x="0" y="8"/>
                  </a:lnTo>
                  <a:lnTo>
                    <a:pt x="11" y="62"/>
                  </a:lnTo>
                  <a:lnTo>
                    <a:pt x="13" y="62"/>
                  </a:lnTo>
                  <a:lnTo>
                    <a:pt x="16" y="62"/>
                  </a:lnTo>
                  <a:lnTo>
                    <a:pt x="19" y="62"/>
                  </a:lnTo>
                  <a:lnTo>
                    <a:pt x="22" y="62"/>
                  </a:lnTo>
                  <a:lnTo>
                    <a:pt x="25" y="62"/>
                  </a:lnTo>
                  <a:lnTo>
                    <a:pt x="22" y="61"/>
                  </a:lnTo>
                  <a:lnTo>
                    <a:pt x="22" y="56"/>
                  </a:lnTo>
                  <a:lnTo>
                    <a:pt x="22" y="54"/>
                  </a:lnTo>
                  <a:lnTo>
                    <a:pt x="25" y="50"/>
                  </a:lnTo>
                  <a:lnTo>
                    <a:pt x="25" y="50"/>
                  </a:lnTo>
                  <a:lnTo>
                    <a:pt x="28" y="50"/>
                  </a:lnTo>
                  <a:lnTo>
                    <a:pt x="28" y="50"/>
                  </a:lnTo>
                  <a:lnTo>
                    <a:pt x="32" y="46"/>
                  </a:lnTo>
                  <a:lnTo>
                    <a:pt x="32" y="46"/>
                  </a:lnTo>
                  <a:lnTo>
                    <a:pt x="33" y="46"/>
                  </a:lnTo>
                  <a:lnTo>
                    <a:pt x="32" y="43"/>
                  </a:lnTo>
                  <a:lnTo>
                    <a:pt x="33" y="43"/>
                  </a:lnTo>
                  <a:lnTo>
                    <a:pt x="35" y="43"/>
                  </a:lnTo>
                  <a:lnTo>
                    <a:pt x="36" y="43"/>
                  </a:lnTo>
                  <a:lnTo>
                    <a:pt x="38" y="43"/>
                  </a:lnTo>
                  <a:lnTo>
                    <a:pt x="40" y="43"/>
                  </a:lnTo>
                  <a:lnTo>
                    <a:pt x="41" y="43"/>
                  </a:lnTo>
                  <a:lnTo>
                    <a:pt x="44" y="46"/>
                  </a:lnTo>
                  <a:lnTo>
                    <a:pt x="46" y="46"/>
                  </a:lnTo>
                  <a:lnTo>
                    <a:pt x="47" y="50"/>
                  </a:lnTo>
                  <a:lnTo>
                    <a:pt x="52" y="50"/>
                  </a:lnTo>
                  <a:lnTo>
                    <a:pt x="54" y="50"/>
                  </a:lnTo>
                  <a:lnTo>
                    <a:pt x="54" y="53"/>
                  </a:lnTo>
                  <a:lnTo>
                    <a:pt x="54" y="53"/>
                  </a:lnTo>
                  <a:lnTo>
                    <a:pt x="57" y="53"/>
                  </a:lnTo>
                  <a:lnTo>
                    <a:pt x="57" y="56"/>
                  </a:lnTo>
                  <a:lnTo>
                    <a:pt x="57" y="59"/>
                  </a:lnTo>
                  <a:lnTo>
                    <a:pt x="60" y="62"/>
                  </a:lnTo>
                  <a:lnTo>
                    <a:pt x="60" y="62"/>
                  </a:lnTo>
                  <a:lnTo>
                    <a:pt x="66" y="64"/>
                  </a:lnTo>
                  <a:lnTo>
                    <a:pt x="70" y="64"/>
                  </a:lnTo>
                  <a:lnTo>
                    <a:pt x="73" y="64"/>
                  </a:lnTo>
                  <a:lnTo>
                    <a:pt x="73" y="62"/>
                  </a:lnTo>
                  <a:lnTo>
                    <a:pt x="76" y="64"/>
                  </a:lnTo>
                  <a:lnTo>
                    <a:pt x="79" y="65"/>
                  </a:lnTo>
                  <a:lnTo>
                    <a:pt x="82" y="70"/>
                  </a:lnTo>
                  <a:lnTo>
                    <a:pt x="89" y="81"/>
                  </a:lnTo>
                  <a:lnTo>
                    <a:pt x="92" y="81"/>
                  </a:lnTo>
                  <a:lnTo>
                    <a:pt x="95" y="84"/>
                  </a:lnTo>
                  <a:lnTo>
                    <a:pt x="101" y="88"/>
                  </a:lnTo>
                  <a:lnTo>
                    <a:pt x="108" y="92"/>
                  </a:lnTo>
                  <a:lnTo>
                    <a:pt x="113" y="96"/>
                  </a:lnTo>
                  <a:lnTo>
                    <a:pt x="119" y="99"/>
                  </a:lnTo>
                  <a:lnTo>
                    <a:pt x="125" y="102"/>
                  </a:lnTo>
                  <a:lnTo>
                    <a:pt x="128" y="105"/>
                  </a:lnTo>
                  <a:lnTo>
                    <a:pt x="132" y="105"/>
                  </a:lnTo>
                  <a:lnTo>
                    <a:pt x="135" y="105"/>
                  </a:lnTo>
                  <a:lnTo>
                    <a:pt x="136" y="105"/>
                  </a:lnTo>
                  <a:lnTo>
                    <a:pt x="140" y="108"/>
                  </a:lnTo>
                  <a:lnTo>
                    <a:pt x="144" y="108"/>
                  </a:lnTo>
                  <a:lnTo>
                    <a:pt x="144" y="110"/>
                  </a:lnTo>
                  <a:lnTo>
                    <a:pt x="144" y="113"/>
                  </a:lnTo>
                  <a:lnTo>
                    <a:pt x="144" y="116"/>
                  </a:lnTo>
                  <a:lnTo>
                    <a:pt x="146" y="118"/>
                  </a:lnTo>
                  <a:lnTo>
                    <a:pt x="151" y="118"/>
                  </a:lnTo>
                  <a:lnTo>
                    <a:pt x="154" y="119"/>
                  </a:lnTo>
                  <a:lnTo>
                    <a:pt x="154" y="121"/>
                  </a:lnTo>
                  <a:lnTo>
                    <a:pt x="157" y="121"/>
                  </a:lnTo>
                  <a:lnTo>
                    <a:pt x="160" y="121"/>
                  </a:lnTo>
                  <a:lnTo>
                    <a:pt x="163" y="124"/>
                  </a:lnTo>
                  <a:lnTo>
                    <a:pt x="163" y="124"/>
                  </a:lnTo>
                  <a:lnTo>
                    <a:pt x="160" y="119"/>
                  </a:lnTo>
                  <a:lnTo>
                    <a:pt x="160" y="118"/>
                  </a:lnTo>
                  <a:lnTo>
                    <a:pt x="160" y="116"/>
                  </a:lnTo>
                  <a:lnTo>
                    <a:pt x="160" y="115"/>
                  </a:lnTo>
                  <a:lnTo>
                    <a:pt x="163" y="110"/>
                  </a:lnTo>
                  <a:lnTo>
                    <a:pt x="163" y="108"/>
                  </a:lnTo>
                  <a:lnTo>
                    <a:pt x="163" y="108"/>
                  </a:lnTo>
                  <a:lnTo>
                    <a:pt x="163" y="105"/>
                  </a:lnTo>
                  <a:lnTo>
                    <a:pt x="160" y="102"/>
                  </a:lnTo>
                  <a:lnTo>
                    <a:pt x="160" y="99"/>
                  </a:lnTo>
                  <a:lnTo>
                    <a:pt x="160" y="97"/>
                  </a:lnTo>
                  <a:lnTo>
                    <a:pt x="157" y="96"/>
                  </a:lnTo>
                  <a:lnTo>
                    <a:pt x="154" y="96"/>
                  </a:lnTo>
                  <a:lnTo>
                    <a:pt x="154" y="94"/>
                  </a:lnTo>
                  <a:lnTo>
                    <a:pt x="152" y="92"/>
                  </a:lnTo>
                  <a:lnTo>
                    <a:pt x="149" y="91"/>
                  </a:lnTo>
                  <a:lnTo>
                    <a:pt x="151" y="88"/>
                  </a:lnTo>
                  <a:lnTo>
                    <a:pt x="151" y="88"/>
                  </a:lnTo>
                  <a:lnTo>
                    <a:pt x="152" y="88"/>
                  </a:lnTo>
                  <a:lnTo>
                    <a:pt x="160" y="88"/>
                  </a:lnTo>
                  <a:lnTo>
                    <a:pt x="163" y="88"/>
                  </a:lnTo>
                  <a:lnTo>
                    <a:pt x="163" y="84"/>
                  </a:lnTo>
                  <a:lnTo>
                    <a:pt x="163" y="84"/>
                  </a:lnTo>
                  <a:lnTo>
                    <a:pt x="163" y="81"/>
                  </a:lnTo>
                  <a:lnTo>
                    <a:pt x="167" y="81"/>
                  </a:lnTo>
                  <a:lnTo>
                    <a:pt x="163" y="81"/>
                  </a:lnTo>
                  <a:lnTo>
                    <a:pt x="167" y="81"/>
                  </a:lnTo>
                  <a:lnTo>
                    <a:pt x="163" y="78"/>
                  </a:lnTo>
                  <a:lnTo>
                    <a:pt x="163" y="78"/>
                  </a:lnTo>
                  <a:lnTo>
                    <a:pt x="160" y="78"/>
                  </a:lnTo>
                  <a:lnTo>
                    <a:pt x="163" y="78"/>
                  </a:lnTo>
                  <a:lnTo>
                    <a:pt x="163" y="78"/>
                  </a:lnTo>
                  <a:lnTo>
                    <a:pt x="167" y="78"/>
                  </a:lnTo>
                  <a:lnTo>
                    <a:pt x="168" y="78"/>
                  </a:lnTo>
                  <a:lnTo>
                    <a:pt x="168" y="75"/>
                  </a:lnTo>
                  <a:lnTo>
                    <a:pt x="167" y="73"/>
                  </a:lnTo>
                  <a:lnTo>
                    <a:pt x="167" y="72"/>
                  </a:lnTo>
                  <a:lnTo>
                    <a:pt x="168" y="70"/>
                  </a:lnTo>
                  <a:lnTo>
                    <a:pt x="170" y="70"/>
                  </a:lnTo>
                  <a:lnTo>
                    <a:pt x="173" y="72"/>
                  </a:lnTo>
                  <a:lnTo>
                    <a:pt x="176" y="70"/>
                  </a:lnTo>
                  <a:lnTo>
                    <a:pt x="179" y="67"/>
                  </a:lnTo>
                  <a:lnTo>
                    <a:pt x="182" y="70"/>
                  </a:lnTo>
                  <a:lnTo>
                    <a:pt x="184" y="72"/>
                  </a:lnTo>
                  <a:lnTo>
                    <a:pt x="182" y="73"/>
                  </a:lnTo>
                  <a:lnTo>
                    <a:pt x="181" y="75"/>
                  </a:lnTo>
                  <a:lnTo>
                    <a:pt x="182" y="75"/>
                  </a:lnTo>
                  <a:lnTo>
                    <a:pt x="184" y="78"/>
                  </a:lnTo>
                  <a:lnTo>
                    <a:pt x="186" y="78"/>
                  </a:lnTo>
                  <a:lnTo>
                    <a:pt x="189" y="78"/>
                  </a:lnTo>
                  <a:lnTo>
                    <a:pt x="192" y="78"/>
                  </a:lnTo>
                  <a:lnTo>
                    <a:pt x="192" y="78"/>
                  </a:lnTo>
                  <a:lnTo>
                    <a:pt x="195" y="78"/>
                  </a:lnTo>
                  <a:lnTo>
                    <a:pt x="195" y="78"/>
                  </a:lnTo>
                  <a:lnTo>
                    <a:pt x="198" y="78"/>
                  </a:lnTo>
                  <a:lnTo>
                    <a:pt x="198" y="78"/>
                  </a:lnTo>
                  <a:lnTo>
                    <a:pt x="200" y="78"/>
                  </a:lnTo>
                  <a:lnTo>
                    <a:pt x="200" y="75"/>
                  </a:lnTo>
                  <a:lnTo>
                    <a:pt x="201" y="75"/>
                  </a:lnTo>
                  <a:lnTo>
                    <a:pt x="205" y="75"/>
                  </a:lnTo>
                  <a:lnTo>
                    <a:pt x="203" y="73"/>
                  </a:lnTo>
                  <a:lnTo>
                    <a:pt x="206" y="73"/>
                  </a:lnTo>
                  <a:lnTo>
                    <a:pt x="209" y="72"/>
                  </a:lnTo>
                  <a:lnTo>
                    <a:pt x="211" y="70"/>
                  </a:lnTo>
                  <a:lnTo>
                    <a:pt x="206" y="69"/>
                  </a:lnTo>
                  <a:lnTo>
                    <a:pt x="203" y="67"/>
                  </a:lnTo>
                  <a:lnTo>
                    <a:pt x="201" y="67"/>
                  </a:lnTo>
                  <a:lnTo>
                    <a:pt x="200" y="67"/>
                  </a:lnTo>
                  <a:lnTo>
                    <a:pt x="198" y="65"/>
                  </a:lnTo>
                  <a:lnTo>
                    <a:pt x="198" y="64"/>
                  </a:lnTo>
                  <a:lnTo>
                    <a:pt x="195" y="62"/>
                  </a:lnTo>
                  <a:lnTo>
                    <a:pt x="192" y="61"/>
                  </a:lnTo>
                  <a:lnTo>
                    <a:pt x="192" y="59"/>
                  </a:lnTo>
                  <a:lnTo>
                    <a:pt x="192" y="62"/>
                  </a:lnTo>
                  <a:lnTo>
                    <a:pt x="189" y="62"/>
                  </a:lnTo>
                  <a:lnTo>
                    <a:pt x="189" y="65"/>
                  </a:lnTo>
                  <a:lnTo>
                    <a:pt x="189" y="64"/>
                  </a:lnTo>
                  <a:lnTo>
                    <a:pt x="186" y="64"/>
                  </a:lnTo>
                  <a:lnTo>
                    <a:pt x="184" y="64"/>
                  </a:lnTo>
                  <a:lnTo>
                    <a:pt x="182" y="62"/>
                  </a:lnTo>
                  <a:lnTo>
                    <a:pt x="181" y="61"/>
                  </a:lnTo>
                  <a:lnTo>
                    <a:pt x="178" y="61"/>
                  </a:lnTo>
                  <a:lnTo>
                    <a:pt x="174" y="59"/>
                  </a:lnTo>
                  <a:lnTo>
                    <a:pt x="176" y="56"/>
                  </a:lnTo>
                  <a:lnTo>
                    <a:pt x="179" y="53"/>
                  </a:lnTo>
                  <a:lnTo>
                    <a:pt x="184" y="50"/>
                  </a:lnTo>
                  <a:lnTo>
                    <a:pt x="182" y="50"/>
                  </a:lnTo>
                  <a:lnTo>
                    <a:pt x="179" y="50"/>
                  </a:lnTo>
                  <a:lnTo>
                    <a:pt x="178" y="53"/>
                  </a:lnTo>
                  <a:lnTo>
                    <a:pt x="178" y="53"/>
                  </a:lnTo>
                  <a:lnTo>
                    <a:pt x="178" y="5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0" name="Freeform 213">
              <a:extLst>
                <a:ext uri="{FF2B5EF4-FFF2-40B4-BE49-F238E27FC236}">
                  <a16:creationId xmlns:a16="http://schemas.microsoft.com/office/drawing/2014/main" id="{CBB322F6-AF02-CF2D-2AF0-B8A3C1596788}"/>
                </a:ext>
              </a:extLst>
            </p:cNvPr>
            <p:cNvSpPr>
              <a:spLocks/>
            </p:cNvSpPr>
            <p:nvPr/>
          </p:nvSpPr>
          <p:spPr bwMode="auto">
            <a:xfrm>
              <a:off x="6229001" y="2434772"/>
              <a:ext cx="139071" cy="58320"/>
            </a:xfrm>
            <a:custGeom>
              <a:avLst/>
              <a:gdLst>
                <a:gd name="T0" fmla="*/ 56 w 62"/>
                <a:gd name="T1" fmla="*/ 4 h 26"/>
                <a:gd name="T2" fmla="*/ 49 w 62"/>
                <a:gd name="T3" fmla="*/ 2 h 26"/>
                <a:gd name="T4" fmla="*/ 40 w 62"/>
                <a:gd name="T5" fmla="*/ 2 h 26"/>
                <a:gd name="T6" fmla="*/ 37 w 62"/>
                <a:gd name="T7" fmla="*/ 4 h 26"/>
                <a:gd name="T8" fmla="*/ 32 w 62"/>
                <a:gd name="T9" fmla="*/ 5 h 26"/>
                <a:gd name="T10" fmla="*/ 27 w 62"/>
                <a:gd name="T11" fmla="*/ 0 h 26"/>
                <a:gd name="T12" fmla="*/ 22 w 62"/>
                <a:gd name="T13" fmla="*/ 2 h 26"/>
                <a:gd name="T14" fmla="*/ 13 w 62"/>
                <a:gd name="T15" fmla="*/ 4 h 26"/>
                <a:gd name="T16" fmla="*/ 13 w 62"/>
                <a:gd name="T17" fmla="*/ 7 h 26"/>
                <a:gd name="T18" fmla="*/ 10 w 62"/>
                <a:gd name="T19" fmla="*/ 10 h 26"/>
                <a:gd name="T20" fmla="*/ 2 w 62"/>
                <a:gd name="T21" fmla="*/ 10 h 26"/>
                <a:gd name="T22" fmla="*/ 0 w 62"/>
                <a:gd name="T23" fmla="*/ 16 h 26"/>
                <a:gd name="T24" fmla="*/ 0 w 62"/>
                <a:gd name="T25" fmla="*/ 19 h 26"/>
                <a:gd name="T26" fmla="*/ 6 w 62"/>
                <a:gd name="T27" fmla="*/ 23 h 26"/>
                <a:gd name="T28" fmla="*/ 10 w 62"/>
                <a:gd name="T29" fmla="*/ 26 h 26"/>
                <a:gd name="T30" fmla="*/ 22 w 62"/>
                <a:gd name="T31" fmla="*/ 24 h 26"/>
                <a:gd name="T32" fmla="*/ 22 w 62"/>
                <a:gd name="T33" fmla="*/ 21 h 26"/>
                <a:gd name="T34" fmla="*/ 27 w 62"/>
                <a:gd name="T35" fmla="*/ 21 h 26"/>
                <a:gd name="T36" fmla="*/ 32 w 62"/>
                <a:gd name="T37" fmla="*/ 19 h 26"/>
                <a:gd name="T38" fmla="*/ 37 w 62"/>
                <a:gd name="T39" fmla="*/ 19 h 26"/>
                <a:gd name="T40" fmla="*/ 40 w 62"/>
                <a:gd name="T41" fmla="*/ 16 h 26"/>
                <a:gd name="T42" fmla="*/ 45 w 62"/>
                <a:gd name="T43" fmla="*/ 13 h 26"/>
                <a:gd name="T44" fmla="*/ 49 w 62"/>
                <a:gd name="T45" fmla="*/ 15 h 26"/>
                <a:gd name="T46" fmla="*/ 52 w 62"/>
                <a:gd name="T47" fmla="*/ 16 h 26"/>
                <a:gd name="T48" fmla="*/ 56 w 62"/>
                <a:gd name="T49" fmla="*/ 16 h 26"/>
                <a:gd name="T50" fmla="*/ 59 w 62"/>
                <a:gd name="T51" fmla="*/ 16 h 26"/>
                <a:gd name="T52" fmla="*/ 59 w 62"/>
                <a:gd name="T53" fmla="*/ 16 h 26"/>
                <a:gd name="T54" fmla="*/ 62 w 62"/>
                <a:gd name="T55" fmla="*/ 10 h 26"/>
                <a:gd name="T56" fmla="*/ 59 w 62"/>
                <a:gd name="T57" fmla="*/ 7 h 26"/>
                <a:gd name="T58" fmla="*/ 57 w 62"/>
                <a:gd name="T59" fmla="*/ 5 h 26"/>
                <a:gd name="T60" fmla="*/ 57 w 62"/>
                <a:gd name="T61" fmla="*/ 5 h 26"/>
                <a:gd name="T62" fmla="*/ 57 w 62"/>
                <a:gd name="T63" fmla="*/ 5 h 26"/>
                <a:gd name="T64" fmla="*/ 57 w 62"/>
                <a:gd name="T6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26">
                  <a:moveTo>
                    <a:pt x="57" y="5"/>
                  </a:moveTo>
                  <a:lnTo>
                    <a:pt x="56" y="4"/>
                  </a:lnTo>
                  <a:lnTo>
                    <a:pt x="54" y="2"/>
                  </a:lnTo>
                  <a:lnTo>
                    <a:pt x="49" y="2"/>
                  </a:lnTo>
                  <a:lnTo>
                    <a:pt x="45" y="4"/>
                  </a:lnTo>
                  <a:lnTo>
                    <a:pt x="40" y="2"/>
                  </a:lnTo>
                  <a:lnTo>
                    <a:pt x="38" y="2"/>
                  </a:lnTo>
                  <a:lnTo>
                    <a:pt x="37" y="4"/>
                  </a:lnTo>
                  <a:lnTo>
                    <a:pt x="33" y="5"/>
                  </a:lnTo>
                  <a:lnTo>
                    <a:pt x="32" y="5"/>
                  </a:lnTo>
                  <a:lnTo>
                    <a:pt x="30" y="2"/>
                  </a:lnTo>
                  <a:lnTo>
                    <a:pt x="27" y="0"/>
                  </a:lnTo>
                  <a:lnTo>
                    <a:pt x="24" y="0"/>
                  </a:lnTo>
                  <a:lnTo>
                    <a:pt x="22" y="2"/>
                  </a:lnTo>
                  <a:lnTo>
                    <a:pt x="19" y="2"/>
                  </a:lnTo>
                  <a:lnTo>
                    <a:pt x="13" y="4"/>
                  </a:lnTo>
                  <a:lnTo>
                    <a:pt x="13" y="4"/>
                  </a:lnTo>
                  <a:lnTo>
                    <a:pt x="13" y="7"/>
                  </a:lnTo>
                  <a:lnTo>
                    <a:pt x="11" y="7"/>
                  </a:lnTo>
                  <a:lnTo>
                    <a:pt x="10" y="10"/>
                  </a:lnTo>
                  <a:lnTo>
                    <a:pt x="5" y="10"/>
                  </a:lnTo>
                  <a:lnTo>
                    <a:pt x="2" y="10"/>
                  </a:lnTo>
                  <a:lnTo>
                    <a:pt x="0" y="13"/>
                  </a:lnTo>
                  <a:lnTo>
                    <a:pt x="0" y="16"/>
                  </a:lnTo>
                  <a:lnTo>
                    <a:pt x="0" y="16"/>
                  </a:lnTo>
                  <a:lnTo>
                    <a:pt x="0" y="19"/>
                  </a:lnTo>
                  <a:lnTo>
                    <a:pt x="3" y="21"/>
                  </a:lnTo>
                  <a:lnTo>
                    <a:pt x="6" y="23"/>
                  </a:lnTo>
                  <a:lnTo>
                    <a:pt x="6" y="23"/>
                  </a:lnTo>
                  <a:lnTo>
                    <a:pt x="10" y="26"/>
                  </a:lnTo>
                  <a:lnTo>
                    <a:pt x="13" y="26"/>
                  </a:lnTo>
                  <a:lnTo>
                    <a:pt x="22" y="24"/>
                  </a:lnTo>
                  <a:lnTo>
                    <a:pt x="22" y="23"/>
                  </a:lnTo>
                  <a:lnTo>
                    <a:pt x="22" y="21"/>
                  </a:lnTo>
                  <a:lnTo>
                    <a:pt x="24" y="21"/>
                  </a:lnTo>
                  <a:lnTo>
                    <a:pt x="27" y="21"/>
                  </a:lnTo>
                  <a:lnTo>
                    <a:pt x="29" y="18"/>
                  </a:lnTo>
                  <a:lnTo>
                    <a:pt x="32" y="19"/>
                  </a:lnTo>
                  <a:lnTo>
                    <a:pt x="35" y="19"/>
                  </a:lnTo>
                  <a:lnTo>
                    <a:pt x="37" y="19"/>
                  </a:lnTo>
                  <a:lnTo>
                    <a:pt x="38" y="18"/>
                  </a:lnTo>
                  <a:lnTo>
                    <a:pt x="40" y="16"/>
                  </a:lnTo>
                  <a:lnTo>
                    <a:pt x="40" y="13"/>
                  </a:lnTo>
                  <a:lnTo>
                    <a:pt x="45" y="13"/>
                  </a:lnTo>
                  <a:lnTo>
                    <a:pt x="48" y="16"/>
                  </a:lnTo>
                  <a:lnTo>
                    <a:pt x="49" y="15"/>
                  </a:lnTo>
                  <a:lnTo>
                    <a:pt x="51" y="13"/>
                  </a:lnTo>
                  <a:lnTo>
                    <a:pt x="52" y="16"/>
                  </a:lnTo>
                  <a:lnTo>
                    <a:pt x="54" y="16"/>
                  </a:lnTo>
                  <a:lnTo>
                    <a:pt x="56" y="16"/>
                  </a:lnTo>
                  <a:lnTo>
                    <a:pt x="57" y="16"/>
                  </a:lnTo>
                  <a:lnTo>
                    <a:pt x="59" y="16"/>
                  </a:lnTo>
                  <a:lnTo>
                    <a:pt x="59" y="16"/>
                  </a:lnTo>
                  <a:lnTo>
                    <a:pt x="59" y="16"/>
                  </a:lnTo>
                  <a:lnTo>
                    <a:pt x="59" y="13"/>
                  </a:lnTo>
                  <a:lnTo>
                    <a:pt x="62" y="10"/>
                  </a:lnTo>
                  <a:lnTo>
                    <a:pt x="62" y="7"/>
                  </a:lnTo>
                  <a:lnTo>
                    <a:pt x="59" y="7"/>
                  </a:lnTo>
                  <a:lnTo>
                    <a:pt x="57" y="5"/>
                  </a:lnTo>
                  <a:lnTo>
                    <a:pt x="57" y="5"/>
                  </a:lnTo>
                  <a:lnTo>
                    <a:pt x="57" y="5"/>
                  </a:lnTo>
                  <a:lnTo>
                    <a:pt x="57" y="5"/>
                  </a:lnTo>
                  <a:lnTo>
                    <a:pt x="57" y="5"/>
                  </a:lnTo>
                  <a:lnTo>
                    <a:pt x="57" y="5"/>
                  </a:lnTo>
                  <a:lnTo>
                    <a:pt x="57" y="5"/>
                  </a:lnTo>
                  <a:lnTo>
                    <a:pt x="57" y="5"/>
                  </a:lnTo>
                  <a:lnTo>
                    <a:pt x="57" y="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1" name="Freeform 192">
              <a:extLst>
                <a:ext uri="{FF2B5EF4-FFF2-40B4-BE49-F238E27FC236}">
                  <a16:creationId xmlns:a16="http://schemas.microsoft.com/office/drawing/2014/main" id="{81B37C67-F422-26CE-DC69-A1EFFD2454E0}"/>
                </a:ext>
              </a:extLst>
            </p:cNvPr>
            <p:cNvSpPr>
              <a:spLocks/>
            </p:cNvSpPr>
            <p:nvPr/>
          </p:nvSpPr>
          <p:spPr bwMode="auto">
            <a:xfrm>
              <a:off x="6112363" y="2385424"/>
              <a:ext cx="165988" cy="78508"/>
            </a:xfrm>
            <a:custGeom>
              <a:avLst/>
              <a:gdLst>
                <a:gd name="T0" fmla="*/ 70 w 74"/>
                <a:gd name="T1" fmla="*/ 18 h 35"/>
                <a:gd name="T2" fmla="*/ 65 w 74"/>
                <a:gd name="T3" fmla="*/ 16 h 35"/>
                <a:gd name="T4" fmla="*/ 60 w 74"/>
                <a:gd name="T5" fmla="*/ 16 h 35"/>
                <a:gd name="T6" fmla="*/ 60 w 74"/>
                <a:gd name="T7" fmla="*/ 11 h 35"/>
                <a:gd name="T8" fmla="*/ 55 w 74"/>
                <a:gd name="T9" fmla="*/ 11 h 35"/>
                <a:gd name="T10" fmla="*/ 54 w 74"/>
                <a:gd name="T11" fmla="*/ 11 h 35"/>
                <a:gd name="T12" fmla="*/ 47 w 74"/>
                <a:gd name="T13" fmla="*/ 14 h 35"/>
                <a:gd name="T14" fmla="*/ 44 w 74"/>
                <a:gd name="T15" fmla="*/ 11 h 35"/>
                <a:gd name="T16" fmla="*/ 44 w 74"/>
                <a:gd name="T17" fmla="*/ 8 h 35"/>
                <a:gd name="T18" fmla="*/ 44 w 74"/>
                <a:gd name="T19" fmla="*/ 6 h 35"/>
                <a:gd name="T20" fmla="*/ 41 w 74"/>
                <a:gd name="T21" fmla="*/ 5 h 35"/>
                <a:gd name="T22" fmla="*/ 35 w 74"/>
                <a:gd name="T23" fmla="*/ 5 h 35"/>
                <a:gd name="T24" fmla="*/ 33 w 74"/>
                <a:gd name="T25" fmla="*/ 3 h 35"/>
                <a:gd name="T26" fmla="*/ 30 w 74"/>
                <a:gd name="T27" fmla="*/ 3 h 35"/>
                <a:gd name="T28" fmla="*/ 27 w 74"/>
                <a:gd name="T29" fmla="*/ 3 h 35"/>
                <a:gd name="T30" fmla="*/ 27 w 74"/>
                <a:gd name="T31" fmla="*/ 3 h 35"/>
                <a:gd name="T32" fmla="*/ 24 w 74"/>
                <a:gd name="T33" fmla="*/ 0 h 35"/>
                <a:gd name="T34" fmla="*/ 22 w 74"/>
                <a:gd name="T35" fmla="*/ 3 h 35"/>
                <a:gd name="T36" fmla="*/ 14 w 74"/>
                <a:gd name="T37" fmla="*/ 6 h 35"/>
                <a:gd name="T38" fmla="*/ 4 w 74"/>
                <a:gd name="T39" fmla="*/ 10 h 35"/>
                <a:gd name="T40" fmla="*/ 1 w 74"/>
                <a:gd name="T41" fmla="*/ 13 h 35"/>
                <a:gd name="T42" fmla="*/ 1 w 74"/>
                <a:gd name="T43" fmla="*/ 13 h 35"/>
                <a:gd name="T44" fmla="*/ 3 w 74"/>
                <a:gd name="T45" fmla="*/ 18 h 35"/>
                <a:gd name="T46" fmla="*/ 4 w 74"/>
                <a:gd name="T47" fmla="*/ 22 h 35"/>
                <a:gd name="T48" fmla="*/ 14 w 74"/>
                <a:gd name="T49" fmla="*/ 29 h 35"/>
                <a:gd name="T50" fmla="*/ 17 w 74"/>
                <a:gd name="T51" fmla="*/ 32 h 35"/>
                <a:gd name="T52" fmla="*/ 19 w 74"/>
                <a:gd name="T53" fmla="*/ 32 h 35"/>
                <a:gd name="T54" fmla="*/ 24 w 74"/>
                <a:gd name="T55" fmla="*/ 35 h 35"/>
                <a:gd name="T56" fmla="*/ 27 w 74"/>
                <a:gd name="T57" fmla="*/ 35 h 35"/>
                <a:gd name="T58" fmla="*/ 28 w 74"/>
                <a:gd name="T59" fmla="*/ 32 h 35"/>
                <a:gd name="T60" fmla="*/ 30 w 74"/>
                <a:gd name="T61" fmla="*/ 29 h 35"/>
                <a:gd name="T62" fmla="*/ 38 w 74"/>
                <a:gd name="T63" fmla="*/ 32 h 35"/>
                <a:gd name="T64" fmla="*/ 44 w 74"/>
                <a:gd name="T65" fmla="*/ 32 h 35"/>
                <a:gd name="T66" fmla="*/ 47 w 74"/>
                <a:gd name="T67" fmla="*/ 32 h 35"/>
                <a:gd name="T68" fmla="*/ 51 w 74"/>
                <a:gd name="T69" fmla="*/ 33 h 35"/>
                <a:gd name="T70" fmla="*/ 54 w 74"/>
                <a:gd name="T71" fmla="*/ 35 h 35"/>
                <a:gd name="T72" fmla="*/ 57 w 74"/>
                <a:gd name="T73" fmla="*/ 32 h 35"/>
                <a:gd name="T74" fmla="*/ 63 w 74"/>
                <a:gd name="T75" fmla="*/ 29 h 35"/>
                <a:gd name="T76" fmla="*/ 66 w 74"/>
                <a:gd name="T77" fmla="*/ 26 h 35"/>
                <a:gd name="T78" fmla="*/ 71 w 74"/>
                <a:gd name="T79" fmla="*/ 24 h 35"/>
                <a:gd name="T80" fmla="*/ 71 w 74"/>
                <a:gd name="T81" fmla="*/ 19 h 35"/>
                <a:gd name="T82" fmla="*/ 71 w 74"/>
                <a:gd name="T83" fmla="*/ 19 h 35"/>
                <a:gd name="T84" fmla="*/ 71 w 74"/>
                <a:gd name="T85" fmla="*/ 19 h 35"/>
                <a:gd name="T86" fmla="*/ 71 w 74"/>
                <a:gd name="T87" fmla="*/ 19 h 35"/>
                <a:gd name="T88" fmla="*/ 71 w 74"/>
                <a:gd name="T89"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35">
                  <a:moveTo>
                    <a:pt x="71" y="19"/>
                  </a:moveTo>
                  <a:lnTo>
                    <a:pt x="70" y="18"/>
                  </a:lnTo>
                  <a:lnTo>
                    <a:pt x="66" y="16"/>
                  </a:lnTo>
                  <a:lnTo>
                    <a:pt x="65" y="16"/>
                  </a:lnTo>
                  <a:lnTo>
                    <a:pt x="62" y="16"/>
                  </a:lnTo>
                  <a:lnTo>
                    <a:pt x="60" y="16"/>
                  </a:lnTo>
                  <a:lnTo>
                    <a:pt x="60" y="14"/>
                  </a:lnTo>
                  <a:lnTo>
                    <a:pt x="60" y="11"/>
                  </a:lnTo>
                  <a:lnTo>
                    <a:pt x="57" y="11"/>
                  </a:lnTo>
                  <a:lnTo>
                    <a:pt x="55" y="11"/>
                  </a:lnTo>
                  <a:lnTo>
                    <a:pt x="51" y="10"/>
                  </a:lnTo>
                  <a:lnTo>
                    <a:pt x="54" y="11"/>
                  </a:lnTo>
                  <a:lnTo>
                    <a:pt x="51" y="14"/>
                  </a:lnTo>
                  <a:lnTo>
                    <a:pt x="47" y="14"/>
                  </a:lnTo>
                  <a:lnTo>
                    <a:pt x="47" y="13"/>
                  </a:lnTo>
                  <a:lnTo>
                    <a:pt x="44" y="11"/>
                  </a:lnTo>
                  <a:lnTo>
                    <a:pt x="44" y="10"/>
                  </a:lnTo>
                  <a:lnTo>
                    <a:pt x="44" y="8"/>
                  </a:lnTo>
                  <a:lnTo>
                    <a:pt x="44" y="6"/>
                  </a:lnTo>
                  <a:lnTo>
                    <a:pt x="44" y="6"/>
                  </a:lnTo>
                  <a:lnTo>
                    <a:pt x="41" y="6"/>
                  </a:lnTo>
                  <a:lnTo>
                    <a:pt x="41" y="5"/>
                  </a:lnTo>
                  <a:lnTo>
                    <a:pt x="38" y="5"/>
                  </a:lnTo>
                  <a:lnTo>
                    <a:pt x="35" y="5"/>
                  </a:lnTo>
                  <a:lnTo>
                    <a:pt x="33" y="3"/>
                  </a:lnTo>
                  <a:lnTo>
                    <a:pt x="33" y="3"/>
                  </a:lnTo>
                  <a:lnTo>
                    <a:pt x="31" y="3"/>
                  </a:lnTo>
                  <a:lnTo>
                    <a:pt x="30" y="3"/>
                  </a:lnTo>
                  <a:lnTo>
                    <a:pt x="28" y="3"/>
                  </a:lnTo>
                  <a:lnTo>
                    <a:pt x="27" y="3"/>
                  </a:lnTo>
                  <a:lnTo>
                    <a:pt x="27" y="3"/>
                  </a:lnTo>
                  <a:lnTo>
                    <a:pt x="27" y="3"/>
                  </a:lnTo>
                  <a:lnTo>
                    <a:pt x="24" y="0"/>
                  </a:lnTo>
                  <a:lnTo>
                    <a:pt x="24" y="0"/>
                  </a:lnTo>
                  <a:lnTo>
                    <a:pt x="24" y="3"/>
                  </a:lnTo>
                  <a:lnTo>
                    <a:pt x="22" y="3"/>
                  </a:lnTo>
                  <a:lnTo>
                    <a:pt x="17" y="5"/>
                  </a:lnTo>
                  <a:lnTo>
                    <a:pt x="14" y="6"/>
                  </a:lnTo>
                  <a:lnTo>
                    <a:pt x="9" y="8"/>
                  </a:lnTo>
                  <a:lnTo>
                    <a:pt x="4" y="10"/>
                  </a:lnTo>
                  <a:lnTo>
                    <a:pt x="1" y="11"/>
                  </a:lnTo>
                  <a:lnTo>
                    <a:pt x="1" y="13"/>
                  </a:lnTo>
                  <a:lnTo>
                    <a:pt x="0" y="13"/>
                  </a:lnTo>
                  <a:lnTo>
                    <a:pt x="1" y="13"/>
                  </a:lnTo>
                  <a:lnTo>
                    <a:pt x="1" y="14"/>
                  </a:lnTo>
                  <a:lnTo>
                    <a:pt x="3" y="18"/>
                  </a:lnTo>
                  <a:lnTo>
                    <a:pt x="1" y="19"/>
                  </a:lnTo>
                  <a:lnTo>
                    <a:pt x="4" y="22"/>
                  </a:lnTo>
                  <a:lnTo>
                    <a:pt x="8" y="26"/>
                  </a:lnTo>
                  <a:lnTo>
                    <a:pt x="14" y="29"/>
                  </a:lnTo>
                  <a:lnTo>
                    <a:pt x="17" y="32"/>
                  </a:lnTo>
                  <a:lnTo>
                    <a:pt x="17" y="32"/>
                  </a:lnTo>
                  <a:lnTo>
                    <a:pt x="17" y="32"/>
                  </a:lnTo>
                  <a:lnTo>
                    <a:pt x="19" y="32"/>
                  </a:lnTo>
                  <a:lnTo>
                    <a:pt x="20" y="35"/>
                  </a:lnTo>
                  <a:lnTo>
                    <a:pt x="24" y="35"/>
                  </a:lnTo>
                  <a:lnTo>
                    <a:pt x="27" y="35"/>
                  </a:lnTo>
                  <a:lnTo>
                    <a:pt x="27" y="35"/>
                  </a:lnTo>
                  <a:lnTo>
                    <a:pt x="28" y="35"/>
                  </a:lnTo>
                  <a:lnTo>
                    <a:pt x="28" y="32"/>
                  </a:lnTo>
                  <a:lnTo>
                    <a:pt x="30" y="32"/>
                  </a:lnTo>
                  <a:lnTo>
                    <a:pt x="30" y="29"/>
                  </a:lnTo>
                  <a:lnTo>
                    <a:pt x="35" y="29"/>
                  </a:lnTo>
                  <a:lnTo>
                    <a:pt x="38" y="32"/>
                  </a:lnTo>
                  <a:lnTo>
                    <a:pt x="41" y="32"/>
                  </a:lnTo>
                  <a:lnTo>
                    <a:pt x="44" y="32"/>
                  </a:lnTo>
                  <a:lnTo>
                    <a:pt x="44" y="32"/>
                  </a:lnTo>
                  <a:lnTo>
                    <a:pt x="47" y="32"/>
                  </a:lnTo>
                  <a:lnTo>
                    <a:pt x="51" y="32"/>
                  </a:lnTo>
                  <a:lnTo>
                    <a:pt x="51" y="33"/>
                  </a:lnTo>
                  <a:lnTo>
                    <a:pt x="51" y="35"/>
                  </a:lnTo>
                  <a:lnTo>
                    <a:pt x="54" y="35"/>
                  </a:lnTo>
                  <a:lnTo>
                    <a:pt x="54" y="32"/>
                  </a:lnTo>
                  <a:lnTo>
                    <a:pt x="57" y="32"/>
                  </a:lnTo>
                  <a:lnTo>
                    <a:pt x="62" y="32"/>
                  </a:lnTo>
                  <a:lnTo>
                    <a:pt x="63" y="29"/>
                  </a:lnTo>
                  <a:lnTo>
                    <a:pt x="65" y="29"/>
                  </a:lnTo>
                  <a:lnTo>
                    <a:pt x="66" y="26"/>
                  </a:lnTo>
                  <a:lnTo>
                    <a:pt x="66" y="26"/>
                  </a:lnTo>
                  <a:lnTo>
                    <a:pt x="71" y="24"/>
                  </a:lnTo>
                  <a:lnTo>
                    <a:pt x="74" y="24"/>
                  </a:lnTo>
                  <a:lnTo>
                    <a:pt x="71" y="19"/>
                  </a:lnTo>
                  <a:lnTo>
                    <a:pt x="71" y="19"/>
                  </a:lnTo>
                  <a:lnTo>
                    <a:pt x="71" y="19"/>
                  </a:lnTo>
                  <a:lnTo>
                    <a:pt x="71" y="19"/>
                  </a:lnTo>
                  <a:lnTo>
                    <a:pt x="71" y="19"/>
                  </a:lnTo>
                  <a:lnTo>
                    <a:pt x="71" y="19"/>
                  </a:lnTo>
                  <a:lnTo>
                    <a:pt x="71" y="19"/>
                  </a:lnTo>
                  <a:lnTo>
                    <a:pt x="71" y="19"/>
                  </a:lnTo>
                  <a:lnTo>
                    <a:pt x="71" y="1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2" name="Freeform 202">
              <a:extLst>
                <a:ext uri="{FF2B5EF4-FFF2-40B4-BE49-F238E27FC236}">
                  <a16:creationId xmlns:a16="http://schemas.microsoft.com/office/drawing/2014/main" id="{0B0387EB-FD10-6482-4A4E-6A163B5C52F2}"/>
                </a:ext>
              </a:extLst>
            </p:cNvPr>
            <p:cNvSpPr>
              <a:spLocks/>
            </p:cNvSpPr>
            <p:nvPr/>
          </p:nvSpPr>
          <p:spPr bwMode="auto">
            <a:xfrm>
              <a:off x="6143765" y="2528980"/>
              <a:ext cx="150286" cy="116639"/>
            </a:xfrm>
            <a:custGeom>
              <a:avLst/>
              <a:gdLst>
                <a:gd name="T0" fmla="*/ 48 w 67"/>
                <a:gd name="T1" fmla="*/ 49 h 52"/>
                <a:gd name="T2" fmla="*/ 37 w 67"/>
                <a:gd name="T3" fmla="*/ 38 h 52"/>
                <a:gd name="T4" fmla="*/ 32 w 67"/>
                <a:gd name="T5" fmla="*/ 31 h 52"/>
                <a:gd name="T6" fmla="*/ 25 w 67"/>
                <a:gd name="T7" fmla="*/ 27 h 52"/>
                <a:gd name="T8" fmla="*/ 25 w 67"/>
                <a:gd name="T9" fmla="*/ 22 h 52"/>
                <a:gd name="T10" fmla="*/ 27 w 67"/>
                <a:gd name="T11" fmla="*/ 19 h 52"/>
                <a:gd name="T12" fmla="*/ 33 w 67"/>
                <a:gd name="T13" fmla="*/ 22 h 52"/>
                <a:gd name="T14" fmla="*/ 35 w 67"/>
                <a:gd name="T15" fmla="*/ 19 h 52"/>
                <a:gd name="T16" fmla="*/ 38 w 67"/>
                <a:gd name="T17" fmla="*/ 20 h 52"/>
                <a:gd name="T18" fmla="*/ 43 w 67"/>
                <a:gd name="T19" fmla="*/ 20 h 52"/>
                <a:gd name="T20" fmla="*/ 49 w 67"/>
                <a:gd name="T21" fmla="*/ 22 h 52"/>
                <a:gd name="T22" fmla="*/ 51 w 67"/>
                <a:gd name="T23" fmla="*/ 20 h 52"/>
                <a:gd name="T24" fmla="*/ 57 w 67"/>
                <a:gd name="T25" fmla="*/ 20 h 52"/>
                <a:gd name="T26" fmla="*/ 60 w 67"/>
                <a:gd name="T27" fmla="*/ 23 h 52"/>
                <a:gd name="T28" fmla="*/ 63 w 67"/>
                <a:gd name="T29" fmla="*/ 23 h 52"/>
                <a:gd name="T30" fmla="*/ 63 w 67"/>
                <a:gd name="T31" fmla="*/ 20 h 52"/>
                <a:gd name="T32" fmla="*/ 63 w 67"/>
                <a:gd name="T33" fmla="*/ 17 h 52"/>
                <a:gd name="T34" fmla="*/ 62 w 67"/>
                <a:gd name="T35" fmla="*/ 16 h 52"/>
                <a:gd name="T36" fmla="*/ 62 w 67"/>
                <a:gd name="T37" fmla="*/ 14 h 52"/>
                <a:gd name="T38" fmla="*/ 60 w 67"/>
                <a:gd name="T39" fmla="*/ 9 h 52"/>
                <a:gd name="T40" fmla="*/ 57 w 67"/>
                <a:gd name="T41" fmla="*/ 11 h 52"/>
                <a:gd name="T42" fmla="*/ 51 w 67"/>
                <a:gd name="T43" fmla="*/ 11 h 52"/>
                <a:gd name="T44" fmla="*/ 46 w 67"/>
                <a:gd name="T45" fmla="*/ 9 h 52"/>
                <a:gd name="T46" fmla="*/ 35 w 67"/>
                <a:gd name="T47" fmla="*/ 3 h 52"/>
                <a:gd name="T48" fmla="*/ 32 w 67"/>
                <a:gd name="T49" fmla="*/ 1 h 52"/>
                <a:gd name="T50" fmla="*/ 30 w 67"/>
                <a:gd name="T51" fmla="*/ 3 h 52"/>
                <a:gd name="T52" fmla="*/ 27 w 67"/>
                <a:gd name="T53" fmla="*/ 6 h 52"/>
                <a:gd name="T54" fmla="*/ 25 w 67"/>
                <a:gd name="T55" fmla="*/ 6 h 52"/>
                <a:gd name="T56" fmla="*/ 22 w 67"/>
                <a:gd name="T57" fmla="*/ 11 h 52"/>
                <a:gd name="T58" fmla="*/ 19 w 67"/>
                <a:gd name="T59" fmla="*/ 12 h 52"/>
                <a:gd name="T60" fmla="*/ 22 w 67"/>
                <a:gd name="T61" fmla="*/ 16 h 52"/>
                <a:gd name="T62" fmla="*/ 19 w 67"/>
                <a:gd name="T63" fmla="*/ 16 h 52"/>
                <a:gd name="T64" fmla="*/ 19 w 67"/>
                <a:gd name="T65" fmla="*/ 16 h 52"/>
                <a:gd name="T66" fmla="*/ 16 w 67"/>
                <a:gd name="T67" fmla="*/ 14 h 52"/>
                <a:gd name="T68" fmla="*/ 10 w 67"/>
                <a:gd name="T69" fmla="*/ 16 h 52"/>
                <a:gd name="T70" fmla="*/ 6 w 67"/>
                <a:gd name="T71" fmla="*/ 16 h 52"/>
                <a:gd name="T72" fmla="*/ 3 w 67"/>
                <a:gd name="T73" fmla="*/ 16 h 52"/>
                <a:gd name="T74" fmla="*/ 2 w 67"/>
                <a:gd name="T75" fmla="*/ 16 h 52"/>
                <a:gd name="T76" fmla="*/ 0 w 67"/>
                <a:gd name="T77" fmla="*/ 19 h 52"/>
                <a:gd name="T78" fmla="*/ 3 w 67"/>
                <a:gd name="T79" fmla="*/ 20 h 52"/>
                <a:gd name="T80" fmla="*/ 3 w 67"/>
                <a:gd name="T81" fmla="*/ 23 h 52"/>
                <a:gd name="T82" fmla="*/ 6 w 67"/>
                <a:gd name="T83" fmla="*/ 22 h 52"/>
                <a:gd name="T84" fmla="*/ 8 w 67"/>
                <a:gd name="T85" fmla="*/ 19 h 52"/>
                <a:gd name="T86" fmla="*/ 11 w 67"/>
                <a:gd name="T87" fmla="*/ 17 h 52"/>
                <a:gd name="T88" fmla="*/ 16 w 67"/>
                <a:gd name="T89" fmla="*/ 22 h 52"/>
                <a:gd name="T90" fmla="*/ 16 w 67"/>
                <a:gd name="T91" fmla="*/ 27 h 52"/>
                <a:gd name="T92" fmla="*/ 22 w 67"/>
                <a:gd name="T93" fmla="*/ 31 h 52"/>
                <a:gd name="T94" fmla="*/ 22 w 67"/>
                <a:gd name="T95" fmla="*/ 36 h 52"/>
                <a:gd name="T96" fmla="*/ 27 w 67"/>
                <a:gd name="T97" fmla="*/ 41 h 52"/>
                <a:gd name="T98" fmla="*/ 30 w 67"/>
                <a:gd name="T99" fmla="*/ 43 h 52"/>
                <a:gd name="T100" fmla="*/ 40 w 67"/>
                <a:gd name="T101" fmla="*/ 44 h 52"/>
                <a:gd name="T102" fmla="*/ 48 w 67"/>
                <a:gd name="T103" fmla="*/ 52 h 52"/>
                <a:gd name="T104" fmla="*/ 48 w 67"/>
                <a:gd name="T105"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52">
                  <a:moveTo>
                    <a:pt x="48" y="49"/>
                  </a:moveTo>
                  <a:lnTo>
                    <a:pt x="48" y="49"/>
                  </a:lnTo>
                  <a:lnTo>
                    <a:pt x="48" y="49"/>
                  </a:lnTo>
                  <a:lnTo>
                    <a:pt x="48" y="49"/>
                  </a:lnTo>
                  <a:lnTo>
                    <a:pt x="44" y="46"/>
                  </a:lnTo>
                  <a:lnTo>
                    <a:pt x="44" y="46"/>
                  </a:lnTo>
                  <a:lnTo>
                    <a:pt x="37" y="38"/>
                  </a:lnTo>
                  <a:lnTo>
                    <a:pt x="37" y="38"/>
                  </a:lnTo>
                  <a:lnTo>
                    <a:pt x="32" y="33"/>
                  </a:lnTo>
                  <a:lnTo>
                    <a:pt x="32" y="33"/>
                  </a:lnTo>
                  <a:lnTo>
                    <a:pt x="32" y="31"/>
                  </a:lnTo>
                  <a:lnTo>
                    <a:pt x="32" y="31"/>
                  </a:lnTo>
                  <a:lnTo>
                    <a:pt x="30" y="27"/>
                  </a:lnTo>
                  <a:lnTo>
                    <a:pt x="30" y="27"/>
                  </a:lnTo>
                  <a:lnTo>
                    <a:pt x="25" y="27"/>
                  </a:lnTo>
                  <a:lnTo>
                    <a:pt x="25" y="27"/>
                  </a:lnTo>
                  <a:lnTo>
                    <a:pt x="25" y="23"/>
                  </a:lnTo>
                  <a:lnTo>
                    <a:pt x="25" y="23"/>
                  </a:lnTo>
                  <a:lnTo>
                    <a:pt x="25" y="22"/>
                  </a:lnTo>
                  <a:lnTo>
                    <a:pt x="25" y="22"/>
                  </a:lnTo>
                  <a:lnTo>
                    <a:pt x="25" y="19"/>
                  </a:lnTo>
                  <a:lnTo>
                    <a:pt x="25" y="19"/>
                  </a:lnTo>
                  <a:lnTo>
                    <a:pt x="27" y="19"/>
                  </a:lnTo>
                  <a:lnTo>
                    <a:pt x="27" y="19"/>
                  </a:lnTo>
                  <a:lnTo>
                    <a:pt x="30" y="22"/>
                  </a:lnTo>
                  <a:lnTo>
                    <a:pt x="30" y="22"/>
                  </a:lnTo>
                  <a:lnTo>
                    <a:pt x="33" y="22"/>
                  </a:lnTo>
                  <a:lnTo>
                    <a:pt x="33" y="22"/>
                  </a:lnTo>
                  <a:lnTo>
                    <a:pt x="33" y="20"/>
                  </a:lnTo>
                  <a:lnTo>
                    <a:pt x="33" y="20"/>
                  </a:lnTo>
                  <a:lnTo>
                    <a:pt x="35" y="19"/>
                  </a:lnTo>
                  <a:lnTo>
                    <a:pt x="35" y="19"/>
                  </a:lnTo>
                  <a:lnTo>
                    <a:pt x="37" y="19"/>
                  </a:lnTo>
                  <a:lnTo>
                    <a:pt x="37" y="19"/>
                  </a:lnTo>
                  <a:lnTo>
                    <a:pt x="38" y="20"/>
                  </a:lnTo>
                  <a:lnTo>
                    <a:pt x="38" y="20"/>
                  </a:lnTo>
                  <a:lnTo>
                    <a:pt x="40" y="19"/>
                  </a:lnTo>
                  <a:lnTo>
                    <a:pt x="40" y="19"/>
                  </a:lnTo>
                  <a:lnTo>
                    <a:pt x="43" y="20"/>
                  </a:lnTo>
                  <a:lnTo>
                    <a:pt x="43" y="20"/>
                  </a:lnTo>
                  <a:lnTo>
                    <a:pt x="48" y="20"/>
                  </a:lnTo>
                  <a:lnTo>
                    <a:pt x="48" y="20"/>
                  </a:lnTo>
                  <a:lnTo>
                    <a:pt x="49" y="22"/>
                  </a:lnTo>
                  <a:lnTo>
                    <a:pt x="49" y="22"/>
                  </a:lnTo>
                  <a:lnTo>
                    <a:pt x="51" y="22"/>
                  </a:lnTo>
                  <a:lnTo>
                    <a:pt x="51" y="22"/>
                  </a:lnTo>
                  <a:lnTo>
                    <a:pt x="51" y="20"/>
                  </a:lnTo>
                  <a:lnTo>
                    <a:pt x="51" y="20"/>
                  </a:lnTo>
                  <a:lnTo>
                    <a:pt x="54" y="22"/>
                  </a:lnTo>
                  <a:lnTo>
                    <a:pt x="54" y="22"/>
                  </a:lnTo>
                  <a:lnTo>
                    <a:pt x="57" y="20"/>
                  </a:lnTo>
                  <a:lnTo>
                    <a:pt x="57" y="20"/>
                  </a:lnTo>
                  <a:lnTo>
                    <a:pt x="60" y="22"/>
                  </a:lnTo>
                  <a:lnTo>
                    <a:pt x="60" y="22"/>
                  </a:lnTo>
                  <a:lnTo>
                    <a:pt x="60" y="23"/>
                  </a:lnTo>
                  <a:lnTo>
                    <a:pt x="60" y="23"/>
                  </a:lnTo>
                  <a:lnTo>
                    <a:pt x="62" y="25"/>
                  </a:lnTo>
                  <a:lnTo>
                    <a:pt x="62" y="25"/>
                  </a:lnTo>
                  <a:lnTo>
                    <a:pt x="63" y="23"/>
                  </a:lnTo>
                  <a:lnTo>
                    <a:pt x="63" y="23"/>
                  </a:lnTo>
                  <a:lnTo>
                    <a:pt x="63" y="22"/>
                  </a:lnTo>
                  <a:lnTo>
                    <a:pt x="63" y="22"/>
                  </a:lnTo>
                  <a:lnTo>
                    <a:pt x="63" y="20"/>
                  </a:lnTo>
                  <a:lnTo>
                    <a:pt x="63" y="20"/>
                  </a:lnTo>
                  <a:lnTo>
                    <a:pt x="67" y="20"/>
                  </a:lnTo>
                  <a:lnTo>
                    <a:pt x="67" y="20"/>
                  </a:lnTo>
                  <a:lnTo>
                    <a:pt x="63" y="17"/>
                  </a:lnTo>
                  <a:lnTo>
                    <a:pt x="63" y="17"/>
                  </a:lnTo>
                  <a:lnTo>
                    <a:pt x="63" y="16"/>
                  </a:lnTo>
                  <a:lnTo>
                    <a:pt x="63" y="16"/>
                  </a:lnTo>
                  <a:lnTo>
                    <a:pt x="62" y="16"/>
                  </a:lnTo>
                  <a:lnTo>
                    <a:pt x="62" y="16"/>
                  </a:lnTo>
                  <a:lnTo>
                    <a:pt x="63" y="14"/>
                  </a:lnTo>
                  <a:lnTo>
                    <a:pt x="63" y="14"/>
                  </a:lnTo>
                  <a:lnTo>
                    <a:pt x="62" y="14"/>
                  </a:lnTo>
                  <a:lnTo>
                    <a:pt x="62" y="14"/>
                  </a:lnTo>
                  <a:lnTo>
                    <a:pt x="62" y="12"/>
                  </a:lnTo>
                  <a:lnTo>
                    <a:pt x="62" y="12"/>
                  </a:lnTo>
                  <a:lnTo>
                    <a:pt x="60" y="9"/>
                  </a:lnTo>
                  <a:lnTo>
                    <a:pt x="60" y="9"/>
                  </a:lnTo>
                  <a:lnTo>
                    <a:pt x="57" y="9"/>
                  </a:lnTo>
                  <a:lnTo>
                    <a:pt x="57" y="9"/>
                  </a:lnTo>
                  <a:lnTo>
                    <a:pt x="57" y="11"/>
                  </a:lnTo>
                  <a:lnTo>
                    <a:pt x="57" y="11"/>
                  </a:lnTo>
                  <a:lnTo>
                    <a:pt x="57" y="11"/>
                  </a:lnTo>
                  <a:lnTo>
                    <a:pt x="57" y="11"/>
                  </a:lnTo>
                  <a:lnTo>
                    <a:pt x="51" y="11"/>
                  </a:lnTo>
                  <a:lnTo>
                    <a:pt x="51" y="11"/>
                  </a:lnTo>
                  <a:lnTo>
                    <a:pt x="49" y="11"/>
                  </a:lnTo>
                  <a:lnTo>
                    <a:pt x="49" y="11"/>
                  </a:lnTo>
                  <a:lnTo>
                    <a:pt x="46" y="9"/>
                  </a:lnTo>
                  <a:lnTo>
                    <a:pt x="46" y="9"/>
                  </a:lnTo>
                  <a:lnTo>
                    <a:pt x="41" y="6"/>
                  </a:lnTo>
                  <a:lnTo>
                    <a:pt x="41" y="6"/>
                  </a:lnTo>
                  <a:lnTo>
                    <a:pt x="35" y="3"/>
                  </a:lnTo>
                  <a:lnTo>
                    <a:pt x="35" y="3"/>
                  </a:lnTo>
                  <a:lnTo>
                    <a:pt x="32" y="0"/>
                  </a:lnTo>
                  <a:lnTo>
                    <a:pt x="32" y="0"/>
                  </a:lnTo>
                  <a:lnTo>
                    <a:pt x="32" y="1"/>
                  </a:lnTo>
                  <a:lnTo>
                    <a:pt x="32" y="1"/>
                  </a:lnTo>
                  <a:lnTo>
                    <a:pt x="32" y="3"/>
                  </a:lnTo>
                  <a:lnTo>
                    <a:pt x="32" y="3"/>
                  </a:lnTo>
                  <a:lnTo>
                    <a:pt x="30" y="3"/>
                  </a:lnTo>
                  <a:lnTo>
                    <a:pt x="30" y="3"/>
                  </a:lnTo>
                  <a:lnTo>
                    <a:pt x="29" y="3"/>
                  </a:lnTo>
                  <a:lnTo>
                    <a:pt x="29" y="3"/>
                  </a:lnTo>
                  <a:lnTo>
                    <a:pt x="27" y="6"/>
                  </a:lnTo>
                  <a:lnTo>
                    <a:pt x="27" y="6"/>
                  </a:lnTo>
                  <a:lnTo>
                    <a:pt x="25" y="6"/>
                  </a:lnTo>
                  <a:lnTo>
                    <a:pt x="25" y="6"/>
                  </a:lnTo>
                  <a:lnTo>
                    <a:pt x="25" y="6"/>
                  </a:lnTo>
                  <a:lnTo>
                    <a:pt x="25" y="6"/>
                  </a:lnTo>
                  <a:lnTo>
                    <a:pt x="25" y="9"/>
                  </a:lnTo>
                  <a:lnTo>
                    <a:pt x="25" y="9"/>
                  </a:lnTo>
                  <a:lnTo>
                    <a:pt x="22" y="11"/>
                  </a:lnTo>
                  <a:lnTo>
                    <a:pt x="22" y="11"/>
                  </a:lnTo>
                  <a:lnTo>
                    <a:pt x="22" y="12"/>
                  </a:lnTo>
                  <a:lnTo>
                    <a:pt x="22" y="12"/>
                  </a:lnTo>
                  <a:lnTo>
                    <a:pt x="22" y="12"/>
                  </a:lnTo>
                  <a:lnTo>
                    <a:pt x="19" y="12"/>
                  </a:lnTo>
                  <a:lnTo>
                    <a:pt x="19" y="12"/>
                  </a:lnTo>
                  <a:lnTo>
                    <a:pt x="22" y="12"/>
                  </a:lnTo>
                  <a:lnTo>
                    <a:pt x="22" y="12"/>
                  </a:lnTo>
                  <a:lnTo>
                    <a:pt x="22" y="16"/>
                  </a:lnTo>
                  <a:lnTo>
                    <a:pt x="22" y="16"/>
                  </a:lnTo>
                  <a:lnTo>
                    <a:pt x="22" y="16"/>
                  </a:lnTo>
                  <a:lnTo>
                    <a:pt x="22" y="16"/>
                  </a:lnTo>
                  <a:lnTo>
                    <a:pt x="19" y="16"/>
                  </a:lnTo>
                  <a:lnTo>
                    <a:pt x="19" y="16"/>
                  </a:lnTo>
                  <a:lnTo>
                    <a:pt x="19" y="16"/>
                  </a:lnTo>
                  <a:lnTo>
                    <a:pt x="19" y="16"/>
                  </a:lnTo>
                  <a:lnTo>
                    <a:pt x="19" y="16"/>
                  </a:lnTo>
                  <a:lnTo>
                    <a:pt x="19" y="16"/>
                  </a:lnTo>
                  <a:lnTo>
                    <a:pt x="16" y="16"/>
                  </a:lnTo>
                  <a:lnTo>
                    <a:pt x="16" y="16"/>
                  </a:lnTo>
                  <a:lnTo>
                    <a:pt x="16" y="14"/>
                  </a:lnTo>
                  <a:lnTo>
                    <a:pt x="16" y="14"/>
                  </a:lnTo>
                  <a:lnTo>
                    <a:pt x="13" y="12"/>
                  </a:lnTo>
                  <a:lnTo>
                    <a:pt x="13" y="12"/>
                  </a:lnTo>
                  <a:lnTo>
                    <a:pt x="10" y="16"/>
                  </a:lnTo>
                  <a:lnTo>
                    <a:pt x="10" y="16"/>
                  </a:lnTo>
                  <a:lnTo>
                    <a:pt x="8" y="16"/>
                  </a:lnTo>
                  <a:lnTo>
                    <a:pt x="8" y="16"/>
                  </a:lnTo>
                  <a:lnTo>
                    <a:pt x="6" y="16"/>
                  </a:lnTo>
                  <a:lnTo>
                    <a:pt x="6" y="16"/>
                  </a:lnTo>
                  <a:lnTo>
                    <a:pt x="5" y="16"/>
                  </a:lnTo>
                  <a:lnTo>
                    <a:pt x="5" y="16"/>
                  </a:lnTo>
                  <a:lnTo>
                    <a:pt x="3" y="16"/>
                  </a:lnTo>
                  <a:lnTo>
                    <a:pt x="3" y="16"/>
                  </a:lnTo>
                  <a:lnTo>
                    <a:pt x="3" y="16"/>
                  </a:lnTo>
                  <a:lnTo>
                    <a:pt x="2" y="16"/>
                  </a:lnTo>
                  <a:lnTo>
                    <a:pt x="2" y="16"/>
                  </a:lnTo>
                  <a:lnTo>
                    <a:pt x="0" y="16"/>
                  </a:lnTo>
                  <a:lnTo>
                    <a:pt x="0" y="16"/>
                  </a:lnTo>
                  <a:lnTo>
                    <a:pt x="0" y="19"/>
                  </a:lnTo>
                  <a:lnTo>
                    <a:pt x="0" y="19"/>
                  </a:lnTo>
                  <a:lnTo>
                    <a:pt x="2" y="20"/>
                  </a:lnTo>
                  <a:lnTo>
                    <a:pt x="2" y="20"/>
                  </a:lnTo>
                  <a:lnTo>
                    <a:pt x="3" y="20"/>
                  </a:lnTo>
                  <a:lnTo>
                    <a:pt x="3" y="20"/>
                  </a:lnTo>
                  <a:lnTo>
                    <a:pt x="2" y="22"/>
                  </a:lnTo>
                  <a:lnTo>
                    <a:pt x="2" y="22"/>
                  </a:lnTo>
                  <a:lnTo>
                    <a:pt x="3" y="23"/>
                  </a:lnTo>
                  <a:lnTo>
                    <a:pt x="3" y="23"/>
                  </a:lnTo>
                  <a:lnTo>
                    <a:pt x="5" y="27"/>
                  </a:lnTo>
                  <a:lnTo>
                    <a:pt x="5" y="27"/>
                  </a:lnTo>
                  <a:lnTo>
                    <a:pt x="6" y="22"/>
                  </a:lnTo>
                  <a:lnTo>
                    <a:pt x="6" y="22"/>
                  </a:lnTo>
                  <a:lnTo>
                    <a:pt x="8" y="22"/>
                  </a:lnTo>
                  <a:lnTo>
                    <a:pt x="8" y="22"/>
                  </a:lnTo>
                  <a:lnTo>
                    <a:pt x="8" y="19"/>
                  </a:lnTo>
                  <a:lnTo>
                    <a:pt x="8" y="19"/>
                  </a:lnTo>
                  <a:lnTo>
                    <a:pt x="10" y="19"/>
                  </a:lnTo>
                  <a:lnTo>
                    <a:pt x="10" y="19"/>
                  </a:lnTo>
                  <a:lnTo>
                    <a:pt x="11" y="17"/>
                  </a:lnTo>
                  <a:lnTo>
                    <a:pt x="11" y="17"/>
                  </a:lnTo>
                  <a:lnTo>
                    <a:pt x="14" y="19"/>
                  </a:lnTo>
                  <a:lnTo>
                    <a:pt x="14" y="19"/>
                  </a:lnTo>
                  <a:lnTo>
                    <a:pt x="16" y="22"/>
                  </a:lnTo>
                  <a:lnTo>
                    <a:pt x="16" y="22"/>
                  </a:lnTo>
                  <a:lnTo>
                    <a:pt x="16" y="25"/>
                  </a:lnTo>
                  <a:lnTo>
                    <a:pt x="16" y="25"/>
                  </a:lnTo>
                  <a:lnTo>
                    <a:pt x="16" y="27"/>
                  </a:lnTo>
                  <a:lnTo>
                    <a:pt x="16" y="27"/>
                  </a:lnTo>
                  <a:lnTo>
                    <a:pt x="19" y="30"/>
                  </a:lnTo>
                  <a:lnTo>
                    <a:pt x="19" y="30"/>
                  </a:lnTo>
                  <a:lnTo>
                    <a:pt x="22" y="31"/>
                  </a:lnTo>
                  <a:lnTo>
                    <a:pt x="22" y="31"/>
                  </a:lnTo>
                  <a:lnTo>
                    <a:pt x="19" y="31"/>
                  </a:lnTo>
                  <a:lnTo>
                    <a:pt x="19" y="31"/>
                  </a:lnTo>
                  <a:lnTo>
                    <a:pt x="22" y="36"/>
                  </a:lnTo>
                  <a:lnTo>
                    <a:pt x="22" y="36"/>
                  </a:lnTo>
                  <a:lnTo>
                    <a:pt x="25" y="39"/>
                  </a:lnTo>
                  <a:lnTo>
                    <a:pt x="25" y="39"/>
                  </a:lnTo>
                  <a:lnTo>
                    <a:pt x="27" y="41"/>
                  </a:lnTo>
                  <a:lnTo>
                    <a:pt x="27" y="41"/>
                  </a:lnTo>
                  <a:lnTo>
                    <a:pt x="29" y="43"/>
                  </a:lnTo>
                  <a:lnTo>
                    <a:pt x="29" y="43"/>
                  </a:lnTo>
                  <a:lnTo>
                    <a:pt x="30" y="43"/>
                  </a:lnTo>
                  <a:lnTo>
                    <a:pt x="30" y="43"/>
                  </a:lnTo>
                  <a:lnTo>
                    <a:pt x="35" y="43"/>
                  </a:lnTo>
                  <a:lnTo>
                    <a:pt x="35" y="43"/>
                  </a:lnTo>
                  <a:lnTo>
                    <a:pt x="40" y="44"/>
                  </a:lnTo>
                  <a:lnTo>
                    <a:pt x="40" y="44"/>
                  </a:lnTo>
                  <a:lnTo>
                    <a:pt x="46" y="50"/>
                  </a:lnTo>
                  <a:lnTo>
                    <a:pt x="46" y="50"/>
                  </a:lnTo>
                  <a:lnTo>
                    <a:pt x="48" y="52"/>
                  </a:lnTo>
                  <a:lnTo>
                    <a:pt x="48" y="52"/>
                  </a:lnTo>
                  <a:lnTo>
                    <a:pt x="49" y="50"/>
                  </a:lnTo>
                  <a:lnTo>
                    <a:pt x="48" y="49"/>
                  </a:lnTo>
                  <a:lnTo>
                    <a:pt x="48" y="49"/>
                  </a:lnTo>
                  <a:lnTo>
                    <a:pt x="48" y="4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3" name="Freeform 84">
              <a:extLst>
                <a:ext uri="{FF2B5EF4-FFF2-40B4-BE49-F238E27FC236}">
                  <a16:creationId xmlns:a16="http://schemas.microsoft.com/office/drawing/2014/main" id="{B9147DF4-ED75-381B-2E7B-3CBF37DC024D}"/>
                </a:ext>
              </a:extLst>
            </p:cNvPr>
            <p:cNvSpPr>
              <a:spLocks/>
            </p:cNvSpPr>
            <p:nvPr/>
          </p:nvSpPr>
          <p:spPr bwMode="auto">
            <a:xfrm>
              <a:off x="6374801" y="2603002"/>
              <a:ext cx="161502" cy="91966"/>
            </a:xfrm>
            <a:custGeom>
              <a:avLst/>
              <a:gdLst>
                <a:gd name="T0" fmla="*/ 3 w 72"/>
                <a:gd name="T1" fmla="*/ 29 h 41"/>
                <a:gd name="T2" fmla="*/ 7 w 72"/>
                <a:gd name="T3" fmla="*/ 32 h 41"/>
                <a:gd name="T4" fmla="*/ 8 w 72"/>
                <a:gd name="T5" fmla="*/ 35 h 41"/>
                <a:gd name="T6" fmla="*/ 8 w 72"/>
                <a:gd name="T7" fmla="*/ 41 h 41"/>
                <a:gd name="T8" fmla="*/ 11 w 72"/>
                <a:gd name="T9" fmla="*/ 41 h 41"/>
                <a:gd name="T10" fmla="*/ 18 w 72"/>
                <a:gd name="T11" fmla="*/ 41 h 41"/>
                <a:gd name="T12" fmla="*/ 24 w 72"/>
                <a:gd name="T13" fmla="*/ 38 h 41"/>
                <a:gd name="T14" fmla="*/ 27 w 72"/>
                <a:gd name="T15" fmla="*/ 38 h 41"/>
                <a:gd name="T16" fmla="*/ 29 w 72"/>
                <a:gd name="T17" fmla="*/ 41 h 41"/>
                <a:gd name="T18" fmla="*/ 32 w 72"/>
                <a:gd name="T19" fmla="*/ 38 h 41"/>
                <a:gd name="T20" fmla="*/ 35 w 72"/>
                <a:gd name="T21" fmla="*/ 41 h 41"/>
                <a:gd name="T22" fmla="*/ 41 w 72"/>
                <a:gd name="T23" fmla="*/ 41 h 41"/>
                <a:gd name="T24" fmla="*/ 45 w 72"/>
                <a:gd name="T25" fmla="*/ 41 h 41"/>
                <a:gd name="T26" fmla="*/ 46 w 72"/>
                <a:gd name="T27" fmla="*/ 38 h 41"/>
                <a:gd name="T28" fmla="*/ 45 w 72"/>
                <a:gd name="T29" fmla="*/ 35 h 41"/>
                <a:gd name="T30" fmla="*/ 46 w 72"/>
                <a:gd name="T31" fmla="*/ 35 h 41"/>
                <a:gd name="T32" fmla="*/ 49 w 72"/>
                <a:gd name="T33" fmla="*/ 35 h 41"/>
                <a:gd name="T34" fmla="*/ 53 w 72"/>
                <a:gd name="T35" fmla="*/ 32 h 41"/>
                <a:gd name="T36" fmla="*/ 59 w 72"/>
                <a:gd name="T37" fmla="*/ 30 h 41"/>
                <a:gd name="T38" fmla="*/ 62 w 72"/>
                <a:gd name="T39" fmla="*/ 32 h 41"/>
                <a:gd name="T40" fmla="*/ 64 w 72"/>
                <a:gd name="T41" fmla="*/ 32 h 41"/>
                <a:gd name="T42" fmla="*/ 65 w 72"/>
                <a:gd name="T43" fmla="*/ 30 h 41"/>
                <a:gd name="T44" fmla="*/ 59 w 72"/>
                <a:gd name="T45" fmla="*/ 25 h 41"/>
                <a:gd name="T46" fmla="*/ 62 w 72"/>
                <a:gd name="T47" fmla="*/ 22 h 41"/>
                <a:gd name="T48" fmla="*/ 64 w 72"/>
                <a:gd name="T49" fmla="*/ 19 h 41"/>
                <a:gd name="T50" fmla="*/ 65 w 72"/>
                <a:gd name="T51" fmla="*/ 13 h 41"/>
                <a:gd name="T52" fmla="*/ 70 w 72"/>
                <a:gd name="T53" fmla="*/ 11 h 41"/>
                <a:gd name="T54" fmla="*/ 72 w 72"/>
                <a:gd name="T55" fmla="*/ 8 h 41"/>
                <a:gd name="T56" fmla="*/ 70 w 72"/>
                <a:gd name="T57" fmla="*/ 6 h 41"/>
                <a:gd name="T58" fmla="*/ 62 w 72"/>
                <a:gd name="T59" fmla="*/ 3 h 41"/>
                <a:gd name="T60" fmla="*/ 56 w 72"/>
                <a:gd name="T61" fmla="*/ 2 h 41"/>
                <a:gd name="T62" fmla="*/ 53 w 72"/>
                <a:gd name="T63" fmla="*/ 2 h 41"/>
                <a:gd name="T64" fmla="*/ 43 w 72"/>
                <a:gd name="T65" fmla="*/ 3 h 41"/>
                <a:gd name="T66" fmla="*/ 38 w 72"/>
                <a:gd name="T67" fmla="*/ 8 h 41"/>
                <a:gd name="T68" fmla="*/ 32 w 72"/>
                <a:gd name="T69" fmla="*/ 6 h 41"/>
                <a:gd name="T70" fmla="*/ 24 w 72"/>
                <a:gd name="T71" fmla="*/ 6 h 41"/>
                <a:gd name="T72" fmla="*/ 14 w 72"/>
                <a:gd name="T73" fmla="*/ 5 h 41"/>
                <a:gd name="T74" fmla="*/ 7 w 72"/>
                <a:gd name="T75" fmla="*/ 6 h 41"/>
                <a:gd name="T76" fmla="*/ 7 w 72"/>
                <a:gd name="T77" fmla="*/ 3 h 41"/>
                <a:gd name="T78" fmla="*/ 3 w 72"/>
                <a:gd name="T79" fmla="*/ 0 h 41"/>
                <a:gd name="T80" fmla="*/ 0 w 72"/>
                <a:gd name="T81" fmla="*/ 3 h 41"/>
                <a:gd name="T82" fmla="*/ 0 w 72"/>
                <a:gd name="T83" fmla="*/ 6 h 41"/>
                <a:gd name="T84" fmla="*/ 3 w 72"/>
                <a:gd name="T85" fmla="*/ 11 h 41"/>
                <a:gd name="T86" fmla="*/ 5 w 72"/>
                <a:gd name="T87" fmla="*/ 19 h 41"/>
                <a:gd name="T88" fmla="*/ 3 w 72"/>
                <a:gd name="T89" fmla="*/ 21 h 41"/>
                <a:gd name="T90" fmla="*/ 3 w 72"/>
                <a:gd name="T91" fmla="*/ 25 h 41"/>
                <a:gd name="T92" fmla="*/ 0 w 72"/>
                <a:gd name="T93" fmla="*/ 25 h 41"/>
                <a:gd name="T94" fmla="*/ 3 w 72"/>
                <a:gd name="T95" fmla="*/ 29 h 41"/>
                <a:gd name="T96" fmla="*/ 3 w 72"/>
                <a:gd name="T97" fmla="*/ 29 h 41"/>
                <a:gd name="T98" fmla="*/ 3 w 72"/>
                <a:gd name="T99" fmla="*/ 29 h 41"/>
                <a:gd name="T100" fmla="*/ 3 w 72"/>
                <a:gd name="T101" fmla="*/ 29 h 41"/>
                <a:gd name="T102" fmla="*/ 3 w 72"/>
                <a:gd name="T103"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 h="41">
                  <a:moveTo>
                    <a:pt x="3" y="29"/>
                  </a:moveTo>
                  <a:lnTo>
                    <a:pt x="3" y="29"/>
                  </a:lnTo>
                  <a:lnTo>
                    <a:pt x="5" y="30"/>
                  </a:lnTo>
                  <a:lnTo>
                    <a:pt x="7" y="32"/>
                  </a:lnTo>
                  <a:lnTo>
                    <a:pt x="8" y="35"/>
                  </a:lnTo>
                  <a:lnTo>
                    <a:pt x="8" y="35"/>
                  </a:lnTo>
                  <a:lnTo>
                    <a:pt x="8" y="38"/>
                  </a:lnTo>
                  <a:lnTo>
                    <a:pt x="8" y="41"/>
                  </a:lnTo>
                  <a:lnTo>
                    <a:pt x="10" y="41"/>
                  </a:lnTo>
                  <a:lnTo>
                    <a:pt x="11" y="41"/>
                  </a:lnTo>
                  <a:lnTo>
                    <a:pt x="14" y="41"/>
                  </a:lnTo>
                  <a:lnTo>
                    <a:pt x="18" y="41"/>
                  </a:lnTo>
                  <a:lnTo>
                    <a:pt x="21" y="38"/>
                  </a:lnTo>
                  <a:lnTo>
                    <a:pt x="24" y="38"/>
                  </a:lnTo>
                  <a:lnTo>
                    <a:pt x="26" y="38"/>
                  </a:lnTo>
                  <a:lnTo>
                    <a:pt x="27" y="38"/>
                  </a:lnTo>
                  <a:lnTo>
                    <a:pt x="29" y="38"/>
                  </a:lnTo>
                  <a:lnTo>
                    <a:pt x="29" y="41"/>
                  </a:lnTo>
                  <a:lnTo>
                    <a:pt x="30" y="40"/>
                  </a:lnTo>
                  <a:lnTo>
                    <a:pt x="32" y="38"/>
                  </a:lnTo>
                  <a:lnTo>
                    <a:pt x="35" y="41"/>
                  </a:lnTo>
                  <a:lnTo>
                    <a:pt x="35" y="41"/>
                  </a:lnTo>
                  <a:lnTo>
                    <a:pt x="38" y="41"/>
                  </a:lnTo>
                  <a:lnTo>
                    <a:pt x="41" y="41"/>
                  </a:lnTo>
                  <a:lnTo>
                    <a:pt x="43" y="41"/>
                  </a:lnTo>
                  <a:lnTo>
                    <a:pt x="45" y="41"/>
                  </a:lnTo>
                  <a:lnTo>
                    <a:pt x="46" y="38"/>
                  </a:lnTo>
                  <a:lnTo>
                    <a:pt x="46" y="38"/>
                  </a:lnTo>
                  <a:lnTo>
                    <a:pt x="46" y="35"/>
                  </a:lnTo>
                  <a:lnTo>
                    <a:pt x="45" y="35"/>
                  </a:lnTo>
                  <a:lnTo>
                    <a:pt x="45" y="35"/>
                  </a:lnTo>
                  <a:lnTo>
                    <a:pt x="46" y="35"/>
                  </a:lnTo>
                  <a:lnTo>
                    <a:pt x="48" y="35"/>
                  </a:lnTo>
                  <a:lnTo>
                    <a:pt x="49" y="35"/>
                  </a:lnTo>
                  <a:lnTo>
                    <a:pt x="49" y="32"/>
                  </a:lnTo>
                  <a:lnTo>
                    <a:pt x="53" y="32"/>
                  </a:lnTo>
                  <a:lnTo>
                    <a:pt x="56" y="30"/>
                  </a:lnTo>
                  <a:lnTo>
                    <a:pt x="59" y="30"/>
                  </a:lnTo>
                  <a:lnTo>
                    <a:pt x="59" y="30"/>
                  </a:lnTo>
                  <a:lnTo>
                    <a:pt x="62" y="32"/>
                  </a:lnTo>
                  <a:lnTo>
                    <a:pt x="62" y="32"/>
                  </a:lnTo>
                  <a:lnTo>
                    <a:pt x="64" y="32"/>
                  </a:lnTo>
                  <a:lnTo>
                    <a:pt x="65" y="32"/>
                  </a:lnTo>
                  <a:lnTo>
                    <a:pt x="65" y="30"/>
                  </a:lnTo>
                  <a:lnTo>
                    <a:pt x="62" y="25"/>
                  </a:lnTo>
                  <a:lnTo>
                    <a:pt x="59" y="25"/>
                  </a:lnTo>
                  <a:lnTo>
                    <a:pt x="62" y="25"/>
                  </a:lnTo>
                  <a:lnTo>
                    <a:pt x="62" y="22"/>
                  </a:lnTo>
                  <a:lnTo>
                    <a:pt x="64" y="22"/>
                  </a:lnTo>
                  <a:lnTo>
                    <a:pt x="64" y="19"/>
                  </a:lnTo>
                  <a:lnTo>
                    <a:pt x="64" y="16"/>
                  </a:lnTo>
                  <a:lnTo>
                    <a:pt x="65" y="13"/>
                  </a:lnTo>
                  <a:lnTo>
                    <a:pt x="68" y="11"/>
                  </a:lnTo>
                  <a:lnTo>
                    <a:pt x="70" y="11"/>
                  </a:lnTo>
                  <a:lnTo>
                    <a:pt x="72" y="11"/>
                  </a:lnTo>
                  <a:lnTo>
                    <a:pt x="72" y="8"/>
                  </a:lnTo>
                  <a:lnTo>
                    <a:pt x="72" y="6"/>
                  </a:lnTo>
                  <a:lnTo>
                    <a:pt x="70" y="6"/>
                  </a:lnTo>
                  <a:lnTo>
                    <a:pt x="67" y="6"/>
                  </a:lnTo>
                  <a:lnTo>
                    <a:pt x="62" y="3"/>
                  </a:lnTo>
                  <a:lnTo>
                    <a:pt x="59" y="3"/>
                  </a:lnTo>
                  <a:lnTo>
                    <a:pt x="56" y="2"/>
                  </a:lnTo>
                  <a:lnTo>
                    <a:pt x="53" y="0"/>
                  </a:lnTo>
                  <a:lnTo>
                    <a:pt x="53" y="2"/>
                  </a:lnTo>
                  <a:lnTo>
                    <a:pt x="48" y="2"/>
                  </a:lnTo>
                  <a:lnTo>
                    <a:pt x="43" y="3"/>
                  </a:lnTo>
                  <a:lnTo>
                    <a:pt x="40" y="6"/>
                  </a:lnTo>
                  <a:lnTo>
                    <a:pt x="38" y="8"/>
                  </a:lnTo>
                  <a:lnTo>
                    <a:pt x="35" y="8"/>
                  </a:lnTo>
                  <a:lnTo>
                    <a:pt x="32" y="6"/>
                  </a:lnTo>
                  <a:lnTo>
                    <a:pt x="27" y="6"/>
                  </a:lnTo>
                  <a:lnTo>
                    <a:pt x="24" y="6"/>
                  </a:lnTo>
                  <a:lnTo>
                    <a:pt x="19" y="6"/>
                  </a:lnTo>
                  <a:lnTo>
                    <a:pt x="14" y="5"/>
                  </a:lnTo>
                  <a:lnTo>
                    <a:pt x="10" y="6"/>
                  </a:lnTo>
                  <a:lnTo>
                    <a:pt x="7" y="6"/>
                  </a:lnTo>
                  <a:lnTo>
                    <a:pt x="5" y="5"/>
                  </a:lnTo>
                  <a:lnTo>
                    <a:pt x="7" y="3"/>
                  </a:lnTo>
                  <a:lnTo>
                    <a:pt x="7" y="2"/>
                  </a:lnTo>
                  <a:lnTo>
                    <a:pt x="3" y="0"/>
                  </a:lnTo>
                  <a:lnTo>
                    <a:pt x="0" y="3"/>
                  </a:lnTo>
                  <a:lnTo>
                    <a:pt x="0" y="3"/>
                  </a:lnTo>
                  <a:lnTo>
                    <a:pt x="0" y="5"/>
                  </a:lnTo>
                  <a:lnTo>
                    <a:pt x="0" y="6"/>
                  </a:lnTo>
                  <a:lnTo>
                    <a:pt x="2" y="8"/>
                  </a:lnTo>
                  <a:lnTo>
                    <a:pt x="3" y="11"/>
                  </a:lnTo>
                  <a:lnTo>
                    <a:pt x="8" y="14"/>
                  </a:lnTo>
                  <a:lnTo>
                    <a:pt x="5" y="19"/>
                  </a:lnTo>
                  <a:lnTo>
                    <a:pt x="3" y="19"/>
                  </a:lnTo>
                  <a:lnTo>
                    <a:pt x="3" y="21"/>
                  </a:lnTo>
                  <a:lnTo>
                    <a:pt x="3" y="22"/>
                  </a:lnTo>
                  <a:lnTo>
                    <a:pt x="3" y="25"/>
                  </a:lnTo>
                  <a:lnTo>
                    <a:pt x="3" y="25"/>
                  </a:lnTo>
                  <a:lnTo>
                    <a:pt x="0" y="25"/>
                  </a:lnTo>
                  <a:lnTo>
                    <a:pt x="2" y="27"/>
                  </a:lnTo>
                  <a:lnTo>
                    <a:pt x="3" y="29"/>
                  </a:lnTo>
                  <a:lnTo>
                    <a:pt x="3" y="29"/>
                  </a:lnTo>
                  <a:lnTo>
                    <a:pt x="3" y="29"/>
                  </a:lnTo>
                  <a:lnTo>
                    <a:pt x="3" y="29"/>
                  </a:lnTo>
                  <a:lnTo>
                    <a:pt x="3" y="29"/>
                  </a:lnTo>
                  <a:lnTo>
                    <a:pt x="3" y="29"/>
                  </a:lnTo>
                  <a:lnTo>
                    <a:pt x="3" y="29"/>
                  </a:lnTo>
                  <a:lnTo>
                    <a:pt x="3" y="29"/>
                  </a:lnTo>
                  <a:lnTo>
                    <a:pt x="3" y="2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4" name="Freeform 215">
              <a:extLst>
                <a:ext uri="{FF2B5EF4-FFF2-40B4-BE49-F238E27FC236}">
                  <a16:creationId xmlns:a16="http://schemas.microsoft.com/office/drawing/2014/main" id="{2AAE1D62-427A-1962-9519-8C20163E098F}"/>
                </a:ext>
              </a:extLst>
            </p:cNvPr>
            <p:cNvSpPr>
              <a:spLocks/>
            </p:cNvSpPr>
            <p:nvPr/>
          </p:nvSpPr>
          <p:spPr bwMode="auto">
            <a:xfrm>
              <a:off x="6211056" y="2463932"/>
              <a:ext cx="168231" cy="89723"/>
            </a:xfrm>
            <a:custGeom>
              <a:avLst/>
              <a:gdLst>
                <a:gd name="T0" fmla="*/ 68 w 75"/>
                <a:gd name="T1" fmla="*/ 3 h 40"/>
                <a:gd name="T2" fmla="*/ 65 w 75"/>
                <a:gd name="T3" fmla="*/ 3 h 40"/>
                <a:gd name="T4" fmla="*/ 64 w 75"/>
                <a:gd name="T5" fmla="*/ 3 h 40"/>
                <a:gd name="T6" fmla="*/ 60 w 75"/>
                <a:gd name="T7" fmla="*/ 3 h 40"/>
                <a:gd name="T8" fmla="*/ 57 w 75"/>
                <a:gd name="T9" fmla="*/ 0 h 40"/>
                <a:gd name="T10" fmla="*/ 54 w 75"/>
                <a:gd name="T11" fmla="*/ 3 h 40"/>
                <a:gd name="T12" fmla="*/ 48 w 75"/>
                <a:gd name="T13" fmla="*/ 0 h 40"/>
                <a:gd name="T14" fmla="*/ 46 w 75"/>
                <a:gd name="T15" fmla="*/ 5 h 40"/>
                <a:gd name="T16" fmla="*/ 43 w 75"/>
                <a:gd name="T17" fmla="*/ 6 h 40"/>
                <a:gd name="T18" fmla="*/ 37 w 75"/>
                <a:gd name="T19" fmla="*/ 5 h 40"/>
                <a:gd name="T20" fmla="*/ 32 w 75"/>
                <a:gd name="T21" fmla="*/ 8 h 40"/>
                <a:gd name="T22" fmla="*/ 30 w 75"/>
                <a:gd name="T23" fmla="*/ 10 h 40"/>
                <a:gd name="T24" fmla="*/ 21 w 75"/>
                <a:gd name="T25" fmla="*/ 13 h 40"/>
                <a:gd name="T26" fmla="*/ 14 w 75"/>
                <a:gd name="T27" fmla="*/ 10 h 40"/>
                <a:gd name="T28" fmla="*/ 11 w 75"/>
                <a:gd name="T29" fmla="*/ 8 h 40"/>
                <a:gd name="T30" fmla="*/ 8 w 75"/>
                <a:gd name="T31" fmla="*/ 13 h 40"/>
                <a:gd name="T32" fmla="*/ 7 w 75"/>
                <a:gd name="T33" fmla="*/ 13 h 40"/>
                <a:gd name="T34" fmla="*/ 3 w 75"/>
                <a:gd name="T35" fmla="*/ 13 h 40"/>
                <a:gd name="T36" fmla="*/ 5 w 75"/>
                <a:gd name="T37" fmla="*/ 16 h 40"/>
                <a:gd name="T38" fmla="*/ 3 w 75"/>
                <a:gd name="T39" fmla="*/ 19 h 40"/>
                <a:gd name="T40" fmla="*/ 0 w 75"/>
                <a:gd name="T41" fmla="*/ 24 h 40"/>
                <a:gd name="T42" fmla="*/ 11 w 75"/>
                <a:gd name="T43" fmla="*/ 35 h 40"/>
                <a:gd name="T44" fmla="*/ 19 w 75"/>
                <a:gd name="T45" fmla="*/ 40 h 40"/>
                <a:gd name="T46" fmla="*/ 27 w 75"/>
                <a:gd name="T47" fmla="*/ 40 h 40"/>
                <a:gd name="T48" fmla="*/ 27 w 75"/>
                <a:gd name="T49" fmla="*/ 38 h 40"/>
                <a:gd name="T50" fmla="*/ 33 w 75"/>
                <a:gd name="T51" fmla="*/ 37 h 40"/>
                <a:gd name="T52" fmla="*/ 37 w 75"/>
                <a:gd name="T53" fmla="*/ 37 h 40"/>
                <a:gd name="T54" fmla="*/ 40 w 75"/>
                <a:gd name="T55" fmla="*/ 33 h 40"/>
                <a:gd name="T56" fmla="*/ 46 w 75"/>
                <a:gd name="T57" fmla="*/ 35 h 40"/>
                <a:gd name="T58" fmla="*/ 49 w 75"/>
                <a:gd name="T59" fmla="*/ 33 h 40"/>
                <a:gd name="T60" fmla="*/ 51 w 75"/>
                <a:gd name="T61" fmla="*/ 33 h 40"/>
                <a:gd name="T62" fmla="*/ 54 w 75"/>
                <a:gd name="T63" fmla="*/ 32 h 40"/>
                <a:gd name="T64" fmla="*/ 57 w 75"/>
                <a:gd name="T65" fmla="*/ 30 h 40"/>
                <a:gd name="T66" fmla="*/ 60 w 75"/>
                <a:gd name="T67" fmla="*/ 25 h 40"/>
                <a:gd name="T68" fmla="*/ 65 w 75"/>
                <a:gd name="T69" fmla="*/ 18 h 40"/>
                <a:gd name="T70" fmla="*/ 65 w 75"/>
                <a:gd name="T71" fmla="*/ 14 h 40"/>
                <a:gd name="T72" fmla="*/ 70 w 75"/>
                <a:gd name="T73" fmla="*/ 13 h 40"/>
                <a:gd name="T74" fmla="*/ 73 w 75"/>
                <a:gd name="T75" fmla="*/ 10 h 40"/>
                <a:gd name="T76" fmla="*/ 75 w 75"/>
                <a:gd name="T77" fmla="*/ 8 h 40"/>
                <a:gd name="T78" fmla="*/ 73 w 75"/>
                <a:gd name="T79" fmla="*/ 6 h 40"/>
                <a:gd name="T80" fmla="*/ 73 w 75"/>
                <a:gd name="T81" fmla="*/ 6 h 40"/>
                <a:gd name="T82" fmla="*/ 73 w 75"/>
                <a:gd name="T83" fmla="*/ 6 h 40"/>
                <a:gd name="T84" fmla="*/ 73 w 75"/>
                <a:gd name="T8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40">
                  <a:moveTo>
                    <a:pt x="73" y="6"/>
                  </a:moveTo>
                  <a:lnTo>
                    <a:pt x="68" y="3"/>
                  </a:lnTo>
                  <a:lnTo>
                    <a:pt x="67" y="3"/>
                  </a:lnTo>
                  <a:lnTo>
                    <a:pt x="65" y="3"/>
                  </a:lnTo>
                  <a:lnTo>
                    <a:pt x="65" y="3"/>
                  </a:lnTo>
                  <a:lnTo>
                    <a:pt x="64" y="3"/>
                  </a:lnTo>
                  <a:lnTo>
                    <a:pt x="62" y="3"/>
                  </a:lnTo>
                  <a:lnTo>
                    <a:pt x="60" y="3"/>
                  </a:lnTo>
                  <a:lnTo>
                    <a:pt x="59" y="3"/>
                  </a:lnTo>
                  <a:lnTo>
                    <a:pt x="57" y="0"/>
                  </a:lnTo>
                  <a:lnTo>
                    <a:pt x="56" y="2"/>
                  </a:lnTo>
                  <a:lnTo>
                    <a:pt x="54" y="3"/>
                  </a:lnTo>
                  <a:lnTo>
                    <a:pt x="51" y="0"/>
                  </a:lnTo>
                  <a:lnTo>
                    <a:pt x="48" y="0"/>
                  </a:lnTo>
                  <a:lnTo>
                    <a:pt x="48" y="3"/>
                  </a:lnTo>
                  <a:lnTo>
                    <a:pt x="46" y="5"/>
                  </a:lnTo>
                  <a:lnTo>
                    <a:pt x="45" y="6"/>
                  </a:lnTo>
                  <a:lnTo>
                    <a:pt x="43" y="6"/>
                  </a:lnTo>
                  <a:lnTo>
                    <a:pt x="40" y="6"/>
                  </a:lnTo>
                  <a:lnTo>
                    <a:pt x="37" y="5"/>
                  </a:lnTo>
                  <a:lnTo>
                    <a:pt x="35" y="8"/>
                  </a:lnTo>
                  <a:lnTo>
                    <a:pt x="32" y="8"/>
                  </a:lnTo>
                  <a:lnTo>
                    <a:pt x="30" y="8"/>
                  </a:lnTo>
                  <a:lnTo>
                    <a:pt x="30" y="10"/>
                  </a:lnTo>
                  <a:lnTo>
                    <a:pt x="30" y="11"/>
                  </a:lnTo>
                  <a:lnTo>
                    <a:pt x="21" y="13"/>
                  </a:lnTo>
                  <a:lnTo>
                    <a:pt x="18" y="13"/>
                  </a:lnTo>
                  <a:lnTo>
                    <a:pt x="14" y="10"/>
                  </a:lnTo>
                  <a:lnTo>
                    <a:pt x="14" y="10"/>
                  </a:lnTo>
                  <a:lnTo>
                    <a:pt x="11" y="8"/>
                  </a:lnTo>
                  <a:lnTo>
                    <a:pt x="10" y="10"/>
                  </a:lnTo>
                  <a:lnTo>
                    <a:pt x="8" y="13"/>
                  </a:lnTo>
                  <a:lnTo>
                    <a:pt x="8" y="14"/>
                  </a:lnTo>
                  <a:lnTo>
                    <a:pt x="7" y="13"/>
                  </a:lnTo>
                  <a:lnTo>
                    <a:pt x="5" y="13"/>
                  </a:lnTo>
                  <a:lnTo>
                    <a:pt x="3" y="13"/>
                  </a:lnTo>
                  <a:lnTo>
                    <a:pt x="5" y="14"/>
                  </a:lnTo>
                  <a:lnTo>
                    <a:pt x="5" y="16"/>
                  </a:lnTo>
                  <a:lnTo>
                    <a:pt x="3" y="18"/>
                  </a:lnTo>
                  <a:lnTo>
                    <a:pt x="3" y="19"/>
                  </a:lnTo>
                  <a:lnTo>
                    <a:pt x="3" y="24"/>
                  </a:lnTo>
                  <a:lnTo>
                    <a:pt x="0" y="24"/>
                  </a:lnTo>
                  <a:lnTo>
                    <a:pt x="5" y="30"/>
                  </a:lnTo>
                  <a:lnTo>
                    <a:pt x="11" y="35"/>
                  </a:lnTo>
                  <a:lnTo>
                    <a:pt x="16" y="38"/>
                  </a:lnTo>
                  <a:lnTo>
                    <a:pt x="19" y="40"/>
                  </a:lnTo>
                  <a:lnTo>
                    <a:pt x="21" y="40"/>
                  </a:lnTo>
                  <a:lnTo>
                    <a:pt x="27" y="40"/>
                  </a:lnTo>
                  <a:lnTo>
                    <a:pt x="27" y="40"/>
                  </a:lnTo>
                  <a:lnTo>
                    <a:pt x="27" y="38"/>
                  </a:lnTo>
                  <a:lnTo>
                    <a:pt x="30" y="38"/>
                  </a:lnTo>
                  <a:lnTo>
                    <a:pt x="33" y="37"/>
                  </a:lnTo>
                  <a:lnTo>
                    <a:pt x="35" y="37"/>
                  </a:lnTo>
                  <a:lnTo>
                    <a:pt x="37" y="37"/>
                  </a:lnTo>
                  <a:lnTo>
                    <a:pt x="38" y="35"/>
                  </a:lnTo>
                  <a:lnTo>
                    <a:pt x="40" y="33"/>
                  </a:lnTo>
                  <a:lnTo>
                    <a:pt x="43" y="35"/>
                  </a:lnTo>
                  <a:lnTo>
                    <a:pt x="46" y="35"/>
                  </a:lnTo>
                  <a:lnTo>
                    <a:pt x="46" y="35"/>
                  </a:lnTo>
                  <a:lnTo>
                    <a:pt x="49" y="33"/>
                  </a:lnTo>
                  <a:lnTo>
                    <a:pt x="51" y="35"/>
                  </a:lnTo>
                  <a:lnTo>
                    <a:pt x="51" y="33"/>
                  </a:lnTo>
                  <a:lnTo>
                    <a:pt x="51" y="32"/>
                  </a:lnTo>
                  <a:lnTo>
                    <a:pt x="54" y="32"/>
                  </a:lnTo>
                  <a:lnTo>
                    <a:pt x="56" y="32"/>
                  </a:lnTo>
                  <a:lnTo>
                    <a:pt x="57" y="30"/>
                  </a:lnTo>
                  <a:lnTo>
                    <a:pt x="57" y="29"/>
                  </a:lnTo>
                  <a:lnTo>
                    <a:pt x="60" y="25"/>
                  </a:lnTo>
                  <a:lnTo>
                    <a:pt x="62" y="21"/>
                  </a:lnTo>
                  <a:lnTo>
                    <a:pt x="65" y="18"/>
                  </a:lnTo>
                  <a:lnTo>
                    <a:pt x="65" y="16"/>
                  </a:lnTo>
                  <a:lnTo>
                    <a:pt x="65" y="14"/>
                  </a:lnTo>
                  <a:lnTo>
                    <a:pt x="68" y="13"/>
                  </a:lnTo>
                  <a:lnTo>
                    <a:pt x="70" y="13"/>
                  </a:lnTo>
                  <a:lnTo>
                    <a:pt x="73" y="11"/>
                  </a:lnTo>
                  <a:lnTo>
                    <a:pt x="73" y="10"/>
                  </a:lnTo>
                  <a:lnTo>
                    <a:pt x="75" y="10"/>
                  </a:lnTo>
                  <a:lnTo>
                    <a:pt x="75" y="8"/>
                  </a:lnTo>
                  <a:lnTo>
                    <a:pt x="73" y="6"/>
                  </a:lnTo>
                  <a:lnTo>
                    <a:pt x="73" y="6"/>
                  </a:lnTo>
                  <a:lnTo>
                    <a:pt x="73" y="6"/>
                  </a:lnTo>
                  <a:lnTo>
                    <a:pt x="73" y="6"/>
                  </a:lnTo>
                  <a:lnTo>
                    <a:pt x="73" y="6"/>
                  </a:lnTo>
                  <a:lnTo>
                    <a:pt x="73" y="6"/>
                  </a:lnTo>
                  <a:lnTo>
                    <a:pt x="73" y="6"/>
                  </a:lnTo>
                  <a:lnTo>
                    <a:pt x="73" y="6"/>
                  </a:lnTo>
                  <a:lnTo>
                    <a:pt x="73" y="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5" name="Freeform 309">
              <a:extLst>
                <a:ext uri="{FF2B5EF4-FFF2-40B4-BE49-F238E27FC236}">
                  <a16:creationId xmlns:a16="http://schemas.microsoft.com/office/drawing/2014/main" id="{20D861C6-572B-935E-A197-DCF1A7D75E55}"/>
                </a:ext>
              </a:extLst>
            </p:cNvPr>
            <p:cNvSpPr>
              <a:spLocks/>
            </p:cNvSpPr>
            <p:nvPr/>
          </p:nvSpPr>
          <p:spPr bwMode="auto">
            <a:xfrm>
              <a:off x="6356856" y="2347292"/>
              <a:ext cx="448615" cy="248981"/>
            </a:xfrm>
            <a:custGeom>
              <a:avLst/>
              <a:gdLst>
                <a:gd name="T0" fmla="*/ 197 w 200"/>
                <a:gd name="T1" fmla="*/ 44 h 111"/>
                <a:gd name="T2" fmla="*/ 197 w 200"/>
                <a:gd name="T3" fmla="*/ 39 h 111"/>
                <a:gd name="T4" fmla="*/ 186 w 200"/>
                <a:gd name="T5" fmla="*/ 35 h 111"/>
                <a:gd name="T6" fmla="*/ 173 w 200"/>
                <a:gd name="T7" fmla="*/ 33 h 111"/>
                <a:gd name="T8" fmla="*/ 165 w 200"/>
                <a:gd name="T9" fmla="*/ 27 h 111"/>
                <a:gd name="T10" fmla="*/ 151 w 200"/>
                <a:gd name="T11" fmla="*/ 27 h 111"/>
                <a:gd name="T12" fmla="*/ 143 w 200"/>
                <a:gd name="T13" fmla="*/ 17 h 111"/>
                <a:gd name="T14" fmla="*/ 130 w 200"/>
                <a:gd name="T15" fmla="*/ 14 h 111"/>
                <a:gd name="T16" fmla="*/ 130 w 200"/>
                <a:gd name="T17" fmla="*/ 6 h 111"/>
                <a:gd name="T18" fmla="*/ 122 w 200"/>
                <a:gd name="T19" fmla="*/ 0 h 111"/>
                <a:gd name="T20" fmla="*/ 108 w 200"/>
                <a:gd name="T21" fmla="*/ 3 h 111"/>
                <a:gd name="T22" fmla="*/ 94 w 200"/>
                <a:gd name="T23" fmla="*/ 4 h 111"/>
                <a:gd name="T24" fmla="*/ 91 w 200"/>
                <a:gd name="T25" fmla="*/ 14 h 111"/>
                <a:gd name="T26" fmla="*/ 80 w 200"/>
                <a:gd name="T27" fmla="*/ 14 h 111"/>
                <a:gd name="T28" fmla="*/ 70 w 200"/>
                <a:gd name="T29" fmla="*/ 14 h 111"/>
                <a:gd name="T30" fmla="*/ 61 w 200"/>
                <a:gd name="T31" fmla="*/ 11 h 111"/>
                <a:gd name="T32" fmla="*/ 46 w 200"/>
                <a:gd name="T33" fmla="*/ 8 h 111"/>
                <a:gd name="T34" fmla="*/ 22 w 200"/>
                <a:gd name="T35" fmla="*/ 8 h 111"/>
                <a:gd name="T36" fmla="*/ 16 w 200"/>
                <a:gd name="T37" fmla="*/ 17 h 111"/>
                <a:gd name="T38" fmla="*/ 21 w 200"/>
                <a:gd name="T39" fmla="*/ 23 h 111"/>
                <a:gd name="T40" fmla="*/ 7 w 200"/>
                <a:gd name="T41" fmla="*/ 39 h 111"/>
                <a:gd name="T42" fmla="*/ 8 w 200"/>
                <a:gd name="T43" fmla="*/ 46 h 111"/>
                <a:gd name="T44" fmla="*/ 0 w 200"/>
                <a:gd name="T45" fmla="*/ 54 h 111"/>
                <a:gd name="T46" fmla="*/ 10 w 200"/>
                <a:gd name="T47" fmla="*/ 62 h 111"/>
                <a:gd name="T48" fmla="*/ 26 w 200"/>
                <a:gd name="T49" fmla="*/ 62 h 111"/>
                <a:gd name="T50" fmla="*/ 40 w 200"/>
                <a:gd name="T51" fmla="*/ 62 h 111"/>
                <a:gd name="T52" fmla="*/ 53 w 200"/>
                <a:gd name="T53" fmla="*/ 57 h 111"/>
                <a:gd name="T54" fmla="*/ 67 w 200"/>
                <a:gd name="T55" fmla="*/ 55 h 111"/>
                <a:gd name="T56" fmla="*/ 73 w 200"/>
                <a:gd name="T57" fmla="*/ 58 h 111"/>
                <a:gd name="T58" fmla="*/ 81 w 200"/>
                <a:gd name="T59" fmla="*/ 66 h 111"/>
                <a:gd name="T60" fmla="*/ 88 w 200"/>
                <a:gd name="T61" fmla="*/ 73 h 111"/>
                <a:gd name="T62" fmla="*/ 88 w 200"/>
                <a:gd name="T63" fmla="*/ 82 h 111"/>
                <a:gd name="T64" fmla="*/ 81 w 200"/>
                <a:gd name="T65" fmla="*/ 84 h 111"/>
                <a:gd name="T66" fmla="*/ 73 w 200"/>
                <a:gd name="T67" fmla="*/ 97 h 111"/>
                <a:gd name="T68" fmla="*/ 84 w 200"/>
                <a:gd name="T69" fmla="*/ 97 h 111"/>
                <a:gd name="T70" fmla="*/ 91 w 200"/>
                <a:gd name="T71" fmla="*/ 95 h 111"/>
                <a:gd name="T72" fmla="*/ 94 w 200"/>
                <a:gd name="T73" fmla="*/ 90 h 111"/>
                <a:gd name="T74" fmla="*/ 107 w 200"/>
                <a:gd name="T75" fmla="*/ 79 h 111"/>
                <a:gd name="T76" fmla="*/ 113 w 200"/>
                <a:gd name="T77" fmla="*/ 79 h 111"/>
                <a:gd name="T78" fmla="*/ 116 w 200"/>
                <a:gd name="T79" fmla="*/ 81 h 111"/>
                <a:gd name="T80" fmla="*/ 116 w 200"/>
                <a:gd name="T81" fmla="*/ 84 h 111"/>
                <a:gd name="T82" fmla="*/ 129 w 200"/>
                <a:gd name="T83" fmla="*/ 87 h 111"/>
                <a:gd name="T84" fmla="*/ 130 w 200"/>
                <a:gd name="T85" fmla="*/ 92 h 111"/>
                <a:gd name="T86" fmla="*/ 126 w 200"/>
                <a:gd name="T87" fmla="*/ 98 h 111"/>
                <a:gd name="T88" fmla="*/ 132 w 200"/>
                <a:gd name="T89" fmla="*/ 108 h 111"/>
                <a:gd name="T90" fmla="*/ 148 w 200"/>
                <a:gd name="T91" fmla="*/ 104 h 111"/>
                <a:gd name="T92" fmla="*/ 157 w 200"/>
                <a:gd name="T93" fmla="*/ 101 h 111"/>
                <a:gd name="T94" fmla="*/ 167 w 200"/>
                <a:gd name="T95" fmla="*/ 100 h 111"/>
                <a:gd name="T96" fmla="*/ 157 w 200"/>
                <a:gd name="T97" fmla="*/ 98 h 111"/>
                <a:gd name="T98" fmla="*/ 151 w 200"/>
                <a:gd name="T99" fmla="*/ 98 h 111"/>
                <a:gd name="T100" fmla="*/ 146 w 200"/>
                <a:gd name="T101" fmla="*/ 90 h 111"/>
                <a:gd name="T102" fmla="*/ 142 w 200"/>
                <a:gd name="T103" fmla="*/ 89 h 111"/>
                <a:gd name="T104" fmla="*/ 140 w 200"/>
                <a:gd name="T105" fmla="*/ 84 h 111"/>
                <a:gd name="T106" fmla="*/ 145 w 200"/>
                <a:gd name="T107" fmla="*/ 89 h 111"/>
                <a:gd name="T108" fmla="*/ 151 w 200"/>
                <a:gd name="T109" fmla="*/ 84 h 111"/>
                <a:gd name="T110" fmla="*/ 151 w 200"/>
                <a:gd name="T111" fmla="*/ 85 h 111"/>
                <a:gd name="T112" fmla="*/ 165 w 200"/>
                <a:gd name="T113" fmla="*/ 77 h 111"/>
                <a:gd name="T114" fmla="*/ 176 w 200"/>
                <a:gd name="T115" fmla="*/ 73 h 111"/>
                <a:gd name="T116" fmla="*/ 183 w 200"/>
                <a:gd name="T117" fmla="*/ 66 h 111"/>
                <a:gd name="T118" fmla="*/ 192 w 200"/>
                <a:gd name="T119" fmla="*/ 63 h 111"/>
                <a:gd name="T120" fmla="*/ 199 w 200"/>
                <a:gd name="T121" fmla="*/ 55 h 111"/>
                <a:gd name="T122" fmla="*/ 197 w 200"/>
                <a:gd name="T123"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 h="111">
                  <a:moveTo>
                    <a:pt x="197" y="49"/>
                  </a:moveTo>
                  <a:lnTo>
                    <a:pt x="197" y="49"/>
                  </a:lnTo>
                  <a:lnTo>
                    <a:pt x="200" y="49"/>
                  </a:lnTo>
                  <a:lnTo>
                    <a:pt x="200" y="49"/>
                  </a:lnTo>
                  <a:lnTo>
                    <a:pt x="199" y="47"/>
                  </a:lnTo>
                  <a:lnTo>
                    <a:pt x="199" y="47"/>
                  </a:lnTo>
                  <a:lnTo>
                    <a:pt x="197" y="47"/>
                  </a:lnTo>
                  <a:lnTo>
                    <a:pt x="197" y="47"/>
                  </a:lnTo>
                  <a:lnTo>
                    <a:pt x="196" y="46"/>
                  </a:lnTo>
                  <a:lnTo>
                    <a:pt x="196" y="46"/>
                  </a:lnTo>
                  <a:lnTo>
                    <a:pt x="197" y="44"/>
                  </a:lnTo>
                  <a:lnTo>
                    <a:pt x="197" y="44"/>
                  </a:lnTo>
                  <a:lnTo>
                    <a:pt x="200" y="44"/>
                  </a:lnTo>
                  <a:lnTo>
                    <a:pt x="200" y="44"/>
                  </a:lnTo>
                  <a:lnTo>
                    <a:pt x="199" y="43"/>
                  </a:lnTo>
                  <a:lnTo>
                    <a:pt x="199" y="43"/>
                  </a:lnTo>
                  <a:lnTo>
                    <a:pt x="199" y="41"/>
                  </a:lnTo>
                  <a:lnTo>
                    <a:pt x="199" y="41"/>
                  </a:lnTo>
                  <a:lnTo>
                    <a:pt x="199" y="39"/>
                  </a:lnTo>
                  <a:lnTo>
                    <a:pt x="199" y="39"/>
                  </a:lnTo>
                  <a:lnTo>
                    <a:pt x="197" y="39"/>
                  </a:lnTo>
                  <a:lnTo>
                    <a:pt x="197" y="39"/>
                  </a:lnTo>
                  <a:lnTo>
                    <a:pt x="196" y="39"/>
                  </a:lnTo>
                  <a:lnTo>
                    <a:pt x="196" y="39"/>
                  </a:lnTo>
                  <a:lnTo>
                    <a:pt x="194" y="39"/>
                  </a:lnTo>
                  <a:lnTo>
                    <a:pt x="194" y="39"/>
                  </a:lnTo>
                  <a:lnTo>
                    <a:pt x="192" y="38"/>
                  </a:lnTo>
                  <a:lnTo>
                    <a:pt x="192" y="38"/>
                  </a:lnTo>
                  <a:lnTo>
                    <a:pt x="189" y="36"/>
                  </a:lnTo>
                  <a:lnTo>
                    <a:pt x="189" y="36"/>
                  </a:lnTo>
                  <a:lnTo>
                    <a:pt x="189" y="35"/>
                  </a:lnTo>
                  <a:lnTo>
                    <a:pt x="189" y="35"/>
                  </a:lnTo>
                  <a:lnTo>
                    <a:pt x="186" y="35"/>
                  </a:lnTo>
                  <a:lnTo>
                    <a:pt x="186" y="35"/>
                  </a:lnTo>
                  <a:lnTo>
                    <a:pt x="183" y="35"/>
                  </a:lnTo>
                  <a:lnTo>
                    <a:pt x="183" y="35"/>
                  </a:lnTo>
                  <a:lnTo>
                    <a:pt x="181" y="33"/>
                  </a:lnTo>
                  <a:lnTo>
                    <a:pt x="181" y="33"/>
                  </a:lnTo>
                  <a:lnTo>
                    <a:pt x="178" y="33"/>
                  </a:lnTo>
                  <a:lnTo>
                    <a:pt x="178" y="33"/>
                  </a:lnTo>
                  <a:lnTo>
                    <a:pt x="175" y="35"/>
                  </a:lnTo>
                  <a:lnTo>
                    <a:pt x="175" y="35"/>
                  </a:lnTo>
                  <a:lnTo>
                    <a:pt x="173" y="33"/>
                  </a:lnTo>
                  <a:lnTo>
                    <a:pt x="173" y="33"/>
                  </a:lnTo>
                  <a:lnTo>
                    <a:pt x="172" y="31"/>
                  </a:lnTo>
                  <a:lnTo>
                    <a:pt x="172" y="31"/>
                  </a:lnTo>
                  <a:lnTo>
                    <a:pt x="172" y="30"/>
                  </a:lnTo>
                  <a:lnTo>
                    <a:pt x="172" y="30"/>
                  </a:lnTo>
                  <a:lnTo>
                    <a:pt x="170" y="28"/>
                  </a:lnTo>
                  <a:lnTo>
                    <a:pt x="170" y="28"/>
                  </a:lnTo>
                  <a:lnTo>
                    <a:pt x="170" y="28"/>
                  </a:lnTo>
                  <a:lnTo>
                    <a:pt x="170" y="28"/>
                  </a:lnTo>
                  <a:lnTo>
                    <a:pt x="167" y="27"/>
                  </a:lnTo>
                  <a:lnTo>
                    <a:pt x="167" y="27"/>
                  </a:lnTo>
                  <a:lnTo>
                    <a:pt x="165" y="27"/>
                  </a:lnTo>
                  <a:lnTo>
                    <a:pt x="165" y="27"/>
                  </a:lnTo>
                  <a:lnTo>
                    <a:pt x="162" y="28"/>
                  </a:lnTo>
                  <a:lnTo>
                    <a:pt x="162" y="28"/>
                  </a:lnTo>
                  <a:lnTo>
                    <a:pt x="157" y="30"/>
                  </a:lnTo>
                  <a:lnTo>
                    <a:pt x="157" y="30"/>
                  </a:lnTo>
                  <a:lnTo>
                    <a:pt x="154" y="28"/>
                  </a:lnTo>
                  <a:lnTo>
                    <a:pt x="154" y="28"/>
                  </a:lnTo>
                  <a:lnTo>
                    <a:pt x="154" y="27"/>
                  </a:lnTo>
                  <a:lnTo>
                    <a:pt x="154" y="27"/>
                  </a:lnTo>
                  <a:lnTo>
                    <a:pt x="151" y="27"/>
                  </a:lnTo>
                  <a:lnTo>
                    <a:pt x="151" y="27"/>
                  </a:lnTo>
                  <a:lnTo>
                    <a:pt x="151" y="27"/>
                  </a:lnTo>
                  <a:lnTo>
                    <a:pt x="151" y="27"/>
                  </a:lnTo>
                  <a:lnTo>
                    <a:pt x="148" y="27"/>
                  </a:lnTo>
                  <a:lnTo>
                    <a:pt x="148" y="27"/>
                  </a:lnTo>
                  <a:lnTo>
                    <a:pt x="148" y="27"/>
                  </a:lnTo>
                  <a:lnTo>
                    <a:pt x="148" y="27"/>
                  </a:lnTo>
                  <a:lnTo>
                    <a:pt x="146" y="25"/>
                  </a:lnTo>
                  <a:lnTo>
                    <a:pt x="146" y="25"/>
                  </a:lnTo>
                  <a:lnTo>
                    <a:pt x="145" y="20"/>
                  </a:lnTo>
                  <a:lnTo>
                    <a:pt x="145" y="20"/>
                  </a:lnTo>
                  <a:lnTo>
                    <a:pt x="143" y="17"/>
                  </a:lnTo>
                  <a:lnTo>
                    <a:pt x="143" y="17"/>
                  </a:lnTo>
                  <a:lnTo>
                    <a:pt x="142" y="17"/>
                  </a:lnTo>
                  <a:lnTo>
                    <a:pt x="142" y="17"/>
                  </a:lnTo>
                  <a:lnTo>
                    <a:pt x="140" y="17"/>
                  </a:lnTo>
                  <a:lnTo>
                    <a:pt x="140" y="17"/>
                  </a:lnTo>
                  <a:lnTo>
                    <a:pt x="138" y="17"/>
                  </a:lnTo>
                  <a:lnTo>
                    <a:pt x="138" y="17"/>
                  </a:lnTo>
                  <a:lnTo>
                    <a:pt x="134" y="17"/>
                  </a:lnTo>
                  <a:lnTo>
                    <a:pt x="134" y="17"/>
                  </a:lnTo>
                  <a:lnTo>
                    <a:pt x="130" y="14"/>
                  </a:lnTo>
                  <a:lnTo>
                    <a:pt x="130" y="14"/>
                  </a:lnTo>
                  <a:lnTo>
                    <a:pt x="130" y="14"/>
                  </a:lnTo>
                  <a:lnTo>
                    <a:pt x="130" y="14"/>
                  </a:lnTo>
                  <a:lnTo>
                    <a:pt x="130" y="11"/>
                  </a:lnTo>
                  <a:lnTo>
                    <a:pt x="130" y="11"/>
                  </a:lnTo>
                  <a:lnTo>
                    <a:pt x="129" y="11"/>
                  </a:lnTo>
                  <a:lnTo>
                    <a:pt x="129" y="11"/>
                  </a:lnTo>
                  <a:lnTo>
                    <a:pt x="130" y="9"/>
                  </a:lnTo>
                  <a:lnTo>
                    <a:pt x="130" y="9"/>
                  </a:lnTo>
                  <a:lnTo>
                    <a:pt x="132" y="9"/>
                  </a:lnTo>
                  <a:lnTo>
                    <a:pt x="132" y="9"/>
                  </a:lnTo>
                  <a:lnTo>
                    <a:pt x="130" y="6"/>
                  </a:lnTo>
                  <a:lnTo>
                    <a:pt x="130" y="6"/>
                  </a:lnTo>
                  <a:lnTo>
                    <a:pt x="129" y="4"/>
                  </a:lnTo>
                  <a:lnTo>
                    <a:pt x="129" y="4"/>
                  </a:lnTo>
                  <a:lnTo>
                    <a:pt x="127" y="4"/>
                  </a:lnTo>
                  <a:lnTo>
                    <a:pt x="127" y="4"/>
                  </a:lnTo>
                  <a:lnTo>
                    <a:pt x="126" y="1"/>
                  </a:lnTo>
                  <a:lnTo>
                    <a:pt x="126" y="1"/>
                  </a:lnTo>
                  <a:lnTo>
                    <a:pt x="126" y="0"/>
                  </a:lnTo>
                  <a:lnTo>
                    <a:pt x="126" y="0"/>
                  </a:lnTo>
                  <a:lnTo>
                    <a:pt x="122" y="0"/>
                  </a:lnTo>
                  <a:lnTo>
                    <a:pt x="122" y="0"/>
                  </a:lnTo>
                  <a:lnTo>
                    <a:pt x="119" y="1"/>
                  </a:lnTo>
                  <a:lnTo>
                    <a:pt x="119" y="1"/>
                  </a:lnTo>
                  <a:lnTo>
                    <a:pt x="116" y="1"/>
                  </a:lnTo>
                  <a:lnTo>
                    <a:pt x="116" y="1"/>
                  </a:lnTo>
                  <a:lnTo>
                    <a:pt x="113" y="1"/>
                  </a:lnTo>
                  <a:lnTo>
                    <a:pt x="113" y="1"/>
                  </a:lnTo>
                  <a:lnTo>
                    <a:pt x="110" y="0"/>
                  </a:lnTo>
                  <a:lnTo>
                    <a:pt x="110" y="0"/>
                  </a:lnTo>
                  <a:lnTo>
                    <a:pt x="108" y="0"/>
                  </a:lnTo>
                  <a:lnTo>
                    <a:pt x="108" y="0"/>
                  </a:lnTo>
                  <a:lnTo>
                    <a:pt x="108" y="3"/>
                  </a:lnTo>
                  <a:lnTo>
                    <a:pt x="108" y="3"/>
                  </a:lnTo>
                  <a:lnTo>
                    <a:pt x="107" y="4"/>
                  </a:lnTo>
                  <a:lnTo>
                    <a:pt x="107" y="4"/>
                  </a:lnTo>
                  <a:lnTo>
                    <a:pt x="103" y="4"/>
                  </a:lnTo>
                  <a:lnTo>
                    <a:pt x="103" y="4"/>
                  </a:lnTo>
                  <a:lnTo>
                    <a:pt x="99" y="4"/>
                  </a:lnTo>
                  <a:lnTo>
                    <a:pt x="99" y="4"/>
                  </a:lnTo>
                  <a:lnTo>
                    <a:pt x="96" y="4"/>
                  </a:lnTo>
                  <a:lnTo>
                    <a:pt x="96" y="4"/>
                  </a:lnTo>
                  <a:lnTo>
                    <a:pt x="94" y="4"/>
                  </a:lnTo>
                  <a:lnTo>
                    <a:pt x="94" y="4"/>
                  </a:lnTo>
                  <a:lnTo>
                    <a:pt x="92" y="4"/>
                  </a:lnTo>
                  <a:lnTo>
                    <a:pt x="92" y="4"/>
                  </a:lnTo>
                  <a:lnTo>
                    <a:pt x="91" y="8"/>
                  </a:lnTo>
                  <a:lnTo>
                    <a:pt x="91" y="8"/>
                  </a:lnTo>
                  <a:lnTo>
                    <a:pt x="91" y="11"/>
                  </a:lnTo>
                  <a:lnTo>
                    <a:pt x="91" y="11"/>
                  </a:lnTo>
                  <a:lnTo>
                    <a:pt x="91" y="11"/>
                  </a:lnTo>
                  <a:lnTo>
                    <a:pt x="91" y="11"/>
                  </a:lnTo>
                  <a:lnTo>
                    <a:pt x="91" y="14"/>
                  </a:lnTo>
                  <a:lnTo>
                    <a:pt x="91" y="14"/>
                  </a:lnTo>
                  <a:lnTo>
                    <a:pt x="91" y="14"/>
                  </a:lnTo>
                  <a:lnTo>
                    <a:pt x="91" y="14"/>
                  </a:lnTo>
                  <a:lnTo>
                    <a:pt x="88" y="14"/>
                  </a:lnTo>
                  <a:lnTo>
                    <a:pt x="88" y="14"/>
                  </a:lnTo>
                  <a:lnTo>
                    <a:pt x="84" y="11"/>
                  </a:lnTo>
                  <a:lnTo>
                    <a:pt x="84" y="11"/>
                  </a:lnTo>
                  <a:lnTo>
                    <a:pt x="84" y="11"/>
                  </a:lnTo>
                  <a:lnTo>
                    <a:pt x="84" y="11"/>
                  </a:lnTo>
                  <a:lnTo>
                    <a:pt x="81" y="11"/>
                  </a:lnTo>
                  <a:lnTo>
                    <a:pt x="81" y="11"/>
                  </a:lnTo>
                  <a:lnTo>
                    <a:pt x="80" y="14"/>
                  </a:lnTo>
                  <a:lnTo>
                    <a:pt x="80" y="14"/>
                  </a:lnTo>
                  <a:lnTo>
                    <a:pt x="78" y="14"/>
                  </a:lnTo>
                  <a:lnTo>
                    <a:pt x="78" y="14"/>
                  </a:lnTo>
                  <a:lnTo>
                    <a:pt x="76" y="14"/>
                  </a:lnTo>
                  <a:lnTo>
                    <a:pt x="76" y="14"/>
                  </a:lnTo>
                  <a:lnTo>
                    <a:pt x="75" y="11"/>
                  </a:lnTo>
                  <a:lnTo>
                    <a:pt x="75" y="11"/>
                  </a:lnTo>
                  <a:lnTo>
                    <a:pt x="72" y="11"/>
                  </a:lnTo>
                  <a:lnTo>
                    <a:pt x="72" y="11"/>
                  </a:lnTo>
                  <a:lnTo>
                    <a:pt x="70" y="11"/>
                  </a:lnTo>
                  <a:lnTo>
                    <a:pt x="70" y="11"/>
                  </a:lnTo>
                  <a:lnTo>
                    <a:pt x="70" y="14"/>
                  </a:lnTo>
                  <a:lnTo>
                    <a:pt x="70" y="14"/>
                  </a:lnTo>
                  <a:lnTo>
                    <a:pt x="70" y="11"/>
                  </a:lnTo>
                  <a:lnTo>
                    <a:pt x="70" y="11"/>
                  </a:lnTo>
                  <a:lnTo>
                    <a:pt x="67" y="11"/>
                  </a:lnTo>
                  <a:lnTo>
                    <a:pt x="67" y="11"/>
                  </a:lnTo>
                  <a:lnTo>
                    <a:pt x="64" y="11"/>
                  </a:lnTo>
                  <a:lnTo>
                    <a:pt x="64" y="11"/>
                  </a:lnTo>
                  <a:lnTo>
                    <a:pt x="61" y="11"/>
                  </a:lnTo>
                  <a:lnTo>
                    <a:pt x="61" y="11"/>
                  </a:lnTo>
                  <a:lnTo>
                    <a:pt x="61" y="11"/>
                  </a:lnTo>
                  <a:lnTo>
                    <a:pt x="61" y="11"/>
                  </a:lnTo>
                  <a:lnTo>
                    <a:pt x="57" y="11"/>
                  </a:lnTo>
                  <a:lnTo>
                    <a:pt x="57" y="11"/>
                  </a:lnTo>
                  <a:lnTo>
                    <a:pt x="57" y="11"/>
                  </a:lnTo>
                  <a:lnTo>
                    <a:pt x="57" y="11"/>
                  </a:lnTo>
                  <a:lnTo>
                    <a:pt x="54" y="11"/>
                  </a:lnTo>
                  <a:lnTo>
                    <a:pt x="54" y="11"/>
                  </a:lnTo>
                  <a:lnTo>
                    <a:pt x="53" y="9"/>
                  </a:lnTo>
                  <a:lnTo>
                    <a:pt x="53" y="9"/>
                  </a:lnTo>
                  <a:lnTo>
                    <a:pt x="49" y="8"/>
                  </a:lnTo>
                  <a:lnTo>
                    <a:pt x="49" y="8"/>
                  </a:lnTo>
                  <a:lnTo>
                    <a:pt x="46" y="8"/>
                  </a:lnTo>
                  <a:lnTo>
                    <a:pt x="46" y="8"/>
                  </a:lnTo>
                  <a:lnTo>
                    <a:pt x="42" y="6"/>
                  </a:lnTo>
                  <a:lnTo>
                    <a:pt x="42" y="6"/>
                  </a:lnTo>
                  <a:lnTo>
                    <a:pt x="37" y="6"/>
                  </a:lnTo>
                  <a:lnTo>
                    <a:pt x="37" y="6"/>
                  </a:lnTo>
                  <a:lnTo>
                    <a:pt x="29" y="6"/>
                  </a:lnTo>
                  <a:lnTo>
                    <a:pt x="29" y="6"/>
                  </a:lnTo>
                  <a:lnTo>
                    <a:pt x="26" y="6"/>
                  </a:lnTo>
                  <a:lnTo>
                    <a:pt x="26" y="6"/>
                  </a:lnTo>
                  <a:lnTo>
                    <a:pt x="22" y="8"/>
                  </a:lnTo>
                  <a:lnTo>
                    <a:pt x="22" y="8"/>
                  </a:lnTo>
                  <a:lnTo>
                    <a:pt x="19" y="11"/>
                  </a:lnTo>
                  <a:lnTo>
                    <a:pt x="19" y="11"/>
                  </a:lnTo>
                  <a:lnTo>
                    <a:pt x="16" y="11"/>
                  </a:lnTo>
                  <a:lnTo>
                    <a:pt x="16" y="11"/>
                  </a:lnTo>
                  <a:lnTo>
                    <a:pt x="15" y="11"/>
                  </a:lnTo>
                  <a:lnTo>
                    <a:pt x="15" y="11"/>
                  </a:lnTo>
                  <a:lnTo>
                    <a:pt x="15" y="11"/>
                  </a:lnTo>
                  <a:lnTo>
                    <a:pt x="15" y="11"/>
                  </a:lnTo>
                  <a:lnTo>
                    <a:pt x="15" y="14"/>
                  </a:lnTo>
                  <a:lnTo>
                    <a:pt x="15" y="14"/>
                  </a:lnTo>
                  <a:lnTo>
                    <a:pt x="16" y="17"/>
                  </a:lnTo>
                  <a:lnTo>
                    <a:pt x="16" y="17"/>
                  </a:lnTo>
                  <a:lnTo>
                    <a:pt x="19" y="19"/>
                  </a:lnTo>
                  <a:lnTo>
                    <a:pt x="19" y="19"/>
                  </a:lnTo>
                  <a:lnTo>
                    <a:pt x="19" y="20"/>
                  </a:lnTo>
                  <a:lnTo>
                    <a:pt x="19" y="20"/>
                  </a:lnTo>
                  <a:lnTo>
                    <a:pt x="21" y="20"/>
                  </a:lnTo>
                  <a:lnTo>
                    <a:pt x="21" y="20"/>
                  </a:lnTo>
                  <a:lnTo>
                    <a:pt x="19" y="22"/>
                  </a:lnTo>
                  <a:lnTo>
                    <a:pt x="19" y="22"/>
                  </a:lnTo>
                  <a:lnTo>
                    <a:pt x="21" y="23"/>
                  </a:lnTo>
                  <a:lnTo>
                    <a:pt x="21" y="23"/>
                  </a:lnTo>
                  <a:lnTo>
                    <a:pt x="21" y="25"/>
                  </a:lnTo>
                  <a:lnTo>
                    <a:pt x="21" y="25"/>
                  </a:lnTo>
                  <a:lnTo>
                    <a:pt x="16" y="27"/>
                  </a:lnTo>
                  <a:lnTo>
                    <a:pt x="16" y="27"/>
                  </a:lnTo>
                  <a:lnTo>
                    <a:pt x="10" y="33"/>
                  </a:lnTo>
                  <a:lnTo>
                    <a:pt x="10" y="33"/>
                  </a:lnTo>
                  <a:lnTo>
                    <a:pt x="7" y="38"/>
                  </a:lnTo>
                  <a:lnTo>
                    <a:pt x="7" y="38"/>
                  </a:lnTo>
                  <a:lnTo>
                    <a:pt x="7" y="39"/>
                  </a:lnTo>
                  <a:lnTo>
                    <a:pt x="7" y="39"/>
                  </a:lnTo>
                  <a:lnTo>
                    <a:pt x="7" y="39"/>
                  </a:lnTo>
                  <a:lnTo>
                    <a:pt x="7" y="39"/>
                  </a:lnTo>
                  <a:lnTo>
                    <a:pt x="7" y="41"/>
                  </a:lnTo>
                  <a:lnTo>
                    <a:pt x="7" y="41"/>
                  </a:lnTo>
                  <a:lnTo>
                    <a:pt x="7" y="43"/>
                  </a:lnTo>
                  <a:lnTo>
                    <a:pt x="7" y="43"/>
                  </a:lnTo>
                  <a:lnTo>
                    <a:pt x="7" y="44"/>
                  </a:lnTo>
                  <a:lnTo>
                    <a:pt x="7" y="44"/>
                  </a:lnTo>
                  <a:lnTo>
                    <a:pt x="8" y="44"/>
                  </a:lnTo>
                  <a:lnTo>
                    <a:pt x="8" y="44"/>
                  </a:lnTo>
                  <a:lnTo>
                    <a:pt x="8" y="46"/>
                  </a:lnTo>
                  <a:lnTo>
                    <a:pt x="8" y="46"/>
                  </a:lnTo>
                  <a:lnTo>
                    <a:pt x="8" y="46"/>
                  </a:lnTo>
                  <a:lnTo>
                    <a:pt x="7" y="44"/>
                  </a:lnTo>
                  <a:lnTo>
                    <a:pt x="7" y="44"/>
                  </a:lnTo>
                  <a:lnTo>
                    <a:pt x="5" y="44"/>
                  </a:lnTo>
                  <a:lnTo>
                    <a:pt x="5" y="44"/>
                  </a:lnTo>
                  <a:lnTo>
                    <a:pt x="3" y="47"/>
                  </a:lnTo>
                  <a:lnTo>
                    <a:pt x="3" y="47"/>
                  </a:lnTo>
                  <a:lnTo>
                    <a:pt x="2" y="50"/>
                  </a:lnTo>
                  <a:lnTo>
                    <a:pt x="2" y="50"/>
                  </a:lnTo>
                  <a:lnTo>
                    <a:pt x="0" y="54"/>
                  </a:lnTo>
                  <a:lnTo>
                    <a:pt x="0" y="54"/>
                  </a:lnTo>
                  <a:lnTo>
                    <a:pt x="0" y="55"/>
                  </a:lnTo>
                  <a:lnTo>
                    <a:pt x="0" y="55"/>
                  </a:lnTo>
                  <a:lnTo>
                    <a:pt x="2" y="55"/>
                  </a:lnTo>
                  <a:lnTo>
                    <a:pt x="2" y="55"/>
                  </a:lnTo>
                  <a:lnTo>
                    <a:pt x="3" y="55"/>
                  </a:lnTo>
                  <a:lnTo>
                    <a:pt x="3" y="55"/>
                  </a:lnTo>
                  <a:lnTo>
                    <a:pt x="8" y="58"/>
                  </a:lnTo>
                  <a:lnTo>
                    <a:pt x="8" y="58"/>
                  </a:lnTo>
                  <a:lnTo>
                    <a:pt x="10" y="60"/>
                  </a:lnTo>
                  <a:lnTo>
                    <a:pt x="10" y="60"/>
                  </a:lnTo>
                  <a:lnTo>
                    <a:pt x="10" y="62"/>
                  </a:lnTo>
                  <a:lnTo>
                    <a:pt x="10" y="62"/>
                  </a:lnTo>
                  <a:lnTo>
                    <a:pt x="11" y="60"/>
                  </a:lnTo>
                  <a:lnTo>
                    <a:pt x="11" y="60"/>
                  </a:lnTo>
                  <a:lnTo>
                    <a:pt x="15" y="60"/>
                  </a:lnTo>
                  <a:lnTo>
                    <a:pt x="15" y="60"/>
                  </a:lnTo>
                  <a:lnTo>
                    <a:pt x="18" y="60"/>
                  </a:lnTo>
                  <a:lnTo>
                    <a:pt x="18" y="60"/>
                  </a:lnTo>
                  <a:lnTo>
                    <a:pt x="22" y="62"/>
                  </a:lnTo>
                  <a:lnTo>
                    <a:pt x="22" y="62"/>
                  </a:lnTo>
                  <a:lnTo>
                    <a:pt x="26" y="62"/>
                  </a:lnTo>
                  <a:lnTo>
                    <a:pt x="26" y="62"/>
                  </a:lnTo>
                  <a:lnTo>
                    <a:pt x="29" y="62"/>
                  </a:lnTo>
                  <a:lnTo>
                    <a:pt x="29" y="62"/>
                  </a:lnTo>
                  <a:lnTo>
                    <a:pt x="32" y="65"/>
                  </a:lnTo>
                  <a:lnTo>
                    <a:pt x="32" y="65"/>
                  </a:lnTo>
                  <a:lnTo>
                    <a:pt x="35" y="65"/>
                  </a:lnTo>
                  <a:lnTo>
                    <a:pt x="35" y="65"/>
                  </a:lnTo>
                  <a:lnTo>
                    <a:pt x="37" y="63"/>
                  </a:lnTo>
                  <a:lnTo>
                    <a:pt x="37" y="63"/>
                  </a:lnTo>
                  <a:lnTo>
                    <a:pt x="38" y="62"/>
                  </a:lnTo>
                  <a:lnTo>
                    <a:pt x="38" y="62"/>
                  </a:lnTo>
                  <a:lnTo>
                    <a:pt x="40" y="62"/>
                  </a:lnTo>
                  <a:lnTo>
                    <a:pt x="40" y="62"/>
                  </a:lnTo>
                  <a:lnTo>
                    <a:pt x="46" y="62"/>
                  </a:lnTo>
                  <a:lnTo>
                    <a:pt x="46" y="62"/>
                  </a:lnTo>
                  <a:lnTo>
                    <a:pt x="48" y="60"/>
                  </a:lnTo>
                  <a:lnTo>
                    <a:pt x="48" y="60"/>
                  </a:lnTo>
                  <a:lnTo>
                    <a:pt x="48" y="58"/>
                  </a:lnTo>
                  <a:lnTo>
                    <a:pt x="48" y="58"/>
                  </a:lnTo>
                  <a:lnTo>
                    <a:pt x="51" y="57"/>
                  </a:lnTo>
                  <a:lnTo>
                    <a:pt x="51" y="57"/>
                  </a:lnTo>
                  <a:lnTo>
                    <a:pt x="53" y="57"/>
                  </a:lnTo>
                  <a:lnTo>
                    <a:pt x="53" y="57"/>
                  </a:lnTo>
                  <a:lnTo>
                    <a:pt x="54" y="55"/>
                  </a:lnTo>
                  <a:lnTo>
                    <a:pt x="54" y="55"/>
                  </a:lnTo>
                  <a:lnTo>
                    <a:pt x="56" y="55"/>
                  </a:lnTo>
                  <a:lnTo>
                    <a:pt x="56" y="55"/>
                  </a:lnTo>
                  <a:lnTo>
                    <a:pt x="57" y="55"/>
                  </a:lnTo>
                  <a:lnTo>
                    <a:pt x="57" y="55"/>
                  </a:lnTo>
                  <a:lnTo>
                    <a:pt x="61" y="54"/>
                  </a:lnTo>
                  <a:lnTo>
                    <a:pt x="61" y="54"/>
                  </a:lnTo>
                  <a:lnTo>
                    <a:pt x="64" y="54"/>
                  </a:lnTo>
                  <a:lnTo>
                    <a:pt x="64" y="54"/>
                  </a:lnTo>
                  <a:lnTo>
                    <a:pt x="67" y="55"/>
                  </a:lnTo>
                  <a:lnTo>
                    <a:pt x="67" y="55"/>
                  </a:lnTo>
                  <a:lnTo>
                    <a:pt x="67" y="58"/>
                  </a:lnTo>
                  <a:lnTo>
                    <a:pt x="67" y="58"/>
                  </a:lnTo>
                  <a:lnTo>
                    <a:pt x="70" y="58"/>
                  </a:lnTo>
                  <a:lnTo>
                    <a:pt x="70" y="58"/>
                  </a:lnTo>
                  <a:lnTo>
                    <a:pt x="72" y="58"/>
                  </a:lnTo>
                  <a:lnTo>
                    <a:pt x="72" y="58"/>
                  </a:lnTo>
                  <a:lnTo>
                    <a:pt x="72" y="60"/>
                  </a:lnTo>
                  <a:lnTo>
                    <a:pt x="72" y="60"/>
                  </a:lnTo>
                  <a:lnTo>
                    <a:pt x="73" y="58"/>
                  </a:lnTo>
                  <a:lnTo>
                    <a:pt x="73" y="58"/>
                  </a:lnTo>
                  <a:lnTo>
                    <a:pt x="76" y="60"/>
                  </a:lnTo>
                  <a:lnTo>
                    <a:pt x="76" y="60"/>
                  </a:lnTo>
                  <a:lnTo>
                    <a:pt x="76" y="62"/>
                  </a:lnTo>
                  <a:lnTo>
                    <a:pt x="76" y="62"/>
                  </a:lnTo>
                  <a:lnTo>
                    <a:pt x="78" y="62"/>
                  </a:lnTo>
                  <a:lnTo>
                    <a:pt x="78" y="62"/>
                  </a:lnTo>
                  <a:lnTo>
                    <a:pt x="80" y="62"/>
                  </a:lnTo>
                  <a:lnTo>
                    <a:pt x="80" y="62"/>
                  </a:lnTo>
                  <a:lnTo>
                    <a:pt x="80" y="63"/>
                  </a:lnTo>
                  <a:lnTo>
                    <a:pt x="80" y="63"/>
                  </a:lnTo>
                  <a:lnTo>
                    <a:pt x="81" y="66"/>
                  </a:lnTo>
                  <a:lnTo>
                    <a:pt x="81" y="66"/>
                  </a:lnTo>
                  <a:lnTo>
                    <a:pt x="84" y="70"/>
                  </a:lnTo>
                  <a:lnTo>
                    <a:pt x="84" y="70"/>
                  </a:lnTo>
                  <a:lnTo>
                    <a:pt x="84" y="70"/>
                  </a:lnTo>
                  <a:lnTo>
                    <a:pt x="84" y="70"/>
                  </a:lnTo>
                  <a:lnTo>
                    <a:pt x="84" y="73"/>
                  </a:lnTo>
                  <a:lnTo>
                    <a:pt x="84" y="73"/>
                  </a:lnTo>
                  <a:lnTo>
                    <a:pt x="84" y="73"/>
                  </a:lnTo>
                  <a:lnTo>
                    <a:pt x="84" y="73"/>
                  </a:lnTo>
                  <a:lnTo>
                    <a:pt x="88" y="73"/>
                  </a:lnTo>
                  <a:lnTo>
                    <a:pt x="88" y="73"/>
                  </a:lnTo>
                  <a:lnTo>
                    <a:pt x="88" y="76"/>
                  </a:lnTo>
                  <a:lnTo>
                    <a:pt x="88" y="76"/>
                  </a:lnTo>
                  <a:lnTo>
                    <a:pt x="91" y="79"/>
                  </a:lnTo>
                  <a:lnTo>
                    <a:pt x="91" y="79"/>
                  </a:lnTo>
                  <a:lnTo>
                    <a:pt x="91" y="81"/>
                  </a:lnTo>
                  <a:lnTo>
                    <a:pt x="91" y="81"/>
                  </a:lnTo>
                  <a:lnTo>
                    <a:pt x="92" y="82"/>
                  </a:lnTo>
                  <a:lnTo>
                    <a:pt x="92" y="82"/>
                  </a:lnTo>
                  <a:lnTo>
                    <a:pt x="91" y="84"/>
                  </a:lnTo>
                  <a:lnTo>
                    <a:pt x="91" y="84"/>
                  </a:lnTo>
                  <a:lnTo>
                    <a:pt x="88" y="82"/>
                  </a:lnTo>
                  <a:lnTo>
                    <a:pt x="88" y="82"/>
                  </a:lnTo>
                  <a:lnTo>
                    <a:pt x="84" y="82"/>
                  </a:lnTo>
                  <a:lnTo>
                    <a:pt x="84" y="82"/>
                  </a:lnTo>
                  <a:lnTo>
                    <a:pt x="84" y="82"/>
                  </a:lnTo>
                  <a:lnTo>
                    <a:pt x="84" y="82"/>
                  </a:lnTo>
                  <a:lnTo>
                    <a:pt x="81" y="81"/>
                  </a:lnTo>
                  <a:lnTo>
                    <a:pt x="81" y="81"/>
                  </a:lnTo>
                  <a:lnTo>
                    <a:pt x="81" y="82"/>
                  </a:lnTo>
                  <a:lnTo>
                    <a:pt x="81" y="82"/>
                  </a:lnTo>
                  <a:lnTo>
                    <a:pt x="81" y="84"/>
                  </a:lnTo>
                  <a:lnTo>
                    <a:pt x="81" y="84"/>
                  </a:lnTo>
                  <a:lnTo>
                    <a:pt x="81" y="87"/>
                  </a:lnTo>
                  <a:lnTo>
                    <a:pt x="81" y="87"/>
                  </a:lnTo>
                  <a:lnTo>
                    <a:pt x="80" y="89"/>
                  </a:lnTo>
                  <a:lnTo>
                    <a:pt x="80" y="89"/>
                  </a:lnTo>
                  <a:lnTo>
                    <a:pt x="78" y="92"/>
                  </a:lnTo>
                  <a:lnTo>
                    <a:pt x="78" y="92"/>
                  </a:lnTo>
                  <a:lnTo>
                    <a:pt x="76" y="95"/>
                  </a:lnTo>
                  <a:lnTo>
                    <a:pt x="76" y="95"/>
                  </a:lnTo>
                  <a:lnTo>
                    <a:pt x="75" y="97"/>
                  </a:lnTo>
                  <a:lnTo>
                    <a:pt x="75" y="97"/>
                  </a:lnTo>
                  <a:lnTo>
                    <a:pt x="73" y="97"/>
                  </a:lnTo>
                  <a:lnTo>
                    <a:pt x="73" y="97"/>
                  </a:lnTo>
                  <a:lnTo>
                    <a:pt x="75" y="98"/>
                  </a:lnTo>
                  <a:lnTo>
                    <a:pt x="75" y="98"/>
                  </a:lnTo>
                  <a:lnTo>
                    <a:pt x="78" y="100"/>
                  </a:lnTo>
                  <a:lnTo>
                    <a:pt x="78" y="100"/>
                  </a:lnTo>
                  <a:lnTo>
                    <a:pt x="80" y="100"/>
                  </a:lnTo>
                  <a:lnTo>
                    <a:pt x="80" y="100"/>
                  </a:lnTo>
                  <a:lnTo>
                    <a:pt x="81" y="98"/>
                  </a:lnTo>
                  <a:lnTo>
                    <a:pt x="81" y="98"/>
                  </a:lnTo>
                  <a:lnTo>
                    <a:pt x="84" y="97"/>
                  </a:lnTo>
                  <a:lnTo>
                    <a:pt x="84" y="97"/>
                  </a:lnTo>
                  <a:lnTo>
                    <a:pt x="88" y="97"/>
                  </a:lnTo>
                  <a:lnTo>
                    <a:pt x="88" y="97"/>
                  </a:lnTo>
                  <a:lnTo>
                    <a:pt x="88" y="98"/>
                  </a:lnTo>
                  <a:lnTo>
                    <a:pt x="88" y="98"/>
                  </a:lnTo>
                  <a:lnTo>
                    <a:pt x="91" y="100"/>
                  </a:lnTo>
                  <a:lnTo>
                    <a:pt x="91" y="100"/>
                  </a:lnTo>
                  <a:lnTo>
                    <a:pt x="91" y="98"/>
                  </a:lnTo>
                  <a:lnTo>
                    <a:pt x="91" y="98"/>
                  </a:lnTo>
                  <a:lnTo>
                    <a:pt x="88" y="97"/>
                  </a:lnTo>
                  <a:lnTo>
                    <a:pt x="88" y="97"/>
                  </a:lnTo>
                  <a:lnTo>
                    <a:pt x="91" y="95"/>
                  </a:lnTo>
                  <a:lnTo>
                    <a:pt x="91" y="95"/>
                  </a:lnTo>
                  <a:lnTo>
                    <a:pt x="88" y="95"/>
                  </a:lnTo>
                  <a:lnTo>
                    <a:pt x="88" y="95"/>
                  </a:lnTo>
                  <a:lnTo>
                    <a:pt x="88" y="92"/>
                  </a:lnTo>
                  <a:lnTo>
                    <a:pt x="88" y="92"/>
                  </a:lnTo>
                  <a:lnTo>
                    <a:pt x="91" y="93"/>
                  </a:lnTo>
                  <a:lnTo>
                    <a:pt x="91" y="93"/>
                  </a:lnTo>
                  <a:lnTo>
                    <a:pt x="91" y="93"/>
                  </a:lnTo>
                  <a:lnTo>
                    <a:pt x="91" y="93"/>
                  </a:lnTo>
                  <a:lnTo>
                    <a:pt x="94" y="90"/>
                  </a:lnTo>
                  <a:lnTo>
                    <a:pt x="94" y="90"/>
                  </a:lnTo>
                  <a:lnTo>
                    <a:pt x="94" y="92"/>
                  </a:lnTo>
                  <a:lnTo>
                    <a:pt x="94" y="92"/>
                  </a:lnTo>
                  <a:lnTo>
                    <a:pt x="94" y="92"/>
                  </a:lnTo>
                  <a:lnTo>
                    <a:pt x="94" y="92"/>
                  </a:lnTo>
                  <a:lnTo>
                    <a:pt x="96" y="89"/>
                  </a:lnTo>
                  <a:lnTo>
                    <a:pt x="96" y="89"/>
                  </a:lnTo>
                  <a:lnTo>
                    <a:pt x="103" y="89"/>
                  </a:lnTo>
                  <a:lnTo>
                    <a:pt x="107" y="87"/>
                  </a:lnTo>
                  <a:lnTo>
                    <a:pt x="107" y="87"/>
                  </a:lnTo>
                  <a:lnTo>
                    <a:pt x="107" y="79"/>
                  </a:lnTo>
                  <a:lnTo>
                    <a:pt x="107" y="79"/>
                  </a:lnTo>
                  <a:lnTo>
                    <a:pt x="108" y="79"/>
                  </a:lnTo>
                  <a:lnTo>
                    <a:pt x="108" y="79"/>
                  </a:lnTo>
                  <a:lnTo>
                    <a:pt x="108" y="77"/>
                  </a:lnTo>
                  <a:lnTo>
                    <a:pt x="108" y="77"/>
                  </a:lnTo>
                  <a:lnTo>
                    <a:pt x="110" y="77"/>
                  </a:lnTo>
                  <a:lnTo>
                    <a:pt x="110" y="77"/>
                  </a:lnTo>
                  <a:lnTo>
                    <a:pt x="110" y="79"/>
                  </a:lnTo>
                  <a:lnTo>
                    <a:pt x="110" y="79"/>
                  </a:lnTo>
                  <a:lnTo>
                    <a:pt x="111" y="79"/>
                  </a:lnTo>
                  <a:lnTo>
                    <a:pt x="111" y="79"/>
                  </a:lnTo>
                  <a:lnTo>
                    <a:pt x="113" y="79"/>
                  </a:lnTo>
                  <a:lnTo>
                    <a:pt x="113" y="79"/>
                  </a:lnTo>
                  <a:lnTo>
                    <a:pt x="113" y="76"/>
                  </a:lnTo>
                  <a:lnTo>
                    <a:pt x="113" y="76"/>
                  </a:lnTo>
                  <a:lnTo>
                    <a:pt x="115" y="79"/>
                  </a:lnTo>
                  <a:lnTo>
                    <a:pt x="115" y="79"/>
                  </a:lnTo>
                  <a:lnTo>
                    <a:pt x="116" y="79"/>
                  </a:lnTo>
                  <a:lnTo>
                    <a:pt x="116" y="79"/>
                  </a:lnTo>
                  <a:lnTo>
                    <a:pt x="116" y="81"/>
                  </a:lnTo>
                  <a:lnTo>
                    <a:pt x="116" y="81"/>
                  </a:lnTo>
                  <a:lnTo>
                    <a:pt x="116" y="81"/>
                  </a:lnTo>
                  <a:lnTo>
                    <a:pt x="116" y="81"/>
                  </a:lnTo>
                  <a:lnTo>
                    <a:pt x="113" y="81"/>
                  </a:lnTo>
                  <a:lnTo>
                    <a:pt x="113" y="81"/>
                  </a:lnTo>
                  <a:lnTo>
                    <a:pt x="111" y="81"/>
                  </a:lnTo>
                  <a:lnTo>
                    <a:pt x="111" y="81"/>
                  </a:lnTo>
                  <a:lnTo>
                    <a:pt x="113" y="82"/>
                  </a:lnTo>
                  <a:lnTo>
                    <a:pt x="113" y="82"/>
                  </a:lnTo>
                  <a:lnTo>
                    <a:pt x="115" y="82"/>
                  </a:lnTo>
                  <a:lnTo>
                    <a:pt x="115" y="82"/>
                  </a:lnTo>
                  <a:lnTo>
                    <a:pt x="113" y="84"/>
                  </a:lnTo>
                  <a:lnTo>
                    <a:pt x="113" y="84"/>
                  </a:lnTo>
                  <a:lnTo>
                    <a:pt x="116" y="84"/>
                  </a:lnTo>
                  <a:lnTo>
                    <a:pt x="116" y="84"/>
                  </a:lnTo>
                  <a:lnTo>
                    <a:pt x="116" y="85"/>
                  </a:lnTo>
                  <a:lnTo>
                    <a:pt x="116" y="85"/>
                  </a:lnTo>
                  <a:lnTo>
                    <a:pt x="119" y="87"/>
                  </a:lnTo>
                  <a:lnTo>
                    <a:pt x="119" y="87"/>
                  </a:lnTo>
                  <a:lnTo>
                    <a:pt x="122" y="87"/>
                  </a:lnTo>
                  <a:lnTo>
                    <a:pt x="122" y="87"/>
                  </a:lnTo>
                  <a:lnTo>
                    <a:pt x="126" y="87"/>
                  </a:lnTo>
                  <a:lnTo>
                    <a:pt x="126" y="87"/>
                  </a:lnTo>
                  <a:lnTo>
                    <a:pt x="129" y="87"/>
                  </a:lnTo>
                  <a:lnTo>
                    <a:pt x="129" y="87"/>
                  </a:lnTo>
                  <a:lnTo>
                    <a:pt x="132" y="87"/>
                  </a:lnTo>
                  <a:lnTo>
                    <a:pt x="132" y="87"/>
                  </a:lnTo>
                  <a:lnTo>
                    <a:pt x="134" y="87"/>
                  </a:lnTo>
                  <a:lnTo>
                    <a:pt x="134" y="87"/>
                  </a:lnTo>
                  <a:lnTo>
                    <a:pt x="134" y="89"/>
                  </a:lnTo>
                  <a:lnTo>
                    <a:pt x="134" y="89"/>
                  </a:lnTo>
                  <a:lnTo>
                    <a:pt x="135" y="90"/>
                  </a:lnTo>
                  <a:lnTo>
                    <a:pt x="135" y="90"/>
                  </a:lnTo>
                  <a:lnTo>
                    <a:pt x="134" y="92"/>
                  </a:lnTo>
                  <a:lnTo>
                    <a:pt x="134" y="92"/>
                  </a:lnTo>
                  <a:lnTo>
                    <a:pt x="130" y="92"/>
                  </a:lnTo>
                  <a:lnTo>
                    <a:pt x="130" y="92"/>
                  </a:lnTo>
                  <a:lnTo>
                    <a:pt x="126" y="93"/>
                  </a:lnTo>
                  <a:lnTo>
                    <a:pt x="126" y="93"/>
                  </a:lnTo>
                  <a:lnTo>
                    <a:pt x="122" y="97"/>
                  </a:lnTo>
                  <a:lnTo>
                    <a:pt x="122" y="97"/>
                  </a:lnTo>
                  <a:lnTo>
                    <a:pt x="122" y="98"/>
                  </a:lnTo>
                  <a:lnTo>
                    <a:pt x="122" y="98"/>
                  </a:lnTo>
                  <a:lnTo>
                    <a:pt x="122" y="98"/>
                  </a:lnTo>
                  <a:lnTo>
                    <a:pt x="122" y="98"/>
                  </a:lnTo>
                  <a:lnTo>
                    <a:pt x="126" y="98"/>
                  </a:lnTo>
                  <a:lnTo>
                    <a:pt x="126" y="98"/>
                  </a:lnTo>
                  <a:lnTo>
                    <a:pt x="127" y="98"/>
                  </a:lnTo>
                  <a:lnTo>
                    <a:pt x="127" y="98"/>
                  </a:lnTo>
                  <a:lnTo>
                    <a:pt x="132" y="101"/>
                  </a:lnTo>
                  <a:lnTo>
                    <a:pt x="132" y="101"/>
                  </a:lnTo>
                  <a:lnTo>
                    <a:pt x="134" y="101"/>
                  </a:lnTo>
                  <a:lnTo>
                    <a:pt x="134" y="101"/>
                  </a:lnTo>
                  <a:lnTo>
                    <a:pt x="135" y="104"/>
                  </a:lnTo>
                  <a:lnTo>
                    <a:pt x="135" y="104"/>
                  </a:lnTo>
                  <a:lnTo>
                    <a:pt x="134" y="108"/>
                  </a:lnTo>
                  <a:lnTo>
                    <a:pt x="134" y="108"/>
                  </a:lnTo>
                  <a:lnTo>
                    <a:pt x="132" y="108"/>
                  </a:lnTo>
                  <a:lnTo>
                    <a:pt x="132" y="108"/>
                  </a:lnTo>
                  <a:lnTo>
                    <a:pt x="135" y="111"/>
                  </a:lnTo>
                  <a:lnTo>
                    <a:pt x="135" y="111"/>
                  </a:lnTo>
                  <a:lnTo>
                    <a:pt x="138" y="111"/>
                  </a:lnTo>
                  <a:lnTo>
                    <a:pt x="138" y="111"/>
                  </a:lnTo>
                  <a:lnTo>
                    <a:pt x="143" y="109"/>
                  </a:lnTo>
                  <a:lnTo>
                    <a:pt x="143" y="109"/>
                  </a:lnTo>
                  <a:lnTo>
                    <a:pt x="145" y="106"/>
                  </a:lnTo>
                  <a:lnTo>
                    <a:pt x="145" y="106"/>
                  </a:lnTo>
                  <a:lnTo>
                    <a:pt x="148" y="104"/>
                  </a:lnTo>
                  <a:lnTo>
                    <a:pt x="148" y="104"/>
                  </a:lnTo>
                  <a:lnTo>
                    <a:pt x="151" y="104"/>
                  </a:lnTo>
                  <a:lnTo>
                    <a:pt x="151" y="104"/>
                  </a:lnTo>
                  <a:lnTo>
                    <a:pt x="154" y="104"/>
                  </a:lnTo>
                  <a:lnTo>
                    <a:pt x="154" y="104"/>
                  </a:lnTo>
                  <a:lnTo>
                    <a:pt x="154" y="101"/>
                  </a:lnTo>
                  <a:lnTo>
                    <a:pt x="154" y="101"/>
                  </a:lnTo>
                  <a:lnTo>
                    <a:pt x="157" y="101"/>
                  </a:lnTo>
                  <a:lnTo>
                    <a:pt x="157" y="101"/>
                  </a:lnTo>
                  <a:lnTo>
                    <a:pt x="157" y="101"/>
                  </a:lnTo>
                  <a:lnTo>
                    <a:pt x="157" y="101"/>
                  </a:lnTo>
                  <a:lnTo>
                    <a:pt x="157" y="101"/>
                  </a:lnTo>
                  <a:lnTo>
                    <a:pt x="157" y="101"/>
                  </a:lnTo>
                  <a:lnTo>
                    <a:pt x="161" y="101"/>
                  </a:lnTo>
                  <a:lnTo>
                    <a:pt x="161" y="101"/>
                  </a:lnTo>
                  <a:lnTo>
                    <a:pt x="164" y="101"/>
                  </a:lnTo>
                  <a:lnTo>
                    <a:pt x="164" y="101"/>
                  </a:lnTo>
                  <a:lnTo>
                    <a:pt x="165" y="101"/>
                  </a:lnTo>
                  <a:lnTo>
                    <a:pt x="165" y="101"/>
                  </a:lnTo>
                  <a:lnTo>
                    <a:pt x="167" y="101"/>
                  </a:lnTo>
                  <a:lnTo>
                    <a:pt x="167" y="101"/>
                  </a:lnTo>
                  <a:lnTo>
                    <a:pt x="167" y="100"/>
                  </a:lnTo>
                  <a:lnTo>
                    <a:pt x="167" y="100"/>
                  </a:lnTo>
                  <a:lnTo>
                    <a:pt x="169" y="98"/>
                  </a:lnTo>
                  <a:lnTo>
                    <a:pt x="169" y="98"/>
                  </a:lnTo>
                  <a:lnTo>
                    <a:pt x="165" y="97"/>
                  </a:lnTo>
                  <a:lnTo>
                    <a:pt x="165" y="97"/>
                  </a:lnTo>
                  <a:lnTo>
                    <a:pt x="162" y="97"/>
                  </a:lnTo>
                  <a:lnTo>
                    <a:pt x="162" y="97"/>
                  </a:lnTo>
                  <a:lnTo>
                    <a:pt x="161" y="98"/>
                  </a:lnTo>
                  <a:lnTo>
                    <a:pt x="161" y="98"/>
                  </a:lnTo>
                  <a:lnTo>
                    <a:pt x="161" y="97"/>
                  </a:lnTo>
                  <a:lnTo>
                    <a:pt x="161" y="97"/>
                  </a:lnTo>
                  <a:lnTo>
                    <a:pt x="157" y="98"/>
                  </a:lnTo>
                  <a:lnTo>
                    <a:pt x="157" y="98"/>
                  </a:lnTo>
                  <a:lnTo>
                    <a:pt x="157" y="98"/>
                  </a:lnTo>
                  <a:lnTo>
                    <a:pt x="157" y="98"/>
                  </a:lnTo>
                  <a:lnTo>
                    <a:pt x="154" y="97"/>
                  </a:lnTo>
                  <a:lnTo>
                    <a:pt x="154" y="97"/>
                  </a:lnTo>
                  <a:lnTo>
                    <a:pt x="151" y="93"/>
                  </a:lnTo>
                  <a:lnTo>
                    <a:pt x="151" y="93"/>
                  </a:lnTo>
                  <a:lnTo>
                    <a:pt x="154" y="100"/>
                  </a:lnTo>
                  <a:lnTo>
                    <a:pt x="154" y="100"/>
                  </a:lnTo>
                  <a:lnTo>
                    <a:pt x="151" y="98"/>
                  </a:lnTo>
                  <a:lnTo>
                    <a:pt x="151" y="98"/>
                  </a:lnTo>
                  <a:lnTo>
                    <a:pt x="151" y="98"/>
                  </a:lnTo>
                  <a:lnTo>
                    <a:pt x="151" y="98"/>
                  </a:lnTo>
                  <a:lnTo>
                    <a:pt x="151" y="97"/>
                  </a:lnTo>
                  <a:lnTo>
                    <a:pt x="151" y="97"/>
                  </a:lnTo>
                  <a:lnTo>
                    <a:pt x="151" y="95"/>
                  </a:lnTo>
                  <a:lnTo>
                    <a:pt x="151" y="95"/>
                  </a:lnTo>
                  <a:lnTo>
                    <a:pt x="148" y="93"/>
                  </a:lnTo>
                  <a:lnTo>
                    <a:pt x="148" y="93"/>
                  </a:lnTo>
                  <a:lnTo>
                    <a:pt x="146" y="92"/>
                  </a:lnTo>
                  <a:lnTo>
                    <a:pt x="146" y="92"/>
                  </a:lnTo>
                  <a:lnTo>
                    <a:pt x="146" y="90"/>
                  </a:lnTo>
                  <a:lnTo>
                    <a:pt x="146" y="90"/>
                  </a:lnTo>
                  <a:lnTo>
                    <a:pt x="143" y="92"/>
                  </a:lnTo>
                  <a:lnTo>
                    <a:pt x="143" y="92"/>
                  </a:lnTo>
                  <a:lnTo>
                    <a:pt x="145" y="90"/>
                  </a:lnTo>
                  <a:lnTo>
                    <a:pt x="145" y="90"/>
                  </a:lnTo>
                  <a:lnTo>
                    <a:pt x="145" y="89"/>
                  </a:lnTo>
                  <a:lnTo>
                    <a:pt x="145" y="89"/>
                  </a:lnTo>
                  <a:lnTo>
                    <a:pt x="143" y="90"/>
                  </a:lnTo>
                  <a:lnTo>
                    <a:pt x="143" y="90"/>
                  </a:lnTo>
                  <a:lnTo>
                    <a:pt x="142" y="89"/>
                  </a:lnTo>
                  <a:lnTo>
                    <a:pt x="142" y="89"/>
                  </a:lnTo>
                  <a:lnTo>
                    <a:pt x="140" y="89"/>
                  </a:lnTo>
                  <a:lnTo>
                    <a:pt x="140" y="89"/>
                  </a:lnTo>
                  <a:lnTo>
                    <a:pt x="138" y="87"/>
                  </a:lnTo>
                  <a:lnTo>
                    <a:pt x="138" y="87"/>
                  </a:lnTo>
                  <a:lnTo>
                    <a:pt x="137" y="89"/>
                  </a:lnTo>
                  <a:lnTo>
                    <a:pt x="137" y="89"/>
                  </a:lnTo>
                  <a:lnTo>
                    <a:pt x="134" y="85"/>
                  </a:lnTo>
                  <a:lnTo>
                    <a:pt x="134" y="85"/>
                  </a:lnTo>
                  <a:lnTo>
                    <a:pt x="138" y="85"/>
                  </a:lnTo>
                  <a:lnTo>
                    <a:pt x="138" y="85"/>
                  </a:lnTo>
                  <a:lnTo>
                    <a:pt x="140" y="84"/>
                  </a:lnTo>
                  <a:lnTo>
                    <a:pt x="140" y="84"/>
                  </a:lnTo>
                  <a:lnTo>
                    <a:pt x="142" y="87"/>
                  </a:lnTo>
                  <a:lnTo>
                    <a:pt x="142" y="87"/>
                  </a:lnTo>
                  <a:lnTo>
                    <a:pt x="142" y="85"/>
                  </a:lnTo>
                  <a:lnTo>
                    <a:pt x="142" y="85"/>
                  </a:lnTo>
                  <a:lnTo>
                    <a:pt x="143" y="87"/>
                  </a:lnTo>
                  <a:lnTo>
                    <a:pt x="143" y="87"/>
                  </a:lnTo>
                  <a:lnTo>
                    <a:pt x="143" y="89"/>
                  </a:lnTo>
                  <a:lnTo>
                    <a:pt x="143" y="89"/>
                  </a:lnTo>
                  <a:lnTo>
                    <a:pt x="145" y="89"/>
                  </a:lnTo>
                  <a:lnTo>
                    <a:pt x="145" y="89"/>
                  </a:lnTo>
                  <a:lnTo>
                    <a:pt x="145" y="85"/>
                  </a:lnTo>
                  <a:lnTo>
                    <a:pt x="145" y="85"/>
                  </a:lnTo>
                  <a:lnTo>
                    <a:pt x="146" y="87"/>
                  </a:lnTo>
                  <a:lnTo>
                    <a:pt x="146" y="87"/>
                  </a:lnTo>
                  <a:lnTo>
                    <a:pt x="146" y="89"/>
                  </a:lnTo>
                  <a:lnTo>
                    <a:pt x="146" y="89"/>
                  </a:lnTo>
                  <a:lnTo>
                    <a:pt x="148" y="89"/>
                  </a:lnTo>
                  <a:lnTo>
                    <a:pt x="148" y="89"/>
                  </a:lnTo>
                  <a:lnTo>
                    <a:pt x="148" y="85"/>
                  </a:lnTo>
                  <a:lnTo>
                    <a:pt x="148" y="85"/>
                  </a:lnTo>
                  <a:lnTo>
                    <a:pt x="151" y="84"/>
                  </a:lnTo>
                  <a:lnTo>
                    <a:pt x="151" y="84"/>
                  </a:lnTo>
                  <a:lnTo>
                    <a:pt x="151" y="82"/>
                  </a:lnTo>
                  <a:lnTo>
                    <a:pt x="151" y="82"/>
                  </a:lnTo>
                  <a:lnTo>
                    <a:pt x="151" y="82"/>
                  </a:lnTo>
                  <a:lnTo>
                    <a:pt x="151" y="82"/>
                  </a:lnTo>
                  <a:lnTo>
                    <a:pt x="151" y="84"/>
                  </a:lnTo>
                  <a:lnTo>
                    <a:pt x="151" y="84"/>
                  </a:lnTo>
                  <a:lnTo>
                    <a:pt x="148" y="87"/>
                  </a:lnTo>
                  <a:lnTo>
                    <a:pt x="148" y="87"/>
                  </a:lnTo>
                  <a:lnTo>
                    <a:pt x="151" y="85"/>
                  </a:lnTo>
                  <a:lnTo>
                    <a:pt x="151" y="85"/>
                  </a:lnTo>
                  <a:lnTo>
                    <a:pt x="154" y="84"/>
                  </a:lnTo>
                  <a:lnTo>
                    <a:pt x="154" y="84"/>
                  </a:lnTo>
                  <a:lnTo>
                    <a:pt x="154" y="81"/>
                  </a:lnTo>
                  <a:lnTo>
                    <a:pt x="154" y="81"/>
                  </a:lnTo>
                  <a:lnTo>
                    <a:pt x="157" y="79"/>
                  </a:lnTo>
                  <a:lnTo>
                    <a:pt x="157" y="79"/>
                  </a:lnTo>
                  <a:lnTo>
                    <a:pt x="161" y="79"/>
                  </a:lnTo>
                  <a:lnTo>
                    <a:pt x="161" y="79"/>
                  </a:lnTo>
                  <a:lnTo>
                    <a:pt x="164" y="77"/>
                  </a:lnTo>
                  <a:lnTo>
                    <a:pt x="164" y="77"/>
                  </a:lnTo>
                  <a:lnTo>
                    <a:pt x="165" y="77"/>
                  </a:lnTo>
                  <a:lnTo>
                    <a:pt x="165" y="77"/>
                  </a:lnTo>
                  <a:lnTo>
                    <a:pt x="169" y="79"/>
                  </a:lnTo>
                  <a:lnTo>
                    <a:pt x="169" y="79"/>
                  </a:lnTo>
                  <a:lnTo>
                    <a:pt x="170" y="76"/>
                  </a:lnTo>
                  <a:lnTo>
                    <a:pt x="170" y="76"/>
                  </a:lnTo>
                  <a:lnTo>
                    <a:pt x="173" y="76"/>
                  </a:lnTo>
                  <a:lnTo>
                    <a:pt x="173" y="76"/>
                  </a:lnTo>
                  <a:lnTo>
                    <a:pt x="175" y="76"/>
                  </a:lnTo>
                  <a:lnTo>
                    <a:pt x="175" y="76"/>
                  </a:lnTo>
                  <a:lnTo>
                    <a:pt x="176" y="73"/>
                  </a:lnTo>
                  <a:lnTo>
                    <a:pt x="176" y="73"/>
                  </a:lnTo>
                  <a:lnTo>
                    <a:pt x="180" y="73"/>
                  </a:lnTo>
                  <a:lnTo>
                    <a:pt x="180" y="73"/>
                  </a:lnTo>
                  <a:lnTo>
                    <a:pt x="183" y="73"/>
                  </a:lnTo>
                  <a:lnTo>
                    <a:pt x="183" y="73"/>
                  </a:lnTo>
                  <a:lnTo>
                    <a:pt x="183" y="73"/>
                  </a:lnTo>
                  <a:lnTo>
                    <a:pt x="183" y="73"/>
                  </a:lnTo>
                  <a:lnTo>
                    <a:pt x="183" y="70"/>
                  </a:lnTo>
                  <a:lnTo>
                    <a:pt x="183" y="70"/>
                  </a:lnTo>
                  <a:lnTo>
                    <a:pt x="183" y="70"/>
                  </a:lnTo>
                  <a:lnTo>
                    <a:pt x="183" y="70"/>
                  </a:lnTo>
                  <a:lnTo>
                    <a:pt x="183" y="66"/>
                  </a:lnTo>
                  <a:lnTo>
                    <a:pt x="183" y="66"/>
                  </a:lnTo>
                  <a:lnTo>
                    <a:pt x="186" y="66"/>
                  </a:lnTo>
                  <a:lnTo>
                    <a:pt x="186" y="66"/>
                  </a:lnTo>
                  <a:lnTo>
                    <a:pt x="189" y="63"/>
                  </a:lnTo>
                  <a:lnTo>
                    <a:pt x="189" y="63"/>
                  </a:lnTo>
                  <a:lnTo>
                    <a:pt x="189" y="63"/>
                  </a:lnTo>
                  <a:lnTo>
                    <a:pt x="189" y="63"/>
                  </a:lnTo>
                  <a:lnTo>
                    <a:pt x="192" y="63"/>
                  </a:lnTo>
                  <a:lnTo>
                    <a:pt x="192" y="63"/>
                  </a:lnTo>
                  <a:lnTo>
                    <a:pt x="192" y="63"/>
                  </a:lnTo>
                  <a:lnTo>
                    <a:pt x="192" y="63"/>
                  </a:lnTo>
                  <a:lnTo>
                    <a:pt x="196" y="63"/>
                  </a:lnTo>
                  <a:lnTo>
                    <a:pt x="196" y="63"/>
                  </a:lnTo>
                  <a:lnTo>
                    <a:pt x="197" y="63"/>
                  </a:lnTo>
                  <a:lnTo>
                    <a:pt x="197" y="63"/>
                  </a:lnTo>
                  <a:lnTo>
                    <a:pt x="199" y="62"/>
                  </a:lnTo>
                  <a:lnTo>
                    <a:pt x="199" y="62"/>
                  </a:lnTo>
                  <a:lnTo>
                    <a:pt x="200" y="60"/>
                  </a:lnTo>
                  <a:lnTo>
                    <a:pt x="200" y="60"/>
                  </a:lnTo>
                  <a:lnTo>
                    <a:pt x="200" y="57"/>
                  </a:lnTo>
                  <a:lnTo>
                    <a:pt x="200" y="57"/>
                  </a:lnTo>
                  <a:lnTo>
                    <a:pt x="199" y="55"/>
                  </a:lnTo>
                  <a:lnTo>
                    <a:pt x="199" y="55"/>
                  </a:lnTo>
                  <a:lnTo>
                    <a:pt x="200" y="55"/>
                  </a:lnTo>
                  <a:lnTo>
                    <a:pt x="200" y="55"/>
                  </a:lnTo>
                  <a:lnTo>
                    <a:pt x="199" y="54"/>
                  </a:lnTo>
                  <a:lnTo>
                    <a:pt x="199" y="54"/>
                  </a:lnTo>
                  <a:lnTo>
                    <a:pt x="196" y="52"/>
                  </a:lnTo>
                  <a:lnTo>
                    <a:pt x="196" y="52"/>
                  </a:lnTo>
                  <a:lnTo>
                    <a:pt x="196" y="50"/>
                  </a:lnTo>
                  <a:lnTo>
                    <a:pt x="197" y="49"/>
                  </a:lnTo>
                  <a:lnTo>
                    <a:pt x="197" y="49"/>
                  </a:lnTo>
                  <a:lnTo>
                    <a:pt x="197" y="4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6" name="Freeform 209">
              <a:extLst>
                <a:ext uri="{FF2B5EF4-FFF2-40B4-BE49-F238E27FC236}">
                  <a16:creationId xmlns:a16="http://schemas.microsoft.com/office/drawing/2014/main" id="{6E4A3D42-1AB5-471E-3201-69EB45946E76}"/>
                </a:ext>
              </a:extLst>
            </p:cNvPr>
            <p:cNvSpPr>
              <a:spLocks noEditPoints="1"/>
            </p:cNvSpPr>
            <p:nvPr/>
          </p:nvSpPr>
          <p:spPr bwMode="auto">
            <a:xfrm>
              <a:off x="6294051" y="2253084"/>
              <a:ext cx="80750" cy="35889"/>
            </a:xfrm>
            <a:custGeom>
              <a:avLst/>
              <a:gdLst>
                <a:gd name="T0" fmla="*/ 11 w 36"/>
                <a:gd name="T1" fmla="*/ 2 h 16"/>
                <a:gd name="T2" fmla="*/ 9 w 36"/>
                <a:gd name="T3" fmla="*/ 5 h 16"/>
                <a:gd name="T4" fmla="*/ 14 w 36"/>
                <a:gd name="T5" fmla="*/ 0 h 16"/>
                <a:gd name="T6" fmla="*/ 11 w 36"/>
                <a:gd name="T7" fmla="*/ 2 h 16"/>
                <a:gd name="T8" fmla="*/ 11 w 36"/>
                <a:gd name="T9" fmla="*/ 2 h 16"/>
                <a:gd name="T10" fmla="*/ 11 w 36"/>
                <a:gd name="T11" fmla="*/ 2 h 16"/>
                <a:gd name="T12" fmla="*/ 11 w 36"/>
                <a:gd name="T13" fmla="*/ 2 h 16"/>
                <a:gd name="T14" fmla="*/ 11 w 36"/>
                <a:gd name="T15" fmla="*/ 2 h 16"/>
                <a:gd name="T16" fmla="*/ 11 w 36"/>
                <a:gd name="T17" fmla="*/ 2 h 16"/>
                <a:gd name="T18" fmla="*/ 11 w 36"/>
                <a:gd name="T19" fmla="*/ 2 h 16"/>
                <a:gd name="T20" fmla="*/ 11 w 36"/>
                <a:gd name="T21" fmla="*/ 2 h 16"/>
                <a:gd name="T22" fmla="*/ 11 w 36"/>
                <a:gd name="T23" fmla="*/ 2 h 16"/>
                <a:gd name="T24" fmla="*/ 36 w 36"/>
                <a:gd name="T25" fmla="*/ 8 h 16"/>
                <a:gd name="T26" fmla="*/ 33 w 36"/>
                <a:gd name="T27" fmla="*/ 5 h 16"/>
                <a:gd name="T28" fmla="*/ 28 w 36"/>
                <a:gd name="T29" fmla="*/ 5 h 16"/>
                <a:gd name="T30" fmla="*/ 22 w 36"/>
                <a:gd name="T31" fmla="*/ 4 h 16"/>
                <a:gd name="T32" fmla="*/ 19 w 36"/>
                <a:gd name="T33" fmla="*/ 2 h 16"/>
                <a:gd name="T34" fmla="*/ 17 w 36"/>
                <a:gd name="T35" fmla="*/ 2 h 16"/>
                <a:gd name="T36" fmla="*/ 16 w 36"/>
                <a:gd name="T37" fmla="*/ 4 h 16"/>
                <a:gd name="T38" fmla="*/ 16 w 36"/>
                <a:gd name="T39" fmla="*/ 7 h 16"/>
                <a:gd name="T40" fmla="*/ 14 w 36"/>
                <a:gd name="T41" fmla="*/ 7 h 16"/>
                <a:gd name="T42" fmla="*/ 8 w 36"/>
                <a:gd name="T43" fmla="*/ 7 h 16"/>
                <a:gd name="T44" fmla="*/ 9 w 36"/>
                <a:gd name="T45" fmla="*/ 5 h 16"/>
                <a:gd name="T46" fmla="*/ 6 w 36"/>
                <a:gd name="T47" fmla="*/ 7 h 16"/>
                <a:gd name="T48" fmla="*/ 4 w 36"/>
                <a:gd name="T49" fmla="*/ 7 h 16"/>
                <a:gd name="T50" fmla="*/ 1 w 36"/>
                <a:gd name="T51" fmla="*/ 7 h 16"/>
                <a:gd name="T52" fmla="*/ 1 w 36"/>
                <a:gd name="T53" fmla="*/ 8 h 16"/>
                <a:gd name="T54" fmla="*/ 0 w 36"/>
                <a:gd name="T55" fmla="*/ 12 h 16"/>
                <a:gd name="T56" fmla="*/ 1 w 36"/>
                <a:gd name="T57" fmla="*/ 10 h 16"/>
                <a:gd name="T58" fmla="*/ 6 w 36"/>
                <a:gd name="T59" fmla="*/ 10 h 16"/>
                <a:gd name="T60" fmla="*/ 4 w 36"/>
                <a:gd name="T61" fmla="*/ 12 h 16"/>
                <a:gd name="T62" fmla="*/ 4 w 36"/>
                <a:gd name="T63" fmla="*/ 12 h 16"/>
                <a:gd name="T64" fmla="*/ 0 w 36"/>
                <a:gd name="T65" fmla="*/ 15 h 16"/>
                <a:gd name="T66" fmla="*/ 1 w 36"/>
                <a:gd name="T67" fmla="*/ 15 h 16"/>
                <a:gd name="T68" fmla="*/ 9 w 36"/>
                <a:gd name="T69" fmla="*/ 15 h 16"/>
                <a:gd name="T70" fmla="*/ 20 w 36"/>
                <a:gd name="T71" fmla="*/ 16 h 16"/>
                <a:gd name="T72" fmla="*/ 33 w 36"/>
                <a:gd name="T73" fmla="*/ 16 h 16"/>
                <a:gd name="T74" fmla="*/ 36 w 36"/>
                <a:gd name="T75" fmla="*/ 16 h 16"/>
                <a:gd name="T76" fmla="*/ 33 w 36"/>
                <a:gd name="T77" fmla="*/ 10 h 16"/>
                <a:gd name="T78" fmla="*/ 36 w 36"/>
                <a:gd name="T79" fmla="*/ 8 h 16"/>
                <a:gd name="T80" fmla="*/ 36 w 36"/>
                <a:gd name="T81" fmla="*/ 8 h 16"/>
                <a:gd name="T82" fmla="*/ 36 w 36"/>
                <a:gd name="T83" fmla="*/ 8 h 16"/>
                <a:gd name="T84" fmla="*/ 36 w 36"/>
                <a:gd name="T85" fmla="*/ 8 h 16"/>
                <a:gd name="T86" fmla="*/ 36 w 36"/>
                <a:gd name="T87" fmla="*/ 8 h 16"/>
                <a:gd name="T88" fmla="*/ 36 w 36"/>
                <a:gd name="T89" fmla="*/ 8 h 16"/>
                <a:gd name="T90" fmla="*/ 36 w 36"/>
                <a:gd name="T91" fmla="*/ 8 h 16"/>
                <a:gd name="T92" fmla="*/ 36 w 36"/>
                <a:gd name="T93" fmla="*/ 8 h 16"/>
                <a:gd name="T94" fmla="*/ 36 w 36"/>
                <a:gd name="T9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16">
                  <a:moveTo>
                    <a:pt x="11" y="2"/>
                  </a:moveTo>
                  <a:lnTo>
                    <a:pt x="9" y="5"/>
                  </a:lnTo>
                  <a:lnTo>
                    <a:pt x="14" y="0"/>
                  </a:lnTo>
                  <a:lnTo>
                    <a:pt x="11" y="2"/>
                  </a:lnTo>
                  <a:lnTo>
                    <a:pt x="11" y="2"/>
                  </a:lnTo>
                  <a:lnTo>
                    <a:pt x="11" y="2"/>
                  </a:lnTo>
                  <a:lnTo>
                    <a:pt x="11" y="2"/>
                  </a:lnTo>
                  <a:lnTo>
                    <a:pt x="11" y="2"/>
                  </a:lnTo>
                  <a:lnTo>
                    <a:pt x="11" y="2"/>
                  </a:lnTo>
                  <a:lnTo>
                    <a:pt x="11" y="2"/>
                  </a:lnTo>
                  <a:lnTo>
                    <a:pt x="11" y="2"/>
                  </a:lnTo>
                  <a:lnTo>
                    <a:pt x="11" y="2"/>
                  </a:lnTo>
                  <a:close/>
                  <a:moveTo>
                    <a:pt x="36" y="8"/>
                  </a:moveTo>
                  <a:lnTo>
                    <a:pt x="33" y="5"/>
                  </a:lnTo>
                  <a:lnTo>
                    <a:pt x="28" y="5"/>
                  </a:lnTo>
                  <a:lnTo>
                    <a:pt x="22" y="4"/>
                  </a:lnTo>
                  <a:lnTo>
                    <a:pt x="19" y="2"/>
                  </a:lnTo>
                  <a:lnTo>
                    <a:pt x="17" y="2"/>
                  </a:lnTo>
                  <a:lnTo>
                    <a:pt x="16" y="4"/>
                  </a:lnTo>
                  <a:lnTo>
                    <a:pt x="16" y="7"/>
                  </a:lnTo>
                  <a:lnTo>
                    <a:pt x="14" y="7"/>
                  </a:lnTo>
                  <a:lnTo>
                    <a:pt x="8" y="7"/>
                  </a:lnTo>
                  <a:lnTo>
                    <a:pt x="9" y="5"/>
                  </a:lnTo>
                  <a:lnTo>
                    <a:pt x="6" y="7"/>
                  </a:lnTo>
                  <a:lnTo>
                    <a:pt x="4" y="7"/>
                  </a:lnTo>
                  <a:lnTo>
                    <a:pt x="1" y="7"/>
                  </a:lnTo>
                  <a:lnTo>
                    <a:pt x="1" y="8"/>
                  </a:lnTo>
                  <a:lnTo>
                    <a:pt x="0" y="12"/>
                  </a:lnTo>
                  <a:lnTo>
                    <a:pt x="1" y="10"/>
                  </a:lnTo>
                  <a:lnTo>
                    <a:pt x="6" y="10"/>
                  </a:lnTo>
                  <a:lnTo>
                    <a:pt x="4" y="12"/>
                  </a:lnTo>
                  <a:lnTo>
                    <a:pt x="4" y="12"/>
                  </a:lnTo>
                  <a:lnTo>
                    <a:pt x="0" y="15"/>
                  </a:lnTo>
                  <a:lnTo>
                    <a:pt x="1" y="15"/>
                  </a:lnTo>
                  <a:lnTo>
                    <a:pt x="9" y="15"/>
                  </a:lnTo>
                  <a:lnTo>
                    <a:pt x="20" y="16"/>
                  </a:lnTo>
                  <a:lnTo>
                    <a:pt x="33" y="16"/>
                  </a:lnTo>
                  <a:lnTo>
                    <a:pt x="36" y="16"/>
                  </a:lnTo>
                  <a:lnTo>
                    <a:pt x="33" y="10"/>
                  </a:lnTo>
                  <a:lnTo>
                    <a:pt x="36" y="8"/>
                  </a:lnTo>
                  <a:lnTo>
                    <a:pt x="36" y="8"/>
                  </a:lnTo>
                  <a:lnTo>
                    <a:pt x="36" y="8"/>
                  </a:lnTo>
                  <a:lnTo>
                    <a:pt x="36" y="8"/>
                  </a:lnTo>
                  <a:lnTo>
                    <a:pt x="36" y="8"/>
                  </a:lnTo>
                  <a:lnTo>
                    <a:pt x="36" y="8"/>
                  </a:lnTo>
                  <a:lnTo>
                    <a:pt x="36" y="8"/>
                  </a:lnTo>
                  <a:lnTo>
                    <a:pt x="36" y="8"/>
                  </a:lnTo>
                  <a:lnTo>
                    <a:pt x="36"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7" name="Freeform 194">
              <a:extLst>
                <a:ext uri="{FF2B5EF4-FFF2-40B4-BE49-F238E27FC236}">
                  <a16:creationId xmlns:a16="http://schemas.microsoft.com/office/drawing/2014/main" id="{92CCE3B3-855D-1310-E716-720FDD26E5A9}"/>
                </a:ext>
              </a:extLst>
            </p:cNvPr>
            <p:cNvSpPr>
              <a:spLocks noEditPoints="1"/>
            </p:cNvSpPr>
            <p:nvPr/>
          </p:nvSpPr>
          <p:spPr bwMode="auto">
            <a:xfrm>
              <a:off x="6332184" y="2125228"/>
              <a:ext cx="143557" cy="71778"/>
            </a:xfrm>
            <a:custGeom>
              <a:avLst/>
              <a:gdLst>
                <a:gd name="T0" fmla="*/ 5 w 64"/>
                <a:gd name="T1" fmla="*/ 15 h 32"/>
                <a:gd name="T2" fmla="*/ 2 w 64"/>
                <a:gd name="T3" fmla="*/ 16 h 32"/>
                <a:gd name="T4" fmla="*/ 0 w 64"/>
                <a:gd name="T5" fmla="*/ 18 h 32"/>
                <a:gd name="T6" fmla="*/ 2 w 64"/>
                <a:gd name="T7" fmla="*/ 22 h 32"/>
                <a:gd name="T8" fmla="*/ 3 w 64"/>
                <a:gd name="T9" fmla="*/ 22 h 32"/>
                <a:gd name="T10" fmla="*/ 6 w 64"/>
                <a:gd name="T11" fmla="*/ 19 h 32"/>
                <a:gd name="T12" fmla="*/ 10 w 64"/>
                <a:gd name="T13" fmla="*/ 19 h 32"/>
                <a:gd name="T14" fmla="*/ 13 w 64"/>
                <a:gd name="T15" fmla="*/ 18 h 32"/>
                <a:gd name="T16" fmla="*/ 11 w 64"/>
                <a:gd name="T17" fmla="*/ 16 h 32"/>
                <a:gd name="T18" fmla="*/ 8 w 64"/>
                <a:gd name="T19" fmla="*/ 15 h 32"/>
                <a:gd name="T20" fmla="*/ 8 w 64"/>
                <a:gd name="T21" fmla="*/ 15 h 32"/>
                <a:gd name="T22" fmla="*/ 8 w 64"/>
                <a:gd name="T23" fmla="*/ 15 h 32"/>
                <a:gd name="T24" fmla="*/ 8 w 64"/>
                <a:gd name="T25" fmla="*/ 15 h 32"/>
                <a:gd name="T26" fmla="*/ 5 w 64"/>
                <a:gd name="T27" fmla="*/ 13 h 32"/>
                <a:gd name="T28" fmla="*/ 8 w 64"/>
                <a:gd name="T29" fmla="*/ 13 h 32"/>
                <a:gd name="T30" fmla="*/ 11 w 64"/>
                <a:gd name="T31" fmla="*/ 10 h 32"/>
                <a:gd name="T32" fmla="*/ 6 w 64"/>
                <a:gd name="T33" fmla="*/ 8 h 32"/>
                <a:gd name="T34" fmla="*/ 0 w 64"/>
                <a:gd name="T35" fmla="*/ 10 h 32"/>
                <a:gd name="T36" fmla="*/ 5 w 64"/>
                <a:gd name="T37" fmla="*/ 13 h 32"/>
                <a:gd name="T38" fmla="*/ 5 w 64"/>
                <a:gd name="T39" fmla="*/ 13 h 32"/>
                <a:gd name="T40" fmla="*/ 5 w 64"/>
                <a:gd name="T41" fmla="*/ 13 h 32"/>
                <a:gd name="T42" fmla="*/ 5 w 64"/>
                <a:gd name="T43" fmla="*/ 13 h 32"/>
                <a:gd name="T44" fmla="*/ 5 w 64"/>
                <a:gd name="T45" fmla="*/ 13 h 32"/>
                <a:gd name="T46" fmla="*/ 60 w 64"/>
                <a:gd name="T47" fmla="*/ 5 h 32"/>
                <a:gd name="T48" fmla="*/ 64 w 64"/>
                <a:gd name="T49" fmla="*/ 5 h 32"/>
                <a:gd name="T50" fmla="*/ 57 w 64"/>
                <a:gd name="T51" fmla="*/ 3 h 32"/>
                <a:gd name="T52" fmla="*/ 43 w 64"/>
                <a:gd name="T53" fmla="*/ 2 h 32"/>
                <a:gd name="T54" fmla="*/ 33 w 64"/>
                <a:gd name="T55" fmla="*/ 0 h 32"/>
                <a:gd name="T56" fmla="*/ 32 w 64"/>
                <a:gd name="T57" fmla="*/ 2 h 32"/>
                <a:gd name="T58" fmla="*/ 26 w 64"/>
                <a:gd name="T59" fmla="*/ 3 h 32"/>
                <a:gd name="T60" fmla="*/ 22 w 64"/>
                <a:gd name="T61" fmla="*/ 3 h 32"/>
                <a:gd name="T62" fmla="*/ 22 w 64"/>
                <a:gd name="T63" fmla="*/ 5 h 32"/>
                <a:gd name="T64" fmla="*/ 16 w 64"/>
                <a:gd name="T65" fmla="*/ 7 h 32"/>
                <a:gd name="T66" fmla="*/ 16 w 64"/>
                <a:gd name="T67" fmla="*/ 8 h 32"/>
                <a:gd name="T68" fmla="*/ 16 w 64"/>
                <a:gd name="T69" fmla="*/ 13 h 32"/>
                <a:gd name="T70" fmla="*/ 16 w 64"/>
                <a:gd name="T71" fmla="*/ 15 h 32"/>
                <a:gd name="T72" fmla="*/ 19 w 64"/>
                <a:gd name="T73" fmla="*/ 19 h 32"/>
                <a:gd name="T74" fmla="*/ 24 w 64"/>
                <a:gd name="T75" fmla="*/ 19 h 32"/>
                <a:gd name="T76" fmla="*/ 26 w 64"/>
                <a:gd name="T77" fmla="*/ 19 h 32"/>
                <a:gd name="T78" fmla="*/ 26 w 64"/>
                <a:gd name="T79" fmla="*/ 19 h 32"/>
                <a:gd name="T80" fmla="*/ 26 w 64"/>
                <a:gd name="T81" fmla="*/ 26 h 32"/>
                <a:gd name="T82" fmla="*/ 32 w 64"/>
                <a:gd name="T83" fmla="*/ 22 h 32"/>
                <a:gd name="T84" fmla="*/ 38 w 64"/>
                <a:gd name="T85" fmla="*/ 22 h 32"/>
                <a:gd name="T86" fmla="*/ 48 w 64"/>
                <a:gd name="T87" fmla="*/ 29 h 32"/>
                <a:gd name="T88" fmla="*/ 54 w 64"/>
                <a:gd name="T89" fmla="*/ 29 h 32"/>
                <a:gd name="T90" fmla="*/ 60 w 64"/>
                <a:gd name="T91" fmla="*/ 30 h 32"/>
                <a:gd name="T92" fmla="*/ 60 w 64"/>
                <a:gd name="T93" fmla="*/ 30 h 32"/>
                <a:gd name="T94" fmla="*/ 57 w 64"/>
                <a:gd name="T95" fmla="*/ 29 h 32"/>
                <a:gd name="T96" fmla="*/ 57 w 64"/>
                <a:gd name="T97" fmla="*/ 22 h 32"/>
                <a:gd name="T98" fmla="*/ 57 w 64"/>
                <a:gd name="T99" fmla="*/ 19 h 32"/>
                <a:gd name="T100" fmla="*/ 57 w 64"/>
                <a:gd name="T101" fmla="*/ 15 h 32"/>
                <a:gd name="T102" fmla="*/ 57 w 64"/>
                <a:gd name="T103" fmla="*/ 10 h 32"/>
                <a:gd name="T104" fmla="*/ 57 w 64"/>
                <a:gd name="T105" fmla="*/ 8 h 32"/>
                <a:gd name="T106" fmla="*/ 57 w 64"/>
                <a:gd name="T107" fmla="*/ 8 h 32"/>
                <a:gd name="T108" fmla="*/ 57 w 64"/>
                <a:gd name="T109" fmla="*/ 8 h 32"/>
                <a:gd name="T110" fmla="*/ 57 w 64"/>
                <a:gd name="T11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32">
                  <a:moveTo>
                    <a:pt x="8" y="15"/>
                  </a:moveTo>
                  <a:lnTo>
                    <a:pt x="5" y="15"/>
                  </a:lnTo>
                  <a:lnTo>
                    <a:pt x="3" y="16"/>
                  </a:lnTo>
                  <a:lnTo>
                    <a:pt x="2" y="16"/>
                  </a:lnTo>
                  <a:lnTo>
                    <a:pt x="0" y="16"/>
                  </a:lnTo>
                  <a:lnTo>
                    <a:pt x="0" y="18"/>
                  </a:lnTo>
                  <a:lnTo>
                    <a:pt x="2" y="19"/>
                  </a:lnTo>
                  <a:lnTo>
                    <a:pt x="2" y="22"/>
                  </a:lnTo>
                  <a:lnTo>
                    <a:pt x="2" y="22"/>
                  </a:lnTo>
                  <a:lnTo>
                    <a:pt x="3" y="22"/>
                  </a:lnTo>
                  <a:lnTo>
                    <a:pt x="5" y="19"/>
                  </a:lnTo>
                  <a:lnTo>
                    <a:pt x="6" y="19"/>
                  </a:lnTo>
                  <a:lnTo>
                    <a:pt x="8" y="19"/>
                  </a:lnTo>
                  <a:lnTo>
                    <a:pt x="10" y="19"/>
                  </a:lnTo>
                  <a:lnTo>
                    <a:pt x="11" y="19"/>
                  </a:lnTo>
                  <a:lnTo>
                    <a:pt x="13" y="18"/>
                  </a:lnTo>
                  <a:lnTo>
                    <a:pt x="13" y="18"/>
                  </a:lnTo>
                  <a:lnTo>
                    <a:pt x="11" y="16"/>
                  </a:lnTo>
                  <a:lnTo>
                    <a:pt x="8" y="15"/>
                  </a:lnTo>
                  <a:lnTo>
                    <a:pt x="8" y="15"/>
                  </a:lnTo>
                  <a:lnTo>
                    <a:pt x="8" y="15"/>
                  </a:lnTo>
                  <a:lnTo>
                    <a:pt x="8" y="15"/>
                  </a:lnTo>
                  <a:lnTo>
                    <a:pt x="8" y="15"/>
                  </a:lnTo>
                  <a:lnTo>
                    <a:pt x="8" y="15"/>
                  </a:lnTo>
                  <a:lnTo>
                    <a:pt x="8" y="15"/>
                  </a:lnTo>
                  <a:lnTo>
                    <a:pt x="8" y="15"/>
                  </a:lnTo>
                  <a:lnTo>
                    <a:pt x="8" y="15"/>
                  </a:lnTo>
                  <a:close/>
                  <a:moveTo>
                    <a:pt x="5" y="13"/>
                  </a:moveTo>
                  <a:lnTo>
                    <a:pt x="6" y="13"/>
                  </a:lnTo>
                  <a:lnTo>
                    <a:pt x="8" y="13"/>
                  </a:lnTo>
                  <a:lnTo>
                    <a:pt x="10" y="11"/>
                  </a:lnTo>
                  <a:lnTo>
                    <a:pt x="11" y="10"/>
                  </a:lnTo>
                  <a:lnTo>
                    <a:pt x="10" y="10"/>
                  </a:lnTo>
                  <a:lnTo>
                    <a:pt x="6" y="8"/>
                  </a:lnTo>
                  <a:lnTo>
                    <a:pt x="3" y="10"/>
                  </a:lnTo>
                  <a:lnTo>
                    <a:pt x="0" y="10"/>
                  </a:lnTo>
                  <a:lnTo>
                    <a:pt x="3" y="11"/>
                  </a:lnTo>
                  <a:lnTo>
                    <a:pt x="5" y="13"/>
                  </a:lnTo>
                  <a:lnTo>
                    <a:pt x="5" y="13"/>
                  </a:lnTo>
                  <a:lnTo>
                    <a:pt x="5" y="13"/>
                  </a:lnTo>
                  <a:lnTo>
                    <a:pt x="5" y="13"/>
                  </a:lnTo>
                  <a:lnTo>
                    <a:pt x="5" y="13"/>
                  </a:lnTo>
                  <a:lnTo>
                    <a:pt x="5" y="13"/>
                  </a:lnTo>
                  <a:lnTo>
                    <a:pt x="5" y="13"/>
                  </a:lnTo>
                  <a:lnTo>
                    <a:pt x="5" y="13"/>
                  </a:lnTo>
                  <a:lnTo>
                    <a:pt x="5" y="13"/>
                  </a:lnTo>
                  <a:close/>
                  <a:moveTo>
                    <a:pt x="57" y="8"/>
                  </a:moveTo>
                  <a:lnTo>
                    <a:pt x="60" y="5"/>
                  </a:lnTo>
                  <a:lnTo>
                    <a:pt x="60" y="5"/>
                  </a:lnTo>
                  <a:lnTo>
                    <a:pt x="64" y="5"/>
                  </a:lnTo>
                  <a:lnTo>
                    <a:pt x="60" y="3"/>
                  </a:lnTo>
                  <a:lnTo>
                    <a:pt x="57" y="3"/>
                  </a:lnTo>
                  <a:lnTo>
                    <a:pt x="51" y="3"/>
                  </a:lnTo>
                  <a:lnTo>
                    <a:pt x="43" y="2"/>
                  </a:lnTo>
                  <a:lnTo>
                    <a:pt x="38" y="2"/>
                  </a:lnTo>
                  <a:lnTo>
                    <a:pt x="33" y="0"/>
                  </a:lnTo>
                  <a:lnTo>
                    <a:pt x="33" y="2"/>
                  </a:lnTo>
                  <a:lnTo>
                    <a:pt x="32" y="2"/>
                  </a:lnTo>
                  <a:lnTo>
                    <a:pt x="26" y="2"/>
                  </a:lnTo>
                  <a:lnTo>
                    <a:pt x="26" y="3"/>
                  </a:lnTo>
                  <a:lnTo>
                    <a:pt x="24" y="3"/>
                  </a:lnTo>
                  <a:lnTo>
                    <a:pt x="22" y="3"/>
                  </a:lnTo>
                  <a:lnTo>
                    <a:pt x="19" y="3"/>
                  </a:lnTo>
                  <a:lnTo>
                    <a:pt x="22" y="5"/>
                  </a:lnTo>
                  <a:lnTo>
                    <a:pt x="19" y="5"/>
                  </a:lnTo>
                  <a:lnTo>
                    <a:pt x="16" y="7"/>
                  </a:lnTo>
                  <a:lnTo>
                    <a:pt x="16" y="10"/>
                  </a:lnTo>
                  <a:lnTo>
                    <a:pt x="16" y="8"/>
                  </a:lnTo>
                  <a:lnTo>
                    <a:pt x="16" y="11"/>
                  </a:lnTo>
                  <a:lnTo>
                    <a:pt x="16" y="13"/>
                  </a:lnTo>
                  <a:lnTo>
                    <a:pt x="16" y="13"/>
                  </a:lnTo>
                  <a:lnTo>
                    <a:pt x="16" y="15"/>
                  </a:lnTo>
                  <a:lnTo>
                    <a:pt x="16" y="16"/>
                  </a:lnTo>
                  <a:lnTo>
                    <a:pt x="19" y="19"/>
                  </a:lnTo>
                  <a:lnTo>
                    <a:pt x="22" y="19"/>
                  </a:lnTo>
                  <a:lnTo>
                    <a:pt x="24" y="19"/>
                  </a:lnTo>
                  <a:lnTo>
                    <a:pt x="26" y="18"/>
                  </a:lnTo>
                  <a:lnTo>
                    <a:pt x="26" y="19"/>
                  </a:lnTo>
                  <a:lnTo>
                    <a:pt x="26" y="19"/>
                  </a:lnTo>
                  <a:lnTo>
                    <a:pt x="26" y="19"/>
                  </a:lnTo>
                  <a:lnTo>
                    <a:pt x="26" y="19"/>
                  </a:lnTo>
                  <a:lnTo>
                    <a:pt x="26" y="26"/>
                  </a:lnTo>
                  <a:lnTo>
                    <a:pt x="29" y="22"/>
                  </a:lnTo>
                  <a:lnTo>
                    <a:pt x="32" y="22"/>
                  </a:lnTo>
                  <a:lnTo>
                    <a:pt x="33" y="22"/>
                  </a:lnTo>
                  <a:lnTo>
                    <a:pt x="38" y="22"/>
                  </a:lnTo>
                  <a:lnTo>
                    <a:pt x="45" y="26"/>
                  </a:lnTo>
                  <a:lnTo>
                    <a:pt x="48" y="29"/>
                  </a:lnTo>
                  <a:lnTo>
                    <a:pt x="49" y="29"/>
                  </a:lnTo>
                  <a:lnTo>
                    <a:pt x="54" y="29"/>
                  </a:lnTo>
                  <a:lnTo>
                    <a:pt x="57" y="29"/>
                  </a:lnTo>
                  <a:lnTo>
                    <a:pt x="60" y="30"/>
                  </a:lnTo>
                  <a:lnTo>
                    <a:pt x="60" y="32"/>
                  </a:lnTo>
                  <a:lnTo>
                    <a:pt x="60" y="30"/>
                  </a:lnTo>
                  <a:lnTo>
                    <a:pt x="57" y="29"/>
                  </a:lnTo>
                  <a:lnTo>
                    <a:pt x="57" y="29"/>
                  </a:lnTo>
                  <a:lnTo>
                    <a:pt x="60" y="26"/>
                  </a:lnTo>
                  <a:lnTo>
                    <a:pt x="57" y="22"/>
                  </a:lnTo>
                  <a:lnTo>
                    <a:pt x="57" y="19"/>
                  </a:lnTo>
                  <a:lnTo>
                    <a:pt x="57" y="19"/>
                  </a:lnTo>
                  <a:lnTo>
                    <a:pt x="57" y="18"/>
                  </a:lnTo>
                  <a:lnTo>
                    <a:pt x="57" y="15"/>
                  </a:lnTo>
                  <a:lnTo>
                    <a:pt x="56" y="13"/>
                  </a:lnTo>
                  <a:lnTo>
                    <a:pt x="57" y="10"/>
                  </a:lnTo>
                  <a:lnTo>
                    <a:pt x="57" y="8"/>
                  </a:lnTo>
                  <a:lnTo>
                    <a:pt x="57" y="8"/>
                  </a:lnTo>
                  <a:lnTo>
                    <a:pt x="57" y="8"/>
                  </a:lnTo>
                  <a:lnTo>
                    <a:pt x="57" y="8"/>
                  </a:lnTo>
                  <a:lnTo>
                    <a:pt x="57" y="8"/>
                  </a:lnTo>
                  <a:lnTo>
                    <a:pt x="57" y="8"/>
                  </a:lnTo>
                  <a:lnTo>
                    <a:pt x="57" y="8"/>
                  </a:lnTo>
                  <a:lnTo>
                    <a:pt x="57" y="8"/>
                  </a:lnTo>
                  <a:lnTo>
                    <a:pt x="57"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8" name="Freeform 175">
              <a:extLst>
                <a:ext uri="{FF2B5EF4-FFF2-40B4-BE49-F238E27FC236}">
                  <a16:creationId xmlns:a16="http://schemas.microsoft.com/office/drawing/2014/main" id="{748882D8-A584-17C1-8853-F97605875B16}"/>
                </a:ext>
              </a:extLst>
            </p:cNvPr>
            <p:cNvSpPr>
              <a:spLocks/>
            </p:cNvSpPr>
            <p:nvPr/>
          </p:nvSpPr>
          <p:spPr bwMode="auto">
            <a:xfrm>
              <a:off x="6318724" y="2221680"/>
              <a:ext cx="134584" cy="78508"/>
            </a:xfrm>
            <a:custGeom>
              <a:avLst/>
              <a:gdLst>
                <a:gd name="T0" fmla="*/ 59 w 60"/>
                <a:gd name="T1" fmla="*/ 13 h 35"/>
                <a:gd name="T2" fmla="*/ 54 w 60"/>
                <a:gd name="T3" fmla="*/ 10 h 35"/>
                <a:gd name="T4" fmla="*/ 49 w 60"/>
                <a:gd name="T5" fmla="*/ 6 h 35"/>
                <a:gd name="T6" fmla="*/ 44 w 60"/>
                <a:gd name="T7" fmla="*/ 5 h 35"/>
                <a:gd name="T8" fmla="*/ 38 w 60"/>
                <a:gd name="T9" fmla="*/ 0 h 35"/>
                <a:gd name="T10" fmla="*/ 35 w 60"/>
                <a:gd name="T11" fmla="*/ 0 h 35"/>
                <a:gd name="T12" fmla="*/ 25 w 60"/>
                <a:gd name="T13" fmla="*/ 0 h 35"/>
                <a:gd name="T14" fmla="*/ 19 w 60"/>
                <a:gd name="T15" fmla="*/ 0 h 35"/>
                <a:gd name="T16" fmla="*/ 6 w 60"/>
                <a:gd name="T17" fmla="*/ 0 h 35"/>
                <a:gd name="T18" fmla="*/ 1 w 60"/>
                <a:gd name="T19" fmla="*/ 5 h 35"/>
                <a:gd name="T20" fmla="*/ 0 w 60"/>
                <a:gd name="T21" fmla="*/ 6 h 35"/>
                <a:gd name="T22" fmla="*/ 3 w 60"/>
                <a:gd name="T23" fmla="*/ 13 h 35"/>
                <a:gd name="T24" fmla="*/ 6 w 60"/>
                <a:gd name="T25" fmla="*/ 16 h 35"/>
                <a:gd name="T26" fmla="*/ 9 w 60"/>
                <a:gd name="T27" fmla="*/ 18 h 35"/>
                <a:gd name="T28" fmla="*/ 20 w 60"/>
                <a:gd name="T29" fmla="*/ 19 h 35"/>
                <a:gd name="T30" fmla="*/ 22 w 60"/>
                <a:gd name="T31" fmla="*/ 24 h 35"/>
                <a:gd name="T32" fmla="*/ 25 w 60"/>
                <a:gd name="T33" fmla="*/ 32 h 35"/>
                <a:gd name="T34" fmla="*/ 27 w 60"/>
                <a:gd name="T35" fmla="*/ 35 h 35"/>
                <a:gd name="T36" fmla="*/ 28 w 60"/>
                <a:gd name="T37" fmla="*/ 35 h 35"/>
                <a:gd name="T38" fmla="*/ 32 w 60"/>
                <a:gd name="T39" fmla="*/ 35 h 35"/>
                <a:gd name="T40" fmla="*/ 35 w 60"/>
                <a:gd name="T41" fmla="*/ 35 h 35"/>
                <a:gd name="T42" fmla="*/ 38 w 60"/>
                <a:gd name="T43" fmla="*/ 35 h 35"/>
                <a:gd name="T44" fmla="*/ 43 w 60"/>
                <a:gd name="T45" fmla="*/ 32 h 35"/>
                <a:gd name="T46" fmla="*/ 46 w 60"/>
                <a:gd name="T47" fmla="*/ 32 h 35"/>
                <a:gd name="T48" fmla="*/ 49 w 60"/>
                <a:gd name="T49" fmla="*/ 30 h 35"/>
                <a:gd name="T50" fmla="*/ 51 w 60"/>
                <a:gd name="T51" fmla="*/ 32 h 35"/>
                <a:gd name="T52" fmla="*/ 52 w 60"/>
                <a:gd name="T53" fmla="*/ 30 h 35"/>
                <a:gd name="T54" fmla="*/ 49 w 60"/>
                <a:gd name="T55" fmla="*/ 29 h 35"/>
                <a:gd name="T56" fmla="*/ 52 w 60"/>
                <a:gd name="T57" fmla="*/ 24 h 35"/>
                <a:gd name="T58" fmla="*/ 52 w 60"/>
                <a:gd name="T59" fmla="*/ 22 h 35"/>
                <a:gd name="T60" fmla="*/ 57 w 60"/>
                <a:gd name="T61" fmla="*/ 19 h 35"/>
                <a:gd name="T62" fmla="*/ 60 w 60"/>
                <a:gd name="T63" fmla="*/ 18 h 35"/>
                <a:gd name="T64" fmla="*/ 57 w 60"/>
                <a:gd name="T65" fmla="*/ 14 h 35"/>
                <a:gd name="T66" fmla="*/ 57 w 60"/>
                <a:gd name="T67" fmla="*/ 14 h 35"/>
                <a:gd name="T68" fmla="*/ 57 w 60"/>
                <a:gd name="T69" fmla="*/ 14 h 35"/>
                <a:gd name="T70" fmla="*/ 57 w 60"/>
                <a:gd name="T71" fmla="*/ 14 h 35"/>
                <a:gd name="T72" fmla="*/ 57 w 60"/>
                <a:gd name="T7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35">
                  <a:moveTo>
                    <a:pt x="57" y="14"/>
                  </a:moveTo>
                  <a:lnTo>
                    <a:pt x="59" y="13"/>
                  </a:lnTo>
                  <a:lnTo>
                    <a:pt x="60" y="10"/>
                  </a:lnTo>
                  <a:lnTo>
                    <a:pt x="54" y="10"/>
                  </a:lnTo>
                  <a:lnTo>
                    <a:pt x="52" y="8"/>
                  </a:lnTo>
                  <a:lnTo>
                    <a:pt x="49" y="6"/>
                  </a:lnTo>
                  <a:lnTo>
                    <a:pt x="47" y="5"/>
                  </a:lnTo>
                  <a:lnTo>
                    <a:pt x="44" y="5"/>
                  </a:lnTo>
                  <a:lnTo>
                    <a:pt x="43" y="3"/>
                  </a:lnTo>
                  <a:lnTo>
                    <a:pt x="38" y="0"/>
                  </a:lnTo>
                  <a:lnTo>
                    <a:pt x="38" y="0"/>
                  </a:lnTo>
                  <a:lnTo>
                    <a:pt x="35" y="0"/>
                  </a:lnTo>
                  <a:lnTo>
                    <a:pt x="32" y="3"/>
                  </a:lnTo>
                  <a:lnTo>
                    <a:pt x="25" y="0"/>
                  </a:lnTo>
                  <a:lnTo>
                    <a:pt x="22" y="0"/>
                  </a:lnTo>
                  <a:lnTo>
                    <a:pt x="19" y="0"/>
                  </a:lnTo>
                  <a:lnTo>
                    <a:pt x="12" y="0"/>
                  </a:lnTo>
                  <a:lnTo>
                    <a:pt x="6" y="0"/>
                  </a:lnTo>
                  <a:lnTo>
                    <a:pt x="3" y="3"/>
                  </a:lnTo>
                  <a:lnTo>
                    <a:pt x="1" y="5"/>
                  </a:lnTo>
                  <a:lnTo>
                    <a:pt x="0" y="5"/>
                  </a:lnTo>
                  <a:lnTo>
                    <a:pt x="0" y="6"/>
                  </a:lnTo>
                  <a:lnTo>
                    <a:pt x="1" y="11"/>
                  </a:lnTo>
                  <a:lnTo>
                    <a:pt x="3" y="13"/>
                  </a:lnTo>
                  <a:lnTo>
                    <a:pt x="3" y="16"/>
                  </a:lnTo>
                  <a:lnTo>
                    <a:pt x="6" y="16"/>
                  </a:lnTo>
                  <a:lnTo>
                    <a:pt x="6" y="16"/>
                  </a:lnTo>
                  <a:lnTo>
                    <a:pt x="9" y="18"/>
                  </a:lnTo>
                  <a:lnTo>
                    <a:pt x="16" y="19"/>
                  </a:lnTo>
                  <a:lnTo>
                    <a:pt x="20" y="19"/>
                  </a:lnTo>
                  <a:lnTo>
                    <a:pt x="24" y="22"/>
                  </a:lnTo>
                  <a:lnTo>
                    <a:pt x="22" y="24"/>
                  </a:lnTo>
                  <a:lnTo>
                    <a:pt x="24" y="30"/>
                  </a:lnTo>
                  <a:lnTo>
                    <a:pt x="25" y="32"/>
                  </a:lnTo>
                  <a:lnTo>
                    <a:pt x="27" y="35"/>
                  </a:lnTo>
                  <a:lnTo>
                    <a:pt x="27" y="35"/>
                  </a:lnTo>
                  <a:lnTo>
                    <a:pt x="28" y="35"/>
                  </a:lnTo>
                  <a:lnTo>
                    <a:pt x="28" y="35"/>
                  </a:lnTo>
                  <a:lnTo>
                    <a:pt x="30" y="35"/>
                  </a:lnTo>
                  <a:lnTo>
                    <a:pt x="32" y="35"/>
                  </a:lnTo>
                  <a:lnTo>
                    <a:pt x="35" y="35"/>
                  </a:lnTo>
                  <a:lnTo>
                    <a:pt x="35" y="35"/>
                  </a:lnTo>
                  <a:lnTo>
                    <a:pt x="38" y="35"/>
                  </a:lnTo>
                  <a:lnTo>
                    <a:pt x="38" y="35"/>
                  </a:lnTo>
                  <a:lnTo>
                    <a:pt x="41" y="32"/>
                  </a:lnTo>
                  <a:lnTo>
                    <a:pt x="43" y="32"/>
                  </a:lnTo>
                  <a:lnTo>
                    <a:pt x="44" y="32"/>
                  </a:lnTo>
                  <a:lnTo>
                    <a:pt x="46" y="32"/>
                  </a:lnTo>
                  <a:lnTo>
                    <a:pt x="47" y="30"/>
                  </a:lnTo>
                  <a:lnTo>
                    <a:pt x="49" y="30"/>
                  </a:lnTo>
                  <a:lnTo>
                    <a:pt x="51" y="30"/>
                  </a:lnTo>
                  <a:lnTo>
                    <a:pt x="51" y="32"/>
                  </a:lnTo>
                  <a:lnTo>
                    <a:pt x="52" y="32"/>
                  </a:lnTo>
                  <a:lnTo>
                    <a:pt x="52" y="30"/>
                  </a:lnTo>
                  <a:lnTo>
                    <a:pt x="51" y="29"/>
                  </a:lnTo>
                  <a:lnTo>
                    <a:pt x="49" y="29"/>
                  </a:lnTo>
                  <a:lnTo>
                    <a:pt x="51" y="27"/>
                  </a:lnTo>
                  <a:lnTo>
                    <a:pt x="52" y="24"/>
                  </a:lnTo>
                  <a:lnTo>
                    <a:pt x="52" y="22"/>
                  </a:lnTo>
                  <a:lnTo>
                    <a:pt x="52" y="22"/>
                  </a:lnTo>
                  <a:lnTo>
                    <a:pt x="54" y="21"/>
                  </a:lnTo>
                  <a:lnTo>
                    <a:pt x="57" y="19"/>
                  </a:lnTo>
                  <a:lnTo>
                    <a:pt x="57" y="18"/>
                  </a:lnTo>
                  <a:lnTo>
                    <a:pt x="60" y="18"/>
                  </a:lnTo>
                  <a:lnTo>
                    <a:pt x="60" y="16"/>
                  </a:lnTo>
                  <a:lnTo>
                    <a:pt x="57" y="14"/>
                  </a:lnTo>
                  <a:lnTo>
                    <a:pt x="57" y="14"/>
                  </a:lnTo>
                  <a:lnTo>
                    <a:pt x="57" y="14"/>
                  </a:lnTo>
                  <a:lnTo>
                    <a:pt x="57" y="14"/>
                  </a:lnTo>
                  <a:lnTo>
                    <a:pt x="57" y="14"/>
                  </a:lnTo>
                  <a:lnTo>
                    <a:pt x="57" y="14"/>
                  </a:lnTo>
                  <a:lnTo>
                    <a:pt x="57" y="14"/>
                  </a:lnTo>
                  <a:lnTo>
                    <a:pt x="57" y="14"/>
                  </a:lnTo>
                  <a:lnTo>
                    <a:pt x="57" y="1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59" name="Freeform 207">
              <a:extLst>
                <a:ext uri="{FF2B5EF4-FFF2-40B4-BE49-F238E27FC236}">
                  <a16:creationId xmlns:a16="http://schemas.microsoft.com/office/drawing/2014/main" id="{8303B186-18F7-EC42-FAEC-AD43BFD9BABE}"/>
                </a:ext>
              </a:extLst>
            </p:cNvPr>
            <p:cNvSpPr>
              <a:spLocks/>
            </p:cNvSpPr>
            <p:nvPr/>
          </p:nvSpPr>
          <p:spPr bwMode="auto">
            <a:xfrm>
              <a:off x="6314237" y="2174575"/>
              <a:ext cx="170474" cy="69536"/>
            </a:xfrm>
            <a:custGeom>
              <a:avLst/>
              <a:gdLst>
                <a:gd name="T0" fmla="*/ 5 w 76"/>
                <a:gd name="T1" fmla="*/ 24 h 31"/>
                <a:gd name="T2" fmla="*/ 14 w 76"/>
                <a:gd name="T3" fmla="*/ 23 h 31"/>
                <a:gd name="T4" fmla="*/ 24 w 76"/>
                <a:gd name="T5" fmla="*/ 23 h 31"/>
                <a:gd name="T6" fmla="*/ 34 w 76"/>
                <a:gd name="T7" fmla="*/ 24 h 31"/>
                <a:gd name="T8" fmla="*/ 40 w 76"/>
                <a:gd name="T9" fmla="*/ 23 h 31"/>
                <a:gd name="T10" fmla="*/ 43 w 76"/>
                <a:gd name="T11" fmla="*/ 24 h 31"/>
                <a:gd name="T12" fmla="*/ 48 w 76"/>
                <a:gd name="T13" fmla="*/ 26 h 31"/>
                <a:gd name="T14" fmla="*/ 53 w 76"/>
                <a:gd name="T15" fmla="*/ 29 h 31"/>
                <a:gd name="T16" fmla="*/ 61 w 76"/>
                <a:gd name="T17" fmla="*/ 31 h 31"/>
                <a:gd name="T18" fmla="*/ 68 w 76"/>
                <a:gd name="T19" fmla="*/ 31 h 31"/>
                <a:gd name="T20" fmla="*/ 72 w 76"/>
                <a:gd name="T21" fmla="*/ 29 h 31"/>
                <a:gd name="T22" fmla="*/ 75 w 76"/>
                <a:gd name="T23" fmla="*/ 26 h 31"/>
                <a:gd name="T24" fmla="*/ 76 w 76"/>
                <a:gd name="T25" fmla="*/ 26 h 31"/>
                <a:gd name="T26" fmla="*/ 75 w 76"/>
                <a:gd name="T27" fmla="*/ 21 h 31"/>
                <a:gd name="T28" fmla="*/ 72 w 76"/>
                <a:gd name="T29" fmla="*/ 16 h 31"/>
                <a:gd name="T30" fmla="*/ 68 w 76"/>
                <a:gd name="T31" fmla="*/ 15 h 31"/>
                <a:gd name="T32" fmla="*/ 68 w 76"/>
                <a:gd name="T33" fmla="*/ 10 h 31"/>
                <a:gd name="T34" fmla="*/ 65 w 76"/>
                <a:gd name="T35" fmla="*/ 7 h 31"/>
                <a:gd name="T36" fmla="*/ 57 w 76"/>
                <a:gd name="T37" fmla="*/ 7 h 31"/>
                <a:gd name="T38" fmla="*/ 53 w 76"/>
                <a:gd name="T39" fmla="*/ 4 h 31"/>
                <a:gd name="T40" fmla="*/ 41 w 76"/>
                <a:gd name="T41" fmla="*/ 0 h 31"/>
                <a:gd name="T42" fmla="*/ 37 w 76"/>
                <a:gd name="T43" fmla="*/ 0 h 31"/>
                <a:gd name="T44" fmla="*/ 34 w 76"/>
                <a:gd name="T45" fmla="*/ 7 h 31"/>
                <a:gd name="T46" fmla="*/ 34 w 76"/>
                <a:gd name="T47" fmla="*/ 10 h 31"/>
                <a:gd name="T48" fmla="*/ 29 w 76"/>
                <a:gd name="T49" fmla="*/ 13 h 31"/>
                <a:gd name="T50" fmla="*/ 22 w 76"/>
                <a:gd name="T51" fmla="*/ 12 h 31"/>
                <a:gd name="T52" fmla="*/ 14 w 76"/>
                <a:gd name="T53" fmla="*/ 4 h 31"/>
                <a:gd name="T54" fmla="*/ 11 w 76"/>
                <a:gd name="T55" fmla="*/ 4 h 31"/>
                <a:gd name="T56" fmla="*/ 5 w 76"/>
                <a:gd name="T57" fmla="*/ 7 h 31"/>
                <a:gd name="T58" fmla="*/ 3 w 76"/>
                <a:gd name="T59" fmla="*/ 13 h 31"/>
                <a:gd name="T60" fmla="*/ 0 w 76"/>
                <a:gd name="T61" fmla="*/ 18 h 31"/>
                <a:gd name="T62" fmla="*/ 0 w 76"/>
                <a:gd name="T63" fmla="*/ 23 h 31"/>
                <a:gd name="T64" fmla="*/ 0 w 76"/>
                <a:gd name="T65" fmla="*/ 26 h 31"/>
                <a:gd name="T66" fmla="*/ 2 w 76"/>
                <a:gd name="T67" fmla="*/ 26 h 31"/>
                <a:gd name="T68" fmla="*/ 3 w 76"/>
                <a:gd name="T69" fmla="*/ 26 h 31"/>
                <a:gd name="T70" fmla="*/ 3 w 76"/>
                <a:gd name="T71" fmla="*/ 26 h 31"/>
                <a:gd name="T72" fmla="*/ 3 w 76"/>
                <a:gd name="T73" fmla="*/ 26 h 31"/>
                <a:gd name="T74" fmla="*/ 3 w 76"/>
                <a:gd name="T75"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31">
                  <a:moveTo>
                    <a:pt x="3" y="26"/>
                  </a:moveTo>
                  <a:lnTo>
                    <a:pt x="5" y="24"/>
                  </a:lnTo>
                  <a:lnTo>
                    <a:pt x="8" y="23"/>
                  </a:lnTo>
                  <a:lnTo>
                    <a:pt x="14" y="23"/>
                  </a:lnTo>
                  <a:lnTo>
                    <a:pt x="21" y="23"/>
                  </a:lnTo>
                  <a:lnTo>
                    <a:pt x="24" y="23"/>
                  </a:lnTo>
                  <a:lnTo>
                    <a:pt x="27" y="23"/>
                  </a:lnTo>
                  <a:lnTo>
                    <a:pt x="34" y="24"/>
                  </a:lnTo>
                  <a:lnTo>
                    <a:pt x="37" y="23"/>
                  </a:lnTo>
                  <a:lnTo>
                    <a:pt x="40" y="23"/>
                  </a:lnTo>
                  <a:lnTo>
                    <a:pt x="40" y="23"/>
                  </a:lnTo>
                  <a:lnTo>
                    <a:pt x="43" y="24"/>
                  </a:lnTo>
                  <a:lnTo>
                    <a:pt x="45" y="26"/>
                  </a:lnTo>
                  <a:lnTo>
                    <a:pt x="48" y="26"/>
                  </a:lnTo>
                  <a:lnTo>
                    <a:pt x="49" y="27"/>
                  </a:lnTo>
                  <a:lnTo>
                    <a:pt x="53" y="29"/>
                  </a:lnTo>
                  <a:lnTo>
                    <a:pt x="56" y="31"/>
                  </a:lnTo>
                  <a:lnTo>
                    <a:pt x="61" y="31"/>
                  </a:lnTo>
                  <a:lnTo>
                    <a:pt x="64" y="31"/>
                  </a:lnTo>
                  <a:lnTo>
                    <a:pt x="68" y="31"/>
                  </a:lnTo>
                  <a:lnTo>
                    <a:pt x="68" y="31"/>
                  </a:lnTo>
                  <a:lnTo>
                    <a:pt x="72" y="29"/>
                  </a:lnTo>
                  <a:lnTo>
                    <a:pt x="75" y="26"/>
                  </a:lnTo>
                  <a:lnTo>
                    <a:pt x="75" y="26"/>
                  </a:lnTo>
                  <a:lnTo>
                    <a:pt x="76" y="26"/>
                  </a:lnTo>
                  <a:lnTo>
                    <a:pt x="76" y="26"/>
                  </a:lnTo>
                  <a:lnTo>
                    <a:pt x="75" y="24"/>
                  </a:lnTo>
                  <a:lnTo>
                    <a:pt x="75" y="21"/>
                  </a:lnTo>
                  <a:lnTo>
                    <a:pt x="72" y="18"/>
                  </a:lnTo>
                  <a:lnTo>
                    <a:pt x="72" y="16"/>
                  </a:lnTo>
                  <a:lnTo>
                    <a:pt x="68" y="16"/>
                  </a:lnTo>
                  <a:lnTo>
                    <a:pt x="68" y="15"/>
                  </a:lnTo>
                  <a:lnTo>
                    <a:pt x="68" y="12"/>
                  </a:lnTo>
                  <a:lnTo>
                    <a:pt x="68" y="10"/>
                  </a:lnTo>
                  <a:lnTo>
                    <a:pt x="68" y="8"/>
                  </a:lnTo>
                  <a:lnTo>
                    <a:pt x="65" y="7"/>
                  </a:lnTo>
                  <a:lnTo>
                    <a:pt x="62" y="7"/>
                  </a:lnTo>
                  <a:lnTo>
                    <a:pt x="57" y="7"/>
                  </a:lnTo>
                  <a:lnTo>
                    <a:pt x="56" y="7"/>
                  </a:lnTo>
                  <a:lnTo>
                    <a:pt x="53" y="4"/>
                  </a:lnTo>
                  <a:lnTo>
                    <a:pt x="46" y="0"/>
                  </a:lnTo>
                  <a:lnTo>
                    <a:pt x="41" y="0"/>
                  </a:lnTo>
                  <a:lnTo>
                    <a:pt x="40" y="0"/>
                  </a:lnTo>
                  <a:lnTo>
                    <a:pt x="37" y="0"/>
                  </a:lnTo>
                  <a:lnTo>
                    <a:pt x="34" y="4"/>
                  </a:lnTo>
                  <a:lnTo>
                    <a:pt x="34" y="7"/>
                  </a:lnTo>
                  <a:lnTo>
                    <a:pt x="34" y="8"/>
                  </a:lnTo>
                  <a:lnTo>
                    <a:pt x="34" y="10"/>
                  </a:lnTo>
                  <a:lnTo>
                    <a:pt x="30" y="12"/>
                  </a:lnTo>
                  <a:lnTo>
                    <a:pt x="29" y="13"/>
                  </a:lnTo>
                  <a:lnTo>
                    <a:pt x="26" y="13"/>
                  </a:lnTo>
                  <a:lnTo>
                    <a:pt x="22" y="12"/>
                  </a:lnTo>
                  <a:lnTo>
                    <a:pt x="19" y="8"/>
                  </a:lnTo>
                  <a:lnTo>
                    <a:pt x="14" y="4"/>
                  </a:lnTo>
                  <a:lnTo>
                    <a:pt x="13" y="4"/>
                  </a:lnTo>
                  <a:lnTo>
                    <a:pt x="11" y="4"/>
                  </a:lnTo>
                  <a:lnTo>
                    <a:pt x="8" y="7"/>
                  </a:lnTo>
                  <a:lnTo>
                    <a:pt x="5" y="7"/>
                  </a:lnTo>
                  <a:lnTo>
                    <a:pt x="5" y="10"/>
                  </a:lnTo>
                  <a:lnTo>
                    <a:pt x="3" y="13"/>
                  </a:lnTo>
                  <a:lnTo>
                    <a:pt x="2" y="16"/>
                  </a:lnTo>
                  <a:lnTo>
                    <a:pt x="0" y="18"/>
                  </a:lnTo>
                  <a:lnTo>
                    <a:pt x="0" y="21"/>
                  </a:lnTo>
                  <a:lnTo>
                    <a:pt x="0" y="23"/>
                  </a:lnTo>
                  <a:lnTo>
                    <a:pt x="0" y="24"/>
                  </a:lnTo>
                  <a:lnTo>
                    <a:pt x="0" y="26"/>
                  </a:lnTo>
                  <a:lnTo>
                    <a:pt x="2" y="27"/>
                  </a:lnTo>
                  <a:lnTo>
                    <a:pt x="2" y="26"/>
                  </a:lnTo>
                  <a:lnTo>
                    <a:pt x="3" y="26"/>
                  </a:lnTo>
                  <a:lnTo>
                    <a:pt x="3" y="26"/>
                  </a:lnTo>
                  <a:lnTo>
                    <a:pt x="3" y="26"/>
                  </a:lnTo>
                  <a:lnTo>
                    <a:pt x="3" y="26"/>
                  </a:lnTo>
                  <a:lnTo>
                    <a:pt x="3" y="26"/>
                  </a:lnTo>
                  <a:lnTo>
                    <a:pt x="3" y="26"/>
                  </a:lnTo>
                  <a:lnTo>
                    <a:pt x="3" y="26"/>
                  </a:lnTo>
                  <a:lnTo>
                    <a:pt x="3" y="26"/>
                  </a:lnTo>
                  <a:lnTo>
                    <a:pt x="3" y="2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0" name="Freeform 76">
              <a:extLst>
                <a:ext uri="{FF2B5EF4-FFF2-40B4-BE49-F238E27FC236}">
                  <a16:creationId xmlns:a16="http://schemas.microsoft.com/office/drawing/2014/main" id="{234C1FFE-ACF7-ABD5-88CF-6FD630E16261}"/>
                </a:ext>
              </a:extLst>
            </p:cNvPr>
            <p:cNvSpPr>
              <a:spLocks/>
            </p:cNvSpPr>
            <p:nvPr/>
          </p:nvSpPr>
          <p:spPr bwMode="auto">
            <a:xfrm>
              <a:off x="6379288" y="2232895"/>
              <a:ext cx="226550" cy="145800"/>
            </a:xfrm>
            <a:custGeom>
              <a:avLst/>
              <a:gdLst>
                <a:gd name="T0" fmla="*/ 5 w 101"/>
                <a:gd name="T1" fmla="*/ 41 h 65"/>
                <a:gd name="T2" fmla="*/ 5 w 101"/>
                <a:gd name="T3" fmla="*/ 47 h 65"/>
                <a:gd name="T4" fmla="*/ 0 w 101"/>
                <a:gd name="T5" fmla="*/ 54 h 65"/>
                <a:gd name="T6" fmla="*/ 5 w 101"/>
                <a:gd name="T7" fmla="*/ 59 h 65"/>
                <a:gd name="T8" fmla="*/ 5 w 101"/>
                <a:gd name="T9" fmla="*/ 62 h 65"/>
                <a:gd name="T10" fmla="*/ 11 w 101"/>
                <a:gd name="T11" fmla="*/ 59 h 65"/>
                <a:gd name="T12" fmla="*/ 27 w 101"/>
                <a:gd name="T13" fmla="*/ 57 h 65"/>
                <a:gd name="T14" fmla="*/ 39 w 101"/>
                <a:gd name="T15" fmla="*/ 59 h 65"/>
                <a:gd name="T16" fmla="*/ 46 w 101"/>
                <a:gd name="T17" fmla="*/ 62 h 65"/>
                <a:gd name="T18" fmla="*/ 51 w 101"/>
                <a:gd name="T19" fmla="*/ 62 h 65"/>
                <a:gd name="T20" fmla="*/ 59 w 101"/>
                <a:gd name="T21" fmla="*/ 62 h 65"/>
                <a:gd name="T22" fmla="*/ 62 w 101"/>
                <a:gd name="T23" fmla="*/ 62 h 65"/>
                <a:gd name="T24" fmla="*/ 68 w 101"/>
                <a:gd name="T25" fmla="*/ 65 h 65"/>
                <a:gd name="T26" fmla="*/ 74 w 101"/>
                <a:gd name="T27" fmla="*/ 62 h 65"/>
                <a:gd name="T28" fmla="*/ 81 w 101"/>
                <a:gd name="T29" fmla="*/ 65 h 65"/>
                <a:gd name="T30" fmla="*/ 81 w 101"/>
                <a:gd name="T31" fmla="*/ 62 h 65"/>
                <a:gd name="T32" fmla="*/ 84 w 101"/>
                <a:gd name="T33" fmla="*/ 55 h 65"/>
                <a:gd name="T34" fmla="*/ 93 w 101"/>
                <a:gd name="T35" fmla="*/ 55 h 65"/>
                <a:gd name="T36" fmla="*/ 89 w 101"/>
                <a:gd name="T37" fmla="*/ 47 h 65"/>
                <a:gd name="T38" fmla="*/ 86 w 101"/>
                <a:gd name="T39" fmla="*/ 41 h 65"/>
                <a:gd name="T40" fmla="*/ 90 w 101"/>
                <a:gd name="T41" fmla="*/ 40 h 65"/>
                <a:gd name="T42" fmla="*/ 101 w 101"/>
                <a:gd name="T43" fmla="*/ 36 h 65"/>
                <a:gd name="T44" fmla="*/ 97 w 101"/>
                <a:gd name="T45" fmla="*/ 33 h 65"/>
                <a:gd name="T46" fmla="*/ 89 w 101"/>
                <a:gd name="T47" fmla="*/ 30 h 65"/>
                <a:gd name="T48" fmla="*/ 86 w 101"/>
                <a:gd name="T49" fmla="*/ 27 h 65"/>
                <a:gd name="T50" fmla="*/ 78 w 101"/>
                <a:gd name="T51" fmla="*/ 19 h 65"/>
                <a:gd name="T52" fmla="*/ 78 w 101"/>
                <a:gd name="T53" fmla="*/ 13 h 65"/>
                <a:gd name="T54" fmla="*/ 78 w 101"/>
                <a:gd name="T55" fmla="*/ 6 h 65"/>
                <a:gd name="T56" fmla="*/ 65 w 101"/>
                <a:gd name="T57" fmla="*/ 5 h 65"/>
                <a:gd name="T58" fmla="*/ 60 w 101"/>
                <a:gd name="T59" fmla="*/ 3 h 65"/>
                <a:gd name="T60" fmla="*/ 54 w 101"/>
                <a:gd name="T61" fmla="*/ 1 h 65"/>
                <a:gd name="T62" fmla="*/ 49 w 101"/>
                <a:gd name="T63" fmla="*/ 1 h 65"/>
                <a:gd name="T64" fmla="*/ 46 w 101"/>
                <a:gd name="T65" fmla="*/ 0 h 65"/>
                <a:gd name="T66" fmla="*/ 39 w 101"/>
                <a:gd name="T67" fmla="*/ 5 h 65"/>
                <a:gd name="T68" fmla="*/ 32 w 101"/>
                <a:gd name="T69" fmla="*/ 5 h 65"/>
                <a:gd name="T70" fmla="*/ 33 w 101"/>
                <a:gd name="T71" fmla="*/ 11 h 65"/>
                <a:gd name="T72" fmla="*/ 28 w 101"/>
                <a:gd name="T73" fmla="*/ 14 h 65"/>
                <a:gd name="T74" fmla="*/ 24 w 101"/>
                <a:gd name="T75" fmla="*/ 17 h 65"/>
                <a:gd name="T76" fmla="*/ 20 w 101"/>
                <a:gd name="T77" fmla="*/ 24 h 65"/>
                <a:gd name="T78" fmla="*/ 24 w 101"/>
                <a:gd name="T79" fmla="*/ 27 h 65"/>
                <a:gd name="T80" fmla="*/ 20 w 101"/>
                <a:gd name="T81" fmla="*/ 25 h 65"/>
                <a:gd name="T82" fmla="*/ 16 w 101"/>
                <a:gd name="T83" fmla="*/ 27 h 65"/>
                <a:gd name="T84" fmla="*/ 11 w 101"/>
                <a:gd name="T85" fmla="*/ 30 h 65"/>
                <a:gd name="T86" fmla="*/ 8 w 101"/>
                <a:gd name="T87" fmla="*/ 30 h 65"/>
                <a:gd name="T88" fmla="*/ 1 w 101"/>
                <a:gd name="T89" fmla="*/ 30 h 65"/>
                <a:gd name="T90" fmla="*/ 1 w 101"/>
                <a:gd name="T91" fmla="*/ 33 h 65"/>
                <a:gd name="T92" fmla="*/ 1 w 101"/>
                <a:gd name="T93" fmla="*/ 33 h 65"/>
                <a:gd name="T94" fmla="*/ 1 w 101"/>
                <a:gd name="T95"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 h="65">
                  <a:moveTo>
                    <a:pt x="1" y="33"/>
                  </a:moveTo>
                  <a:lnTo>
                    <a:pt x="5" y="38"/>
                  </a:lnTo>
                  <a:lnTo>
                    <a:pt x="5" y="41"/>
                  </a:lnTo>
                  <a:lnTo>
                    <a:pt x="5" y="46"/>
                  </a:lnTo>
                  <a:lnTo>
                    <a:pt x="5" y="47"/>
                  </a:lnTo>
                  <a:lnTo>
                    <a:pt x="5" y="47"/>
                  </a:lnTo>
                  <a:lnTo>
                    <a:pt x="1" y="49"/>
                  </a:lnTo>
                  <a:lnTo>
                    <a:pt x="0" y="52"/>
                  </a:lnTo>
                  <a:lnTo>
                    <a:pt x="0" y="54"/>
                  </a:lnTo>
                  <a:lnTo>
                    <a:pt x="1" y="54"/>
                  </a:lnTo>
                  <a:lnTo>
                    <a:pt x="5" y="55"/>
                  </a:lnTo>
                  <a:lnTo>
                    <a:pt x="5" y="59"/>
                  </a:lnTo>
                  <a:lnTo>
                    <a:pt x="5" y="59"/>
                  </a:lnTo>
                  <a:lnTo>
                    <a:pt x="5" y="60"/>
                  </a:lnTo>
                  <a:lnTo>
                    <a:pt x="5" y="62"/>
                  </a:lnTo>
                  <a:lnTo>
                    <a:pt x="5" y="62"/>
                  </a:lnTo>
                  <a:lnTo>
                    <a:pt x="8" y="62"/>
                  </a:lnTo>
                  <a:lnTo>
                    <a:pt x="11" y="59"/>
                  </a:lnTo>
                  <a:lnTo>
                    <a:pt x="14" y="57"/>
                  </a:lnTo>
                  <a:lnTo>
                    <a:pt x="17" y="57"/>
                  </a:lnTo>
                  <a:lnTo>
                    <a:pt x="27" y="57"/>
                  </a:lnTo>
                  <a:lnTo>
                    <a:pt x="32" y="57"/>
                  </a:lnTo>
                  <a:lnTo>
                    <a:pt x="36" y="59"/>
                  </a:lnTo>
                  <a:lnTo>
                    <a:pt x="39" y="59"/>
                  </a:lnTo>
                  <a:lnTo>
                    <a:pt x="43" y="60"/>
                  </a:lnTo>
                  <a:lnTo>
                    <a:pt x="43" y="62"/>
                  </a:lnTo>
                  <a:lnTo>
                    <a:pt x="46" y="62"/>
                  </a:lnTo>
                  <a:lnTo>
                    <a:pt x="47" y="62"/>
                  </a:lnTo>
                  <a:lnTo>
                    <a:pt x="49" y="62"/>
                  </a:lnTo>
                  <a:lnTo>
                    <a:pt x="51" y="62"/>
                  </a:lnTo>
                  <a:lnTo>
                    <a:pt x="52" y="62"/>
                  </a:lnTo>
                  <a:lnTo>
                    <a:pt x="55" y="62"/>
                  </a:lnTo>
                  <a:lnTo>
                    <a:pt x="59" y="62"/>
                  </a:lnTo>
                  <a:lnTo>
                    <a:pt x="60" y="65"/>
                  </a:lnTo>
                  <a:lnTo>
                    <a:pt x="60" y="62"/>
                  </a:lnTo>
                  <a:lnTo>
                    <a:pt x="62" y="62"/>
                  </a:lnTo>
                  <a:lnTo>
                    <a:pt x="65" y="62"/>
                  </a:lnTo>
                  <a:lnTo>
                    <a:pt x="66" y="65"/>
                  </a:lnTo>
                  <a:lnTo>
                    <a:pt x="68" y="65"/>
                  </a:lnTo>
                  <a:lnTo>
                    <a:pt x="70" y="65"/>
                  </a:lnTo>
                  <a:lnTo>
                    <a:pt x="71" y="62"/>
                  </a:lnTo>
                  <a:lnTo>
                    <a:pt x="74" y="62"/>
                  </a:lnTo>
                  <a:lnTo>
                    <a:pt x="74" y="62"/>
                  </a:lnTo>
                  <a:lnTo>
                    <a:pt x="78" y="65"/>
                  </a:lnTo>
                  <a:lnTo>
                    <a:pt x="81" y="65"/>
                  </a:lnTo>
                  <a:lnTo>
                    <a:pt x="81" y="65"/>
                  </a:lnTo>
                  <a:lnTo>
                    <a:pt x="81" y="62"/>
                  </a:lnTo>
                  <a:lnTo>
                    <a:pt x="81" y="62"/>
                  </a:lnTo>
                  <a:lnTo>
                    <a:pt x="81" y="59"/>
                  </a:lnTo>
                  <a:lnTo>
                    <a:pt x="82" y="55"/>
                  </a:lnTo>
                  <a:lnTo>
                    <a:pt x="84" y="55"/>
                  </a:lnTo>
                  <a:lnTo>
                    <a:pt x="86" y="55"/>
                  </a:lnTo>
                  <a:lnTo>
                    <a:pt x="89" y="55"/>
                  </a:lnTo>
                  <a:lnTo>
                    <a:pt x="93" y="55"/>
                  </a:lnTo>
                  <a:lnTo>
                    <a:pt x="92" y="54"/>
                  </a:lnTo>
                  <a:lnTo>
                    <a:pt x="90" y="52"/>
                  </a:lnTo>
                  <a:lnTo>
                    <a:pt x="89" y="47"/>
                  </a:lnTo>
                  <a:lnTo>
                    <a:pt x="89" y="46"/>
                  </a:lnTo>
                  <a:lnTo>
                    <a:pt x="87" y="44"/>
                  </a:lnTo>
                  <a:lnTo>
                    <a:pt x="86" y="41"/>
                  </a:lnTo>
                  <a:lnTo>
                    <a:pt x="86" y="40"/>
                  </a:lnTo>
                  <a:lnTo>
                    <a:pt x="87" y="40"/>
                  </a:lnTo>
                  <a:lnTo>
                    <a:pt x="90" y="40"/>
                  </a:lnTo>
                  <a:lnTo>
                    <a:pt x="95" y="40"/>
                  </a:lnTo>
                  <a:lnTo>
                    <a:pt x="98" y="38"/>
                  </a:lnTo>
                  <a:lnTo>
                    <a:pt x="101" y="36"/>
                  </a:lnTo>
                  <a:lnTo>
                    <a:pt x="100" y="36"/>
                  </a:lnTo>
                  <a:lnTo>
                    <a:pt x="97" y="33"/>
                  </a:lnTo>
                  <a:lnTo>
                    <a:pt x="97" y="33"/>
                  </a:lnTo>
                  <a:lnTo>
                    <a:pt x="95" y="30"/>
                  </a:lnTo>
                  <a:lnTo>
                    <a:pt x="90" y="30"/>
                  </a:lnTo>
                  <a:lnTo>
                    <a:pt x="89" y="30"/>
                  </a:lnTo>
                  <a:lnTo>
                    <a:pt x="89" y="27"/>
                  </a:lnTo>
                  <a:lnTo>
                    <a:pt x="87" y="27"/>
                  </a:lnTo>
                  <a:lnTo>
                    <a:pt x="86" y="27"/>
                  </a:lnTo>
                  <a:lnTo>
                    <a:pt x="82" y="25"/>
                  </a:lnTo>
                  <a:lnTo>
                    <a:pt x="81" y="22"/>
                  </a:lnTo>
                  <a:lnTo>
                    <a:pt x="78" y="19"/>
                  </a:lnTo>
                  <a:lnTo>
                    <a:pt x="78" y="17"/>
                  </a:lnTo>
                  <a:lnTo>
                    <a:pt x="78" y="16"/>
                  </a:lnTo>
                  <a:lnTo>
                    <a:pt x="78" y="13"/>
                  </a:lnTo>
                  <a:lnTo>
                    <a:pt x="78" y="11"/>
                  </a:lnTo>
                  <a:lnTo>
                    <a:pt x="78" y="9"/>
                  </a:lnTo>
                  <a:lnTo>
                    <a:pt x="78" y="6"/>
                  </a:lnTo>
                  <a:lnTo>
                    <a:pt x="74" y="5"/>
                  </a:lnTo>
                  <a:lnTo>
                    <a:pt x="70" y="5"/>
                  </a:lnTo>
                  <a:lnTo>
                    <a:pt x="65" y="5"/>
                  </a:lnTo>
                  <a:lnTo>
                    <a:pt x="62" y="5"/>
                  </a:lnTo>
                  <a:lnTo>
                    <a:pt x="60" y="5"/>
                  </a:lnTo>
                  <a:lnTo>
                    <a:pt x="60" y="3"/>
                  </a:lnTo>
                  <a:lnTo>
                    <a:pt x="59" y="1"/>
                  </a:lnTo>
                  <a:lnTo>
                    <a:pt x="55" y="1"/>
                  </a:lnTo>
                  <a:lnTo>
                    <a:pt x="54" y="1"/>
                  </a:lnTo>
                  <a:lnTo>
                    <a:pt x="51" y="1"/>
                  </a:lnTo>
                  <a:lnTo>
                    <a:pt x="51" y="1"/>
                  </a:lnTo>
                  <a:lnTo>
                    <a:pt x="49" y="1"/>
                  </a:lnTo>
                  <a:lnTo>
                    <a:pt x="47" y="1"/>
                  </a:lnTo>
                  <a:lnTo>
                    <a:pt x="47" y="0"/>
                  </a:lnTo>
                  <a:lnTo>
                    <a:pt x="46" y="0"/>
                  </a:lnTo>
                  <a:lnTo>
                    <a:pt x="46" y="0"/>
                  </a:lnTo>
                  <a:lnTo>
                    <a:pt x="43" y="3"/>
                  </a:lnTo>
                  <a:lnTo>
                    <a:pt x="39" y="5"/>
                  </a:lnTo>
                  <a:lnTo>
                    <a:pt x="39" y="5"/>
                  </a:lnTo>
                  <a:lnTo>
                    <a:pt x="35" y="5"/>
                  </a:lnTo>
                  <a:lnTo>
                    <a:pt x="32" y="5"/>
                  </a:lnTo>
                  <a:lnTo>
                    <a:pt x="30" y="8"/>
                  </a:lnTo>
                  <a:lnTo>
                    <a:pt x="30" y="9"/>
                  </a:lnTo>
                  <a:lnTo>
                    <a:pt x="33" y="11"/>
                  </a:lnTo>
                  <a:lnTo>
                    <a:pt x="32" y="13"/>
                  </a:lnTo>
                  <a:lnTo>
                    <a:pt x="30" y="13"/>
                  </a:lnTo>
                  <a:lnTo>
                    <a:pt x="28" y="14"/>
                  </a:lnTo>
                  <a:lnTo>
                    <a:pt x="27" y="16"/>
                  </a:lnTo>
                  <a:lnTo>
                    <a:pt x="24" y="17"/>
                  </a:lnTo>
                  <a:lnTo>
                    <a:pt x="24" y="17"/>
                  </a:lnTo>
                  <a:lnTo>
                    <a:pt x="24" y="19"/>
                  </a:lnTo>
                  <a:lnTo>
                    <a:pt x="22" y="22"/>
                  </a:lnTo>
                  <a:lnTo>
                    <a:pt x="20" y="24"/>
                  </a:lnTo>
                  <a:lnTo>
                    <a:pt x="22" y="24"/>
                  </a:lnTo>
                  <a:lnTo>
                    <a:pt x="24" y="25"/>
                  </a:lnTo>
                  <a:lnTo>
                    <a:pt x="24" y="27"/>
                  </a:lnTo>
                  <a:lnTo>
                    <a:pt x="22" y="27"/>
                  </a:lnTo>
                  <a:lnTo>
                    <a:pt x="22" y="25"/>
                  </a:lnTo>
                  <a:lnTo>
                    <a:pt x="20" y="25"/>
                  </a:lnTo>
                  <a:lnTo>
                    <a:pt x="19" y="25"/>
                  </a:lnTo>
                  <a:lnTo>
                    <a:pt x="17" y="27"/>
                  </a:lnTo>
                  <a:lnTo>
                    <a:pt x="16" y="27"/>
                  </a:lnTo>
                  <a:lnTo>
                    <a:pt x="14" y="27"/>
                  </a:lnTo>
                  <a:lnTo>
                    <a:pt x="12" y="27"/>
                  </a:lnTo>
                  <a:lnTo>
                    <a:pt x="11" y="30"/>
                  </a:lnTo>
                  <a:lnTo>
                    <a:pt x="11" y="30"/>
                  </a:lnTo>
                  <a:lnTo>
                    <a:pt x="8" y="30"/>
                  </a:lnTo>
                  <a:lnTo>
                    <a:pt x="8" y="30"/>
                  </a:lnTo>
                  <a:lnTo>
                    <a:pt x="5" y="30"/>
                  </a:lnTo>
                  <a:lnTo>
                    <a:pt x="3" y="30"/>
                  </a:lnTo>
                  <a:lnTo>
                    <a:pt x="1" y="30"/>
                  </a:lnTo>
                  <a:lnTo>
                    <a:pt x="0" y="30"/>
                  </a:lnTo>
                  <a:lnTo>
                    <a:pt x="1" y="30"/>
                  </a:lnTo>
                  <a:lnTo>
                    <a:pt x="1" y="33"/>
                  </a:lnTo>
                  <a:lnTo>
                    <a:pt x="1" y="33"/>
                  </a:lnTo>
                  <a:lnTo>
                    <a:pt x="1" y="33"/>
                  </a:lnTo>
                  <a:lnTo>
                    <a:pt x="1" y="33"/>
                  </a:lnTo>
                  <a:lnTo>
                    <a:pt x="1" y="33"/>
                  </a:lnTo>
                  <a:lnTo>
                    <a:pt x="1" y="33"/>
                  </a:lnTo>
                  <a:lnTo>
                    <a:pt x="1" y="33"/>
                  </a:lnTo>
                  <a:lnTo>
                    <a:pt x="1" y="33"/>
                  </a:lnTo>
                  <a:lnTo>
                    <a:pt x="1" y="3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1" name="Freeform 184">
              <a:extLst>
                <a:ext uri="{FF2B5EF4-FFF2-40B4-BE49-F238E27FC236}">
                  <a16:creationId xmlns:a16="http://schemas.microsoft.com/office/drawing/2014/main" id="{5FF1755B-9752-4CDE-2334-22DE81FFE3AD}"/>
                </a:ext>
              </a:extLst>
            </p:cNvPr>
            <p:cNvSpPr>
              <a:spLocks/>
            </p:cNvSpPr>
            <p:nvPr/>
          </p:nvSpPr>
          <p:spPr bwMode="auto">
            <a:xfrm>
              <a:off x="5538136" y="2668051"/>
              <a:ext cx="91966" cy="165988"/>
            </a:xfrm>
            <a:custGeom>
              <a:avLst/>
              <a:gdLst>
                <a:gd name="T0" fmla="*/ 24 w 41"/>
                <a:gd name="T1" fmla="*/ 63 h 74"/>
                <a:gd name="T2" fmla="*/ 27 w 41"/>
                <a:gd name="T3" fmla="*/ 60 h 74"/>
                <a:gd name="T4" fmla="*/ 30 w 41"/>
                <a:gd name="T5" fmla="*/ 55 h 74"/>
                <a:gd name="T6" fmla="*/ 27 w 41"/>
                <a:gd name="T7" fmla="*/ 55 h 74"/>
                <a:gd name="T8" fmla="*/ 25 w 41"/>
                <a:gd name="T9" fmla="*/ 52 h 74"/>
                <a:gd name="T10" fmla="*/ 27 w 41"/>
                <a:gd name="T11" fmla="*/ 49 h 74"/>
                <a:gd name="T12" fmla="*/ 30 w 41"/>
                <a:gd name="T13" fmla="*/ 46 h 74"/>
                <a:gd name="T14" fmla="*/ 27 w 41"/>
                <a:gd name="T15" fmla="*/ 41 h 74"/>
                <a:gd name="T16" fmla="*/ 27 w 41"/>
                <a:gd name="T17" fmla="*/ 38 h 74"/>
                <a:gd name="T18" fmla="*/ 27 w 41"/>
                <a:gd name="T19" fmla="*/ 38 h 74"/>
                <a:gd name="T20" fmla="*/ 30 w 41"/>
                <a:gd name="T21" fmla="*/ 34 h 74"/>
                <a:gd name="T22" fmla="*/ 32 w 41"/>
                <a:gd name="T23" fmla="*/ 31 h 74"/>
                <a:gd name="T24" fmla="*/ 32 w 41"/>
                <a:gd name="T25" fmla="*/ 28 h 74"/>
                <a:gd name="T26" fmla="*/ 33 w 41"/>
                <a:gd name="T27" fmla="*/ 28 h 74"/>
                <a:gd name="T28" fmla="*/ 33 w 41"/>
                <a:gd name="T29" fmla="*/ 23 h 74"/>
                <a:gd name="T30" fmla="*/ 33 w 41"/>
                <a:gd name="T31" fmla="*/ 17 h 74"/>
                <a:gd name="T32" fmla="*/ 35 w 41"/>
                <a:gd name="T33" fmla="*/ 15 h 74"/>
                <a:gd name="T34" fmla="*/ 41 w 41"/>
                <a:gd name="T35" fmla="*/ 9 h 74"/>
                <a:gd name="T36" fmla="*/ 38 w 41"/>
                <a:gd name="T37" fmla="*/ 7 h 74"/>
                <a:gd name="T38" fmla="*/ 38 w 41"/>
                <a:gd name="T39" fmla="*/ 4 h 74"/>
                <a:gd name="T40" fmla="*/ 35 w 41"/>
                <a:gd name="T41" fmla="*/ 3 h 74"/>
                <a:gd name="T42" fmla="*/ 32 w 41"/>
                <a:gd name="T43" fmla="*/ 3 h 74"/>
                <a:gd name="T44" fmla="*/ 29 w 41"/>
                <a:gd name="T45" fmla="*/ 4 h 74"/>
                <a:gd name="T46" fmla="*/ 24 w 41"/>
                <a:gd name="T47" fmla="*/ 4 h 74"/>
                <a:gd name="T48" fmla="*/ 21 w 41"/>
                <a:gd name="T49" fmla="*/ 4 h 74"/>
                <a:gd name="T50" fmla="*/ 19 w 41"/>
                <a:gd name="T51" fmla="*/ 3 h 74"/>
                <a:gd name="T52" fmla="*/ 19 w 41"/>
                <a:gd name="T53" fmla="*/ 3 h 74"/>
                <a:gd name="T54" fmla="*/ 18 w 41"/>
                <a:gd name="T55" fmla="*/ 3 h 74"/>
                <a:gd name="T56" fmla="*/ 13 w 41"/>
                <a:gd name="T57" fmla="*/ 3 h 74"/>
                <a:gd name="T58" fmla="*/ 13 w 41"/>
                <a:gd name="T59" fmla="*/ 4 h 74"/>
                <a:gd name="T60" fmla="*/ 13 w 41"/>
                <a:gd name="T61" fmla="*/ 7 h 74"/>
                <a:gd name="T62" fmla="*/ 13 w 41"/>
                <a:gd name="T63" fmla="*/ 14 h 74"/>
                <a:gd name="T64" fmla="*/ 13 w 41"/>
                <a:gd name="T65" fmla="*/ 20 h 74"/>
                <a:gd name="T66" fmla="*/ 10 w 41"/>
                <a:gd name="T67" fmla="*/ 23 h 74"/>
                <a:gd name="T68" fmla="*/ 6 w 41"/>
                <a:gd name="T69" fmla="*/ 38 h 74"/>
                <a:gd name="T70" fmla="*/ 3 w 41"/>
                <a:gd name="T71" fmla="*/ 39 h 74"/>
                <a:gd name="T72" fmla="*/ 2 w 41"/>
                <a:gd name="T73" fmla="*/ 46 h 74"/>
                <a:gd name="T74" fmla="*/ 2 w 41"/>
                <a:gd name="T75" fmla="*/ 49 h 74"/>
                <a:gd name="T76" fmla="*/ 3 w 41"/>
                <a:gd name="T77" fmla="*/ 49 h 74"/>
                <a:gd name="T78" fmla="*/ 6 w 41"/>
                <a:gd name="T79" fmla="*/ 47 h 74"/>
                <a:gd name="T80" fmla="*/ 6 w 41"/>
                <a:gd name="T81" fmla="*/ 49 h 74"/>
                <a:gd name="T82" fmla="*/ 3 w 41"/>
                <a:gd name="T83" fmla="*/ 52 h 74"/>
                <a:gd name="T84" fmla="*/ 10 w 41"/>
                <a:gd name="T85" fmla="*/ 52 h 74"/>
                <a:gd name="T86" fmla="*/ 10 w 41"/>
                <a:gd name="T87" fmla="*/ 55 h 74"/>
                <a:gd name="T88" fmla="*/ 10 w 41"/>
                <a:gd name="T89" fmla="*/ 55 h 74"/>
                <a:gd name="T90" fmla="*/ 6 w 41"/>
                <a:gd name="T91" fmla="*/ 61 h 74"/>
                <a:gd name="T92" fmla="*/ 6 w 41"/>
                <a:gd name="T93" fmla="*/ 69 h 74"/>
                <a:gd name="T94" fmla="*/ 6 w 41"/>
                <a:gd name="T95" fmla="*/ 74 h 74"/>
                <a:gd name="T96" fmla="*/ 14 w 41"/>
                <a:gd name="T97" fmla="*/ 73 h 74"/>
                <a:gd name="T98" fmla="*/ 21 w 41"/>
                <a:gd name="T99" fmla="*/ 73 h 74"/>
                <a:gd name="T100" fmla="*/ 22 w 41"/>
                <a:gd name="T101" fmla="*/ 68 h 74"/>
                <a:gd name="T102" fmla="*/ 22 w 41"/>
                <a:gd name="T103" fmla="*/ 65 h 74"/>
                <a:gd name="T104" fmla="*/ 22 w 41"/>
                <a:gd name="T105" fmla="*/ 65 h 74"/>
                <a:gd name="T106" fmla="*/ 22 w 41"/>
                <a:gd name="T107" fmla="*/ 65 h 74"/>
                <a:gd name="T108" fmla="*/ 22 w 41"/>
                <a:gd name="T109" fmla="*/ 65 h 74"/>
                <a:gd name="T110" fmla="*/ 22 w 41"/>
                <a:gd name="T111" fmla="*/ 6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 h="74">
                  <a:moveTo>
                    <a:pt x="22" y="65"/>
                  </a:moveTo>
                  <a:lnTo>
                    <a:pt x="24" y="63"/>
                  </a:lnTo>
                  <a:lnTo>
                    <a:pt x="25" y="61"/>
                  </a:lnTo>
                  <a:lnTo>
                    <a:pt x="27" y="60"/>
                  </a:lnTo>
                  <a:lnTo>
                    <a:pt x="29" y="58"/>
                  </a:lnTo>
                  <a:lnTo>
                    <a:pt x="30" y="55"/>
                  </a:lnTo>
                  <a:lnTo>
                    <a:pt x="29" y="55"/>
                  </a:lnTo>
                  <a:lnTo>
                    <a:pt x="27" y="55"/>
                  </a:lnTo>
                  <a:lnTo>
                    <a:pt x="25" y="52"/>
                  </a:lnTo>
                  <a:lnTo>
                    <a:pt x="25" y="52"/>
                  </a:lnTo>
                  <a:lnTo>
                    <a:pt x="25" y="52"/>
                  </a:lnTo>
                  <a:lnTo>
                    <a:pt x="27" y="49"/>
                  </a:lnTo>
                  <a:lnTo>
                    <a:pt x="27" y="49"/>
                  </a:lnTo>
                  <a:lnTo>
                    <a:pt x="30" y="46"/>
                  </a:lnTo>
                  <a:lnTo>
                    <a:pt x="29" y="42"/>
                  </a:lnTo>
                  <a:lnTo>
                    <a:pt x="27" y="41"/>
                  </a:lnTo>
                  <a:lnTo>
                    <a:pt x="27" y="39"/>
                  </a:lnTo>
                  <a:lnTo>
                    <a:pt x="27" y="38"/>
                  </a:lnTo>
                  <a:lnTo>
                    <a:pt x="24" y="38"/>
                  </a:lnTo>
                  <a:lnTo>
                    <a:pt x="27" y="38"/>
                  </a:lnTo>
                  <a:lnTo>
                    <a:pt x="29" y="38"/>
                  </a:lnTo>
                  <a:lnTo>
                    <a:pt x="30" y="34"/>
                  </a:lnTo>
                  <a:lnTo>
                    <a:pt x="32" y="34"/>
                  </a:lnTo>
                  <a:lnTo>
                    <a:pt x="32" y="31"/>
                  </a:lnTo>
                  <a:lnTo>
                    <a:pt x="32" y="31"/>
                  </a:lnTo>
                  <a:lnTo>
                    <a:pt x="32" y="28"/>
                  </a:lnTo>
                  <a:lnTo>
                    <a:pt x="32" y="28"/>
                  </a:lnTo>
                  <a:lnTo>
                    <a:pt x="33" y="28"/>
                  </a:lnTo>
                  <a:lnTo>
                    <a:pt x="33" y="25"/>
                  </a:lnTo>
                  <a:lnTo>
                    <a:pt x="33" y="23"/>
                  </a:lnTo>
                  <a:lnTo>
                    <a:pt x="35" y="20"/>
                  </a:lnTo>
                  <a:lnTo>
                    <a:pt x="33" y="17"/>
                  </a:lnTo>
                  <a:lnTo>
                    <a:pt x="35" y="15"/>
                  </a:lnTo>
                  <a:lnTo>
                    <a:pt x="35" y="15"/>
                  </a:lnTo>
                  <a:lnTo>
                    <a:pt x="38" y="12"/>
                  </a:lnTo>
                  <a:lnTo>
                    <a:pt x="41" y="9"/>
                  </a:lnTo>
                  <a:lnTo>
                    <a:pt x="41" y="7"/>
                  </a:lnTo>
                  <a:lnTo>
                    <a:pt x="38" y="7"/>
                  </a:lnTo>
                  <a:lnTo>
                    <a:pt x="38" y="6"/>
                  </a:lnTo>
                  <a:lnTo>
                    <a:pt x="38" y="4"/>
                  </a:lnTo>
                  <a:lnTo>
                    <a:pt x="38" y="3"/>
                  </a:lnTo>
                  <a:lnTo>
                    <a:pt x="35" y="3"/>
                  </a:lnTo>
                  <a:lnTo>
                    <a:pt x="33" y="3"/>
                  </a:lnTo>
                  <a:lnTo>
                    <a:pt x="32" y="3"/>
                  </a:lnTo>
                  <a:lnTo>
                    <a:pt x="30" y="4"/>
                  </a:lnTo>
                  <a:lnTo>
                    <a:pt x="29" y="4"/>
                  </a:lnTo>
                  <a:lnTo>
                    <a:pt x="25" y="4"/>
                  </a:lnTo>
                  <a:lnTo>
                    <a:pt x="24" y="4"/>
                  </a:lnTo>
                  <a:lnTo>
                    <a:pt x="22" y="4"/>
                  </a:lnTo>
                  <a:lnTo>
                    <a:pt x="21" y="4"/>
                  </a:lnTo>
                  <a:lnTo>
                    <a:pt x="19" y="4"/>
                  </a:lnTo>
                  <a:lnTo>
                    <a:pt x="19" y="3"/>
                  </a:lnTo>
                  <a:lnTo>
                    <a:pt x="21" y="3"/>
                  </a:lnTo>
                  <a:lnTo>
                    <a:pt x="19" y="3"/>
                  </a:lnTo>
                  <a:lnTo>
                    <a:pt x="19" y="0"/>
                  </a:lnTo>
                  <a:lnTo>
                    <a:pt x="18" y="3"/>
                  </a:lnTo>
                  <a:lnTo>
                    <a:pt x="16" y="3"/>
                  </a:lnTo>
                  <a:lnTo>
                    <a:pt x="13" y="3"/>
                  </a:lnTo>
                  <a:lnTo>
                    <a:pt x="13" y="3"/>
                  </a:lnTo>
                  <a:lnTo>
                    <a:pt x="13" y="4"/>
                  </a:lnTo>
                  <a:lnTo>
                    <a:pt x="13" y="6"/>
                  </a:lnTo>
                  <a:lnTo>
                    <a:pt x="13" y="7"/>
                  </a:lnTo>
                  <a:lnTo>
                    <a:pt x="13" y="9"/>
                  </a:lnTo>
                  <a:lnTo>
                    <a:pt x="13" y="14"/>
                  </a:lnTo>
                  <a:lnTo>
                    <a:pt x="13" y="17"/>
                  </a:lnTo>
                  <a:lnTo>
                    <a:pt x="13" y="20"/>
                  </a:lnTo>
                  <a:lnTo>
                    <a:pt x="13" y="22"/>
                  </a:lnTo>
                  <a:lnTo>
                    <a:pt x="10" y="23"/>
                  </a:lnTo>
                  <a:lnTo>
                    <a:pt x="10" y="31"/>
                  </a:lnTo>
                  <a:lnTo>
                    <a:pt x="6" y="38"/>
                  </a:lnTo>
                  <a:lnTo>
                    <a:pt x="3" y="39"/>
                  </a:lnTo>
                  <a:lnTo>
                    <a:pt x="3" y="39"/>
                  </a:lnTo>
                  <a:lnTo>
                    <a:pt x="3" y="41"/>
                  </a:lnTo>
                  <a:lnTo>
                    <a:pt x="2" y="46"/>
                  </a:lnTo>
                  <a:lnTo>
                    <a:pt x="0" y="49"/>
                  </a:lnTo>
                  <a:lnTo>
                    <a:pt x="2" y="49"/>
                  </a:lnTo>
                  <a:lnTo>
                    <a:pt x="3" y="49"/>
                  </a:lnTo>
                  <a:lnTo>
                    <a:pt x="3" y="49"/>
                  </a:lnTo>
                  <a:lnTo>
                    <a:pt x="6" y="46"/>
                  </a:lnTo>
                  <a:lnTo>
                    <a:pt x="6" y="47"/>
                  </a:lnTo>
                  <a:lnTo>
                    <a:pt x="6" y="49"/>
                  </a:lnTo>
                  <a:lnTo>
                    <a:pt x="6" y="49"/>
                  </a:lnTo>
                  <a:lnTo>
                    <a:pt x="3" y="49"/>
                  </a:lnTo>
                  <a:lnTo>
                    <a:pt x="3" y="52"/>
                  </a:lnTo>
                  <a:lnTo>
                    <a:pt x="6" y="52"/>
                  </a:lnTo>
                  <a:lnTo>
                    <a:pt x="10" y="52"/>
                  </a:lnTo>
                  <a:lnTo>
                    <a:pt x="10" y="52"/>
                  </a:lnTo>
                  <a:lnTo>
                    <a:pt x="10" y="55"/>
                  </a:lnTo>
                  <a:lnTo>
                    <a:pt x="6" y="52"/>
                  </a:lnTo>
                  <a:lnTo>
                    <a:pt x="10" y="55"/>
                  </a:lnTo>
                  <a:lnTo>
                    <a:pt x="6" y="60"/>
                  </a:lnTo>
                  <a:lnTo>
                    <a:pt x="6" y="61"/>
                  </a:lnTo>
                  <a:lnTo>
                    <a:pt x="6" y="65"/>
                  </a:lnTo>
                  <a:lnTo>
                    <a:pt x="6" y="69"/>
                  </a:lnTo>
                  <a:lnTo>
                    <a:pt x="6" y="73"/>
                  </a:lnTo>
                  <a:lnTo>
                    <a:pt x="6" y="74"/>
                  </a:lnTo>
                  <a:lnTo>
                    <a:pt x="10" y="73"/>
                  </a:lnTo>
                  <a:lnTo>
                    <a:pt x="14" y="73"/>
                  </a:lnTo>
                  <a:lnTo>
                    <a:pt x="19" y="74"/>
                  </a:lnTo>
                  <a:lnTo>
                    <a:pt x="21" y="73"/>
                  </a:lnTo>
                  <a:lnTo>
                    <a:pt x="22" y="71"/>
                  </a:lnTo>
                  <a:lnTo>
                    <a:pt x="22" y="68"/>
                  </a:lnTo>
                  <a:lnTo>
                    <a:pt x="22" y="65"/>
                  </a:lnTo>
                  <a:lnTo>
                    <a:pt x="22" y="65"/>
                  </a:lnTo>
                  <a:lnTo>
                    <a:pt x="22" y="65"/>
                  </a:lnTo>
                  <a:lnTo>
                    <a:pt x="22" y="65"/>
                  </a:lnTo>
                  <a:lnTo>
                    <a:pt x="22" y="65"/>
                  </a:lnTo>
                  <a:lnTo>
                    <a:pt x="22" y="65"/>
                  </a:lnTo>
                  <a:lnTo>
                    <a:pt x="22" y="65"/>
                  </a:lnTo>
                  <a:lnTo>
                    <a:pt x="22" y="65"/>
                  </a:lnTo>
                  <a:lnTo>
                    <a:pt x="22" y="65"/>
                  </a:lnTo>
                  <a:lnTo>
                    <a:pt x="22" y="65"/>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2" name="Freeform 186">
              <a:extLst>
                <a:ext uri="{FF2B5EF4-FFF2-40B4-BE49-F238E27FC236}">
                  <a16:creationId xmlns:a16="http://schemas.microsoft.com/office/drawing/2014/main" id="{8B634618-BEC3-BF74-27FB-9E9E06D20C62}"/>
                </a:ext>
              </a:extLst>
            </p:cNvPr>
            <p:cNvSpPr>
              <a:spLocks/>
            </p:cNvSpPr>
            <p:nvPr/>
          </p:nvSpPr>
          <p:spPr bwMode="auto">
            <a:xfrm>
              <a:off x="5950861" y="2493091"/>
              <a:ext cx="127855" cy="56077"/>
            </a:xfrm>
            <a:custGeom>
              <a:avLst/>
              <a:gdLst>
                <a:gd name="T0" fmla="*/ 51 w 57"/>
                <a:gd name="T1" fmla="*/ 11 h 25"/>
                <a:gd name="T2" fmla="*/ 48 w 57"/>
                <a:gd name="T3" fmla="*/ 11 h 25"/>
                <a:gd name="T4" fmla="*/ 42 w 57"/>
                <a:gd name="T5" fmla="*/ 8 h 25"/>
                <a:gd name="T6" fmla="*/ 42 w 57"/>
                <a:gd name="T7" fmla="*/ 6 h 25"/>
                <a:gd name="T8" fmla="*/ 42 w 57"/>
                <a:gd name="T9" fmla="*/ 3 h 25"/>
                <a:gd name="T10" fmla="*/ 40 w 57"/>
                <a:gd name="T11" fmla="*/ 1 h 25"/>
                <a:gd name="T12" fmla="*/ 32 w 57"/>
                <a:gd name="T13" fmla="*/ 0 h 25"/>
                <a:gd name="T14" fmla="*/ 29 w 57"/>
                <a:gd name="T15" fmla="*/ 0 h 25"/>
                <a:gd name="T16" fmla="*/ 29 w 57"/>
                <a:gd name="T17" fmla="*/ 1 h 25"/>
                <a:gd name="T18" fmla="*/ 22 w 57"/>
                <a:gd name="T19" fmla="*/ 3 h 25"/>
                <a:gd name="T20" fmla="*/ 19 w 57"/>
                <a:gd name="T21" fmla="*/ 3 h 25"/>
                <a:gd name="T22" fmla="*/ 16 w 57"/>
                <a:gd name="T23" fmla="*/ 5 h 25"/>
                <a:gd name="T24" fmla="*/ 13 w 57"/>
                <a:gd name="T25" fmla="*/ 3 h 25"/>
                <a:gd name="T26" fmla="*/ 15 w 57"/>
                <a:gd name="T27" fmla="*/ 5 h 25"/>
                <a:gd name="T28" fmla="*/ 7 w 57"/>
                <a:gd name="T29" fmla="*/ 11 h 25"/>
                <a:gd name="T30" fmla="*/ 3 w 57"/>
                <a:gd name="T31" fmla="*/ 14 h 25"/>
                <a:gd name="T32" fmla="*/ 2 w 57"/>
                <a:gd name="T33" fmla="*/ 19 h 25"/>
                <a:gd name="T34" fmla="*/ 3 w 57"/>
                <a:gd name="T35" fmla="*/ 20 h 25"/>
                <a:gd name="T36" fmla="*/ 5 w 57"/>
                <a:gd name="T37" fmla="*/ 17 h 25"/>
                <a:gd name="T38" fmla="*/ 8 w 57"/>
                <a:gd name="T39" fmla="*/ 17 h 25"/>
                <a:gd name="T40" fmla="*/ 11 w 57"/>
                <a:gd name="T41" fmla="*/ 19 h 25"/>
                <a:gd name="T42" fmla="*/ 13 w 57"/>
                <a:gd name="T43" fmla="*/ 24 h 25"/>
                <a:gd name="T44" fmla="*/ 18 w 57"/>
                <a:gd name="T45" fmla="*/ 25 h 25"/>
                <a:gd name="T46" fmla="*/ 22 w 57"/>
                <a:gd name="T47" fmla="*/ 24 h 25"/>
                <a:gd name="T48" fmla="*/ 26 w 57"/>
                <a:gd name="T49" fmla="*/ 20 h 25"/>
                <a:gd name="T50" fmla="*/ 29 w 57"/>
                <a:gd name="T51" fmla="*/ 17 h 25"/>
                <a:gd name="T52" fmla="*/ 32 w 57"/>
                <a:gd name="T53" fmla="*/ 22 h 25"/>
                <a:gd name="T54" fmla="*/ 35 w 57"/>
                <a:gd name="T55" fmla="*/ 25 h 25"/>
                <a:gd name="T56" fmla="*/ 37 w 57"/>
                <a:gd name="T57" fmla="*/ 22 h 25"/>
                <a:gd name="T58" fmla="*/ 38 w 57"/>
                <a:gd name="T59" fmla="*/ 19 h 25"/>
                <a:gd name="T60" fmla="*/ 38 w 57"/>
                <a:gd name="T61" fmla="*/ 16 h 25"/>
                <a:gd name="T62" fmla="*/ 42 w 57"/>
                <a:gd name="T63" fmla="*/ 17 h 25"/>
                <a:gd name="T64" fmla="*/ 43 w 57"/>
                <a:gd name="T65" fmla="*/ 19 h 25"/>
                <a:gd name="T66" fmla="*/ 46 w 57"/>
                <a:gd name="T67" fmla="*/ 19 h 25"/>
                <a:gd name="T68" fmla="*/ 49 w 57"/>
                <a:gd name="T69" fmla="*/ 19 h 25"/>
                <a:gd name="T70" fmla="*/ 48 w 57"/>
                <a:gd name="T71" fmla="*/ 16 h 25"/>
                <a:gd name="T72" fmla="*/ 53 w 57"/>
                <a:gd name="T73" fmla="*/ 16 h 25"/>
                <a:gd name="T74" fmla="*/ 53 w 57"/>
                <a:gd name="T75" fmla="*/ 12 h 25"/>
                <a:gd name="T76" fmla="*/ 57 w 57"/>
                <a:gd name="T77" fmla="*/ 12 h 25"/>
                <a:gd name="T78" fmla="*/ 53 w 57"/>
                <a:gd name="T79" fmla="*/ 11 h 25"/>
                <a:gd name="T80" fmla="*/ 53 w 57"/>
                <a:gd name="T81" fmla="*/ 11 h 25"/>
                <a:gd name="T82" fmla="*/ 53 w 57"/>
                <a:gd name="T83" fmla="*/ 11 h 25"/>
                <a:gd name="T84" fmla="*/ 53 w 57"/>
                <a:gd name="T85" fmla="*/ 11 h 25"/>
                <a:gd name="T86" fmla="*/ 53 w 57"/>
                <a:gd name="T87"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25">
                  <a:moveTo>
                    <a:pt x="53" y="11"/>
                  </a:moveTo>
                  <a:lnTo>
                    <a:pt x="51" y="11"/>
                  </a:lnTo>
                  <a:lnTo>
                    <a:pt x="49" y="11"/>
                  </a:lnTo>
                  <a:lnTo>
                    <a:pt x="48" y="11"/>
                  </a:lnTo>
                  <a:lnTo>
                    <a:pt x="45" y="11"/>
                  </a:lnTo>
                  <a:lnTo>
                    <a:pt x="42" y="8"/>
                  </a:lnTo>
                  <a:lnTo>
                    <a:pt x="43" y="8"/>
                  </a:lnTo>
                  <a:lnTo>
                    <a:pt x="42" y="6"/>
                  </a:lnTo>
                  <a:lnTo>
                    <a:pt x="43" y="5"/>
                  </a:lnTo>
                  <a:lnTo>
                    <a:pt x="42" y="3"/>
                  </a:lnTo>
                  <a:lnTo>
                    <a:pt x="43" y="3"/>
                  </a:lnTo>
                  <a:lnTo>
                    <a:pt x="40" y="1"/>
                  </a:lnTo>
                  <a:lnTo>
                    <a:pt x="37" y="0"/>
                  </a:lnTo>
                  <a:lnTo>
                    <a:pt x="32" y="0"/>
                  </a:lnTo>
                  <a:lnTo>
                    <a:pt x="32" y="0"/>
                  </a:lnTo>
                  <a:lnTo>
                    <a:pt x="29" y="0"/>
                  </a:lnTo>
                  <a:lnTo>
                    <a:pt x="30" y="0"/>
                  </a:lnTo>
                  <a:lnTo>
                    <a:pt x="29" y="1"/>
                  </a:lnTo>
                  <a:lnTo>
                    <a:pt x="26" y="1"/>
                  </a:lnTo>
                  <a:lnTo>
                    <a:pt x="22" y="3"/>
                  </a:lnTo>
                  <a:lnTo>
                    <a:pt x="21" y="1"/>
                  </a:lnTo>
                  <a:lnTo>
                    <a:pt x="19" y="3"/>
                  </a:lnTo>
                  <a:lnTo>
                    <a:pt x="18" y="3"/>
                  </a:lnTo>
                  <a:lnTo>
                    <a:pt x="16" y="5"/>
                  </a:lnTo>
                  <a:lnTo>
                    <a:pt x="15" y="3"/>
                  </a:lnTo>
                  <a:lnTo>
                    <a:pt x="13" y="3"/>
                  </a:lnTo>
                  <a:lnTo>
                    <a:pt x="13" y="5"/>
                  </a:lnTo>
                  <a:lnTo>
                    <a:pt x="15" y="5"/>
                  </a:lnTo>
                  <a:lnTo>
                    <a:pt x="10" y="8"/>
                  </a:lnTo>
                  <a:lnTo>
                    <a:pt x="7" y="11"/>
                  </a:lnTo>
                  <a:lnTo>
                    <a:pt x="5" y="12"/>
                  </a:lnTo>
                  <a:lnTo>
                    <a:pt x="3" y="14"/>
                  </a:lnTo>
                  <a:lnTo>
                    <a:pt x="2" y="16"/>
                  </a:lnTo>
                  <a:lnTo>
                    <a:pt x="2" y="19"/>
                  </a:lnTo>
                  <a:lnTo>
                    <a:pt x="0" y="22"/>
                  </a:lnTo>
                  <a:lnTo>
                    <a:pt x="3" y="20"/>
                  </a:lnTo>
                  <a:lnTo>
                    <a:pt x="5" y="19"/>
                  </a:lnTo>
                  <a:lnTo>
                    <a:pt x="5" y="17"/>
                  </a:lnTo>
                  <a:lnTo>
                    <a:pt x="7" y="17"/>
                  </a:lnTo>
                  <a:lnTo>
                    <a:pt x="8" y="17"/>
                  </a:lnTo>
                  <a:lnTo>
                    <a:pt x="10" y="17"/>
                  </a:lnTo>
                  <a:lnTo>
                    <a:pt x="11" y="19"/>
                  </a:lnTo>
                  <a:lnTo>
                    <a:pt x="11" y="22"/>
                  </a:lnTo>
                  <a:lnTo>
                    <a:pt x="13" y="24"/>
                  </a:lnTo>
                  <a:lnTo>
                    <a:pt x="15" y="25"/>
                  </a:lnTo>
                  <a:lnTo>
                    <a:pt x="18" y="25"/>
                  </a:lnTo>
                  <a:lnTo>
                    <a:pt x="22" y="24"/>
                  </a:lnTo>
                  <a:lnTo>
                    <a:pt x="22" y="24"/>
                  </a:lnTo>
                  <a:lnTo>
                    <a:pt x="26" y="22"/>
                  </a:lnTo>
                  <a:lnTo>
                    <a:pt x="26" y="20"/>
                  </a:lnTo>
                  <a:lnTo>
                    <a:pt x="26" y="19"/>
                  </a:lnTo>
                  <a:lnTo>
                    <a:pt x="29" y="17"/>
                  </a:lnTo>
                  <a:lnTo>
                    <a:pt x="29" y="19"/>
                  </a:lnTo>
                  <a:lnTo>
                    <a:pt x="32" y="22"/>
                  </a:lnTo>
                  <a:lnTo>
                    <a:pt x="35" y="24"/>
                  </a:lnTo>
                  <a:lnTo>
                    <a:pt x="35" y="25"/>
                  </a:lnTo>
                  <a:lnTo>
                    <a:pt x="35" y="24"/>
                  </a:lnTo>
                  <a:lnTo>
                    <a:pt x="37" y="22"/>
                  </a:lnTo>
                  <a:lnTo>
                    <a:pt x="38" y="20"/>
                  </a:lnTo>
                  <a:lnTo>
                    <a:pt x="38" y="19"/>
                  </a:lnTo>
                  <a:lnTo>
                    <a:pt x="38" y="17"/>
                  </a:lnTo>
                  <a:lnTo>
                    <a:pt x="38" y="16"/>
                  </a:lnTo>
                  <a:lnTo>
                    <a:pt x="40" y="16"/>
                  </a:lnTo>
                  <a:lnTo>
                    <a:pt x="42" y="17"/>
                  </a:lnTo>
                  <a:lnTo>
                    <a:pt x="42" y="19"/>
                  </a:lnTo>
                  <a:lnTo>
                    <a:pt x="43" y="19"/>
                  </a:lnTo>
                  <a:lnTo>
                    <a:pt x="45" y="19"/>
                  </a:lnTo>
                  <a:lnTo>
                    <a:pt x="46" y="19"/>
                  </a:lnTo>
                  <a:lnTo>
                    <a:pt x="48" y="20"/>
                  </a:lnTo>
                  <a:lnTo>
                    <a:pt x="49" y="19"/>
                  </a:lnTo>
                  <a:lnTo>
                    <a:pt x="48" y="17"/>
                  </a:lnTo>
                  <a:lnTo>
                    <a:pt x="48" y="16"/>
                  </a:lnTo>
                  <a:lnTo>
                    <a:pt x="49" y="14"/>
                  </a:lnTo>
                  <a:lnTo>
                    <a:pt x="53" y="16"/>
                  </a:lnTo>
                  <a:lnTo>
                    <a:pt x="53" y="14"/>
                  </a:lnTo>
                  <a:lnTo>
                    <a:pt x="53" y="12"/>
                  </a:lnTo>
                  <a:lnTo>
                    <a:pt x="53" y="11"/>
                  </a:lnTo>
                  <a:lnTo>
                    <a:pt x="57" y="12"/>
                  </a:lnTo>
                  <a:lnTo>
                    <a:pt x="54" y="11"/>
                  </a:lnTo>
                  <a:lnTo>
                    <a:pt x="53" y="11"/>
                  </a:lnTo>
                  <a:lnTo>
                    <a:pt x="53" y="11"/>
                  </a:lnTo>
                  <a:lnTo>
                    <a:pt x="53" y="11"/>
                  </a:lnTo>
                  <a:lnTo>
                    <a:pt x="53" y="11"/>
                  </a:lnTo>
                  <a:lnTo>
                    <a:pt x="53" y="11"/>
                  </a:lnTo>
                  <a:lnTo>
                    <a:pt x="53" y="11"/>
                  </a:lnTo>
                  <a:lnTo>
                    <a:pt x="53" y="11"/>
                  </a:lnTo>
                  <a:lnTo>
                    <a:pt x="53" y="11"/>
                  </a:lnTo>
                  <a:lnTo>
                    <a:pt x="53" y="11"/>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3" name="Freeform 196">
              <a:extLst>
                <a:ext uri="{FF2B5EF4-FFF2-40B4-BE49-F238E27FC236}">
                  <a16:creationId xmlns:a16="http://schemas.microsoft.com/office/drawing/2014/main" id="{C68C9B7F-3911-5E1A-A754-4029E5E82255}"/>
                </a:ext>
              </a:extLst>
            </p:cNvPr>
            <p:cNvSpPr>
              <a:spLocks noEditPoints="1"/>
            </p:cNvSpPr>
            <p:nvPr/>
          </p:nvSpPr>
          <p:spPr bwMode="auto">
            <a:xfrm>
              <a:off x="6009181" y="2183548"/>
              <a:ext cx="109911" cy="96452"/>
            </a:xfrm>
            <a:custGeom>
              <a:avLst/>
              <a:gdLst>
                <a:gd name="T0" fmla="*/ 22 w 49"/>
                <a:gd name="T1" fmla="*/ 17 h 43"/>
                <a:gd name="T2" fmla="*/ 22 w 49"/>
                <a:gd name="T3" fmla="*/ 9 h 43"/>
                <a:gd name="T4" fmla="*/ 25 w 49"/>
                <a:gd name="T5" fmla="*/ 1 h 43"/>
                <a:gd name="T6" fmla="*/ 16 w 49"/>
                <a:gd name="T7" fmla="*/ 6 h 43"/>
                <a:gd name="T8" fmla="*/ 3 w 49"/>
                <a:gd name="T9" fmla="*/ 11 h 43"/>
                <a:gd name="T10" fmla="*/ 6 w 49"/>
                <a:gd name="T11" fmla="*/ 11 h 43"/>
                <a:gd name="T12" fmla="*/ 12 w 49"/>
                <a:gd name="T13" fmla="*/ 11 h 43"/>
                <a:gd name="T14" fmla="*/ 12 w 49"/>
                <a:gd name="T15" fmla="*/ 17 h 43"/>
                <a:gd name="T16" fmla="*/ 9 w 49"/>
                <a:gd name="T17" fmla="*/ 14 h 43"/>
                <a:gd name="T18" fmla="*/ 6 w 49"/>
                <a:gd name="T19" fmla="*/ 16 h 43"/>
                <a:gd name="T20" fmla="*/ 0 w 49"/>
                <a:gd name="T21" fmla="*/ 20 h 43"/>
                <a:gd name="T22" fmla="*/ 1 w 49"/>
                <a:gd name="T23" fmla="*/ 27 h 43"/>
                <a:gd name="T24" fmla="*/ 3 w 49"/>
                <a:gd name="T25" fmla="*/ 28 h 43"/>
                <a:gd name="T26" fmla="*/ 6 w 49"/>
                <a:gd name="T27" fmla="*/ 35 h 43"/>
                <a:gd name="T28" fmla="*/ 12 w 49"/>
                <a:gd name="T29" fmla="*/ 39 h 43"/>
                <a:gd name="T30" fmla="*/ 16 w 49"/>
                <a:gd name="T31" fmla="*/ 36 h 43"/>
                <a:gd name="T32" fmla="*/ 16 w 49"/>
                <a:gd name="T33" fmla="*/ 33 h 43"/>
                <a:gd name="T34" fmla="*/ 16 w 49"/>
                <a:gd name="T35" fmla="*/ 27 h 43"/>
                <a:gd name="T36" fmla="*/ 19 w 49"/>
                <a:gd name="T37" fmla="*/ 27 h 43"/>
                <a:gd name="T38" fmla="*/ 25 w 49"/>
                <a:gd name="T39" fmla="*/ 20 h 43"/>
                <a:gd name="T40" fmla="*/ 30 w 49"/>
                <a:gd name="T41" fmla="*/ 20 h 43"/>
                <a:gd name="T42" fmla="*/ 30 w 49"/>
                <a:gd name="T43" fmla="*/ 17 h 43"/>
                <a:gd name="T44" fmla="*/ 30 w 49"/>
                <a:gd name="T45" fmla="*/ 17 h 43"/>
                <a:gd name="T46" fmla="*/ 23 w 49"/>
                <a:gd name="T47" fmla="*/ 30 h 43"/>
                <a:gd name="T48" fmla="*/ 19 w 49"/>
                <a:gd name="T49" fmla="*/ 31 h 43"/>
                <a:gd name="T50" fmla="*/ 27 w 49"/>
                <a:gd name="T51" fmla="*/ 36 h 43"/>
                <a:gd name="T52" fmla="*/ 27 w 49"/>
                <a:gd name="T53" fmla="*/ 30 h 43"/>
                <a:gd name="T54" fmla="*/ 27 w 49"/>
                <a:gd name="T55" fmla="*/ 28 h 43"/>
                <a:gd name="T56" fmla="*/ 27 w 49"/>
                <a:gd name="T57" fmla="*/ 28 h 43"/>
                <a:gd name="T58" fmla="*/ 49 w 49"/>
                <a:gd name="T59" fmla="*/ 23 h 43"/>
                <a:gd name="T60" fmla="*/ 43 w 49"/>
                <a:gd name="T61" fmla="*/ 27 h 43"/>
                <a:gd name="T62" fmla="*/ 41 w 49"/>
                <a:gd name="T63" fmla="*/ 25 h 43"/>
                <a:gd name="T64" fmla="*/ 41 w 49"/>
                <a:gd name="T65" fmla="*/ 25 h 43"/>
                <a:gd name="T66" fmla="*/ 35 w 49"/>
                <a:gd name="T67" fmla="*/ 27 h 43"/>
                <a:gd name="T68" fmla="*/ 31 w 49"/>
                <a:gd name="T69" fmla="*/ 31 h 43"/>
                <a:gd name="T70" fmla="*/ 41 w 49"/>
                <a:gd name="T71" fmla="*/ 35 h 43"/>
                <a:gd name="T72" fmla="*/ 43 w 49"/>
                <a:gd name="T73" fmla="*/ 35 h 43"/>
                <a:gd name="T74" fmla="*/ 46 w 49"/>
                <a:gd name="T75" fmla="*/ 31 h 43"/>
                <a:gd name="T76" fmla="*/ 49 w 49"/>
                <a:gd name="T77" fmla="*/ 27 h 43"/>
                <a:gd name="T78" fmla="*/ 47 w 49"/>
                <a:gd name="T79" fmla="*/ 25 h 43"/>
                <a:gd name="T80" fmla="*/ 47 w 49"/>
                <a:gd name="T81" fmla="*/ 25 h 43"/>
                <a:gd name="T82" fmla="*/ 41 w 49"/>
                <a:gd name="T83" fmla="*/ 39 h 43"/>
                <a:gd name="T84" fmla="*/ 31 w 49"/>
                <a:gd name="T85" fmla="*/ 38 h 43"/>
                <a:gd name="T86" fmla="*/ 41 w 49"/>
                <a:gd name="T87" fmla="*/ 41 h 43"/>
                <a:gd name="T88" fmla="*/ 43 w 49"/>
                <a:gd name="T89" fmla="*/ 38 h 43"/>
                <a:gd name="T90" fmla="*/ 41 w 49"/>
                <a:gd name="T91" fmla="*/ 39 h 43"/>
                <a:gd name="T92" fmla="*/ 41 w 49"/>
                <a:gd name="T93" fmla="*/ 39 h 43"/>
                <a:gd name="T94" fmla="*/ 3 w 49"/>
                <a:gd name="T95" fmla="*/ 39 h 43"/>
                <a:gd name="T96" fmla="*/ 3 w 49"/>
                <a:gd name="T97" fmla="*/ 39 h 43"/>
                <a:gd name="T98" fmla="*/ 3 w 49"/>
                <a:gd name="T99"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3">
                  <a:moveTo>
                    <a:pt x="30" y="17"/>
                  </a:moveTo>
                  <a:lnTo>
                    <a:pt x="25" y="16"/>
                  </a:lnTo>
                  <a:lnTo>
                    <a:pt x="23" y="16"/>
                  </a:lnTo>
                  <a:lnTo>
                    <a:pt x="22" y="17"/>
                  </a:lnTo>
                  <a:lnTo>
                    <a:pt x="22" y="16"/>
                  </a:lnTo>
                  <a:lnTo>
                    <a:pt x="23" y="14"/>
                  </a:lnTo>
                  <a:lnTo>
                    <a:pt x="22" y="11"/>
                  </a:lnTo>
                  <a:lnTo>
                    <a:pt x="22" y="9"/>
                  </a:lnTo>
                  <a:lnTo>
                    <a:pt x="25" y="6"/>
                  </a:lnTo>
                  <a:lnTo>
                    <a:pt x="25" y="4"/>
                  </a:lnTo>
                  <a:lnTo>
                    <a:pt x="25" y="3"/>
                  </a:lnTo>
                  <a:lnTo>
                    <a:pt x="25" y="1"/>
                  </a:lnTo>
                  <a:lnTo>
                    <a:pt x="27" y="0"/>
                  </a:lnTo>
                  <a:lnTo>
                    <a:pt x="22" y="1"/>
                  </a:lnTo>
                  <a:lnTo>
                    <a:pt x="19" y="3"/>
                  </a:lnTo>
                  <a:lnTo>
                    <a:pt x="16" y="6"/>
                  </a:lnTo>
                  <a:lnTo>
                    <a:pt x="12" y="8"/>
                  </a:lnTo>
                  <a:lnTo>
                    <a:pt x="9" y="8"/>
                  </a:lnTo>
                  <a:lnTo>
                    <a:pt x="4" y="9"/>
                  </a:lnTo>
                  <a:lnTo>
                    <a:pt x="3" y="11"/>
                  </a:lnTo>
                  <a:lnTo>
                    <a:pt x="3" y="12"/>
                  </a:lnTo>
                  <a:lnTo>
                    <a:pt x="4" y="14"/>
                  </a:lnTo>
                  <a:lnTo>
                    <a:pt x="6" y="12"/>
                  </a:lnTo>
                  <a:lnTo>
                    <a:pt x="6" y="11"/>
                  </a:lnTo>
                  <a:lnTo>
                    <a:pt x="9" y="9"/>
                  </a:lnTo>
                  <a:lnTo>
                    <a:pt x="9" y="9"/>
                  </a:lnTo>
                  <a:lnTo>
                    <a:pt x="16" y="9"/>
                  </a:lnTo>
                  <a:lnTo>
                    <a:pt x="12" y="11"/>
                  </a:lnTo>
                  <a:lnTo>
                    <a:pt x="12" y="12"/>
                  </a:lnTo>
                  <a:lnTo>
                    <a:pt x="12" y="14"/>
                  </a:lnTo>
                  <a:lnTo>
                    <a:pt x="12" y="16"/>
                  </a:lnTo>
                  <a:lnTo>
                    <a:pt x="12" y="17"/>
                  </a:lnTo>
                  <a:lnTo>
                    <a:pt x="12" y="16"/>
                  </a:lnTo>
                  <a:lnTo>
                    <a:pt x="9" y="16"/>
                  </a:lnTo>
                  <a:lnTo>
                    <a:pt x="12" y="14"/>
                  </a:lnTo>
                  <a:lnTo>
                    <a:pt x="9" y="14"/>
                  </a:lnTo>
                  <a:lnTo>
                    <a:pt x="9" y="14"/>
                  </a:lnTo>
                  <a:lnTo>
                    <a:pt x="8" y="16"/>
                  </a:lnTo>
                  <a:lnTo>
                    <a:pt x="6" y="17"/>
                  </a:lnTo>
                  <a:lnTo>
                    <a:pt x="6" y="16"/>
                  </a:lnTo>
                  <a:lnTo>
                    <a:pt x="3" y="16"/>
                  </a:lnTo>
                  <a:lnTo>
                    <a:pt x="1" y="14"/>
                  </a:lnTo>
                  <a:lnTo>
                    <a:pt x="1" y="16"/>
                  </a:lnTo>
                  <a:lnTo>
                    <a:pt x="0" y="20"/>
                  </a:lnTo>
                  <a:lnTo>
                    <a:pt x="1" y="23"/>
                  </a:lnTo>
                  <a:lnTo>
                    <a:pt x="3" y="25"/>
                  </a:lnTo>
                  <a:lnTo>
                    <a:pt x="3" y="27"/>
                  </a:lnTo>
                  <a:lnTo>
                    <a:pt x="1" y="27"/>
                  </a:lnTo>
                  <a:lnTo>
                    <a:pt x="1" y="27"/>
                  </a:lnTo>
                  <a:lnTo>
                    <a:pt x="1" y="30"/>
                  </a:lnTo>
                  <a:lnTo>
                    <a:pt x="3" y="30"/>
                  </a:lnTo>
                  <a:lnTo>
                    <a:pt x="3" y="28"/>
                  </a:lnTo>
                  <a:lnTo>
                    <a:pt x="6" y="31"/>
                  </a:lnTo>
                  <a:lnTo>
                    <a:pt x="6" y="33"/>
                  </a:lnTo>
                  <a:lnTo>
                    <a:pt x="4" y="35"/>
                  </a:lnTo>
                  <a:lnTo>
                    <a:pt x="6" y="35"/>
                  </a:lnTo>
                  <a:lnTo>
                    <a:pt x="6" y="38"/>
                  </a:lnTo>
                  <a:lnTo>
                    <a:pt x="8" y="38"/>
                  </a:lnTo>
                  <a:lnTo>
                    <a:pt x="12" y="39"/>
                  </a:lnTo>
                  <a:lnTo>
                    <a:pt x="12" y="39"/>
                  </a:lnTo>
                  <a:lnTo>
                    <a:pt x="16" y="38"/>
                  </a:lnTo>
                  <a:lnTo>
                    <a:pt x="16" y="38"/>
                  </a:lnTo>
                  <a:lnTo>
                    <a:pt x="19" y="39"/>
                  </a:lnTo>
                  <a:lnTo>
                    <a:pt x="16" y="36"/>
                  </a:lnTo>
                  <a:lnTo>
                    <a:pt x="16" y="36"/>
                  </a:lnTo>
                  <a:lnTo>
                    <a:pt x="16" y="35"/>
                  </a:lnTo>
                  <a:lnTo>
                    <a:pt x="16" y="35"/>
                  </a:lnTo>
                  <a:lnTo>
                    <a:pt x="16" y="33"/>
                  </a:lnTo>
                  <a:lnTo>
                    <a:pt x="16" y="31"/>
                  </a:lnTo>
                  <a:lnTo>
                    <a:pt x="16" y="30"/>
                  </a:lnTo>
                  <a:lnTo>
                    <a:pt x="19" y="28"/>
                  </a:lnTo>
                  <a:lnTo>
                    <a:pt x="16" y="27"/>
                  </a:lnTo>
                  <a:lnTo>
                    <a:pt x="19" y="27"/>
                  </a:lnTo>
                  <a:lnTo>
                    <a:pt x="20" y="27"/>
                  </a:lnTo>
                  <a:lnTo>
                    <a:pt x="20" y="27"/>
                  </a:lnTo>
                  <a:lnTo>
                    <a:pt x="19" y="27"/>
                  </a:lnTo>
                  <a:lnTo>
                    <a:pt x="22" y="25"/>
                  </a:lnTo>
                  <a:lnTo>
                    <a:pt x="22" y="23"/>
                  </a:lnTo>
                  <a:lnTo>
                    <a:pt x="23" y="20"/>
                  </a:lnTo>
                  <a:lnTo>
                    <a:pt x="25" y="20"/>
                  </a:lnTo>
                  <a:lnTo>
                    <a:pt x="25" y="22"/>
                  </a:lnTo>
                  <a:lnTo>
                    <a:pt x="27" y="22"/>
                  </a:lnTo>
                  <a:lnTo>
                    <a:pt x="28" y="22"/>
                  </a:lnTo>
                  <a:lnTo>
                    <a:pt x="30" y="20"/>
                  </a:lnTo>
                  <a:lnTo>
                    <a:pt x="30" y="17"/>
                  </a:lnTo>
                  <a:lnTo>
                    <a:pt x="30" y="17"/>
                  </a:lnTo>
                  <a:lnTo>
                    <a:pt x="30" y="17"/>
                  </a:lnTo>
                  <a:lnTo>
                    <a:pt x="30" y="17"/>
                  </a:lnTo>
                  <a:lnTo>
                    <a:pt x="30" y="17"/>
                  </a:lnTo>
                  <a:lnTo>
                    <a:pt x="30" y="17"/>
                  </a:lnTo>
                  <a:lnTo>
                    <a:pt x="30" y="17"/>
                  </a:lnTo>
                  <a:lnTo>
                    <a:pt x="30" y="17"/>
                  </a:lnTo>
                  <a:lnTo>
                    <a:pt x="30" y="17"/>
                  </a:lnTo>
                  <a:close/>
                  <a:moveTo>
                    <a:pt x="27" y="28"/>
                  </a:moveTo>
                  <a:lnTo>
                    <a:pt x="25" y="30"/>
                  </a:lnTo>
                  <a:lnTo>
                    <a:pt x="23" y="30"/>
                  </a:lnTo>
                  <a:lnTo>
                    <a:pt x="23" y="28"/>
                  </a:lnTo>
                  <a:lnTo>
                    <a:pt x="22" y="28"/>
                  </a:lnTo>
                  <a:lnTo>
                    <a:pt x="19" y="30"/>
                  </a:lnTo>
                  <a:lnTo>
                    <a:pt x="19" y="31"/>
                  </a:lnTo>
                  <a:lnTo>
                    <a:pt x="20" y="35"/>
                  </a:lnTo>
                  <a:lnTo>
                    <a:pt x="22" y="35"/>
                  </a:lnTo>
                  <a:lnTo>
                    <a:pt x="23" y="36"/>
                  </a:lnTo>
                  <a:lnTo>
                    <a:pt x="27" y="36"/>
                  </a:lnTo>
                  <a:lnTo>
                    <a:pt x="28" y="35"/>
                  </a:lnTo>
                  <a:lnTo>
                    <a:pt x="28" y="33"/>
                  </a:lnTo>
                  <a:lnTo>
                    <a:pt x="28" y="31"/>
                  </a:lnTo>
                  <a:lnTo>
                    <a:pt x="27" y="30"/>
                  </a:lnTo>
                  <a:lnTo>
                    <a:pt x="28" y="30"/>
                  </a:lnTo>
                  <a:lnTo>
                    <a:pt x="27" y="28"/>
                  </a:lnTo>
                  <a:lnTo>
                    <a:pt x="27" y="28"/>
                  </a:lnTo>
                  <a:lnTo>
                    <a:pt x="27" y="28"/>
                  </a:lnTo>
                  <a:lnTo>
                    <a:pt x="27" y="28"/>
                  </a:lnTo>
                  <a:lnTo>
                    <a:pt x="27" y="28"/>
                  </a:lnTo>
                  <a:lnTo>
                    <a:pt x="27" y="28"/>
                  </a:lnTo>
                  <a:lnTo>
                    <a:pt x="27" y="28"/>
                  </a:lnTo>
                  <a:lnTo>
                    <a:pt x="27" y="28"/>
                  </a:lnTo>
                  <a:lnTo>
                    <a:pt x="27" y="28"/>
                  </a:lnTo>
                  <a:close/>
                  <a:moveTo>
                    <a:pt x="47" y="25"/>
                  </a:moveTo>
                  <a:lnTo>
                    <a:pt x="49" y="23"/>
                  </a:lnTo>
                  <a:lnTo>
                    <a:pt x="47" y="22"/>
                  </a:lnTo>
                  <a:lnTo>
                    <a:pt x="44" y="22"/>
                  </a:lnTo>
                  <a:lnTo>
                    <a:pt x="41" y="23"/>
                  </a:lnTo>
                  <a:lnTo>
                    <a:pt x="43" y="27"/>
                  </a:lnTo>
                  <a:lnTo>
                    <a:pt x="43" y="27"/>
                  </a:lnTo>
                  <a:lnTo>
                    <a:pt x="41" y="27"/>
                  </a:lnTo>
                  <a:lnTo>
                    <a:pt x="43" y="27"/>
                  </a:lnTo>
                  <a:lnTo>
                    <a:pt x="41" y="25"/>
                  </a:lnTo>
                  <a:lnTo>
                    <a:pt x="41" y="27"/>
                  </a:lnTo>
                  <a:lnTo>
                    <a:pt x="41" y="27"/>
                  </a:lnTo>
                  <a:lnTo>
                    <a:pt x="38" y="27"/>
                  </a:lnTo>
                  <a:lnTo>
                    <a:pt x="41" y="25"/>
                  </a:lnTo>
                  <a:lnTo>
                    <a:pt x="38" y="25"/>
                  </a:lnTo>
                  <a:lnTo>
                    <a:pt x="38" y="25"/>
                  </a:lnTo>
                  <a:lnTo>
                    <a:pt x="35" y="27"/>
                  </a:lnTo>
                  <a:lnTo>
                    <a:pt x="35" y="27"/>
                  </a:lnTo>
                  <a:lnTo>
                    <a:pt x="30" y="27"/>
                  </a:lnTo>
                  <a:lnTo>
                    <a:pt x="35" y="30"/>
                  </a:lnTo>
                  <a:lnTo>
                    <a:pt x="35" y="31"/>
                  </a:lnTo>
                  <a:lnTo>
                    <a:pt x="31" y="31"/>
                  </a:lnTo>
                  <a:lnTo>
                    <a:pt x="35" y="33"/>
                  </a:lnTo>
                  <a:lnTo>
                    <a:pt x="38" y="33"/>
                  </a:lnTo>
                  <a:lnTo>
                    <a:pt x="38" y="35"/>
                  </a:lnTo>
                  <a:lnTo>
                    <a:pt x="41" y="35"/>
                  </a:lnTo>
                  <a:lnTo>
                    <a:pt x="41" y="36"/>
                  </a:lnTo>
                  <a:lnTo>
                    <a:pt x="41" y="36"/>
                  </a:lnTo>
                  <a:lnTo>
                    <a:pt x="44" y="36"/>
                  </a:lnTo>
                  <a:lnTo>
                    <a:pt x="43" y="35"/>
                  </a:lnTo>
                  <a:lnTo>
                    <a:pt x="44" y="35"/>
                  </a:lnTo>
                  <a:lnTo>
                    <a:pt x="46" y="33"/>
                  </a:lnTo>
                  <a:lnTo>
                    <a:pt x="47" y="33"/>
                  </a:lnTo>
                  <a:lnTo>
                    <a:pt x="46" y="31"/>
                  </a:lnTo>
                  <a:lnTo>
                    <a:pt x="44" y="30"/>
                  </a:lnTo>
                  <a:lnTo>
                    <a:pt x="46" y="28"/>
                  </a:lnTo>
                  <a:lnTo>
                    <a:pt x="47" y="27"/>
                  </a:lnTo>
                  <a:lnTo>
                    <a:pt x="49" y="27"/>
                  </a:lnTo>
                  <a:lnTo>
                    <a:pt x="47" y="27"/>
                  </a:lnTo>
                  <a:lnTo>
                    <a:pt x="47" y="25"/>
                  </a:lnTo>
                  <a:lnTo>
                    <a:pt x="47" y="25"/>
                  </a:lnTo>
                  <a:lnTo>
                    <a:pt x="47" y="25"/>
                  </a:lnTo>
                  <a:lnTo>
                    <a:pt x="47" y="25"/>
                  </a:lnTo>
                  <a:lnTo>
                    <a:pt x="47" y="25"/>
                  </a:lnTo>
                  <a:lnTo>
                    <a:pt x="47" y="25"/>
                  </a:lnTo>
                  <a:lnTo>
                    <a:pt x="47" y="25"/>
                  </a:lnTo>
                  <a:lnTo>
                    <a:pt x="47" y="25"/>
                  </a:lnTo>
                  <a:lnTo>
                    <a:pt x="47" y="25"/>
                  </a:lnTo>
                  <a:close/>
                  <a:moveTo>
                    <a:pt x="41" y="39"/>
                  </a:moveTo>
                  <a:lnTo>
                    <a:pt x="41" y="39"/>
                  </a:lnTo>
                  <a:lnTo>
                    <a:pt x="38" y="39"/>
                  </a:lnTo>
                  <a:lnTo>
                    <a:pt x="35" y="38"/>
                  </a:lnTo>
                  <a:lnTo>
                    <a:pt x="35" y="38"/>
                  </a:lnTo>
                  <a:lnTo>
                    <a:pt x="31" y="38"/>
                  </a:lnTo>
                  <a:lnTo>
                    <a:pt x="31" y="39"/>
                  </a:lnTo>
                  <a:lnTo>
                    <a:pt x="35" y="41"/>
                  </a:lnTo>
                  <a:lnTo>
                    <a:pt x="38" y="43"/>
                  </a:lnTo>
                  <a:lnTo>
                    <a:pt x="41" y="41"/>
                  </a:lnTo>
                  <a:lnTo>
                    <a:pt x="41" y="39"/>
                  </a:lnTo>
                  <a:lnTo>
                    <a:pt x="41" y="43"/>
                  </a:lnTo>
                  <a:lnTo>
                    <a:pt x="43" y="39"/>
                  </a:lnTo>
                  <a:lnTo>
                    <a:pt x="43" y="38"/>
                  </a:lnTo>
                  <a:lnTo>
                    <a:pt x="41" y="36"/>
                  </a:lnTo>
                  <a:lnTo>
                    <a:pt x="41" y="38"/>
                  </a:lnTo>
                  <a:lnTo>
                    <a:pt x="41" y="39"/>
                  </a:lnTo>
                  <a:lnTo>
                    <a:pt x="41" y="39"/>
                  </a:lnTo>
                  <a:lnTo>
                    <a:pt x="41" y="39"/>
                  </a:lnTo>
                  <a:lnTo>
                    <a:pt x="41" y="39"/>
                  </a:lnTo>
                  <a:lnTo>
                    <a:pt x="41" y="39"/>
                  </a:lnTo>
                  <a:lnTo>
                    <a:pt x="41" y="39"/>
                  </a:lnTo>
                  <a:lnTo>
                    <a:pt x="41" y="39"/>
                  </a:lnTo>
                  <a:lnTo>
                    <a:pt x="41" y="39"/>
                  </a:lnTo>
                  <a:lnTo>
                    <a:pt x="41" y="39"/>
                  </a:lnTo>
                  <a:close/>
                  <a:moveTo>
                    <a:pt x="3" y="39"/>
                  </a:moveTo>
                  <a:lnTo>
                    <a:pt x="4" y="38"/>
                  </a:lnTo>
                  <a:lnTo>
                    <a:pt x="3" y="38"/>
                  </a:lnTo>
                  <a:lnTo>
                    <a:pt x="3" y="39"/>
                  </a:lnTo>
                  <a:lnTo>
                    <a:pt x="3" y="39"/>
                  </a:lnTo>
                  <a:lnTo>
                    <a:pt x="3" y="39"/>
                  </a:lnTo>
                  <a:lnTo>
                    <a:pt x="3" y="39"/>
                  </a:lnTo>
                  <a:lnTo>
                    <a:pt x="3" y="39"/>
                  </a:lnTo>
                  <a:lnTo>
                    <a:pt x="3" y="39"/>
                  </a:lnTo>
                  <a:lnTo>
                    <a:pt x="3" y="39"/>
                  </a:lnTo>
                  <a:lnTo>
                    <a:pt x="3" y="39"/>
                  </a:lnTo>
                  <a:lnTo>
                    <a:pt x="3" y="3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4" name="Freeform 211">
              <a:extLst>
                <a:ext uri="{FF2B5EF4-FFF2-40B4-BE49-F238E27FC236}">
                  <a16:creationId xmlns:a16="http://schemas.microsoft.com/office/drawing/2014/main" id="{3E00769B-43A1-EFE5-C2E8-6A2584E0F328}"/>
                </a:ext>
              </a:extLst>
            </p:cNvPr>
            <p:cNvSpPr>
              <a:spLocks/>
            </p:cNvSpPr>
            <p:nvPr/>
          </p:nvSpPr>
          <p:spPr bwMode="auto">
            <a:xfrm>
              <a:off x="6157223" y="2271028"/>
              <a:ext cx="246738" cy="179446"/>
            </a:xfrm>
            <a:custGeom>
              <a:avLst/>
              <a:gdLst>
                <a:gd name="T0" fmla="*/ 107 w 110"/>
                <a:gd name="T1" fmla="*/ 53 h 80"/>
                <a:gd name="T2" fmla="*/ 104 w 110"/>
                <a:gd name="T3" fmla="*/ 45 h 80"/>
                <a:gd name="T4" fmla="*/ 104 w 110"/>
                <a:gd name="T5" fmla="*/ 42 h 80"/>
                <a:gd name="T6" fmla="*/ 100 w 110"/>
                <a:gd name="T7" fmla="*/ 37 h 80"/>
                <a:gd name="T8" fmla="*/ 100 w 110"/>
                <a:gd name="T9" fmla="*/ 32 h 80"/>
                <a:gd name="T10" fmla="*/ 104 w 110"/>
                <a:gd name="T11" fmla="*/ 29 h 80"/>
                <a:gd name="T12" fmla="*/ 100 w 110"/>
                <a:gd name="T13" fmla="*/ 16 h 80"/>
                <a:gd name="T14" fmla="*/ 99 w 110"/>
                <a:gd name="T15" fmla="*/ 13 h 80"/>
                <a:gd name="T16" fmla="*/ 96 w 110"/>
                <a:gd name="T17" fmla="*/ 8 h 80"/>
                <a:gd name="T18" fmla="*/ 70 w 110"/>
                <a:gd name="T19" fmla="*/ 7 h 80"/>
                <a:gd name="T20" fmla="*/ 59 w 110"/>
                <a:gd name="T21" fmla="*/ 7 h 80"/>
                <a:gd name="T22" fmla="*/ 54 w 110"/>
                <a:gd name="T23" fmla="*/ 8 h 80"/>
                <a:gd name="T24" fmla="*/ 45 w 110"/>
                <a:gd name="T25" fmla="*/ 5 h 80"/>
                <a:gd name="T26" fmla="*/ 48 w 110"/>
                <a:gd name="T27" fmla="*/ 2 h 80"/>
                <a:gd name="T28" fmla="*/ 34 w 110"/>
                <a:gd name="T29" fmla="*/ 2 h 80"/>
                <a:gd name="T30" fmla="*/ 21 w 110"/>
                <a:gd name="T31" fmla="*/ 7 h 80"/>
                <a:gd name="T32" fmla="*/ 10 w 110"/>
                <a:gd name="T33" fmla="*/ 10 h 80"/>
                <a:gd name="T34" fmla="*/ 4 w 110"/>
                <a:gd name="T35" fmla="*/ 13 h 80"/>
                <a:gd name="T36" fmla="*/ 0 w 110"/>
                <a:gd name="T37" fmla="*/ 16 h 80"/>
                <a:gd name="T38" fmla="*/ 4 w 110"/>
                <a:gd name="T39" fmla="*/ 21 h 80"/>
                <a:gd name="T40" fmla="*/ 0 w 110"/>
                <a:gd name="T41" fmla="*/ 27 h 80"/>
                <a:gd name="T42" fmla="*/ 7 w 110"/>
                <a:gd name="T43" fmla="*/ 32 h 80"/>
                <a:gd name="T44" fmla="*/ 7 w 110"/>
                <a:gd name="T45" fmla="*/ 37 h 80"/>
                <a:gd name="T46" fmla="*/ 7 w 110"/>
                <a:gd name="T47" fmla="*/ 43 h 80"/>
                <a:gd name="T48" fmla="*/ 8 w 110"/>
                <a:gd name="T49" fmla="*/ 45 h 80"/>
                <a:gd name="T50" fmla="*/ 10 w 110"/>
                <a:gd name="T51" fmla="*/ 54 h 80"/>
                <a:gd name="T52" fmla="*/ 13 w 110"/>
                <a:gd name="T53" fmla="*/ 54 h 80"/>
                <a:gd name="T54" fmla="*/ 21 w 110"/>
                <a:gd name="T55" fmla="*/ 56 h 80"/>
                <a:gd name="T56" fmla="*/ 24 w 110"/>
                <a:gd name="T57" fmla="*/ 57 h 80"/>
                <a:gd name="T58" fmla="*/ 24 w 110"/>
                <a:gd name="T59" fmla="*/ 62 h 80"/>
                <a:gd name="T60" fmla="*/ 31 w 110"/>
                <a:gd name="T61" fmla="*/ 65 h 80"/>
                <a:gd name="T62" fmla="*/ 35 w 110"/>
                <a:gd name="T63" fmla="*/ 62 h 80"/>
                <a:gd name="T64" fmla="*/ 40 w 110"/>
                <a:gd name="T65" fmla="*/ 65 h 80"/>
                <a:gd name="T66" fmla="*/ 45 w 110"/>
                <a:gd name="T67" fmla="*/ 67 h 80"/>
                <a:gd name="T68" fmla="*/ 51 w 110"/>
                <a:gd name="T69" fmla="*/ 70 h 80"/>
                <a:gd name="T70" fmla="*/ 59 w 110"/>
                <a:gd name="T71" fmla="*/ 73 h 80"/>
                <a:gd name="T72" fmla="*/ 65 w 110"/>
                <a:gd name="T73" fmla="*/ 78 h 80"/>
                <a:gd name="T74" fmla="*/ 72 w 110"/>
                <a:gd name="T75" fmla="*/ 75 h 80"/>
                <a:gd name="T76" fmla="*/ 84 w 110"/>
                <a:gd name="T77" fmla="*/ 75 h 80"/>
                <a:gd name="T78" fmla="*/ 91 w 110"/>
                <a:gd name="T79" fmla="*/ 80 h 80"/>
                <a:gd name="T80" fmla="*/ 97 w 110"/>
                <a:gd name="T81" fmla="*/ 80 h 80"/>
                <a:gd name="T82" fmla="*/ 96 w 110"/>
                <a:gd name="T83" fmla="*/ 78 h 80"/>
                <a:gd name="T84" fmla="*/ 96 w 110"/>
                <a:gd name="T85" fmla="*/ 73 h 80"/>
                <a:gd name="T86" fmla="*/ 99 w 110"/>
                <a:gd name="T87" fmla="*/ 67 h 80"/>
                <a:gd name="T88" fmla="*/ 110 w 110"/>
                <a:gd name="T89" fmla="*/ 57 h 80"/>
                <a:gd name="T90" fmla="*/ 110 w 110"/>
                <a:gd name="T91" fmla="*/ 54 h 80"/>
                <a:gd name="T92" fmla="*/ 110 w 110"/>
                <a:gd name="T93" fmla="*/ 54 h 80"/>
                <a:gd name="T94" fmla="*/ 110 w 110"/>
                <a:gd name="T9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80">
                  <a:moveTo>
                    <a:pt x="110" y="54"/>
                  </a:moveTo>
                  <a:lnTo>
                    <a:pt x="107" y="54"/>
                  </a:lnTo>
                  <a:lnTo>
                    <a:pt x="107" y="53"/>
                  </a:lnTo>
                  <a:lnTo>
                    <a:pt x="104" y="51"/>
                  </a:lnTo>
                  <a:lnTo>
                    <a:pt x="104" y="48"/>
                  </a:lnTo>
                  <a:lnTo>
                    <a:pt x="104" y="45"/>
                  </a:lnTo>
                  <a:lnTo>
                    <a:pt x="104" y="45"/>
                  </a:lnTo>
                  <a:lnTo>
                    <a:pt x="104" y="43"/>
                  </a:lnTo>
                  <a:lnTo>
                    <a:pt x="104" y="42"/>
                  </a:lnTo>
                  <a:lnTo>
                    <a:pt x="104" y="42"/>
                  </a:lnTo>
                  <a:lnTo>
                    <a:pt x="104" y="38"/>
                  </a:lnTo>
                  <a:lnTo>
                    <a:pt x="100" y="37"/>
                  </a:lnTo>
                  <a:lnTo>
                    <a:pt x="99" y="37"/>
                  </a:lnTo>
                  <a:lnTo>
                    <a:pt x="99" y="35"/>
                  </a:lnTo>
                  <a:lnTo>
                    <a:pt x="100" y="32"/>
                  </a:lnTo>
                  <a:lnTo>
                    <a:pt x="104" y="30"/>
                  </a:lnTo>
                  <a:lnTo>
                    <a:pt x="104" y="30"/>
                  </a:lnTo>
                  <a:lnTo>
                    <a:pt x="104" y="29"/>
                  </a:lnTo>
                  <a:lnTo>
                    <a:pt x="104" y="24"/>
                  </a:lnTo>
                  <a:lnTo>
                    <a:pt x="104" y="21"/>
                  </a:lnTo>
                  <a:lnTo>
                    <a:pt x="100" y="16"/>
                  </a:lnTo>
                  <a:lnTo>
                    <a:pt x="100" y="16"/>
                  </a:lnTo>
                  <a:lnTo>
                    <a:pt x="100" y="13"/>
                  </a:lnTo>
                  <a:lnTo>
                    <a:pt x="99" y="13"/>
                  </a:lnTo>
                  <a:lnTo>
                    <a:pt x="99" y="13"/>
                  </a:lnTo>
                  <a:lnTo>
                    <a:pt x="97" y="10"/>
                  </a:lnTo>
                  <a:lnTo>
                    <a:pt x="96" y="8"/>
                  </a:lnTo>
                  <a:lnTo>
                    <a:pt x="92" y="8"/>
                  </a:lnTo>
                  <a:lnTo>
                    <a:pt x="80" y="8"/>
                  </a:lnTo>
                  <a:lnTo>
                    <a:pt x="70" y="7"/>
                  </a:lnTo>
                  <a:lnTo>
                    <a:pt x="62" y="7"/>
                  </a:lnTo>
                  <a:lnTo>
                    <a:pt x="61" y="7"/>
                  </a:lnTo>
                  <a:lnTo>
                    <a:pt x="59" y="7"/>
                  </a:lnTo>
                  <a:lnTo>
                    <a:pt x="56" y="7"/>
                  </a:lnTo>
                  <a:lnTo>
                    <a:pt x="54" y="8"/>
                  </a:lnTo>
                  <a:lnTo>
                    <a:pt x="54" y="8"/>
                  </a:lnTo>
                  <a:lnTo>
                    <a:pt x="54" y="7"/>
                  </a:lnTo>
                  <a:lnTo>
                    <a:pt x="48" y="7"/>
                  </a:lnTo>
                  <a:lnTo>
                    <a:pt x="45" y="5"/>
                  </a:lnTo>
                  <a:lnTo>
                    <a:pt x="45" y="2"/>
                  </a:lnTo>
                  <a:lnTo>
                    <a:pt x="45" y="2"/>
                  </a:lnTo>
                  <a:lnTo>
                    <a:pt x="48" y="2"/>
                  </a:lnTo>
                  <a:lnTo>
                    <a:pt x="45" y="0"/>
                  </a:lnTo>
                  <a:lnTo>
                    <a:pt x="42" y="0"/>
                  </a:lnTo>
                  <a:lnTo>
                    <a:pt x="34" y="2"/>
                  </a:lnTo>
                  <a:lnTo>
                    <a:pt x="27" y="4"/>
                  </a:lnTo>
                  <a:lnTo>
                    <a:pt x="24" y="5"/>
                  </a:lnTo>
                  <a:lnTo>
                    <a:pt x="21" y="7"/>
                  </a:lnTo>
                  <a:lnTo>
                    <a:pt x="19" y="8"/>
                  </a:lnTo>
                  <a:lnTo>
                    <a:pt x="16" y="10"/>
                  </a:lnTo>
                  <a:lnTo>
                    <a:pt x="10" y="10"/>
                  </a:lnTo>
                  <a:lnTo>
                    <a:pt x="7" y="13"/>
                  </a:lnTo>
                  <a:lnTo>
                    <a:pt x="4" y="13"/>
                  </a:lnTo>
                  <a:lnTo>
                    <a:pt x="4" y="13"/>
                  </a:lnTo>
                  <a:lnTo>
                    <a:pt x="4" y="16"/>
                  </a:lnTo>
                  <a:lnTo>
                    <a:pt x="4" y="16"/>
                  </a:lnTo>
                  <a:lnTo>
                    <a:pt x="0" y="16"/>
                  </a:lnTo>
                  <a:lnTo>
                    <a:pt x="0" y="16"/>
                  </a:lnTo>
                  <a:lnTo>
                    <a:pt x="4" y="19"/>
                  </a:lnTo>
                  <a:lnTo>
                    <a:pt x="4" y="21"/>
                  </a:lnTo>
                  <a:lnTo>
                    <a:pt x="4" y="23"/>
                  </a:lnTo>
                  <a:lnTo>
                    <a:pt x="0" y="26"/>
                  </a:lnTo>
                  <a:lnTo>
                    <a:pt x="0" y="27"/>
                  </a:lnTo>
                  <a:lnTo>
                    <a:pt x="4" y="29"/>
                  </a:lnTo>
                  <a:lnTo>
                    <a:pt x="7" y="30"/>
                  </a:lnTo>
                  <a:lnTo>
                    <a:pt x="7" y="32"/>
                  </a:lnTo>
                  <a:lnTo>
                    <a:pt x="7" y="34"/>
                  </a:lnTo>
                  <a:lnTo>
                    <a:pt x="7" y="35"/>
                  </a:lnTo>
                  <a:lnTo>
                    <a:pt x="7" y="37"/>
                  </a:lnTo>
                  <a:lnTo>
                    <a:pt x="7" y="40"/>
                  </a:lnTo>
                  <a:lnTo>
                    <a:pt x="7" y="42"/>
                  </a:lnTo>
                  <a:lnTo>
                    <a:pt x="7" y="43"/>
                  </a:lnTo>
                  <a:lnTo>
                    <a:pt x="7" y="43"/>
                  </a:lnTo>
                  <a:lnTo>
                    <a:pt x="7" y="45"/>
                  </a:lnTo>
                  <a:lnTo>
                    <a:pt x="8" y="45"/>
                  </a:lnTo>
                  <a:lnTo>
                    <a:pt x="10" y="48"/>
                  </a:lnTo>
                  <a:lnTo>
                    <a:pt x="10" y="51"/>
                  </a:lnTo>
                  <a:lnTo>
                    <a:pt x="10" y="54"/>
                  </a:lnTo>
                  <a:lnTo>
                    <a:pt x="11" y="54"/>
                  </a:lnTo>
                  <a:lnTo>
                    <a:pt x="13" y="54"/>
                  </a:lnTo>
                  <a:lnTo>
                    <a:pt x="13" y="54"/>
                  </a:lnTo>
                  <a:lnTo>
                    <a:pt x="15" y="56"/>
                  </a:lnTo>
                  <a:lnTo>
                    <a:pt x="18" y="56"/>
                  </a:lnTo>
                  <a:lnTo>
                    <a:pt x="21" y="56"/>
                  </a:lnTo>
                  <a:lnTo>
                    <a:pt x="21" y="57"/>
                  </a:lnTo>
                  <a:lnTo>
                    <a:pt x="24" y="57"/>
                  </a:lnTo>
                  <a:lnTo>
                    <a:pt x="24" y="57"/>
                  </a:lnTo>
                  <a:lnTo>
                    <a:pt x="24" y="59"/>
                  </a:lnTo>
                  <a:lnTo>
                    <a:pt x="24" y="61"/>
                  </a:lnTo>
                  <a:lnTo>
                    <a:pt x="24" y="62"/>
                  </a:lnTo>
                  <a:lnTo>
                    <a:pt x="27" y="64"/>
                  </a:lnTo>
                  <a:lnTo>
                    <a:pt x="27" y="65"/>
                  </a:lnTo>
                  <a:lnTo>
                    <a:pt x="31" y="65"/>
                  </a:lnTo>
                  <a:lnTo>
                    <a:pt x="34" y="62"/>
                  </a:lnTo>
                  <a:lnTo>
                    <a:pt x="31" y="61"/>
                  </a:lnTo>
                  <a:lnTo>
                    <a:pt x="35" y="62"/>
                  </a:lnTo>
                  <a:lnTo>
                    <a:pt x="37" y="62"/>
                  </a:lnTo>
                  <a:lnTo>
                    <a:pt x="40" y="62"/>
                  </a:lnTo>
                  <a:lnTo>
                    <a:pt x="40" y="65"/>
                  </a:lnTo>
                  <a:lnTo>
                    <a:pt x="40" y="67"/>
                  </a:lnTo>
                  <a:lnTo>
                    <a:pt x="42" y="67"/>
                  </a:lnTo>
                  <a:lnTo>
                    <a:pt x="45" y="67"/>
                  </a:lnTo>
                  <a:lnTo>
                    <a:pt x="45" y="67"/>
                  </a:lnTo>
                  <a:lnTo>
                    <a:pt x="48" y="69"/>
                  </a:lnTo>
                  <a:lnTo>
                    <a:pt x="51" y="70"/>
                  </a:lnTo>
                  <a:lnTo>
                    <a:pt x="54" y="75"/>
                  </a:lnTo>
                  <a:lnTo>
                    <a:pt x="56" y="73"/>
                  </a:lnTo>
                  <a:lnTo>
                    <a:pt x="59" y="73"/>
                  </a:lnTo>
                  <a:lnTo>
                    <a:pt x="62" y="75"/>
                  </a:lnTo>
                  <a:lnTo>
                    <a:pt x="64" y="78"/>
                  </a:lnTo>
                  <a:lnTo>
                    <a:pt x="65" y="78"/>
                  </a:lnTo>
                  <a:lnTo>
                    <a:pt x="69" y="77"/>
                  </a:lnTo>
                  <a:lnTo>
                    <a:pt x="70" y="75"/>
                  </a:lnTo>
                  <a:lnTo>
                    <a:pt x="72" y="75"/>
                  </a:lnTo>
                  <a:lnTo>
                    <a:pt x="75" y="77"/>
                  </a:lnTo>
                  <a:lnTo>
                    <a:pt x="80" y="75"/>
                  </a:lnTo>
                  <a:lnTo>
                    <a:pt x="84" y="75"/>
                  </a:lnTo>
                  <a:lnTo>
                    <a:pt x="88" y="77"/>
                  </a:lnTo>
                  <a:lnTo>
                    <a:pt x="88" y="78"/>
                  </a:lnTo>
                  <a:lnTo>
                    <a:pt x="91" y="80"/>
                  </a:lnTo>
                  <a:lnTo>
                    <a:pt x="94" y="80"/>
                  </a:lnTo>
                  <a:lnTo>
                    <a:pt x="96" y="80"/>
                  </a:lnTo>
                  <a:lnTo>
                    <a:pt x="97" y="80"/>
                  </a:lnTo>
                  <a:lnTo>
                    <a:pt x="97" y="80"/>
                  </a:lnTo>
                  <a:lnTo>
                    <a:pt x="97" y="80"/>
                  </a:lnTo>
                  <a:lnTo>
                    <a:pt x="96" y="78"/>
                  </a:lnTo>
                  <a:lnTo>
                    <a:pt x="96" y="77"/>
                  </a:lnTo>
                  <a:lnTo>
                    <a:pt x="96" y="75"/>
                  </a:lnTo>
                  <a:lnTo>
                    <a:pt x="96" y="73"/>
                  </a:lnTo>
                  <a:lnTo>
                    <a:pt x="96" y="73"/>
                  </a:lnTo>
                  <a:lnTo>
                    <a:pt x="96" y="72"/>
                  </a:lnTo>
                  <a:lnTo>
                    <a:pt x="99" y="67"/>
                  </a:lnTo>
                  <a:lnTo>
                    <a:pt x="104" y="61"/>
                  </a:lnTo>
                  <a:lnTo>
                    <a:pt x="110" y="59"/>
                  </a:lnTo>
                  <a:lnTo>
                    <a:pt x="110" y="57"/>
                  </a:lnTo>
                  <a:lnTo>
                    <a:pt x="107" y="56"/>
                  </a:lnTo>
                  <a:lnTo>
                    <a:pt x="110" y="54"/>
                  </a:lnTo>
                  <a:lnTo>
                    <a:pt x="110" y="54"/>
                  </a:lnTo>
                  <a:lnTo>
                    <a:pt x="110" y="54"/>
                  </a:lnTo>
                  <a:lnTo>
                    <a:pt x="110" y="54"/>
                  </a:lnTo>
                  <a:lnTo>
                    <a:pt x="110" y="54"/>
                  </a:lnTo>
                  <a:lnTo>
                    <a:pt x="110" y="54"/>
                  </a:lnTo>
                  <a:lnTo>
                    <a:pt x="110" y="54"/>
                  </a:lnTo>
                  <a:lnTo>
                    <a:pt x="110" y="54"/>
                  </a:lnTo>
                  <a:lnTo>
                    <a:pt x="110" y="5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5" name="Freeform 217">
              <a:extLst>
                <a:ext uri="{FF2B5EF4-FFF2-40B4-BE49-F238E27FC236}">
                  <a16:creationId xmlns:a16="http://schemas.microsoft.com/office/drawing/2014/main" id="{3BA547C8-7619-5FBA-6958-96C87713E18D}"/>
                </a:ext>
              </a:extLst>
            </p:cNvPr>
            <p:cNvSpPr>
              <a:spLocks noEditPoints="1"/>
            </p:cNvSpPr>
            <p:nvPr/>
          </p:nvSpPr>
          <p:spPr bwMode="auto">
            <a:xfrm>
              <a:off x="5968804" y="2511036"/>
              <a:ext cx="309544" cy="334219"/>
            </a:xfrm>
            <a:custGeom>
              <a:avLst/>
              <a:gdLst>
                <a:gd name="T0" fmla="*/ 91 w 138"/>
                <a:gd name="T1" fmla="*/ 128 h 149"/>
                <a:gd name="T2" fmla="*/ 76 w 138"/>
                <a:gd name="T3" fmla="*/ 128 h 149"/>
                <a:gd name="T4" fmla="*/ 68 w 138"/>
                <a:gd name="T5" fmla="*/ 133 h 149"/>
                <a:gd name="T6" fmla="*/ 91 w 138"/>
                <a:gd name="T7" fmla="*/ 143 h 149"/>
                <a:gd name="T8" fmla="*/ 102 w 138"/>
                <a:gd name="T9" fmla="*/ 144 h 149"/>
                <a:gd name="T10" fmla="*/ 105 w 138"/>
                <a:gd name="T11" fmla="*/ 125 h 149"/>
                <a:gd name="T12" fmla="*/ 100 w 138"/>
                <a:gd name="T13" fmla="*/ 128 h 149"/>
                <a:gd name="T14" fmla="*/ 100 w 138"/>
                <a:gd name="T15" fmla="*/ 128 h 149"/>
                <a:gd name="T16" fmla="*/ 119 w 138"/>
                <a:gd name="T17" fmla="*/ 85 h 149"/>
                <a:gd name="T18" fmla="*/ 111 w 138"/>
                <a:gd name="T19" fmla="*/ 74 h 149"/>
                <a:gd name="T20" fmla="*/ 97 w 138"/>
                <a:gd name="T21" fmla="*/ 73 h 149"/>
                <a:gd name="T22" fmla="*/ 81 w 138"/>
                <a:gd name="T23" fmla="*/ 51 h 149"/>
                <a:gd name="T24" fmla="*/ 62 w 138"/>
                <a:gd name="T25" fmla="*/ 38 h 149"/>
                <a:gd name="T26" fmla="*/ 65 w 138"/>
                <a:gd name="T27" fmla="*/ 28 h 149"/>
                <a:gd name="T28" fmla="*/ 65 w 138"/>
                <a:gd name="T29" fmla="*/ 24 h 149"/>
                <a:gd name="T30" fmla="*/ 78 w 138"/>
                <a:gd name="T31" fmla="*/ 19 h 149"/>
                <a:gd name="T32" fmla="*/ 80 w 138"/>
                <a:gd name="T33" fmla="*/ 16 h 149"/>
                <a:gd name="T34" fmla="*/ 80 w 138"/>
                <a:gd name="T35" fmla="*/ 8 h 149"/>
                <a:gd name="T36" fmla="*/ 62 w 138"/>
                <a:gd name="T37" fmla="*/ 0 h 149"/>
                <a:gd name="T38" fmla="*/ 53 w 138"/>
                <a:gd name="T39" fmla="*/ 3 h 149"/>
                <a:gd name="T40" fmla="*/ 43 w 138"/>
                <a:gd name="T41" fmla="*/ 6 h 149"/>
                <a:gd name="T42" fmla="*/ 40 w 138"/>
                <a:gd name="T43" fmla="*/ 11 h 149"/>
                <a:gd name="T44" fmla="*/ 34 w 138"/>
                <a:gd name="T45" fmla="*/ 11 h 149"/>
                <a:gd name="T46" fmla="*/ 30 w 138"/>
                <a:gd name="T47" fmla="*/ 11 h 149"/>
                <a:gd name="T48" fmla="*/ 26 w 138"/>
                <a:gd name="T49" fmla="*/ 16 h 149"/>
                <a:gd name="T50" fmla="*/ 18 w 138"/>
                <a:gd name="T51" fmla="*/ 12 h 149"/>
                <a:gd name="T52" fmla="*/ 7 w 138"/>
                <a:gd name="T53" fmla="*/ 17 h 149"/>
                <a:gd name="T54" fmla="*/ 7 w 138"/>
                <a:gd name="T55" fmla="*/ 24 h 149"/>
                <a:gd name="T56" fmla="*/ 3 w 138"/>
                <a:gd name="T57" fmla="*/ 31 h 149"/>
                <a:gd name="T58" fmla="*/ 7 w 138"/>
                <a:gd name="T59" fmla="*/ 41 h 149"/>
                <a:gd name="T60" fmla="*/ 10 w 138"/>
                <a:gd name="T61" fmla="*/ 44 h 149"/>
                <a:gd name="T62" fmla="*/ 16 w 138"/>
                <a:gd name="T63" fmla="*/ 46 h 149"/>
                <a:gd name="T64" fmla="*/ 30 w 138"/>
                <a:gd name="T65" fmla="*/ 39 h 149"/>
                <a:gd name="T66" fmla="*/ 45 w 138"/>
                <a:gd name="T67" fmla="*/ 60 h 149"/>
                <a:gd name="T68" fmla="*/ 54 w 138"/>
                <a:gd name="T69" fmla="*/ 66 h 149"/>
                <a:gd name="T70" fmla="*/ 68 w 138"/>
                <a:gd name="T71" fmla="*/ 79 h 149"/>
                <a:gd name="T72" fmla="*/ 83 w 138"/>
                <a:gd name="T73" fmla="*/ 84 h 149"/>
                <a:gd name="T74" fmla="*/ 91 w 138"/>
                <a:gd name="T75" fmla="*/ 90 h 149"/>
                <a:gd name="T76" fmla="*/ 97 w 138"/>
                <a:gd name="T77" fmla="*/ 95 h 149"/>
                <a:gd name="T78" fmla="*/ 103 w 138"/>
                <a:gd name="T79" fmla="*/ 101 h 149"/>
                <a:gd name="T80" fmla="*/ 111 w 138"/>
                <a:gd name="T81" fmla="*/ 114 h 149"/>
                <a:gd name="T82" fmla="*/ 108 w 138"/>
                <a:gd name="T83" fmla="*/ 122 h 149"/>
                <a:gd name="T84" fmla="*/ 108 w 138"/>
                <a:gd name="T85" fmla="*/ 130 h 149"/>
                <a:gd name="T86" fmla="*/ 119 w 138"/>
                <a:gd name="T87" fmla="*/ 117 h 149"/>
                <a:gd name="T88" fmla="*/ 118 w 138"/>
                <a:gd name="T89" fmla="*/ 108 h 149"/>
                <a:gd name="T90" fmla="*/ 124 w 138"/>
                <a:gd name="T91" fmla="*/ 95 h 149"/>
                <a:gd name="T92" fmla="*/ 134 w 138"/>
                <a:gd name="T93" fmla="*/ 101 h 149"/>
                <a:gd name="T94" fmla="*/ 138 w 138"/>
                <a:gd name="T95" fmla="*/ 98 h 149"/>
                <a:gd name="T96" fmla="*/ 137 w 138"/>
                <a:gd name="T97" fmla="*/ 95 h 149"/>
                <a:gd name="T98" fmla="*/ 19 w 138"/>
                <a:gd name="T99" fmla="*/ 116 h 149"/>
                <a:gd name="T100" fmla="*/ 19 w 138"/>
                <a:gd name="T101" fmla="*/ 116 h 149"/>
                <a:gd name="T102" fmla="*/ 19 w 138"/>
                <a:gd name="T103" fmla="*/ 116 h 149"/>
                <a:gd name="T104" fmla="*/ 34 w 138"/>
                <a:gd name="T105" fmla="*/ 85 h 149"/>
                <a:gd name="T106" fmla="*/ 22 w 138"/>
                <a:gd name="T107" fmla="*/ 89 h 149"/>
                <a:gd name="T108" fmla="*/ 19 w 138"/>
                <a:gd name="T109" fmla="*/ 95 h 149"/>
                <a:gd name="T110" fmla="*/ 21 w 138"/>
                <a:gd name="T111" fmla="*/ 104 h 149"/>
                <a:gd name="T112" fmla="*/ 22 w 138"/>
                <a:gd name="T113" fmla="*/ 117 h 149"/>
                <a:gd name="T114" fmla="*/ 30 w 138"/>
                <a:gd name="T115" fmla="*/ 112 h 149"/>
                <a:gd name="T116" fmla="*/ 34 w 138"/>
                <a:gd name="T117" fmla="*/ 98 h 149"/>
                <a:gd name="T118" fmla="*/ 34 w 138"/>
                <a:gd name="T119" fmla="*/ 89 h 149"/>
                <a:gd name="T120" fmla="*/ 34 w 138"/>
                <a:gd name="T121" fmla="*/ 8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49">
                  <a:moveTo>
                    <a:pt x="100" y="128"/>
                  </a:moveTo>
                  <a:lnTo>
                    <a:pt x="99" y="128"/>
                  </a:lnTo>
                  <a:lnTo>
                    <a:pt x="97" y="128"/>
                  </a:lnTo>
                  <a:lnTo>
                    <a:pt x="94" y="128"/>
                  </a:lnTo>
                  <a:lnTo>
                    <a:pt x="91" y="128"/>
                  </a:lnTo>
                  <a:lnTo>
                    <a:pt x="84" y="128"/>
                  </a:lnTo>
                  <a:lnTo>
                    <a:pt x="84" y="128"/>
                  </a:lnTo>
                  <a:lnTo>
                    <a:pt x="81" y="128"/>
                  </a:lnTo>
                  <a:lnTo>
                    <a:pt x="80" y="128"/>
                  </a:lnTo>
                  <a:lnTo>
                    <a:pt x="76" y="128"/>
                  </a:lnTo>
                  <a:lnTo>
                    <a:pt x="73" y="128"/>
                  </a:lnTo>
                  <a:lnTo>
                    <a:pt x="72" y="128"/>
                  </a:lnTo>
                  <a:lnTo>
                    <a:pt x="68" y="130"/>
                  </a:lnTo>
                  <a:lnTo>
                    <a:pt x="68" y="131"/>
                  </a:lnTo>
                  <a:lnTo>
                    <a:pt x="68" y="133"/>
                  </a:lnTo>
                  <a:lnTo>
                    <a:pt x="68" y="135"/>
                  </a:lnTo>
                  <a:lnTo>
                    <a:pt x="73" y="135"/>
                  </a:lnTo>
                  <a:lnTo>
                    <a:pt x="78" y="138"/>
                  </a:lnTo>
                  <a:lnTo>
                    <a:pt x="81" y="141"/>
                  </a:lnTo>
                  <a:lnTo>
                    <a:pt x="91" y="143"/>
                  </a:lnTo>
                  <a:lnTo>
                    <a:pt x="91" y="146"/>
                  </a:lnTo>
                  <a:lnTo>
                    <a:pt x="94" y="149"/>
                  </a:lnTo>
                  <a:lnTo>
                    <a:pt x="100" y="149"/>
                  </a:lnTo>
                  <a:lnTo>
                    <a:pt x="100" y="146"/>
                  </a:lnTo>
                  <a:lnTo>
                    <a:pt x="102" y="144"/>
                  </a:lnTo>
                  <a:lnTo>
                    <a:pt x="102" y="141"/>
                  </a:lnTo>
                  <a:lnTo>
                    <a:pt x="100" y="138"/>
                  </a:lnTo>
                  <a:lnTo>
                    <a:pt x="100" y="135"/>
                  </a:lnTo>
                  <a:lnTo>
                    <a:pt x="102" y="131"/>
                  </a:lnTo>
                  <a:lnTo>
                    <a:pt x="105" y="125"/>
                  </a:lnTo>
                  <a:lnTo>
                    <a:pt x="103" y="125"/>
                  </a:lnTo>
                  <a:lnTo>
                    <a:pt x="100" y="128"/>
                  </a:lnTo>
                  <a:lnTo>
                    <a:pt x="100" y="128"/>
                  </a:lnTo>
                  <a:lnTo>
                    <a:pt x="100" y="128"/>
                  </a:lnTo>
                  <a:lnTo>
                    <a:pt x="100" y="128"/>
                  </a:lnTo>
                  <a:lnTo>
                    <a:pt x="100" y="128"/>
                  </a:lnTo>
                  <a:lnTo>
                    <a:pt x="100" y="128"/>
                  </a:lnTo>
                  <a:lnTo>
                    <a:pt x="100" y="128"/>
                  </a:lnTo>
                  <a:lnTo>
                    <a:pt x="100" y="128"/>
                  </a:lnTo>
                  <a:lnTo>
                    <a:pt x="100" y="128"/>
                  </a:lnTo>
                  <a:close/>
                  <a:moveTo>
                    <a:pt x="137" y="95"/>
                  </a:moveTo>
                  <a:lnTo>
                    <a:pt x="135" y="95"/>
                  </a:lnTo>
                  <a:lnTo>
                    <a:pt x="129" y="92"/>
                  </a:lnTo>
                  <a:lnTo>
                    <a:pt x="124" y="89"/>
                  </a:lnTo>
                  <a:lnTo>
                    <a:pt x="119" y="85"/>
                  </a:lnTo>
                  <a:lnTo>
                    <a:pt x="115" y="84"/>
                  </a:lnTo>
                  <a:lnTo>
                    <a:pt x="111" y="82"/>
                  </a:lnTo>
                  <a:lnTo>
                    <a:pt x="108" y="79"/>
                  </a:lnTo>
                  <a:lnTo>
                    <a:pt x="108" y="77"/>
                  </a:lnTo>
                  <a:lnTo>
                    <a:pt x="111" y="74"/>
                  </a:lnTo>
                  <a:lnTo>
                    <a:pt x="111" y="73"/>
                  </a:lnTo>
                  <a:lnTo>
                    <a:pt x="108" y="73"/>
                  </a:lnTo>
                  <a:lnTo>
                    <a:pt x="105" y="73"/>
                  </a:lnTo>
                  <a:lnTo>
                    <a:pt x="100" y="73"/>
                  </a:lnTo>
                  <a:lnTo>
                    <a:pt x="97" y="73"/>
                  </a:lnTo>
                  <a:lnTo>
                    <a:pt x="91" y="66"/>
                  </a:lnTo>
                  <a:lnTo>
                    <a:pt x="88" y="63"/>
                  </a:lnTo>
                  <a:lnTo>
                    <a:pt x="84" y="62"/>
                  </a:lnTo>
                  <a:lnTo>
                    <a:pt x="84" y="57"/>
                  </a:lnTo>
                  <a:lnTo>
                    <a:pt x="81" y="51"/>
                  </a:lnTo>
                  <a:lnTo>
                    <a:pt x="78" y="49"/>
                  </a:lnTo>
                  <a:lnTo>
                    <a:pt x="75" y="47"/>
                  </a:lnTo>
                  <a:lnTo>
                    <a:pt x="68" y="44"/>
                  </a:lnTo>
                  <a:lnTo>
                    <a:pt x="65" y="41"/>
                  </a:lnTo>
                  <a:lnTo>
                    <a:pt x="62" y="38"/>
                  </a:lnTo>
                  <a:lnTo>
                    <a:pt x="62" y="35"/>
                  </a:lnTo>
                  <a:lnTo>
                    <a:pt x="65" y="31"/>
                  </a:lnTo>
                  <a:lnTo>
                    <a:pt x="65" y="31"/>
                  </a:lnTo>
                  <a:lnTo>
                    <a:pt x="65" y="31"/>
                  </a:lnTo>
                  <a:lnTo>
                    <a:pt x="65" y="28"/>
                  </a:lnTo>
                  <a:lnTo>
                    <a:pt x="65" y="28"/>
                  </a:lnTo>
                  <a:lnTo>
                    <a:pt x="62" y="25"/>
                  </a:lnTo>
                  <a:lnTo>
                    <a:pt x="65" y="24"/>
                  </a:lnTo>
                  <a:lnTo>
                    <a:pt x="68" y="22"/>
                  </a:lnTo>
                  <a:lnTo>
                    <a:pt x="65" y="24"/>
                  </a:lnTo>
                  <a:lnTo>
                    <a:pt x="68" y="24"/>
                  </a:lnTo>
                  <a:lnTo>
                    <a:pt x="68" y="22"/>
                  </a:lnTo>
                  <a:lnTo>
                    <a:pt x="73" y="20"/>
                  </a:lnTo>
                  <a:lnTo>
                    <a:pt x="76" y="19"/>
                  </a:lnTo>
                  <a:lnTo>
                    <a:pt x="78" y="19"/>
                  </a:lnTo>
                  <a:lnTo>
                    <a:pt x="78" y="20"/>
                  </a:lnTo>
                  <a:lnTo>
                    <a:pt x="78" y="19"/>
                  </a:lnTo>
                  <a:lnTo>
                    <a:pt x="81" y="19"/>
                  </a:lnTo>
                  <a:lnTo>
                    <a:pt x="81" y="17"/>
                  </a:lnTo>
                  <a:lnTo>
                    <a:pt x="80" y="16"/>
                  </a:lnTo>
                  <a:lnTo>
                    <a:pt x="81" y="12"/>
                  </a:lnTo>
                  <a:lnTo>
                    <a:pt x="78" y="11"/>
                  </a:lnTo>
                  <a:lnTo>
                    <a:pt x="80" y="9"/>
                  </a:lnTo>
                  <a:lnTo>
                    <a:pt x="81" y="8"/>
                  </a:lnTo>
                  <a:lnTo>
                    <a:pt x="80" y="8"/>
                  </a:lnTo>
                  <a:lnTo>
                    <a:pt x="76" y="8"/>
                  </a:lnTo>
                  <a:lnTo>
                    <a:pt x="68" y="6"/>
                  </a:lnTo>
                  <a:lnTo>
                    <a:pt x="65" y="3"/>
                  </a:lnTo>
                  <a:lnTo>
                    <a:pt x="62" y="3"/>
                  </a:lnTo>
                  <a:lnTo>
                    <a:pt x="62" y="0"/>
                  </a:lnTo>
                  <a:lnTo>
                    <a:pt x="62" y="0"/>
                  </a:lnTo>
                  <a:lnTo>
                    <a:pt x="59" y="3"/>
                  </a:lnTo>
                  <a:lnTo>
                    <a:pt x="56" y="3"/>
                  </a:lnTo>
                  <a:lnTo>
                    <a:pt x="54" y="3"/>
                  </a:lnTo>
                  <a:lnTo>
                    <a:pt x="53" y="3"/>
                  </a:lnTo>
                  <a:lnTo>
                    <a:pt x="51" y="3"/>
                  </a:lnTo>
                  <a:lnTo>
                    <a:pt x="48" y="4"/>
                  </a:lnTo>
                  <a:lnTo>
                    <a:pt x="43" y="3"/>
                  </a:lnTo>
                  <a:lnTo>
                    <a:pt x="43" y="4"/>
                  </a:lnTo>
                  <a:lnTo>
                    <a:pt x="43" y="6"/>
                  </a:lnTo>
                  <a:lnTo>
                    <a:pt x="43" y="8"/>
                  </a:lnTo>
                  <a:lnTo>
                    <a:pt x="40" y="6"/>
                  </a:lnTo>
                  <a:lnTo>
                    <a:pt x="38" y="8"/>
                  </a:lnTo>
                  <a:lnTo>
                    <a:pt x="38" y="9"/>
                  </a:lnTo>
                  <a:lnTo>
                    <a:pt x="40" y="11"/>
                  </a:lnTo>
                  <a:lnTo>
                    <a:pt x="38" y="12"/>
                  </a:lnTo>
                  <a:lnTo>
                    <a:pt x="37" y="11"/>
                  </a:lnTo>
                  <a:lnTo>
                    <a:pt x="37" y="11"/>
                  </a:lnTo>
                  <a:lnTo>
                    <a:pt x="34" y="11"/>
                  </a:lnTo>
                  <a:lnTo>
                    <a:pt x="34" y="11"/>
                  </a:lnTo>
                  <a:lnTo>
                    <a:pt x="34" y="9"/>
                  </a:lnTo>
                  <a:lnTo>
                    <a:pt x="30" y="8"/>
                  </a:lnTo>
                  <a:lnTo>
                    <a:pt x="30" y="8"/>
                  </a:lnTo>
                  <a:lnTo>
                    <a:pt x="30" y="9"/>
                  </a:lnTo>
                  <a:lnTo>
                    <a:pt x="30" y="11"/>
                  </a:lnTo>
                  <a:lnTo>
                    <a:pt x="30" y="12"/>
                  </a:lnTo>
                  <a:lnTo>
                    <a:pt x="27" y="14"/>
                  </a:lnTo>
                  <a:lnTo>
                    <a:pt x="27" y="16"/>
                  </a:lnTo>
                  <a:lnTo>
                    <a:pt x="27" y="17"/>
                  </a:lnTo>
                  <a:lnTo>
                    <a:pt x="26" y="16"/>
                  </a:lnTo>
                  <a:lnTo>
                    <a:pt x="22" y="14"/>
                  </a:lnTo>
                  <a:lnTo>
                    <a:pt x="21" y="11"/>
                  </a:lnTo>
                  <a:lnTo>
                    <a:pt x="19" y="9"/>
                  </a:lnTo>
                  <a:lnTo>
                    <a:pt x="16" y="11"/>
                  </a:lnTo>
                  <a:lnTo>
                    <a:pt x="18" y="12"/>
                  </a:lnTo>
                  <a:lnTo>
                    <a:pt x="16" y="14"/>
                  </a:lnTo>
                  <a:lnTo>
                    <a:pt x="14" y="16"/>
                  </a:lnTo>
                  <a:lnTo>
                    <a:pt x="13" y="16"/>
                  </a:lnTo>
                  <a:lnTo>
                    <a:pt x="10" y="17"/>
                  </a:lnTo>
                  <a:lnTo>
                    <a:pt x="7" y="17"/>
                  </a:lnTo>
                  <a:lnTo>
                    <a:pt x="3" y="16"/>
                  </a:lnTo>
                  <a:lnTo>
                    <a:pt x="3" y="17"/>
                  </a:lnTo>
                  <a:lnTo>
                    <a:pt x="3" y="19"/>
                  </a:lnTo>
                  <a:lnTo>
                    <a:pt x="3" y="22"/>
                  </a:lnTo>
                  <a:lnTo>
                    <a:pt x="7" y="24"/>
                  </a:lnTo>
                  <a:lnTo>
                    <a:pt x="7" y="25"/>
                  </a:lnTo>
                  <a:lnTo>
                    <a:pt x="3" y="28"/>
                  </a:lnTo>
                  <a:lnTo>
                    <a:pt x="0" y="28"/>
                  </a:lnTo>
                  <a:lnTo>
                    <a:pt x="2" y="31"/>
                  </a:lnTo>
                  <a:lnTo>
                    <a:pt x="3" y="31"/>
                  </a:lnTo>
                  <a:lnTo>
                    <a:pt x="3" y="35"/>
                  </a:lnTo>
                  <a:lnTo>
                    <a:pt x="3" y="35"/>
                  </a:lnTo>
                  <a:lnTo>
                    <a:pt x="3" y="38"/>
                  </a:lnTo>
                  <a:lnTo>
                    <a:pt x="3" y="39"/>
                  </a:lnTo>
                  <a:lnTo>
                    <a:pt x="7" y="41"/>
                  </a:lnTo>
                  <a:lnTo>
                    <a:pt x="7" y="41"/>
                  </a:lnTo>
                  <a:lnTo>
                    <a:pt x="10" y="41"/>
                  </a:lnTo>
                  <a:lnTo>
                    <a:pt x="13" y="41"/>
                  </a:lnTo>
                  <a:lnTo>
                    <a:pt x="13" y="43"/>
                  </a:lnTo>
                  <a:lnTo>
                    <a:pt x="10" y="44"/>
                  </a:lnTo>
                  <a:lnTo>
                    <a:pt x="10" y="46"/>
                  </a:lnTo>
                  <a:lnTo>
                    <a:pt x="10" y="47"/>
                  </a:lnTo>
                  <a:lnTo>
                    <a:pt x="10" y="47"/>
                  </a:lnTo>
                  <a:lnTo>
                    <a:pt x="13" y="47"/>
                  </a:lnTo>
                  <a:lnTo>
                    <a:pt x="16" y="46"/>
                  </a:lnTo>
                  <a:lnTo>
                    <a:pt x="18" y="44"/>
                  </a:lnTo>
                  <a:lnTo>
                    <a:pt x="19" y="41"/>
                  </a:lnTo>
                  <a:lnTo>
                    <a:pt x="22" y="38"/>
                  </a:lnTo>
                  <a:lnTo>
                    <a:pt x="26" y="38"/>
                  </a:lnTo>
                  <a:lnTo>
                    <a:pt x="30" y="39"/>
                  </a:lnTo>
                  <a:lnTo>
                    <a:pt x="34" y="41"/>
                  </a:lnTo>
                  <a:lnTo>
                    <a:pt x="38" y="44"/>
                  </a:lnTo>
                  <a:lnTo>
                    <a:pt x="40" y="46"/>
                  </a:lnTo>
                  <a:lnTo>
                    <a:pt x="41" y="49"/>
                  </a:lnTo>
                  <a:lnTo>
                    <a:pt x="45" y="60"/>
                  </a:lnTo>
                  <a:lnTo>
                    <a:pt x="46" y="60"/>
                  </a:lnTo>
                  <a:lnTo>
                    <a:pt x="49" y="63"/>
                  </a:lnTo>
                  <a:lnTo>
                    <a:pt x="51" y="63"/>
                  </a:lnTo>
                  <a:lnTo>
                    <a:pt x="51" y="66"/>
                  </a:lnTo>
                  <a:lnTo>
                    <a:pt x="54" y="66"/>
                  </a:lnTo>
                  <a:lnTo>
                    <a:pt x="56" y="66"/>
                  </a:lnTo>
                  <a:lnTo>
                    <a:pt x="59" y="70"/>
                  </a:lnTo>
                  <a:lnTo>
                    <a:pt x="59" y="73"/>
                  </a:lnTo>
                  <a:lnTo>
                    <a:pt x="62" y="73"/>
                  </a:lnTo>
                  <a:lnTo>
                    <a:pt x="68" y="79"/>
                  </a:lnTo>
                  <a:lnTo>
                    <a:pt x="73" y="82"/>
                  </a:lnTo>
                  <a:lnTo>
                    <a:pt x="75" y="84"/>
                  </a:lnTo>
                  <a:lnTo>
                    <a:pt x="76" y="84"/>
                  </a:lnTo>
                  <a:lnTo>
                    <a:pt x="80" y="84"/>
                  </a:lnTo>
                  <a:lnTo>
                    <a:pt x="83" y="84"/>
                  </a:lnTo>
                  <a:lnTo>
                    <a:pt x="84" y="84"/>
                  </a:lnTo>
                  <a:lnTo>
                    <a:pt x="84" y="85"/>
                  </a:lnTo>
                  <a:lnTo>
                    <a:pt x="84" y="89"/>
                  </a:lnTo>
                  <a:lnTo>
                    <a:pt x="88" y="90"/>
                  </a:lnTo>
                  <a:lnTo>
                    <a:pt x="91" y="90"/>
                  </a:lnTo>
                  <a:lnTo>
                    <a:pt x="91" y="90"/>
                  </a:lnTo>
                  <a:lnTo>
                    <a:pt x="91" y="93"/>
                  </a:lnTo>
                  <a:lnTo>
                    <a:pt x="94" y="92"/>
                  </a:lnTo>
                  <a:lnTo>
                    <a:pt x="95" y="93"/>
                  </a:lnTo>
                  <a:lnTo>
                    <a:pt x="97" y="95"/>
                  </a:lnTo>
                  <a:lnTo>
                    <a:pt x="97" y="98"/>
                  </a:lnTo>
                  <a:lnTo>
                    <a:pt x="99" y="98"/>
                  </a:lnTo>
                  <a:lnTo>
                    <a:pt x="100" y="98"/>
                  </a:lnTo>
                  <a:lnTo>
                    <a:pt x="102" y="101"/>
                  </a:lnTo>
                  <a:lnTo>
                    <a:pt x="103" y="101"/>
                  </a:lnTo>
                  <a:lnTo>
                    <a:pt x="105" y="101"/>
                  </a:lnTo>
                  <a:lnTo>
                    <a:pt x="105" y="101"/>
                  </a:lnTo>
                  <a:lnTo>
                    <a:pt x="108" y="104"/>
                  </a:lnTo>
                  <a:lnTo>
                    <a:pt x="108" y="108"/>
                  </a:lnTo>
                  <a:lnTo>
                    <a:pt x="111" y="114"/>
                  </a:lnTo>
                  <a:lnTo>
                    <a:pt x="111" y="116"/>
                  </a:lnTo>
                  <a:lnTo>
                    <a:pt x="111" y="119"/>
                  </a:lnTo>
                  <a:lnTo>
                    <a:pt x="111" y="119"/>
                  </a:lnTo>
                  <a:lnTo>
                    <a:pt x="108" y="119"/>
                  </a:lnTo>
                  <a:lnTo>
                    <a:pt x="108" y="122"/>
                  </a:lnTo>
                  <a:lnTo>
                    <a:pt x="105" y="125"/>
                  </a:lnTo>
                  <a:lnTo>
                    <a:pt x="105" y="128"/>
                  </a:lnTo>
                  <a:lnTo>
                    <a:pt x="105" y="128"/>
                  </a:lnTo>
                  <a:lnTo>
                    <a:pt x="108" y="130"/>
                  </a:lnTo>
                  <a:lnTo>
                    <a:pt x="108" y="130"/>
                  </a:lnTo>
                  <a:lnTo>
                    <a:pt x="115" y="125"/>
                  </a:lnTo>
                  <a:lnTo>
                    <a:pt x="118" y="122"/>
                  </a:lnTo>
                  <a:lnTo>
                    <a:pt x="118" y="122"/>
                  </a:lnTo>
                  <a:lnTo>
                    <a:pt x="118" y="119"/>
                  </a:lnTo>
                  <a:lnTo>
                    <a:pt x="119" y="117"/>
                  </a:lnTo>
                  <a:lnTo>
                    <a:pt x="122" y="116"/>
                  </a:lnTo>
                  <a:lnTo>
                    <a:pt x="122" y="114"/>
                  </a:lnTo>
                  <a:lnTo>
                    <a:pt x="122" y="109"/>
                  </a:lnTo>
                  <a:lnTo>
                    <a:pt x="119" y="108"/>
                  </a:lnTo>
                  <a:lnTo>
                    <a:pt x="118" y="108"/>
                  </a:lnTo>
                  <a:lnTo>
                    <a:pt x="115" y="104"/>
                  </a:lnTo>
                  <a:lnTo>
                    <a:pt x="115" y="104"/>
                  </a:lnTo>
                  <a:lnTo>
                    <a:pt x="118" y="98"/>
                  </a:lnTo>
                  <a:lnTo>
                    <a:pt x="119" y="95"/>
                  </a:lnTo>
                  <a:lnTo>
                    <a:pt x="124" y="95"/>
                  </a:lnTo>
                  <a:lnTo>
                    <a:pt x="124" y="95"/>
                  </a:lnTo>
                  <a:lnTo>
                    <a:pt x="127" y="98"/>
                  </a:lnTo>
                  <a:lnTo>
                    <a:pt x="130" y="98"/>
                  </a:lnTo>
                  <a:lnTo>
                    <a:pt x="132" y="98"/>
                  </a:lnTo>
                  <a:lnTo>
                    <a:pt x="134" y="101"/>
                  </a:lnTo>
                  <a:lnTo>
                    <a:pt x="135" y="104"/>
                  </a:lnTo>
                  <a:lnTo>
                    <a:pt x="137" y="104"/>
                  </a:lnTo>
                  <a:lnTo>
                    <a:pt x="138" y="101"/>
                  </a:lnTo>
                  <a:lnTo>
                    <a:pt x="138" y="101"/>
                  </a:lnTo>
                  <a:lnTo>
                    <a:pt x="138" y="98"/>
                  </a:lnTo>
                  <a:lnTo>
                    <a:pt x="137" y="95"/>
                  </a:lnTo>
                  <a:lnTo>
                    <a:pt x="137" y="95"/>
                  </a:lnTo>
                  <a:lnTo>
                    <a:pt x="137" y="95"/>
                  </a:lnTo>
                  <a:lnTo>
                    <a:pt x="137" y="95"/>
                  </a:lnTo>
                  <a:lnTo>
                    <a:pt x="137" y="95"/>
                  </a:lnTo>
                  <a:lnTo>
                    <a:pt x="137" y="95"/>
                  </a:lnTo>
                  <a:lnTo>
                    <a:pt x="137" y="95"/>
                  </a:lnTo>
                  <a:lnTo>
                    <a:pt x="137" y="95"/>
                  </a:lnTo>
                  <a:lnTo>
                    <a:pt x="137" y="95"/>
                  </a:lnTo>
                  <a:close/>
                  <a:moveTo>
                    <a:pt x="19" y="116"/>
                  </a:moveTo>
                  <a:lnTo>
                    <a:pt x="21" y="114"/>
                  </a:lnTo>
                  <a:lnTo>
                    <a:pt x="19" y="114"/>
                  </a:lnTo>
                  <a:lnTo>
                    <a:pt x="19" y="116"/>
                  </a:lnTo>
                  <a:lnTo>
                    <a:pt x="19" y="116"/>
                  </a:lnTo>
                  <a:lnTo>
                    <a:pt x="19" y="116"/>
                  </a:lnTo>
                  <a:lnTo>
                    <a:pt x="19" y="116"/>
                  </a:lnTo>
                  <a:lnTo>
                    <a:pt x="19" y="116"/>
                  </a:lnTo>
                  <a:lnTo>
                    <a:pt x="19" y="116"/>
                  </a:lnTo>
                  <a:lnTo>
                    <a:pt x="19" y="116"/>
                  </a:lnTo>
                  <a:lnTo>
                    <a:pt x="19" y="116"/>
                  </a:lnTo>
                  <a:lnTo>
                    <a:pt x="19" y="116"/>
                  </a:lnTo>
                  <a:close/>
                  <a:moveTo>
                    <a:pt x="34" y="89"/>
                  </a:moveTo>
                  <a:lnTo>
                    <a:pt x="34" y="87"/>
                  </a:lnTo>
                  <a:lnTo>
                    <a:pt x="34" y="87"/>
                  </a:lnTo>
                  <a:lnTo>
                    <a:pt x="34" y="85"/>
                  </a:lnTo>
                  <a:lnTo>
                    <a:pt x="30" y="85"/>
                  </a:lnTo>
                  <a:lnTo>
                    <a:pt x="30" y="84"/>
                  </a:lnTo>
                  <a:lnTo>
                    <a:pt x="27" y="84"/>
                  </a:lnTo>
                  <a:lnTo>
                    <a:pt x="27" y="85"/>
                  </a:lnTo>
                  <a:lnTo>
                    <a:pt x="22" y="89"/>
                  </a:lnTo>
                  <a:lnTo>
                    <a:pt x="19" y="90"/>
                  </a:lnTo>
                  <a:lnTo>
                    <a:pt x="18" y="89"/>
                  </a:lnTo>
                  <a:lnTo>
                    <a:pt x="18" y="90"/>
                  </a:lnTo>
                  <a:lnTo>
                    <a:pt x="18" y="93"/>
                  </a:lnTo>
                  <a:lnTo>
                    <a:pt x="19" y="95"/>
                  </a:lnTo>
                  <a:lnTo>
                    <a:pt x="19" y="98"/>
                  </a:lnTo>
                  <a:lnTo>
                    <a:pt x="21" y="98"/>
                  </a:lnTo>
                  <a:lnTo>
                    <a:pt x="19" y="101"/>
                  </a:lnTo>
                  <a:lnTo>
                    <a:pt x="21" y="101"/>
                  </a:lnTo>
                  <a:lnTo>
                    <a:pt x="21" y="104"/>
                  </a:lnTo>
                  <a:lnTo>
                    <a:pt x="21" y="104"/>
                  </a:lnTo>
                  <a:lnTo>
                    <a:pt x="19" y="104"/>
                  </a:lnTo>
                  <a:lnTo>
                    <a:pt x="19" y="111"/>
                  </a:lnTo>
                  <a:lnTo>
                    <a:pt x="21" y="114"/>
                  </a:lnTo>
                  <a:lnTo>
                    <a:pt x="22" y="117"/>
                  </a:lnTo>
                  <a:lnTo>
                    <a:pt x="24" y="117"/>
                  </a:lnTo>
                  <a:lnTo>
                    <a:pt x="26" y="117"/>
                  </a:lnTo>
                  <a:lnTo>
                    <a:pt x="27" y="116"/>
                  </a:lnTo>
                  <a:lnTo>
                    <a:pt x="27" y="112"/>
                  </a:lnTo>
                  <a:lnTo>
                    <a:pt x="30" y="112"/>
                  </a:lnTo>
                  <a:lnTo>
                    <a:pt x="34" y="112"/>
                  </a:lnTo>
                  <a:lnTo>
                    <a:pt x="34" y="111"/>
                  </a:lnTo>
                  <a:lnTo>
                    <a:pt x="34" y="108"/>
                  </a:lnTo>
                  <a:lnTo>
                    <a:pt x="34" y="104"/>
                  </a:lnTo>
                  <a:lnTo>
                    <a:pt x="34" y="98"/>
                  </a:lnTo>
                  <a:lnTo>
                    <a:pt x="34" y="98"/>
                  </a:lnTo>
                  <a:lnTo>
                    <a:pt x="37" y="95"/>
                  </a:lnTo>
                  <a:lnTo>
                    <a:pt x="37" y="92"/>
                  </a:lnTo>
                  <a:lnTo>
                    <a:pt x="34" y="89"/>
                  </a:lnTo>
                  <a:lnTo>
                    <a:pt x="34" y="89"/>
                  </a:lnTo>
                  <a:lnTo>
                    <a:pt x="34" y="89"/>
                  </a:lnTo>
                  <a:lnTo>
                    <a:pt x="34" y="89"/>
                  </a:lnTo>
                  <a:lnTo>
                    <a:pt x="34" y="89"/>
                  </a:lnTo>
                  <a:lnTo>
                    <a:pt x="34" y="89"/>
                  </a:lnTo>
                  <a:lnTo>
                    <a:pt x="34" y="89"/>
                  </a:lnTo>
                  <a:lnTo>
                    <a:pt x="34" y="89"/>
                  </a:lnTo>
                  <a:lnTo>
                    <a:pt x="34" y="89"/>
                  </a:lnTo>
                  <a:lnTo>
                    <a:pt x="34" y="8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6" name="Freeform 227">
              <a:extLst>
                <a:ext uri="{FF2B5EF4-FFF2-40B4-BE49-F238E27FC236}">
                  <a16:creationId xmlns:a16="http://schemas.microsoft.com/office/drawing/2014/main" id="{276AE470-8C34-1621-7F93-50E9DE51CAC5}"/>
                </a:ext>
              </a:extLst>
            </p:cNvPr>
            <p:cNvSpPr>
              <a:spLocks noEditPoints="1"/>
            </p:cNvSpPr>
            <p:nvPr/>
          </p:nvSpPr>
          <p:spPr bwMode="auto">
            <a:xfrm>
              <a:off x="5623372" y="2089339"/>
              <a:ext cx="231037" cy="331974"/>
            </a:xfrm>
            <a:custGeom>
              <a:avLst/>
              <a:gdLst>
                <a:gd name="T0" fmla="*/ 26 w 103"/>
                <a:gd name="T1" fmla="*/ 85 h 148"/>
                <a:gd name="T2" fmla="*/ 19 w 103"/>
                <a:gd name="T3" fmla="*/ 75 h 148"/>
                <a:gd name="T4" fmla="*/ 7 w 103"/>
                <a:gd name="T5" fmla="*/ 83 h 148"/>
                <a:gd name="T6" fmla="*/ 10 w 103"/>
                <a:gd name="T7" fmla="*/ 89 h 148"/>
                <a:gd name="T8" fmla="*/ 16 w 103"/>
                <a:gd name="T9" fmla="*/ 91 h 148"/>
                <a:gd name="T10" fmla="*/ 21 w 103"/>
                <a:gd name="T11" fmla="*/ 91 h 148"/>
                <a:gd name="T12" fmla="*/ 22 w 103"/>
                <a:gd name="T13" fmla="*/ 38 h 148"/>
                <a:gd name="T14" fmla="*/ 19 w 103"/>
                <a:gd name="T15" fmla="*/ 35 h 148"/>
                <a:gd name="T16" fmla="*/ 16 w 103"/>
                <a:gd name="T17" fmla="*/ 42 h 148"/>
                <a:gd name="T18" fmla="*/ 16 w 103"/>
                <a:gd name="T19" fmla="*/ 42 h 148"/>
                <a:gd name="T20" fmla="*/ 78 w 103"/>
                <a:gd name="T21" fmla="*/ 0 h 148"/>
                <a:gd name="T22" fmla="*/ 64 w 103"/>
                <a:gd name="T23" fmla="*/ 26 h 148"/>
                <a:gd name="T24" fmla="*/ 61 w 103"/>
                <a:gd name="T25" fmla="*/ 27 h 148"/>
                <a:gd name="T26" fmla="*/ 61 w 103"/>
                <a:gd name="T27" fmla="*/ 27 h 148"/>
                <a:gd name="T28" fmla="*/ 84 w 103"/>
                <a:gd name="T29" fmla="*/ 7 h 148"/>
                <a:gd name="T30" fmla="*/ 76 w 103"/>
                <a:gd name="T31" fmla="*/ 7 h 148"/>
                <a:gd name="T32" fmla="*/ 95 w 103"/>
                <a:gd name="T33" fmla="*/ 107 h 148"/>
                <a:gd name="T34" fmla="*/ 88 w 103"/>
                <a:gd name="T35" fmla="*/ 100 h 148"/>
                <a:gd name="T36" fmla="*/ 84 w 103"/>
                <a:gd name="T37" fmla="*/ 91 h 148"/>
                <a:gd name="T38" fmla="*/ 70 w 103"/>
                <a:gd name="T39" fmla="*/ 70 h 148"/>
                <a:gd name="T40" fmla="*/ 56 w 103"/>
                <a:gd name="T41" fmla="*/ 64 h 148"/>
                <a:gd name="T42" fmla="*/ 70 w 103"/>
                <a:gd name="T43" fmla="*/ 46 h 148"/>
                <a:gd name="T44" fmla="*/ 46 w 103"/>
                <a:gd name="T45" fmla="*/ 42 h 148"/>
                <a:gd name="T46" fmla="*/ 59 w 103"/>
                <a:gd name="T47" fmla="*/ 31 h 148"/>
                <a:gd name="T48" fmla="*/ 38 w 103"/>
                <a:gd name="T49" fmla="*/ 31 h 148"/>
                <a:gd name="T50" fmla="*/ 30 w 103"/>
                <a:gd name="T51" fmla="*/ 42 h 148"/>
                <a:gd name="T52" fmla="*/ 29 w 103"/>
                <a:gd name="T53" fmla="*/ 48 h 148"/>
                <a:gd name="T54" fmla="*/ 27 w 103"/>
                <a:gd name="T55" fmla="*/ 56 h 148"/>
                <a:gd name="T56" fmla="*/ 32 w 103"/>
                <a:gd name="T57" fmla="*/ 58 h 148"/>
                <a:gd name="T58" fmla="*/ 27 w 103"/>
                <a:gd name="T59" fmla="*/ 69 h 148"/>
                <a:gd name="T60" fmla="*/ 35 w 103"/>
                <a:gd name="T61" fmla="*/ 67 h 148"/>
                <a:gd name="T62" fmla="*/ 38 w 103"/>
                <a:gd name="T63" fmla="*/ 67 h 148"/>
                <a:gd name="T64" fmla="*/ 32 w 103"/>
                <a:gd name="T65" fmla="*/ 80 h 148"/>
                <a:gd name="T66" fmla="*/ 46 w 103"/>
                <a:gd name="T67" fmla="*/ 81 h 148"/>
                <a:gd name="T68" fmla="*/ 53 w 103"/>
                <a:gd name="T69" fmla="*/ 89 h 148"/>
                <a:gd name="T70" fmla="*/ 56 w 103"/>
                <a:gd name="T71" fmla="*/ 97 h 148"/>
                <a:gd name="T72" fmla="*/ 46 w 103"/>
                <a:gd name="T73" fmla="*/ 102 h 148"/>
                <a:gd name="T74" fmla="*/ 32 w 103"/>
                <a:gd name="T75" fmla="*/ 108 h 148"/>
                <a:gd name="T76" fmla="*/ 41 w 103"/>
                <a:gd name="T77" fmla="*/ 113 h 148"/>
                <a:gd name="T78" fmla="*/ 29 w 103"/>
                <a:gd name="T79" fmla="*/ 124 h 148"/>
                <a:gd name="T80" fmla="*/ 41 w 103"/>
                <a:gd name="T81" fmla="*/ 126 h 148"/>
                <a:gd name="T82" fmla="*/ 49 w 103"/>
                <a:gd name="T83" fmla="*/ 129 h 148"/>
                <a:gd name="T84" fmla="*/ 32 w 103"/>
                <a:gd name="T85" fmla="*/ 138 h 148"/>
                <a:gd name="T86" fmla="*/ 24 w 103"/>
                <a:gd name="T87" fmla="*/ 146 h 148"/>
                <a:gd name="T88" fmla="*/ 41 w 103"/>
                <a:gd name="T89" fmla="*/ 145 h 148"/>
                <a:gd name="T90" fmla="*/ 57 w 103"/>
                <a:gd name="T91" fmla="*/ 138 h 148"/>
                <a:gd name="T92" fmla="*/ 72 w 103"/>
                <a:gd name="T93" fmla="*/ 135 h 148"/>
                <a:gd name="T94" fmla="*/ 91 w 103"/>
                <a:gd name="T95" fmla="*/ 135 h 148"/>
                <a:gd name="T96" fmla="*/ 94 w 103"/>
                <a:gd name="T97" fmla="*/ 126 h 148"/>
                <a:gd name="T98" fmla="*/ 99 w 103"/>
                <a:gd name="T99" fmla="*/ 121 h 148"/>
                <a:gd name="T100" fmla="*/ 100 w 103"/>
                <a:gd name="T101" fmla="*/ 107 h 148"/>
                <a:gd name="T102" fmla="*/ 56 w 103"/>
                <a:gd name="T103" fmla="*/ 61 h 148"/>
                <a:gd name="T104" fmla="*/ 57 w 103"/>
                <a:gd name="T105" fmla="*/ 59 h 148"/>
                <a:gd name="T106" fmla="*/ 18 w 103"/>
                <a:gd name="T107" fmla="*/ 45 h 148"/>
                <a:gd name="T108" fmla="*/ 29 w 103"/>
                <a:gd name="T109" fmla="*/ 48 h 148"/>
                <a:gd name="T110" fmla="*/ 26 w 103"/>
                <a:gd name="T111" fmla="*/ 46 h 148"/>
                <a:gd name="T112" fmla="*/ 27 w 103"/>
                <a:gd name="T113" fmla="*/ 70 h 148"/>
                <a:gd name="T114" fmla="*/ 26 w 103"/>
                <a:gd name="T115" fmla="*/ 73 h 148"/>
                <a:gd name="T116" fmla="*/ 35 w 103"/>
                <a:gd name="T117" fmla="*/ 69 h 148"/>
                <a:gd name="T118" fmla="*/ 24 w 103"/>
                <a:gd name="T119" fmla="*/ 59 h 148"/>
                <a:gd name="T120" fmla="*/ 22 w 103"/>
                <a:gd name="T121" fmla="*/ 5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148">
                  <a:moveTo>
                    <a:pt x="21" y="91"/>
                  </a:moveTo>
                  <a:lnTo>
                    <a:pt x="22" y="91"/>
                  </a:lnTo>
                  <a:lnTo>
                    <a:pt x="24" y="89"/>
                  </a:lnTo>
                  <a:lnTo>
                    <a:pt x="26" y="89"/>
                  </a:lnTo>
                  <a:lnTo>
                    <a:pt x="27" y="88"/>
                  </a:lnTo>
                  <a:lnTo>
                    <a:pt x="26" y="88"/>
                  </a:lnTo>
                  <a:lnTo>
                    <a:pt x="26" y="86"/>
                  </a:lnTo>
                  <a:lnTo>
                    <a:pt x="26" y="85"/>
                  </a:lnTo>
                  <a:lnTo>
                    <a:pt x="27" y="86"/>
                  </a:lnTo>
                  <a:lnTo>
                    <a:pt x="27" y="83"/>
                  </a:lnTo>
                  <a:lnTo>
                    <a:pt x="26" y="83"/>
                  </a:lnTo>
                  <a:lnTo>
                    <a:pt x="22" y="83"/>
                  </a:lnTo>
                  <a:lnTo>
                    <a:pt x="26" y="81"/>
                  </a:lnTo>
                  <a:lnTo>
                    <a:pt x="24" y="80"/>
                  </a:lnTo>
                  <a:lnTo>
                    <a:pt x="21" y="77"/>
                  </a:lnTo>
                  <a:lnTo>
                    <a:pt x="19" y="75"/>
                  </a:lnTo>
                  <a:lnTo>
                    <a:pt x="16" y="75"/>
                  </a:lnTo>
                  <a:lnTo>
                    <a:pt x="14" y="77"/>
                  </a:lnTo>
                  <a:lnTo>
                    <a:pt x="13" y="77"/>
                  </a:lnTo>
                  <a:lnTo>
                    <a:pt x="11" y="78"/>
                  </a:lnTo>
                  <a:lnTo>
                    <a:pt x="10" y="78"/>
                  </a:lnTo>
                  <a:lnTo>
                    <a:pt x="10" y="78"/>
                  </a:lnTo>
                  <a:lnTo>
                    <a:pt x="7" y="80"/>
                  </a:lnTo>
                  <a:lnTo>
                    <a:pt x="7" y="83"/>
                  </a:lnTo>
                  <a:lnTo>
                    <a:pt x="3" y="83"/>
                  </a:lnTo>
                  <a:lnTo>
                    <a:pt x="3" y="83"/>
                  </a:lnTo>
                  <a:lnTo>
                    <a:pt x="3" y="85"/>
                  </a:lnTo>
                  <a:lnTo>
                    <a:pt x="0" y="86"/>
                  </a:lnTo>
                  <a:lnTo>
                    <a:pt x="0" y="88"/>
                  </a:lnTo>
                  <a:lnTo>
                    <a:pt x="7" y="91"/>
                  </a:lnTo>
                  <a:lnTo>
                    <a:pt x="7" y="91"/>
                  </a:lnTo>
                  <a:lnTo>
                    <a:pt x="10" y="89"/>
                  </a:lnTo>
                  <a:lnTo>
                    <a:pt x="10" y="88"/>
                  </a:lnTo>
                  <a:lnTo>
                    <a:pt x="10" y="88"/>
                  </a:lnTo>
                  <a:lnTo>
                    <a:pt x="11" y="88"/>
                  </a:lnTo>
                  <a:lnTo>
                    <a:pt x="13" y="89"/>
                  </a:lnTo>
                  <a:lnTo>
                    <a:pt x="13" y="89"/>
                  </a:lnTo>
                  <a:lnTo>
                    <a:pt x="14" y="91"/>
                  </a:lnTo>
                  <a:lnTo>
                    <a:pt x="14" y="91"/>
                  </a:lnTo>
                  <a:lnTo>
                    <a:pt x="16" y="91"/>
                  </a:lnTo>
                  <a:lnTo>
                    <a:pt x="19" y="91"/>
                  </a:lnTo>
                  <a:lnTo>
                    <a:pt x="21" y="91"/>
                  </a:lnTo>
                  <a:lnTo>
                    <a:pt x="21" y="91"/>
                  </a:lnTo>
                  <a:lnTo>
                    <a:pt x="21" y="91"/>
                  </a:lnTo>
                  <a:lnTo>
                    <a:pt x="21" y="91"/>
                  </a:lnTo>
                  <a:lnTo>
                    <a:pt x="21" y="91"/>
                  </a:lnTo>
                  <a:lnTo>
                    <a:pt x="21" y="91"/>
                  </a:lnTo>
                  <a:lnTo>
                    <a:pt x="21" y="91"/>
                  </a:lnTo>
                  <a:lnTo>
                    <a:pt x="21" y="91"/>
                  </a:lnTo>
                  <a:lnTo>
                    <a:pt x="21" y="91"/>
                  </a:lnTo>
                  <a:close/>
                  <a:moveTo>
                    <a:pt x="16" y="42"/>
                  </a:moveTo>
                  <a:lnTo>
                    <a:pt x="18" y="42"/>
                  </a:lnTo>
                  <a:lnTo>
                    <a:pt x="19" y="38"/>
                  </a:lnTo>
                  <a:lnTo>
                    <a:pt x="21" y="38"/>
                  </a:lnTo>
                  <a:lnTo>
                    <a:pt x="22" y="38"/>
                  </a:lnTo>
                  <a:lnTo>
                    <a:pt x="22" y="38"/>
                  </a:lnTo>
                  <a:lnTo>
                    <a:pt x="21" y="38"/>
                  </a:lnTo>
                  <a:lnTo>
                    <a:pt x="24" y="35"/>
                  </a:lnTo>
                  <a:lnTo>
                    <a:pt x="26" y="35"/>
                  </a:lnTo>
                  <a:lnTo>
                    <a:pt x="24" y="35"/>
                  </a:lnTo>
                  <a:lnTo>
                    <a:pt x="26" y="34"/>
                  </a:lnTo>
                  <a:lnTo>
                    <a:pt x="26" y="32"/>
                  </a:lnTo>
                  <a:lnTo>
                    <a:pt x="24" y="34"/>
                  </a:lnTo>
                  <a:lnTo>
                    <a:pt x="19" y="35"/>
                  </a:lnTo>
                  <a:lnTo>
                    <a:pt x="19" y="35"/>
                  </a:lnTo>
                  <a:lnTo>
                    <a:pt x="18" y="35"/>
                  </a:lnTo>
                  <a:lnTo>
                    <a:pt x="14" y="35"/>
                  </a:lnTo>
                  <a:lnTo>
                    <a:pt x="16" y="38"/>
                  </a:lnTo>
                  <a:lnTo>
                    <a:pt x="14" y="38"/>
                  </a:lnTo>
                  <a:lnTo>
                    <a:pt x="18" y="38"/>
                  </a:lnTo>
                  <a:lnTo>
                    <a:pt x="14" y="42"/>
                  </a:lnTo>
                  <a:lnTo>
                    <a:pt x="16" y="42"/>
                  </a:lnTo>
                  <a:lnTo>
                    <a:pt x="16" y="42"/>
                  </a:lnTo>
                  <a:lnTo>
                    <a:pt x="16" y="42"/>
                  </a:lnTo>
                  <a:lnTo>
                    <a:pt x="16" y="42"/>
                  </a:lnTo>
                  <a:lnTo>
                    <a:pt x="16" y="42"/>
                  </a:lnTo>
                  <a:lnTo>
                    <a:pt x="16" y="42"/>
                  </a:lnTo>
                  <a:lnTo>
                    <a:pt x="16" y="42"/>
                  </a:lnTo>
                  <a:lnTo>
                    <a:pt x="16" y="42"/>
                  </a:lnTo>
                  <a:lnTo>
                    <a:pt x="16" y="42"/>
                  </a:lnTo>
                  <a:close/>
                  <a:moveTo>
                    <a:pt x="78" y="0"/>
                  </a:moveTo>
                  <a:lnTo>
                    <a:pt x="78" y="4"/>
                  </a:lnTo>
                  <a:lnTo>
                    <a:pt x="78" y="4"/>
                  </a:lnTo>
                  <a:lnTo>
                    <a:pt x="81" y="0"/>
                  </a:lnTo>
                  <a:lnTo>
                    <a:pt x="78" y="0"/>
                  </a:lnTo>
                  <a:lnTo>
                    <a:pt x="78" y="0"/>
                  </a:lnTo>
                  <a:lnTo>
                    <a:pt x="78" y="0"/>
                  </a:lnTo>
                  <a:lnTo>
                    <a:pt x="78" y="0"/>
                  </a:lnTo>
                  <a:lnTo>
                    <a:pt x="78" y="0"/>
                  </a:lnTo>
                  <a:lnTo>
                    <a:pt x="78" y="0"/>
                  </a:lnTo>
                  <a:lnTo>
                    <a:pt x="78" y="0"/>
                  </a:lnTo>
                  <a:lnTo>
                    <a:pt x="78" y="0"/>
                  </a:lnTo>
                  <a:lnTo>
                    <a:pt x="78" y="0"/>
                  </a:lnTo>
                  <a:close/>
                  <a:moveTo>
                    <a:pt x="61" y="27"/>
                  </a:moveTo>
                  <a:lnTo>
                    <a:pt x="62" y="27"/>
                  </a:lnTo>
                  <a:lnTo>
                    <a:pt x="64" y="26"/>
                  </a:lnTo>
                  <a:lnTo>
                    <a:pt x="61" y="26"/>
                  </a:lnTo>
                  <a:lnTo>
                    <a:pt x="59" y="24"/>
                  </a:lnTo>
                  <a:lnTo>
                    <a:pt x="57" y="24"/>
                  </a:lnTo>
                  <a:lnTo>
                    <a:pt x="57" y="23"/>
                  </a:lnTo>
                  <a:lnTo>
                    <a:pt x="56" y="23"/>
                  </a:lnTo>
                  <a:lnTo>
                    <a:pt x="56" y="24"/>
                  </a:lnTo>
                  <a:lnTo>
                    <a:pt x="56" y="26"/>
                  </a:lnTo>
                  <a:lnTo>
                    <a:pt x="61" y="27"/>
                  </a:lnTo>
                  <a:lnTo>
                    <a:pt x="61" y="27"/>
                  </a:lnTo>
                  <a:lnTo>
                    <a:pt x="61" y="27"/>
                  </a:lnTo>
                  <a:lnTo>
                    <a:pt x="61" y="27"/>
                  </a:lnTo>
                  <a:lnTo>
                    <a:pt x="61" y="27"/>
                  </a:lnTo>
                  <a:lnTo>
                    <a:pt x="61" y="27"/>
                  </a:lnTo>
                  <a:lnTo>
                    <a:pt x="61" y="27"/>
                  </a:lnTo>
                  <a:lnTo>
                    <a:pt x="61" y="27"/>
                  </a:lnTo>
                  <a:lnTo>
                    <a:pt x="61" y="27"/>
                  </a:lnTo>
                  <a:close/>
                  <a:moveTo>
                    <a:pt x="76" y="7"/>
                  </a:moveTo>
                  <a:lnTo>
                    <a:pt x="78" y="7"/>
                  </a:lnTo>
                  <a:lnTo>
                    <a:pt x="78" y="10"/>
                  </a:lnTo>
                  <a:lnTo>
                    <a:pt x="78" y="11"/>
                  </a:lnTo>
                  <a:lnTo>
                    <a:pt x="78" y="13"/>
                  </a:lnTo>
                  <a:lnTo>
                    <a:pt x="81" y="11"/>
                  </a:lnTo>
                  <a:lnTo>
                    <a:pt x="81" y="10"/>
                  </a:lnTo>
                  <a:lnTo>
                    <a:pt x="84" y="7"/>
                  </a:lnTo>
                  <a:lnTo>
                    <a:pt x="81" y="4"/>
                  </a:lnTo>
                  <a:lnTo>
                    <a:pt x="81" y="4"/>
                  </a:lnTo>
                  <a:lnTo>
                    <a:pt x="78" y="4"/>
                  </a:lnTo>
                  <a:lnTo>
                    <a:pt x="81" y="7"/>
                  </a:lnTo>
                  <a:lnTo>
                    <a:pt x="75" y="7"/>
                  </a:lnTo>
                  <a:lnTo>
                    <a:pt x="76" y="7"/>
                  </a:lnTo>
                  <a:lnTo>
                    <a:pt x="76" y="7"/>
                  </a:lnTo>
                  <a:lnTo>
                    <a:pt x="76" y="7"/>
                  </a:lnTo>
                  <a:lnTo>
                    <a:pt x="76" y="7"/>
                  </a:lnTo>
                  <a:lnTo>
                    <a:pt x="76" y="7"/>
                  </a:lnTo>
                  <a:lnTo>
                    <a:pt x="76" y="7"/>
                  </a:lnTo>
                  <a:lnTo>
                    <a:pt x="76" y="7"/>
                  </a:lnTo>
                  <a:lnTo>
                    <a:pt x="76" y="7"/>
                  </a:lnTo>
                  <a:lnTo>
                    <a:pt x="76" y="7"/>
                  </a:lnTo>
                  <a:close/>
                  <a:moveTo>
                    <a:pt x="100" y="107"/>
                  </a:moveTo>
                  <a:lnTo>
                    <a:pt x="95" y="107"/>
                  </a:lnTo>
                  <a:lnTo>
                    <a:pt x="92" y="105"/>
                  </a:lnTo>
                  <a:lnTo>
                    <a:pt x="91" y="107"/>
                  </a:lnTo>
                  <a:lnTo>
                    <a:pt x="91" y="110"/>
                  </a:lnTo>
                  <a:lnTo>
                    <a:pt x="88" y="108"/>
                  </a:lnTo>
                  <a:lnTo>
                    <a:pt x="84" y="108"/>
                  </a:lnTo>
                  <a:lnTo>
                    <a:pt x="88" y="104"/>
                  </a:lnTo>
                  <a:lnTo>
                    <a:pt x="91" y="102"/>
                  </a:lnTo>
                  <a:lnTo>
                    <a:pt x="88" y="100"/>
                  </a:lnTo>
                  <a:lnTo>
                    <a:pt x="84" y="97"/>
                  </a:lnTo>
                  <a:lnTo>
                    <a:pt x="84" y="97"/>
                  </a:lnTo>
                  <a:lnTo>
                    <a:pt x="78" y="97"/>
                  </a:lnTo>
                  <a:lnTo>
                    <a:pt x="84" y="97"/>
                  </a:lnTo>
                  <a:lnTo>
                    <a:pt x="88" y="97"/>
                  </a:lnTo>
                  <a:lnTo>
                    <a:pt x="84" y="94"/>
                  </a:lnTo>
                  <a:lnTo>
                    <a:pt x="84" y="91"/>
                  </a:lnTo>
                  <a:lnTo>
                    <a:pt x="84" y="91"/>
                  </a:lnTo>
                  <a:lnTo>
                    <a:pt x="81" y="89"/>
                  </a:lnTo>
                  <a:lnTo>
                    <a:pt x="81" y="86"/>
                  </a:lnTo>
                  <a:lnTo>
                    <a:pt x="78" y="85"/>
                  </a:lnTo>
                  <a:lnTo>
                    <a:pt x="75" y="85"/>
                  </a:lnTo>
                  <a:lnTo>
                    <a:pt x="73" y="83"/>
                  </a:lnTo>
                  <a:lnTo>
                    <a:pt x="72" y="80"/>
                  </a:lnTo>
                  <a:lnTo>
                    <a:pt x="70" y="73"/>
                  </a:lnTo>
                  <a:lnTo>
                    <a:pt x="70" y="70"/>
                  </a:lnTo>
                  <a:lnTo>
                    <a:pt x="67" y="69"/>
                  </a:lnTo>
                  <a:lnTo>
                    <a:pt x="61" y="65"/>
                  </a:lnTo>
                  <a:lnTo>
                    <a:pt x="59" y="65"/>
                  </a:lnTo>
                  <a:lnTo>
                    <a:pt x="57" y="65"/>
                  </a:lnTo>
                  <a:lnTo>
                    <a:pt x="56" y="67"/>
                  </a:lnTo>
                  <a:lnTo>
                    <a:pt x="53" y="65"/>
                  </a:lnTo>
                  <a:lnTo>
                    <a:pt x="53" y="65"/>
                  </a:lnTo>
                  <a:lnTo>
                    <a:pt x="56" y="64"/>
                  </a:lnTo>
                  <a:lnTo>
                    <a:pt x="57" y="64"/>
                  </a:lnTo>
                  <a:lnTo>
                    <a:pt x="59" y="62"/>
                  </a:lnTo>
                  <a:lnTo>
                    <a:pt x="59" y="61"/>
                  </a:lnTo>
                  <a:lnTo>
                    <a:pt x="59" y="59"/>
                  </a:lnTo>
                  <a:lnTo>
                    <a:pt x="59" y="59"/>
                  </a:lnTo>
                  <a:lnTo>
                    <a:pt x="65" y="54"/>
                  </a:lnTo>
                  <a:lnTo>
                    <a:pt x="68" y="48"/>
                  </a:lnTo>
                  <a:lnTo>
                    <a:pt x="70" y="46"/>
                  </a:lnTo>
                  <a:lnTo>
                    <a:pt x="70" y="45"/>
                  </a:lnTo>
                  <a:lnTo>
                    <a:pt x="68" y="42"/>
                  </a:lnTo>
                  <a:lnTo>
                    <a:pt x="65" y="42"/>
                  </a:lnTo>
                  <a:lnTo>
                    <a:pt x="61" y="42"/>
                  </a:lnTo>
                  <a:lnTo>
                    <a:pt x="56" y="42"/>
                  </a:lnTo>
                  <a:lnTo>
                    <a:pt x="53" y="42"/>
                  </a:lnTo>
                  <a:lnTo>
                    <a:pt x="45" y="45"/>
                  </a:lnTo>
                  <a:lnTo>
                    <a:pt x="46" y="42"/>
                  </a:lnTo>
                  <a:lnTo>
                    <a:pt x="48" y="42"/>
                  </a:lnTo>
                  <a:lnTo>
                    <a:pt x="48" y="42"/>
                  </a:lnTo>
                  <a:lnTo>
                    <a:pt x="46" y="42"/>
                  </a:lnTo>
                  <a:lnTo>
                    <a:pt x="48" y="38"/>
                  </a:lnTo>
                  <a:lnTo>
                    <a:pt x="53" y="35"/>
                  </a:lnTo>
                  <a:lnTo>
                    <a:pt x="57" y="34"/>
                  </a:lnTo>
                  <a:lnTo>
                    <a:pt x="59" y="32"/>
                  </a:lnTo>
                  <a:lnTo>
                    <a:pt x="59" y="31"/>
                  </a:lnTo>
                  <a:lnTo>
                    <a:pt x="57" y="31"/>
                  </a:lnTo>
                  <a:lnTo>
                    <a:pt x="53" y="31"/>
                  </a:lnTo>
                  <a:lnTo>
                    <a:pt x="48" y="32"/>
                  </a:lnTo>
                  <a:lnTo>
                    <a:pt x="45" y="32"/>
                  </a:lnTo>
                  <a:lnTo>
                    <a:pt x="43" y="32"/>
                  </a:lnTo>
                  <a:lnTo>
                    <a:pt x="41" y="32"/>
                  </a:lnTo>
                  <a:lnTo>
                    <a:pt x="41" y="32"/>
                  </a:lnTo>
                  <a:lnTo>
                    <a:pt x="38" y="31"/>
                  </a:lnTo>
                  <a:lnTo>
                    <a:pt x="38" y="32"/>
                  </a:lnTo>
                  <a:lnTo>
                    <a:pt x="35" y="35"/>
                  </a:lnTo>
                  <a:lnTo>
                    <a:pt x="35" y="35"/>
                  </a:lnTo>
                  <a:lnTo>
                    <a:pt x="32" y="38"/>
                  </a:lnTo>
                  <a:lnTo>
                    <a:pt x="35" y="42"/>
                  </a:lnTo>
                  <a:lnTo>
                    <a:pt x="32" y="42"/>
                  </a:lnTo>
                  <a:lnTo>
                    <a:pt x="32" y="42"/>
                  </a:lnTo>
                  <a:lnTo>
                    <a:pt x="30" y="42"/>
                  </a:lnTo>
                  <a:lnTo>
                    <a:pt x="30" y="42"/>
                  </a:lnTo>
                  <a:lnTo>
                    <a:pt x="29" y="42"/>
                  </a:lnTo>
                  <a:lnTo>
                    <a:pt x="29" y="45"/>
                  </a:lnTo>
                  <a:lnTo>
                    <a:pt x="30" y="45"/>
                  </a:lnTo>
                  <a:lnTo>
                    <a:pt x="29" y="45"/>
                  </a:lnTo>
                  <a:lnTo>
                    <a:pt x="29" y="46"/>
                  </a:lnTo>
                  <a:lnTo>
                    <a:pt x="32" y="46"/>
                  </a:lnTo>
                  <a:lnTo>
                    <a:pt x="29" y="48"/>
                  </a:lnTo>
                  <a:lnTo>
                    <a:pt x="30" y="48"/>
                  </a:lnTo>
                  <a:lnTo>
                    <a:pt x="30" y="50"/>
                  </a:lnTo>
                  <a:lnTo>
                    <a:pt x="32" y="50"/>
                  </a:lnTo>
                  <a:lnTo>
                    <a:pt x="29" y="51"/>
                  </a:lnTo>
                  <a:lnTo>
                    <a:pt x="27" y="53"/>
                  </a:lnTo>
                  <a:lnTo>
                    <a:pt x="29" y="54"/>
                  </a:lnTo>
                  <a:lnTo>
                    <a:pt x="27" y="54"/>
                  </a:lnTo>
                  <a:lnTo>
                    <a:pt x="27" y="56"/>
                  </a:lnTo>
                  <a:lnTo>
                    <a:pt x="24" y="54"/>
                  </a:lnTo>
                  <a:lnTo>
                    <a:pt x="22" y="56"/>
                  </a:lnTo>
                  <a:lnTo>
                    <a:pt x="26" y="56"/>
                  </a:lnTo>
                  <a:lnTo>
                    <a:pt x="27" y="59"/>
                  </a:lnTo>
                  <a:lnTo>
                    <a:pt x="30" y="58"/>
                  </a:lnTo>
                  <a:lnTo>
                    <a:pt x="35" y="54"/>
                  </a:lnTo>
                  <a:lnTo>
                    <a:pt x="35" y="56"/>
                  </a:lnTo>
                  <a:lnTo>
                    <a:pt x="32" y="58"/>
                  </a:lnTo>
                  <a:lnTo>
                    <a:pt x="32" y="58"/>
                  </a:lnTo>
                  <a:lnTo>
                    <a:pt x="32" y="59"/>
                  </a:lnTo>
                  <a:lnTo>
                    <a:pt x="30" y="61"/>
                  </a:lnTo>
                  <a:lnTo>
                    <a:pt x="29" y="64"/>
                  </a:lnTo>
                  <a:lnTo>
                    <a:pt x="27" y="65"/>
                  </a:lnTo>
                  <a:lnTo>
                    <a:pt x="27" y="67"/>
                  </a:lnTo>
                  <a:lnTo>
                    <a:pt x="29" y="65"/>
                  </a:lnTo>
                  <a:lnTo>
                    <a:pt x="27" y="69"/>
                  </a:lnTo>
                  <a:lnTo>
                    <a:pt x="29" y="69"/>
                  </a:lnTo>
                  <a:lnTo>
                    <a:pt x="30" y="69"/>
                  </a:lnTo>
                  <a:lnTo>
                    <a:pt x="30" y="67"/>
                  </a:lnTo>
                  <a:lnTo>
                    <a:pt x="32" y="65"/>
                  </a:lnTo>
                  <a:lnTo>
                    <a:pt x="32" y="67"/>
                  </a:lnTo>
                  <a:lnTo>
                    <a:pt x="32" y="69"/>
                  </a:lnTo>
                  <a:lnTo>
                    <a:pt x="32" y="67"/>
                  </a:lnTo>
                  <a:lnTo>
                    <a:pt x="35" y="67"/>
                  </a:lnTo>
                  <a:lnTo>
                    <a:pt x="35" y="69"/>
                  </a:lnTo>
                  <a:lnTo>
                    <a:pt x="35" y="65"/>
                  </a:lnTo>
                  <a:lnTo>
                    <a:pt x="35" y="64"/>
                  </a:lnTo>
                  <a:lnTo>
                    <a:pt x="38" y="64"/>
                  </a:lnTo>
                  <a:lnTo>
                    <a:pt x="35" y="65"/>
                  </a:lnTo>
                  <a:lnTo>
                    <a:pt x="38" y="65"/>
                  </a:lnTo>
                  <a:lnTo>
                    <a:pt x="38" y="67"/>
                  </a:lnTo>
                  <a:lnTo>
                    <a:pt x="38" y="67"/>
                  </a:lnTo>
                  <a:lnTo>
                    <a:pt x="35" y="67"/>
                  </a:lnTo>
                  <a:lnTo>
                    <a:pt x="35" y="69"/>
                  </a:lnTo>
                  <a:lnTo>
                    <a:pt x="38" y="70"/>
                  </a:lnTo>
                  <a:lnTo>
                    <a:pt x="38" y="73"/>
                  </a:lnTo>
                  <a:lnTo>
                    <a:pt x="35" y="75"/>
                  </a:lnTo>
                  <a:lnTo>
                    <a:pt x="32" y="77"/>
                  </a:lnTo>
                  <a:lnTo>
                    <a:pt x="32" y="80"/>
                  </a:lnTo>
                  <a:lnTo>
                    <a:pt x="32" y="80"/>
                  </a:lnTo>
                  <a:lnTo>
                    <a:pt x="32" y="81"/>
                  </a:lnTo>
                  <a:lnTo>
                    <a:pt x="35" y="85"/>
                  </a:lnTo>
                  <a:lnTo>
                    <a:pt x="35" y="81"/>
                  </a:lnTo>
                  <a:lnTo>
                    <a:pt x="38" y="81"/>
                  </a:lnTo>
                  <a:lnTo>
                    <a:pt x="38" y="83"/>
                  </a:lnTo>
                  <a:lnTo>
                    <a:pt x="38" y="80"/>
                  </a:lnTo>
                  <a:lnTo>
                    <a:pt x="43" y="81"/>
                  </a:lnTo>
                  <a:lnTo>
                    <a:pt x="46" y="81"/>
                  </a:lnTo>
                  <a:lnTo>
                    <a:pt x="48" y="80"/>
                  </a:lnTo>
                  <a:lnTo>
                    <a:pt x="48" y="78"/>
                  </a:lnTo>
                  <a:lnTo>
                    <a:pt x="56" y="80"/>
                  </a:lnTo>
                  <a:lnTo>
                    <a:pt x="53" y="81"/>
                  </a:lnTo>
                  <a:lnTo>
                    <a:pt x="48" y="83"/>
                  </a:lnTo>
                  <a:lnTo>
                    <a:pt x="48" y="88"/>
                  </a:lnTo>
                  <a:lnTo>
                    <a:pt x="49" y="89"/>
                  </a:lnTo>
                  <a:lnTo>
                    <a:pt x="53" y="89"/>
                  </a:lnTo>
                  <a:lnTo>
                    <a:pt x="53" y="91"/>
                  </a:lnTo>
                  <a:lnTo>
                    <a:pt x="53" y="89"/>
                  </a:lnTo>
                  <a:lnTo>
                    <a:pt x="56" y="91"/>
                  </a:lnTo>
                  <a:lnTo>
                    <a:pt x="56" y="89"/>
                  </a:lnTo>
                  <a:lnTo>
                    <a:pt x="56" y="94"/>
                  </a:lnTo>
                  <a:lnTo>
                    <a:pt x="53" y="94"/>
                  </a:lnTo>
                  <a:lnTo>
                    <a:pt x="53" y="97"/>
                  </a:lnTo>
                  <a:lnTo>
                    <a:pt x="56" y="97"/>
                  </a:lnTo>
                  <a:lnTo>
                    <a:pt x="53" y="97"/>
                  </a:lnTo>
                  <a:lnTo>
                    <a:pt x="53" y="100"/>
                  </a:lnTo>
                  <a:lnTo>
                    <a:pt x="56" y="100"/>
                  </a:lnTo>
                  <a:lnTo>
                    <a:pt x="53" y="100"/>
                  </a:lnTo>
                  <a:lnTo>
                    <a:pt x="53" y="100"/>
                  </a:lnTo>
                  <a:lnTo>
                    <a:pt x="53" y="102"/>
                  </a:lnTo>
                  <a:lnTo>
                    <a:pt x="49" y="102"/>
                  </a:lnTo>
                  <a:lnTo>
                    <a:pt x="46" y="102"/>
                  </a:lnTo>
                  <a:lnTo>
                    <a:pt x="41" y="102"/>
                  </a:lnTo>
                  <a:lnTo>
                    <a:pt x="38" y="100"/>
                  </a:lnTo>
                  <a:lnTo>
                    <a:pt x="35" y="100"/>
                  </a:lnTo>
                  <a:lnTo>
                    <a:pt x="35" y="102"/>
                  </a:lnTo>
                  <a:lnTo>
                    <a:pt x="35" y="104"/>
                  </a:lnTo>
                  <a:lnTo>
                    <a:pt x="38" y="104"/>
                  </a:lnTo>
                  <a:lnTo>
                    <a:pt x="38" y="104"/>
                  </a:lnTo>
                  <a:lnTo>
                    <a:pt x="32" y="108"/>
                  </a:lnTo>
                  <a:lnTo>
                    <a:pt x="35" y="108"/>
                  </a:lnTo>
                  <a:lnTo>
                    <a:pt x="38" y="107"/>
                  </a:lnTo>
                  <a:lnTo>
                    <a:pt x="41" y="107"/>
                  </a:lnTo>
                  <a:lnTo>
                    <a:pt x="41" y="108"/>
                  </a:lnTo>
                  <a:lnTo>
                    <a:pt x="41" y="110"/>
                  </a:lnTo>
                  <a:lnTo>
                    <a:pt x="41" y="111"/>
                  </a:lnTo>
                  <a:lnTo>
                    <a:pt x="41" y="113"/>
                  </a:lnTo>
                  <a:lnTo>
                    <a:pt x="41" y="113"/>
                  </a:lnTo>
                  <a:lnTo>
                    <a:pt x="38" y="115"/>
                  </a:lnTo>
                  <a:lnTo>
                    <a:pt x="38" y="116"/>
                  </a:lnTo>
                  <a:lnTo>
                    <a:pt x="35" y="118"/>
                  </a:lnTo>
                  <a:lnTo>
                    <a:pt x="32" y="119"/>
                  </a:lnTo>
                  <a:lnTo>
                    <a:pt x="27" y="123"/>
                  </a:lnTo>
                  <a:lnTo>
                    <a:pt x="29" y="123"/>
                  </a:lnTo>
                  <a:lnTo>
                    <a:pt x="27" y="124"/>
                  </a:lnTo>
                  <a:lnTo>
                    <a:pt x="29" y="124"/>
                  </a:lnTo>
                  <a:lnTo>
                    <a:pt x="30" y="126"/>
                  </a:lnTo>
                  <a:lnTo>
                    <a:pt x="32" y="126"/>
                  </a:lnTo>
                  <a:lnTo>
                    <a:pt x="35" y="124"/>
                  </a:lnTo>
                  <a:lnTo>
                    <a:pt x="38" y="126"/>
                  </a:lnTo>
                  <a:lnTo>
                    <a:pt x="38" y="126"/>
                  </a:lnTo>
                  <a:lnTo>
                    <a:pt x="38" y="126"/>
                  </a:lnTo>
                  <a:lnTo>
                    <a:pt x="41" y="126"/>
                  </a:lnTo>
                  <a:lnTo>
                    <a:pt x="41" y="126"/>
                  </a:lnTo>
                  <a:lnTo>
                    <a:pt x="41" y="126"/>
                  </a:lnTo>
                  <a:lnTo>
                    <a:pt x="45" y="129"/>
                  </a:lnTo>
                  <a:lnTo>
                    <a:pt x="46" y="129"/>
                  </a:lnTo>
                  <a:lnTo>
                    <a:pt x="48" y="129"/>
                  </a:lnTo>
                  <a:lnTo>
                    <a:pt x="53" y="126"/>
                  </a:lnTo>
                  <a:lnTo>
                    <a:pt x="56" y="126"/>
                  </a:lnTo>
                  <a:lnTo>
                    <a:pt x="57" y="124"/>
                  </a:lnTo>
                  <a:lnTo>
                    <a:pt x="49" y="129"/>
                  </a:lnTo>
                  <a:lnTo>
                    <a:pt x="49" y="132"/>
                  </a:lnTo>
                  <a:lnTo>
                    <a:pt x="45" y="132"/>
                  </a:lnTo>
                  <a:lnTo>
                    <a:pt x="41" y="129"/>
                  </a:lnTo>
                  <a:lnTo>
                    <a:pt x="38" y="132"/>
                  </a:lnTo>
                  <a:lnTo>
                    <a:pt x="35" y="135"/>
                  </a:lnTo>
                  <a:lnTo>
                    <a:pt x="35" y="135"/>
                  </a:lnTo>
                  <a:lnTo>
                    <a:pt x="32" y="135"/>
                  </a:lnTo>
                  <a:lnTo>
                    <a:pt x="32" y="138"/>
                  </a:lnTo>
                  <a:lnTo>
                    <a:pt x="29" y="140"/>
                  </a:lnTo>
                  <a:lnTo>
                    <a:pt x="27" y="140"/>
                  </a:lnTo>
                  <a:lnTo>
                    <a:pt x="27" y="142"/>
                  </a:lnTo>
                  <a:lnTo>
                    <a:pt x="26" y="143"/>
                  </a:lnTo>
                  <a:lnTo>
                    <a:pt x="22" y="143"/>
                  </a:lnTo>
                  <a:lnTo>
                    <a:pt x="19" y="146"/>
                  </a:lnTo>
                  <a:lnTo>
                    <a:pt x="22" y="146"/>
                  </a:lnTo>
                  <a:lnTo>
                    <a:pt x="24" y="146"/>
                  </a:lnTo>
                  <a:lnTo>
                    <a:pt x="24" y="148"/>
                  </a:lnTo>
                  <a:lnTo>
                    <a:pt x="27" y="146"/>
                  </a:lnTo>
                  <a:lnTo>
                    <a:pt x="29" y="145"/>
                  </a:lnTo>
                  <a:lnTo>
                    <a:pt x="32" y="143"/>
                  </a:lnTo>
                  <a:lnTo>
                    <a:pt x="35" y="143"/>
                  </a:lnTo>
                  <a:lnTo>
                    <a:pt x="35" y="142"/>
                  </a:lnTo>
                  <a:lnTo>
                    <a:pt x="38" y="143"/>
                  </a:lnTo>
                  <a:lnTo>
                    <a:pt x="41" y="145"/>
                  </a:lnTo>
                  <a:lnTo>
                    <a:pt x="41" y="143"/>
                  </a:lnTo>
                  <a:lnTo>
                    <a:pt x="43" y="142"/>
                  </a:lnTo>
                  <a:lnTo>
                    <a:pt x="45" y="138"/>
                  </a:lnTo>
                  <a:lnTo>
                    <a:pt x="46" y="138"/>
                  </a:lnTo>
                  <a:lnTo>
                    <a:pt x="49" y="137"/>
                  </a:lnTo>
                  <a:lnTo>
                    <a:pt x="53" y="137"/>
                  </a:lnTo>
                  <a:lnTo>
                    <a:pt x="56" y="140"/>
                  </a:lnTo>
                  <a:lnTo>
                    <a:pt x="57" y="138"/>
                  </a:lnTo>
                  <a:lnTo>
                    <a:pt x="59" y="138"/>
                  </a:lnTo>
                  <a:lnTo>
                    <a:pt x="61" y="138"/>
                  </a:lnTo>
                  <a:lnTo>
                    <a:pt x="62" y="138"/>
                  </a:lnTo>
                  <a:lnTo>
                    <a:pt x="61" y="137"/>
                  </a:lnTo>
                  <a:lnTo>
                    <a:pt x="65" y="137"/>
                  </a:lnTo>
                  <a:lnTo>
                    <a:pt x="68" y="137"/>
                  </a:lnTo>
                  <a:lnTo>
                    <a:pt x="68" y="135"/>
                  </a:lnTo>
                  <a:lnTo>
                    <a:pt x="72" y="135"/>
                  </a:lnTo>
                  <a:lnTo>
                    <a:pt x="73" y="135"/>
                  </a:lnTo>
                  <a:lnTo>
                    <a:pt x="75" y="137"/>
                  </a:lnTo>
                  <a:lnTo>
                    <a:pt x="76" y="137"/>
                  </a:lnTo>
                  <a:lnTo>
                    <a:pt x="78" y="137"/>
                  </a:lnTo>
                  <a:lnTo>
                    <a:pt x="81" y="135"/>
                  </a:lnTo>
                  <a:lnTo>
                    <a:pt x="84" y="137"/>
                  </a:lnTo>
                  <a:lnTo>
                    <a:pt x="88" y="137"/>
                  </a:lnTo>
                  <a:lnTo>
                    <a:pt x="91" y="135"/>
                  </a:lnTo>
                  <a:lnTo>
                    <a:pt x="94" y="132"/>
                  </a:lnTo>
                  <a:lnTo>
                    <a:pt x="97" y="132"/>
                  </a:lnTo>
                  <a:lnTo>
                    <a:pt x="100" y="132"/>
                  </a:lnTo>
                  <a:lnTo>
                    <a:pt x="99" y="129"/>
                  </a:lnTo>
                  <a:lnTo>
                    <a:pt x="95" y="129"/>
                  </a:lnTo>
                  <a:lnTo>
                    <a:pt x="91" y="129"/>
                  </a:lnTo>
                  <a:lnTo>
                    <a:pt x="92" y="126"/>
                  </a:lnTo>
                  <a:lnTo>
                    <a:pt x="94" y="126"/>
                  </a:lnTo>
                  <a:lnTo>
                    <a:pt x="94" y="126"/>
                  </a:lnTo>
                  <a:lnTo>
                    <a:pt x="94" y="124"/>
                  </a:lnTo>
                  <a:lnTo>
                    <a:pt x="92" y="124"/>
                  </a:lnTo>
                  <a:lnTo>
                    <a:pt x="94" y="123"/>
                  </a:lnTo>
                  <a:lnTo>
                    <a:pt x="95" y="123"/>
                  </a:lnTo>
                  <a:lnTo>
                    <a:pt x="99" y="123"/>
                  </a:lnTo>
                  <a:lnTo>
                    <a:pt x="95" y="121"/>
                  </a:lnTo>
                  <a:lnTo>
                    <a:pt x="99" y="121"/>
                  </a:lnTo>
                  <a:lnTo>
                    <a:pt x="100" y="119"/>
                  </a:lnTo>
                  <a:lnTo>
                    <a:pt x="103" y="116"/>
                  </a:lnTo>
                  <a:lnTo>
                    <a:pt x="103" y="113"/>
                  </a:lnTo>
                  <a:lnTo>
                    <a:pt x="103" y="111"/>
                  </a:lnTo>
                  <a:lnTo>
                    <a:pt x="103" y="110"/>
                  </a:lnTo>
                  <a:lnTo>
                    <a:pt x="100" y="107"/>
                  </a:lnTo>
                  <a:lnTo>
                    <a:pt x="100" y="107"/>
                  </a:lnTo>
                  <a:lnTo>
                    <a:pt x="100" y="107"/>
                  </a:lnTo>
                  <a:lnTo>
                    <a:pt x="100" y="107"/>
                  </a:lnTo>
                  <a:lnTo>
                    <a:pt x="100" y="107"/>
                  </a:lnTo>
                  <a:lnTo>
                    <a:pt x="100" y="107"/>
                  </a:lnTo>
                  <a:lnTo>
                    <a:pt x="100" y="107"/>
                  </a:lnTo>
                  <a:lnTo>
                    <a:pt x="100" y="107"/>
                  </a:lnTo>
                  <a:lnTo>
                    <a:pt x="100" y="107"/>
                  </a:lnTo>
                  <a:close/>
                  <a:moveTo>
                    <a:pt x="57" y="59"/>
                  </a:moveTo>
                  <a:lnTo>
                    <a:pt x="56" y="61"/>
                  </a:lnTo>
                  <a:lnTo>
                    <a:pt x="53" y="61"/>
                  </a:lnTo>
                  <a:lnTo>
                    <a:pt x="57" y="59"/>
                  </a:lnTo>
                  <a:lnTo>
                    <a:pt x="57" y="59"/>
                  </a:lnTo>
                  <a:lnTo>
                    <a:pt x="57" y="59"/>
                  </a:lnTo>
                  <a:lnTo>
                    <a:pt x="57" y="59"/>
                  </a:lnTo>
                  <a:lnTo>
                    <a:pt x="57" y="59"/>
                  </a:lnTo>
                  <a:lnTo>
                    <a:pt x="57" y="59"/>
                  </a:lnTo>
                  <a:lnTo>
                    <a:pt x="57" y="59"/>
                  </a:lnTo>
                  <a:lnTo>
                    <a:pt x="57" y="59"/>
                  </a:lnTo>
                  <a:lnTo>
                    <a:pt x="57" y="59"/>
                  </a:lnTo>
                  <a:close/>
                  <a:moveTo>
                    <a:pt x="26" y="46"/>
                  </a:moveTo>
                  <a:lnTo>
                    <a:pt x="24" y="45"/>
                  </a:lnTo>
                  <a:lnTo>
                    <a:pt x="22" y="42"/>
                  </a:lnTo>
                  <a:lnTo>
                    <a:pt x="22" y="45"/>
                  </a:lnTo>
                  <a:lnTo>
                    <a:pt x="21" y="45"/>
                  </a:lnTo>
                  <a:lnTo>
                    <a:pt x="18" y="45"/>
                  </a:lnTo>
                  <a:lnTo>
                    <a:pt x="19" y="46"/>
                  </a:lnTo>
                  <a:lnTo>
                    <a:pt x="22" y="48"/>
                  </a:lnTo>
                  <a:lnTo>
                    <a:pt x="21" y="48"/>
                  </a:lnTo>
                  <a:lnTo>
                    <a:pt x="24" y="50"/>
                  </a:lnTo>
                  <a:lnTo>
                    <a:pt x="26" y="50"/>
                  </a:lnTo>
                  <a:lnTo>
                    <a:pt x="26" y="51"/>
                  </a:lnTo>
                  <a:lnTo>
                    <a:pt x="29" y="50"/>
                  </a:lnTo>
                  <a:lnTo>
                    <a:pt x="29" y="48"/>
                  </a:lnTo>
                  <a:lnTo>
                    <a:pt x="26" y="48"/>
                  </a:lnTo>
                  <a:lnTo>
                    <a:pt x="26" y="46"/>
                  </a:lnTo>
                  <a:lnTo>
                    <a:pt x="26" y="46"/>
                  </a:lnTo>
                  <a:lnTo>
                    <a:pt x="26" y="46"/>
                  </a:lnTo>
                  <a:lnTo>
                    <a:pt x="26" y="46"/>
                  </a:lnTo>
                  <a:lnTo>
                    <a:pt x="26" y="46"/>
                  </a:lnTo>
                  <a:lnTo>
                    <a:pt x="26" y="46"/>
                  </a:lnTo>
                  <a:lnTo>
                    <a:pt x="26" y="46"/>
                  </a:lnTo>
                  <a:lnTo>
                    <a:pt x="26" y="46"/>
                  </a:lnTo>
                  <a:lnTo>
                    <a:pt x="26" y="46"/>
                  </a:lnTo>
                  <a:close/>
                  <a:moveTo>
                    <a:pt x="26" y="73"/>
                  </a:moveTo>
                  <a:lnTo>
                    <a:pt x="27" y="73"/>
                  </a:lnTo>
                  <a:lnTo>
                    <a:pt x="29" y="72"/>
                  </a:lnTo>
                  <a:lnTo>
                    <a:pt x="30" y="70"/>
                  </a:lnTo>
                  <a:lnTo>
                    <a:pt x="30" y="69"/>
                  </a:lnTo>
                  <a:lnTo>
                    <a:pt x="27" y="70"/>
                  </a:lnTo>
                  <a:lnTo>
                    <a:pt x="26" y="73"/>
                  </a:lnTo>
                  <a:lnTo>
                    <a:pt x="26" y="73"/>
                  </a:lnTo>
                  <a:lnTo>
                    <a:pt x="26" y="73"/>
                  </a:lnTo>
                  <a:lnTo>
                    <a:pt x="26" y="73"/>
                  </a:lnTo>
                  <a:lnTo>
                    <a:pt x="26" y="73"/>
                  </a:lnTo>
                  <a:lnTo>
                    <a:pt x="26" y="73"/>
                  </a:lnTo>
                  <a:lnTo>
                    <a:pt x="26" y="73"/>
                  </a:lnTo>
                  <a:lnTo>
                    <a:pt x="26" y="73"/>
                  </a:lnTo>
                  <a:lnTo>
                    <a:pt x="26" y="73"/>
                  </a:lnTo>
                  <a:close/>
                  <a:moveTo>
                    <a:pt x="35" y="69"/>
                  </a:moveTo>
                  <a:lnTo>
                    <a:pt x="35" y="69"/>
                  </a:lnTo>
                  <a:lnTo>
                    <a:pt x="32" y="67"/>
                  </a:lnTo>
                  <a:lnTo>
                    <a:pt x="35" y="69"/>
                  </a:lnTo>
                  <a:lnTo>
                    <a:pt x="35" y="69"/>
                  </a:lnTo>
                  <a:lnTo>
                    <a:pt x="35" y="69"/>
                  </a:lnTo>
                  <a:lnTo>
                    <a:pt x="35" y="69"/>
                  </a:lnTo>
                  <a:lnTo>
                    <a:pt x="35" y="69"/>
                  </a:lnTo>
                  <a:lnTo>
                    <a:pt x="35" y="69"/>
                  </a:lnTo>
                  <a:lnTo>
                    <a:pt x="35" y="69"/>
                  </a:lnTo>
                  <a:lnTo>
                    <a:pt x="35" y="69"/>
                  </a:lnTo>
                  <a:lnTo>
                    <a:pt x="35" y="69"/>
                  </a:lnTo>
                  <a:close/>
                  <a:moveTo>
                    <a:pt x="22" y="58"/>
                  </a:moveTo>
                  <a:lnTo>
                    <a:pt x="21" y="59"/>
                  </a:lnTo>
                  <a:lnTo>
                    <a:pt x="24" y="59"/>
                  </a:lnTo>
                  <a:lnTo>
                    <a:pt x="22" y="61"/>
                  </a:lnTo>
                  <a:lnTo>
                    <a:pt x="24" y="61"/>
                  </a:lnTo>
                  <a:lnTo>
                    <a:pt x="22" y="62"/>
                  </a:lnTo>
                  <a:lnTo>
                    <a:pt x="29" y="61"/>
                  </a:lnTo>
                  <a:lnTo>
                    <a:pt x="27" y="59"/>
                  </a:lnTo>
                  <a:lnTo>
                    <a:pt x="26" y="58"/>
                  </a:lnTo>
                  <a:lnTo>
                    <a:pt x="22" y="58"/>
                  </a:lnTo>
                  <a:lnTo>
                    <a:pt x="22" y="58"/>
                  </a:lnTo>
                  <a:lnTo>
                    <a:pt x="22" y="58"/>
                  </a:lnTo>
                  <a:lnTo>
                    <a:pt x="22" y="58"/>
                  </a:lnTo>
                  <a:lnTo>
                    <a:pt x="22" y="58"/>
                  </a:lnTo>
                  <a:lnTo>
                    <a:pt x="22" y="58"/>
                  </a:lnTo>
                  <a:lnTo>
                    <a:pt x="22" y="58"/>
                  </a:lnTo>
                  <a:lnTo>
                    <a:pt x="22" y="58"/>
                  </a:lnTo>
                  <a:lnTo>
                    <a:pt x="22" y="5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7" name="Freeform 239">
              <a:extLst>
                <a:ext uri="{FF2B5EF4-FFF2-40B4-BE49-F238E27FC236}">
                  <a16:creationId xmlns:a16="http://schemas.microsoft.com/office/drawing/2014/main" id="{4803283E-E751-7DDE-C43F-B770B2A3417E}"/>
                </a:ext>
              </a:extLst>
            </p:cNvPr>
            <p:cNvSpPr>
              <a:spLocks/>
            </p:cNvSpPr>
            <p:nvPr/>
          </p:nvSpPr>
          <p:spPr bwMode="auto">
            <a:xfrm>
              <a:off x="5560566" y="2257570"/>
              <a:ext cx="105425" cy="114397"/>
            </a:xfrm>
            <a:custGeom>
              <a:avLst/>
              <a:gdLst>
                <a:gd name="T0" fmla="*/ 42 w 47"/>
                <a:gd name="T1" fmla="*/ 16 h 51"/>
                <a:gd name="T2" fmla="*/ 41 w 47"/>
                <a:gd name="T3" fmla="*/ 14 h 51"/>
                <a:gd name="T4" fmla="*/ 38 w 47"/>
                <a:gd name="T5" fmla="*/ 13 h 51"/>
                <a:gd name="T6" fmla="*/ 35 w 47"/>
                <a:gd name="T7" fmla="*/ 16 h 51"/>
                <a:gd name="T8" fmla="*/ 31 w 47"/>
                <a:gd name="T9" fmla="*/ 10 h 51"/>
                <a:gd name="T10" fmla="*/ 35 w 47"/>
                <a:gd name="T11" fmla="*/ 8 h 51"/>
                <a:gd name="T12" fmla="*/ 38 w 47"/>
                <a:gd name="T13" fmla="*/ 2 h 51"/>
                <a:gd name="T14" fmla="*/ 35 w 47"/>
                <a:gd name="T15" fmla="*/ 0 h 51"/>
                <a:gd name="T16" fmla="*/ 28 w 47"/>
                <a:gd name="T17" fmla="*/ 2 h 51"/>
                <a:gd name="T18" fmla="*/ 25 w 47"/>
                <a:gd name="T19" fmla="*/ 6 h 51"/>
                <a:gd name="T20" fmla="*/ 22 w 47"/>
                <a:gd name="T21" fmla="*/ 8 h 51"/>
                <a:gd name="T22" fmla="*/ 25 w 47"/>
                <a:gd name="T23" fmla="*/ 10 h 51"/>
                <a:gd name="T24" fmla="*/ 22 w 47"/>
                <a:gd name="T25" fmla="*/ 13 h 51"/>
                <a:gd name="T26" fmla="*/ 19 w 47"/>
                <a:gd name="T27" fmla="*/ 14 h 51"/>
                <a:gd name="T28" fmla="*/ 14 w 47"/>
                <a:gd name="T29" fmla="*/ 14 h 51"/>
                <a:gd name="T30" fmla="*/ 8 w 47"/>
                <a:gd name="T31" fmla="*/ 14 h 51"/>
                <a:gd name="T32" fmla="*/ 8 w 47"/>
                <a:gd name="T33" fmla="*/ 16 h 51"/>
                <a:gd name="T34" fmla="*/ 11 w 47"/>
                <a:gd name="T35" fmla="*/ 19 h 51"/>
                <a:gd name="T36" fmla="*/ 8 w 47"/>
                <a:gd name="T37" fmla="*/ 22 h 51"/>
                <a:gd name="T38" fmla="*/ 4 w 47"/>
                <a:gd name="T39" fmla="*/ 25 h 51"/>
                <a:gd name="T40" fmla="*/ 11 w 47"/>
                <a:gd name="T41" fmla="*/ 27 h 51"/>
                <a:gd name="T42" fmla="*/ 11 w 47"/>
                <a:gd name="T43" fmla="*/ 30 h 51"/>
                <a:gd name="T44" fmla="*/ 11 w 47"/>
                <a:gd name="T45" fmla="*/ 35 h 51"/>
                <a:gd name="T46" fmla="*/ 8 w 47"/>
                <a:gd name="T47" fmla="*/ 38 h 51"/>
                <a:gd name="T48" fmla="*/ 3 w 47"/>
                <a:gd name="T49" fmla="*/ 41 h 51"/>
                <a:gd name="T50" fmla="*/ 0 w 47"/>
                <a:gd name="T51" fmla="*/ 44 h 51"/>
                <a:gd name="T52" fmla="*/ 1 w 47"/>
                <a:gd name="T53" fmla="*/ 44 h 51"/>
                <a:gd name="T54" fmla="*/ 1 w 47"/>
                <a:gd name="T55" fmla="*/ 49 h 51"/>
                <a:gd name="T56" fmla="*/ 4 w 47"/>
                <a:gd name="T57" fmla="*/ 49 h 51"/>
                <a:gd name="T58" fmla="*/ 6 w 47"/>
                <a:gd name="T59" fmla="*/ 49 h 51"/>
                <a:gd name="T60" fmla="*/ 8 w 47"/>
                <a:gd name="T61" fmla="*/ 51 h 51"/>
                <a:gd name="T62" fmla="*/ 19 w 47"/>
                <a:gd name="T63" fmla="*/ 51 h 51"/>
                <a:gd name="T64" fmla="*/ 25 w 47"/>
                <a:gd name="T65" fmla="*/ 48 h 51"/>
                <a:gd name="T66" fmla="*/ 35 w 47"/>
                <a:gd name="T67" fmla="*/ 43 h 51"/>
                <a:gd name="T68" fmla="*/ 38 w 47"/>
                <a:gd name="T69" fmla="*/ 43 h 51"/>
                <a:gd name="T70" fmla="*/ 42 w 47"/>
                <a:gd name="T71" fmla="*/ 41 h 51"/>
                <a:gd name="T72" fmla="*/ 44 w 47"/>
                <a:gd name="T73" fmla="*/ 38 h 51"/>
                <a:gd name="T74" fmla="*/ 46 w 47"/>
                <a:gd name="T75" fmla="*/ 25 h 51"/>
                <a:gd name="T76" fmla="*/ 46 w 47"/>
                <a:gd name="T77" fmla="*/ 22 h 51"/>
                <a:gd name="T78" fmla="*/ 46 w 47"/>
                <a:gd name="T79" fmla="*/ 16 h 51"/>
                <a:gd name="T80" fmla="*/ 46 w 47"/>
                <a:gd name="T81" fmla="*/ 16 h 51"/>
                <a:gd name="T82" fmla="*/ 46 w 47"/>
                <a:gd name="T83"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51">
                  <a:moveTo>
                    <a:pt x="46" y="16"/>
                  </a:moveTo>
                  <a:lnTo>
                    <a:pt x="44" y="16"/>
                  </a:lnTo>
                  <a:lnTo>
                    <a:pt x="42" y="16"/>
                  </a:lnTo>
                  <a:lnTo>
                    <a:pt x="42" y="16"/>
                  </a:lnTo>
                  <a:lnTo>
                    <a:pt x="41" y="14"/>
                  </a:lnTo>
                  <a:lnTo>
                    <a:pt x="41" y="14"/>
                  </a:lnTo>
                  <a:lnTo>
                    <a:pt x="39" y="13"/>
                  </a:lnTo>
                  <a:lnTo>
                    <a:pt x="38" y="13"/>
                  </a:lnTo>
                  <a:lnTo>
                    <a:pt x="38" y="13"/>
                  </a:lnTo>
                  <a:lnTo>
                    <a:pt x="38" y="14"/>
                  </a:lnTo>
                  <a:lnTo>
                    <a:pt x="35" y="16"/>
                  </a:lnTo>
                  <a:lnTo>
                    <a:pt x="35" y="16"/>
                  </a:lnTo>
                  <a:lnTo>
                    <a:pt x="28" y="13"/>
                  </a:lnTo>
                  <a:lnTo>
                    <a:pt x="28" y="11"/>
                  </a:lnTo>
                  <a:lnTo>
                    <a:pt x="31" y="10"/>
                  </a:lnTo>
                  <a:lnTo>
                    <a:pt x="31" y="8"/>
                  </a:lnTo>
                  <a:lnTo>
                    <a:pt x="31" y="8"/>
                  </a:lnTo>
                  <a:lnTo>
                    <a:pt x="35" y="8"/>
                  </a:lnTo>
                  <a:lnTo>
                    <a:pt x="35" y="5"/>
                  </a:lnTo>
                  <a:lnTo>
                    <a:pt x="38" y="3"/>
                  </a:lnTo>
                  <a:lnTo>
                    <a:pt x="38" y="2"/>
                  </a:lnTo>
                  <a:lnTo>
                    <a:pt x="41" y="0"/>
                  </a:lnTo>
                  <a:lnTo>
                    <a:pt x="38" y="0"/>
                  </a:lnTo>
                  <a:lnTo>
                    <a:pt x="35" y="0"/>
                  </a:lnTo>
                  <a:lnTo>
                    <a:pt x="31" y="0"/>
                  </a:lnTo>
                  <a:lnTo>
                    <a:pt x="31" y="2"/>
                  </a:lnTo>
                  <a:lnTo>
                    <a:pt x="28" y="2"/>
                  </a:lnTo>
                  <a:lnTo>
                    <a:pt x="25" y="2"/>
                  </a:lnTo>
                  <a:lnTo>
                    <a:pt x="25" y="3"/>
                  </a:lnTo>
                  <a:lnTo>
                    <a:pt x="25" y="6"/>
                  </a:lnTo>
                  <a:lnTo>
                    <a:pt x="23" y="6"/>
                  </a:lnTo>
                  <a:lnTo>
                    <a:pt x="23" y="8"/>
                  </a:lnTo>
                  <a:lnTo>
                    <a:pt x="22" y="8"/>
                  </a:lnTo>
                  <a:lnTo>
                    <a:pt x="20" y="8"/>
                  </a:lnTo>
                  <a:lnTo>
                    <a:pt x="23" y="10"/>
                  </a:lnTo>
                  <a:lnTo>
                    <a:pt x="25" y="10"/>
                  </a:lnTo>
                  <a:lnTo>
                    <a:pt x="25" y="11"/>
                  </a:lnTo>
                  <a:lnTo>
                    <a:pt x="25" y="11"/>
                  </a:lnTo>
                  <a:lnTo>
                    <a:pt x="22" y="13"/>
                  </a:lnTo>
                  <a:lnTo>
                    <a:pt x="23" y="14"/>
                  </a:lnTo>
                  <a:lnTo>
                    <a:pt x="22" y="14"/>
                  </a:lnTo>
                  <a:lnTo>
                    <a:pt x="19" y="14"/>
                  </a:lnTo>
                  <a:lnTo>
                    <a:pt x="17" y="14"/>
                  </a:lnTo>
                  <a:lnTo>
                    <a:pt x="15" y="16"/>
                  </a:lnTo>
                  <a:lnTo>
                    <a:pt x="14" y="14"/>
                  </a:lnTo>
                  <a:lnTo>
                    <a:pt x="11" y="13"/>
                  </a:lnTo>
                  <a:lnTo>
                    <a:pt x="8" y="14"/>
                  </a:lnTo>
                  <a:lnTo>
                    <a:pt x="8" y="14"/>
                  </a:lnTo>
                  <a:lnTo>
                    <a:pt x="8" y="16"/>
                  </a:lnTo>
                  <a:lnTo>
                    <a:pt x="8" y="16"/>
                  </a:lnTo>
                  <a:lnTo>
                    <a:pt x="8" y="16"/>
                  </a:lnTo>
                  <a:lnTo>
                    <a:pt x="8" y="19"/>
                  </a:lnTo>
                  <a:lnTo>
                    <a:pt x="11" y="19"/>
                  </a:lnTo>
                  <a:lnTo>
                    <a:pt x="11" y="19"/>
                  </a:lnTo>
                  <a:lnTo>
                    <a:pt x="11" y="19"/>
                  </a:lnTo>
                  <a:lnTo>
                    <a:pt x="8" y="22"/>
                  </a:lnTo>
                  <a:lnTo>
                    <a:pt x="8" y="22"/>
                  </a:lnTo>
                  <a:lnTo>
                    <a:pt x="4" y="25"/>
                  </a:lnTo>
                  <a:lnTo>
                    <a:pt x="6" y="25"/>
                  </a:lnTo>
                  <a:lnTo>
                    <a:pt x="4" y="25"/>
                  </a:lnTo>
                  <a:lnTo>
                    <a:pt x="6" y="25"/>
                  </a:lnTo>
                  <a:lnTo>
                    <a:pt x="8" y="25"/>
                  </a:lnTo>
                  <a:lnTo>
                    <a:pt x="11" y="27"/>
                  </a:lnTo>
                  <a:lnTo>
                    <a:pt x="17" y="27"/>
                  </a:lnTo>
                  <a:lnTo>
                    <a:pt x="14" y="29"/>
                  </a:lnTo>
                  <a:lnTo>
                    <a:pt x="11" y="30"/>
                  </a:lnTo>
                  <a:lnTo>
                    <a:pt x="11" y="32"/>
                  </a:lnTo>
                  <a:lnTo>
                    <a:pt x="11" y="33"/>
                  </a:lnTo>
                  <a:lnTo>
                    <a:pt x="11" y="35"/>
                  </a:lnTo>
                  <a:lnTo>
                    <a:pt x="6" y="36"/>
                  </a:lnTo>
                  <a:lnTo>
                    <a:pt x="11" y="36"/>
                  </a:lnTo>
                  <a:lnTo>
                    <a:pt x="8" y="38"/>
                  </a:lnTo>
                  <a:lnTo>
                    <a:pt x="6" y="40"/>
                  </a:lnTo>
                  <a:lnTo>
                    <a:pt x="6" y="41"/>
                  </a:lnTo>
                  <a:lnTo>
                    <a:pt x="3" y="41"/>
                  </a:lnTo>
                  <a:lnTo>
                    <a:pt x="1" y="41"/>
                  </a:lnTo>
                  <a:lnTo>
                    <a:pt x="0" y="43"/>
                  </a:lnTo>
                  <a:lnTo>
                    <a:pt x="0" y="44"/>
                  </a:lnTo>
                  <a:lnTo>
                    <a:pt x="3" y="43"/>
                  </a:lnTo>
                  <a:lnTo>
                    <a:pt x="6" y="43"/>
                  </a:lnTo>
                  <a:lnTo>
                    <a:pt x="1" y="44"/>
                  </a:lnTo>
                  <a:lnTo>
                    <a:pt x="0" y="48"/>
                  </a:lnTo>
                  <a:lnTo>
                    <a:pt x="0" y="49"/>
                  </a:lnTo>
                  <a:lnTo>
                    <a:pt x="1" y="49"/>
                  </a:lnTo>
                  <a:lnTo>
                    <a:pt x="3" y="49"/>
                  </a:lnTo>
                  <a:lnTo>
                    <a:pt x="8" y="48"/>
                  </a:lnTo>
                  <a:lnTo>
                    <a:pt x="4" y="49"/>
                  </a:lnTo>
                  <a:lnTo>
                    <a:pt x="1" y="51"/>
                  </a:lnTo>
                  <a:lnTo>
                    <a:pt x="3" y="51"/>
                  </a:lnTo>
                  <a:lnTo>
                    <a:pt x="6" y="49"/>
                  </a:lnTo>
                  <a:lnTo>
                    <a:pt x="8" y="49"/>
                  </a:lnTo>
                  <a:lnTo>
                    <a:pt x="6" y="51"/>
                  </a:lnTo>
                  <a:lnTo>
                    <a:pt x="8" y="51"/>
                  </a:lnTo>
                  <a:lnTo>
                    <a:pt x="11" y="51"/>
                  </a:lnTo>
                  <a:lnTo>
                    <a:pt x="17" y="51"/>
                  </a:lnTo>
                  <a:lnTo>
                    <a:pt x="19" y="51"/>
                  </a:lnTo>
                  <a:lnTo>
                    <a:pt x="20" y="49"/>
                  </a:lnTo>
                  <a:lnTo>
                    <a:pt x="22" y="48"/>
                  </a:lnTo>
                  <a:lnTo>
                    <a:pt x="25" y="48"/>
                  </a:lnTo>
                  <a:lnTo>
                    <a:pt x="28" y="46"/>
                  </a:lnTo>
                  <a:lnTo>
                    <a:pt x="28" y="44"/>
                  </a:lnTo>
                  <a:lnTo>
                    <a:pt x="35" y="43"/>
                  </a:lnTo>
                  <a:lnTo>
                    <a:pt x="35" y="43"/>
                  </a:lnTo>
                  <a:lnTo>
                    <a:pt x="38" y="41"/>
                  </a:lnTo>
                  <a:lnTo>
                    <a:pt x="38" y="43"/>
                  </a:lnTo>
                  <a:lnTo>
                    <a:pt x="38" y="43"/>
                  </a:lnTo>
                  <a:lnTo>
                    <a:pt x="39" y="43"/>
                  </a:lnTo>
                  <a:lnTo>
                    <a:pt x="42" y="41"/>
                  </a:lnTo>
                  <a:lnTo>
                    <a:pt x="41" y="40"/>
                  </a:lnTo>
                  <a:lnTo>
                    <a:pt x="42" y="40"/>
                  </a:lnTo>
                  <a:lnTo>
                    <a:pt x="44" y="38"/>
                  </a:lnTo>
                  <a:lnTo>
                    <a:pt x="46" y="35"/>
                  </a:lnTo>
                  <a:lnTo>
                    <a:pt x="47" y="30"/>
                  </a:lnTo>
                  <a:lnTo>
                    <a:pt x="46" y="25"/>
                  </a:lnTo>
                  <a:lnTo>
                    <a:pt x="47" y="25"/>
                  </a:lnTo>
                  <a:lnTo>
                    <a:pt x="47" y="25"/>
                  </a:lnTo>
                  <a:lnTo>
                    <a:pt x="46" y="22"/>
                  </a:lnTo>
                  <a:lnTo>
                    <a:pt x="44" y="19"/>
                  </a:lnTo>
                  <a:lnTo>
                    <a:pt x="47" y="16"/>
                  </a:lnTo>
                  <a:lnTo>
                    <a:pt x="46" y="16"/>
                  </a:lnTo>
                  <a:lnTo>
                    <a:pt x="46" y="16"/>
                  </a:lnTo>
                  <a:lnTo>
                    <a:pt x="46" y="16"/>
                  </a:lnTo>
                  <a:lnTo>
                    <a:pt x="46" y="16"/>
                  </a:lnTo>
                  <a:lnTo>
                    <a:pt x="46" y="16"/>
                  </a:lnTo>
                  <a:lnTo>
                    <a:pt x="46" y="16"/>
                  </a:lnTo>
                  <a:lnTo>
                    <a:pt x="46" y="16"/>
                  </a:lnTo>
                  <a:lnTo>
                    <a:pt x="46" y="16"/>
                  </a:lnTo>
                  <a:lnTo>
                    <a:pt x="46" y="16"/>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8" name="Freeform 313">
              <a:extLst>
                <a:ext uri="{FF2B5EF4-FFF2-40B4-BE49-F238E27FC236}">
                  <a16:creationId xmlns:a16="http://schemas.microsoft.com/office/drawing/2014/main" id="{832348D0-B000-6E14-0297-6F26049E0D32}"/>
                </a:ext>
              </a:extLst>
            </p:cNvPr>
            <p:cNvSpPr>
              <a:spLocks/>
            </p:cNvSpPr>
            <p:nvPr/>
          </p:nvSpPr>
          <p:spPr bwMode="auto">
            <a:xfrm>
              <a:off x="6282834" y="1829143"/>
              <a:ext cx="248981" cy="293843"/>
            </a:xfrm>
            <a:custGeom>
              <a:avLst/>
              <a:gdLst>
                <a:gd name="T0" fmla="*/ 108 w 111"/>
                <a:gd name="T1" fmla="*/ 96 h 131"/>
                <a:gd name="T2" fmla="*/ 111 w 111"/>
                <a:gd name="T3" fmla="*/ 91 h 131"/>
                <a:gd name="T4" fmla="*/ 94 w 111"/>
                <a:gd name="T5" fmla="*/ 80 h 131"/>
                <a:gd name="T6" fmla="*/ 98 w 111"/>
                <a:gd name="T7" fmla="*/ 72 h 131"/>
                <a:gd name="T8" fmla="*/ 94 w 111"/>
                <a:gd name="T9" fmla="*/ 67 h 131"/>
                <a:gd name="T10" fmla="*/ 89 w 111"/>
                <a:gd name="T11" fmla="*/ 64 h 131"/>
                <a:gd name="T12" fmla="*/ 89 w 111"/>
                <a:gd name="T13" fmla="*/ 61 h 131"/>
                <a:gd name="T14" fmla="*/ 89 w 111"/>
                <a:gd name="T15" fmla="*/ 56 h 131"/>
                <a:gd name="T16" fmla="*/ 86 w 111"/>
                <a:gd name="T17" fmla="*/ 47 h 131"/>
                <a:gd name="T18" fmla="*/ 79 w 111"/>
                <a:gd name="T19" fmla="*/ 37 h 131"/>
                <a:gd name="T20" fmla="*/ 86 w 111"/>
                <a:gd name="T21" fmla="*/ 32 h 131"/>
                <a:gd name="T22" fmla="*/ 76 w 111"/>
                <a:gd name="T23" fmla="*/ 24 h 131"/>
                <a:gd name="T24" fmla="*/ 70 w 111"/>
                <a:gd name="T25" fmla="*/ 21 h 131"/>
                <a:gd name="T26" fmla="*/ 71 w 111"/>
                <a:gd name="T27" fmla="*/ 18 h 131"/>
                <a:gd name="T28" fmla="*/ 70 w 111"/>
                <a:gd name="T29" fmla="*/ 15 h 131"/>
                <a:gd name="T30" fmla="*/ 75 w 111"/>
                <a:gd name="T31" fmla="*/ 12 h 131"/>
                <a:gd name="T32" fmla="*/ 73 w 111"/>
                <a:gd name="T33" fmla="*/ 5 h 131"/>
                <a:gd name="T34" fmla="*/ 60 w 111"/>
                <a:gd name="T35" fmla="*/ 0 h 131"/>
                <a:gd name="T36" fmla="*/ 55 w 111"/>
                <a:gd name="T37" fmla="*/ 2 h 131"/>
                <a:gd name="T38" fmla="*/ 44 w 111"/>
                <a:gd name="T39" fmla="*/ 5 h 131"/>
                <a:gd name="T40" fmla="*/ 44 w 111"/>
                <a:gd name="T41" fmla="*/ 15 h 131"/>
                <a:gd name="T42" fmla="*/ 41 w 111"/>
                <a:gd name="T43" fmla="*/ 16 h 131"/>
                <a:gd name="T44" fmla="*/ 35 w 111"/>
                <a:gd name="T45" fmla="*/ 18 h 131"/>
                <a:gd name="T46" fmla="*/ 24 w 111"/>
                <a:gd name="T47" fmla="*/ 18 h 131"/>
                <a:gd name="T48" fmla="*/ 6 w 111"/>
                <a:gd name="T49" fmla="*/ 12 h 131"/>
                <a:gd name="T50" fmla="*/ 3 w 111"/>
                <a:gd name="T51" fmla="*/ 12 h 131"/>
                <a:gd name="T52" fmla="*/ 14 w 111"/>
                <a:gd name="T53" fmla="*/ 20 h 131"/>
                <a:gd name="T54" fmla="*/ 25 w 111"/>
                <a:gd name="T55" fmla="*/ 26 h 131"/>
                <a:gd name="T56" fmla="*/ 25 w 111"/>
                <a:gd name="T57" fmla="*/ 29 h 131"/>
                <a:gd name="T58" fmla="*/ 28 w 111"/>
                <a:gd name="T59" fmla="*/ 35 h 131"/>
                <a:gd name="T60" fmla="*/ 30 w 111"/>
                <a:gd name="T61" fmla="*/ 39 h 131"/>
                <a:gd name="T62" fmla="*/ 30 w 111"/>
                <a:gd name="T63" fmla="*/ 43 h 131"/>
                <a:gd name="T64" fmla="*/ 35 w 111"/>
                <a:gd name="T65" fmla="*/ 53 h 131"/>
                <a:gd name="T66" fmla="*/ 38 w 111"/>
                <a:gd name="T67" fmla="*/ 54 h 131"/>
                <a:gd name="T68" fmla="*/ 44 w 111"/>
                <a:gd name="T69" fmla="*/ 58 h 131"/>
                <a:gd name="T70" fmla="*/ 48 w 111"/>
                <a:gd name="T71" fmla="*/ 61 h 131"/>
                <a:gd name="T72" fmla="*/ 48 w 111"/>
                <a:gd name="T73" fmla="*/ 67 h 131"/>
                <a:gd name="T74" fmla="*/ 38 w 111"/>
                <a:gd name="T75" fmla="*/ 69 h 131"/>
                <a:gd name="T76" fmla="*/ 30 w 111"/>
                <a:gd name="T77" fmla="*/ 75 h 131"/>
                <a:gd name="T78" fmla="*/ 25 w 111"/>
                <a:gd name="T79" fmla="*/ 80 h 131"/>
                <a:gd name="T80" fmla="*/ 22 w 111"/>
                <a:gd name="T81" fmla="*/ 81 h 131"/>
                <a:gd name="T82" fmla="*/ 17 w 111"/>
                <a:gd name="T83" fmla="*/ 85 h 131"/>
                <a:gd name="T84" fmla="*/ 13 w 111"/>
                <a:gd name="T85" fmla="*/ 88 h 131"/>
                <a:gd name="T86" fmla="*/ 11 w 111"/>
                <a:gd name="T87" fmla="*/ 91 h 131"/>
                <a:gd name="T88" fmla="*/ 11 w 111"/>
                <a:gd name="T89" fmla="*/ 99 h 131"/>
                <a:gd name="T90" fmla="*/ 16 w 111"/>
                <a:gd name="T91" fmla="*/ 108 h 131"/>
                <a:gd name="T92" fmla="*/ 14 w 111"/>
                <a:gd name="T93" fmla="*/ 113 h 131"/>
                <a:gd name="T94" fmla="*/ 14 w 111"/>
                <a:gd name="T95" fmla="*/ 120 h 131"/>
                <a:gd name="T96" fmla="*/ 19 w 111"/>
                <a:gd name="T97" fmla="*/ 120 h 131"/>
                <a:gd name="T98" fmla="*/ 28 w 111"/>
                <a:gd name="T99" fmla="*/ 126 h 131"/>
                <a:gd name="T100" fmla="*/ 32 w 111"/>
                <a:gd name="T101" fmla="*/ 126 h 131"/>
                <a:gd name="T102" fmla="*/ 32 w 111"/>
                <a:gd name="T103" fmla="*/ 131 h 131"/>
                <a:gd name="T104" fmla="*/ 43 w 111"/>
                <a:gd name="T105" fmla="*/ 127 h 131"/>
                <a:gd name="T106" fmla="*/ 48 w 111"/>
                <a:gd name="T107" fmla="*/ 126 h 131"/>
                <a:gd name="T108" fmla="*/ 57 w 111"/>
                <a:gd name="T109" fmla="*/ 123 h 131"/>
                <a:gd name="T110" fmla="*/ 59 w 111"/>
                <a:gd name="T111" fmla="*/ 123 h 131"/>
                <a:gd name="T112" fmla="*/ 62 w 111"/>
                <a:gd name="T113" fmla="*/ 123 h 131"/>
                <a:gd name="T114" fmla="*/ 67 w 111"/>
                <a:gd name="T115" fmla="*/ 123 h 131"/>
                <a:gd name="T116" fmla="*/ 75 w 111"/>
                <a:gd name="T117" fmla="*/ 123 h 131"/>
                <a:gd name="T118" fmla="*/ 86 w 111"/>
                <a:gd name="T119" fmla="*/ 116 h 131"/>
                <a:gd name="T120" fmla="*/ 92 w 111"/>
                <a:gd name="T121" fmla="*/ 110 h 131"/>
                <a:gd name="T122" fmla="*/ 92 w 111"/>
                <a:gd name="T123" fmla="*/ 110 h 131"/>
                <a:gd name="T124" fmla="*/ 92 w 111"/>
                <a:gd name="T125" fmla="*/ 11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131">
                  <a:moveTo>
                    <a:pt x="92" y="110"/>
                  </a:moveTo>
                  <a:lnTo>
                    <a:pt x="106" y="97"/>
                  </a:lnTo>
                  <a:lnTo>
                    <a:pt x="108" y="96"/>
                  </a:lnTo>
                  <a:lnTo>
                    <a:pt x="109" y="94"/>
                  </a:lnTo>
                  <a:lnTo>
                    <a:pt x="111" y="91"/>
                  </a:lnTo>
                  <a:lnTo>
                    <a:pt x="111" y="91"/>
                  </a:lnTo>
                  <a:lnTo>
                    <a:pt x="111" y="88"/>
                  </a:lnTo>
                  <a:lnTo>
                    <a:pt x="109" y="88"/>
                  </a:lnTo>
                  <a:lnTo>
                    <a:pt x="94" y="80"/>
                  </a:lnTo>
                  <a:lnTo>
                    <a:pt x="98" y="77"/>
                  </a:lnTo>
                  <a:lnTo>
                    <a:pt x="100" y="74"/>
                  </a:lnTo>
                  <a:lnTo>
                    <a:pt x="98" y="72"/>
                  </a:lnTo>
                  <a:lnTo>
                    <a:pt x="94" y="70"/>
                  </a:lnTo>
                  <a:lnTo>
                    <a:pt x="92" y="69"/>
                  </a:lnTo>
                  <a:lnTo>
                    <a:pt x="94" y="67"/>
                  </a:lnTo>
                  <a:lnTo>
                    <a:pt x="92" y="67"/>
                  </a:lnTo>
                  <a:lnTo>
                    <a:pt x="90" y="67"/>
                  </a:lnTo>
                  <a:lnTo>
                    <a:pt x="89" y="64"/>
                  </a:lnTo>
                  <a:lnTo>
                    <a:pt x="89" y="64"/>
                  </a:lnTo>
                  <a:lnTo>
                    <a:pt x="89" y="61"/>
                  </a:lnTo>
                  <a:lnTo>
                    <a:pt x="89" y="61"/>
                  </a:lnTo>
                  <a:lnTo>
                    <a:pt x="89" y="59"/>
                  </a:lnTo>
                  <a:lnTo>
                    <a:pt x="89" y="58"/>
                  </a:lnTo>
                  <a:lnTo>
                    <a:pt x="89" y="56"/>
                  </a:lnTo>
                  <a:lnTo>
                    <a:pt x="90" y="54"/>
                  </a:lnTo>
                  <a:lnTo>
                    <a:pt x="89" y="51"/>
                  </a:lnTo>
                  <a:lnTo>
                    <a:pt x="86" y="47"/>
                  </a:lnTo>
                  <a:lnTo>
                    <a:pt x="79" y="40"/>
                  </a:lnTo>
                  <a:lnTo>
                    <a:pt x="79" y="39"/>
                  </a:lnTo>
                  <a:lnTo>
                    <a:pt x="79" y="37"/>
                  </a:lnTo>
                  <a:lnTo>
                    <a:pt x="82" y="35"/>
                  </a:lnTo>
                  <a:lnTo>
                    <a:pt x="86" y="32"/>
                  </a:lnTo>
                  <a:lnTo>
                    <a:pt x="86" y="32"/>
                  </a:lnTo>
                  <a:lnTo>
                    <a:pt x="86" y="29"/>
                  </a:lnTo>
                  <a:lnTo>
                    <a:pt x="79" y="26"/>
                  </a:lnTo>
                  <a:lnTo>
                    <a:pt x="76" y="24"/>
                  </a:lnTo>
                  <a:lnTo>
                    <a:pt x="73" y="23"/>
                  </a:lnTo>
                  <a:lnTo>
                    <a:pt x="70" y="21"/>
                  </a:lnTo>
                  <a:lnTo>
                    <a:pt x="70" y="21"/>
                  </a:lnTo>
                  <a:lnTo>
                    <a:pt x="70" y="20"/>
                  </a:lnTo>
                  <a:lnTo>
                    <a:pt x="70" y="20"/>
                  </a:lnTo>
                  <a:lnTo>
                    <a:pt x="71" y="18"/>
                  </a:lnTo>
                  <a:lnTo>
                    <a:pt x="73" y="16"/>
                  </a:lnTo>
                  <a:lnTo>
                    <a:pt x="71" y="16"/>
                  </a:lnTo>
                  <a:lnTo>
                    <a:pt x="70" y="15"/>
                  </a:lnTo>
                  <a:lnTo>
                    <a:pt x="73" y="15"/>
                  </a:lnTo>
                  <a:lnTo>
                    <a:pt x="76" y="13"/>
                  </a:lnTo>
                  <a:lnTo>
                    <a:pt x="75" y="12"/>
                  </a:lnTo>
                  <a:lnTo>
                    <a:pt x="76" y="8"/>
                  </a:lnTo>
                  <a:lnTo>
                    <a:pt x="76" y="7"/>
                  </a:lnTo>
                  <a:lnTo>
                    <a:pt x="73" y="5"/>
                  </a:lnTo>
                  <a:lnTo>
                    <a:pt x="65" y="2"/>
                  </a:lnTo>
                  <a:lnTo>
                    <a:pt x="62" y="0"/>
                  </a:lnTo>
                  <a:lnTo>
                    <a:pt x="60" y="0"/>
                  </a:lnTo>
                  <a:lnTo>
                    <a:pt x="60" y="0"/>
                  </a:lnTo>
                  <a:lnTo>
                    <a:pt x="59" y="0"/>
                  </a:lnTo>
                  <a:lnTo>
                    <a:pt x="55" y="2"/>
                  </a:lnTo>
                  <a:lnTo>
                    <a:pt x="51" y="2"/>
                  </a:lnTo>
                  <a:lnTo>
                    <a:pt x="48" y="2"/>
                  </a:lnTo>
                  <a:lnTo>
                    <a:pt x="44" y="5"/>
                  </a:lnTo>
                  <a:lnTo>
                    <a:pt x="44" y="8"/>
                  </a:lnTo>
                  <a:lnTo>
                    <a:pt x="44" y="13"/>
                  </a:lnTo>
                  <a:lnTo>
                    <a:pt x="44" y="15"/>
                  </a:lnTo>
                  <a:lnTo>
                    <a:pt x="43" y="15"/>
                  </a:lnTo>
                  <a:lnTo>
                    <a:pt x="41" y="15"/>
                  </a:lnTo>
                  <a:lnTo>
                    <a:pt x="41" y="16"/>
                  </a:lnTo>
                  <a:lnTo>
                    <a:pt x="38" y="18"/>
                  </a:lnTo>
                  <a:lnTo>
                    <a:pt x="35" y="18"/>
                  </a:lnTo>
                  <a:lnTo>
                    <a:pt x="35" y="18"/>
                  </a:lnTo>
                  <a:lnTo>
                    <a:pt x="32" y="16"/>
                  </a:lnTo>
                  <a:lnTo>
                    <a:pt x="28" y="16"/>
                  </a:lnTo>
                  <a:lnTo>
                    <a:pt x="24" y="18"/>
                  </a:lnTo>
                  <a:lnTo>
                    <a:pt x="17" y="18"/>
                  </a:lnTo>
                  <a:lnTo>
                    <a:pt x="13" y="15"/>
                  </a:lnTo>
                  <a:lnTo>
                    <a:pt x="6" y="12"/>
                  </a:lnTo>
                  <a:lnTo>
                    <a:pt x="3" y="10"/>
                  </a:lnTo>
                  <a:lnTo>
                    <a:pt x="0" y="12"/>
                  </a:lnTo>
                  <a:lnTo>
                    <a:pt x="3" y="12"/>
                  </a:lnTo>
                  <a:lnTo>
                    <a:pt x="0" y="13"/>
                  </a:lnTo>
                  <a:lnTo>
                    <a:pt x="3" y="13"/>
                  </a:lnTo>
                  <a:lnTo>
                    <a:pt x="14" y="20"/>
                  </a:lnTo>
                  <a:lnTo>
                    <a:pt x="21" y="23"/>
                  </a:lnTo>
                  <a:lnTo>
                    <a:pt x="22" y="24"/>
                  </a:lnTo>
                  <a:lnTo>
                    <a:pt x="25" y="26"/>
                  </a:lnTo>
                  <a:lnTo>
                    <a:pt x="27" y="26"/>
                  </a:lnTo>
                  <a:lnTo>
                    <a:pt x="25" y="29"/>
                  </a:lnTo>
                  <a:lnTo>
                    <a:pt x="25" y="29"/>
                  </a:lnTo>
                  <a:lnTo>
                    <a:pt x="27" y="32"/>
                  </a:lnTo>
                  <a:lnTo>
                    <a:pt x="28" y="32"/>
                  </a:lnTo>
                  <a:lnTo>
                    <a:pt x="28" y="35"/>
                  </a:lnTo>
                  <a:lnTo>
                    <a:pt x="28" y="35"/>
                  </a:lnTo>
                  <a:lnTo>
                    <a:pt x="28" y="37"/>
                  </a:lnTo>
                  <a:lnTo>
                    <a:pt x="30" y="39"/>
                  </a:lnTo>
                  <a:lnTo>
                    <a:pt x="32" y="40"/>
                  </a:lnTo>
                  <a:lnTo>
                    <a:pt x="30" y="42"/>
                  </a:lnTo>
                  <a:lnTo>
                    <a:pt x="30" y="43"/>
                  </a:lnTo>
                  <a:lnTo>
                    <a:pt x="30" y="47"/>
                  </a:lnTo>
                  <a:lnTo>
                    <a:pt x="30" y="48"/>
                  </a:lnTo>
                  <a:lnTo>
                    <a:pt x="35" y="53"/>
                  </a:lnTo>
                  <a:lnTo>
                    <a:pt x="35" y="53"/>
                  </a:lnTo>
                  <a:lnTo>
                    <a:pt x="35" y="54"/>
                  </a:lnTo>
                  <a:lnTo>
                    <a:pt x="38" y="54"/>
                  </a:lnTo>
                  <a:lnTo>
                    <a:pt x="41" y="56"/>
                  </a:lnTo>
                  <a:lnTo>
                    <a:pt x="41" y="56"/>
                  </a:lnTo>
                  <a:lnTo>
                    <a:pt x="44" y="58"/>
                  </a:lnTo>
                  <a:lnTo>
                    <a:pt x="44" y="59"/>
                  </a:lnTo>
                  <a:lnTo>
                    <a:pt x="44" y="61"/>
                  </a:lnTo>
                  <a:lnTo>
                    <a:pt x="48" y="61"/>
                  </a:lnTo>
                  <a:lnTo>
                    <a:pt x="48" y="64"/>
                  </a:lnTo>
                  <a:lnTo>
                    <a:pt x="44" y="64"/>
                  </a:lnTo>
                  <a:lnTo>
                    <a:pt x="48" y="67"/>
                  </a:lnTo>
                  <a:lnTo>
                    <a:pt x="44" y="64"/>
                  </a:lnTo>
                  <a:lnTo>
                    <a:pt x="41" y="67"/>
                  </a:lnTo>
                  <a:lnTo>
                    <a:pt x="38" y="69"/>
                  </a:lnTo>
                  <a:lnTo>
                    <a:pt x="33" y="74"/>
                  </a:lnTo>
                  <a:lnTo>
                    <a:pt x="32" y="75"/>
                  </a:lnTo>
                  <a:lnTo>
                    <a:pt x="30" y="75"/>
                  </a:lnTo>
                  <a:lnTo>
                    <a:pt x="30" y="77"/>
                  </a:lnTo>
                  <a:lnTo>
                    <a:pt x="27" y="78"/>
                  </a:lnTo>
                  <a:lnTo>
                    <a:pt x="25" y="80"/>
                  </a:lnTo>
                  <a:lnTo>
                    <a:pt x="25" y="81"/>
                  </a:lnTo>
                  <a:lnTo>
                    <a:pt x="24" y="81"/>
                  </a:lnTo>
                  <a:lnTo>
                    <a:pt x="22" y="81"/>
                  </a:lnTo>
                  <a:lnTo>
                    <a:pt x="21" y="81"/>
                  </a:lnTo>
                  <a:lnTo>
                    <a:pt x="21" y="85"/>
                  </a:lnTo>
                  <a:lnTo>
                    <a:pt x="17" y="85"/>
                  </a:lnTo>
                  <a:lnTo>
                    <a:pt x="14" y="85"/>
                  </a:lnTo>
                  <a:lnTo>
                    <a:pt x="13" y="85"/>
                  </a:lnTo>
                  <a:lnTo>
                    <a:pt x="13" y="88"/>
                  </a:lnTo>
                  <a:lnTo>
                    <a:pt x="14" y="88"/>
                  </a:lnTo>
                  <a:lnTo>
                    <a:pt x="13" y="88"/>
                  </a:lnTo>
                  <a:lnTo>
                    <a:pt x="11" y="91"/>
                  </a:lnTo>
                  <a:lnTo>
                    <a:pt x="9" y="93"/>
                  </a:lnTo>
                  <a:lnTo>
                    <a:pt x="11" y="96"/>
                  </a:lnTo>
                  <a:lnTo>
                    <a:pt x="11" y="99"/>
                  </a:lnTo>
                  <a:lnTo>
                    <a:pt x="11" y="100"/>
                  </a:lnTo>
                  <a:lnTo>
                    <a:pt x="13" y="105"/>
                  </a:lnTo>
                  <a:lnTo>
                    <a:pt x="16" y="108"/>
                  </a:lnTo>
                  <a:lnTo>
                    <a:pt x="14" y="108"/>
                  </a:lnTo>
                  <a:lnTo>
                    <a:pt x="14" y="110"/>
                  </a:lnTo>
                  <a:lnTo>
                    <a:pt x="14" y="113"/>
                  </a:lnTo>
                  <a:lnTo>
                    <a:pt x="13" y="115"/>
                  </a:lnTo>
                  <a:lnTo>
                    <a:pt x="14" y="116"/>
                  </a:lnTo>
                  <a:lnTo>
                    <a:pt x="14" y="120"/>
                  </a:lnTo>
                  <a:lnTo>
                    <a:pt x="16" y="120"/>
                  </a:lnTo>
                  <a:lnTo>
                    <a:pt x="17" y="120"/>
                  </a:lnTo>
                  <a:lnTo>
                    <a:pt x="19" y="120"/>
                  </a:lnTo>
                  <a:lnTo>
                    <a:pt x="24" y="123"/>
                  </a:lnTo>
                  <a:lnTo>
                    <a:pt x="27" y="123"/>
                  </a:lnTo>
                  <a:lnTo>
                    <a:pt x="28" y="126"/>
                  </a:lnTo>
                  <a:lnTo>
                    <a:pt x="32" y="123"/>
                  </a:lnTo>
                  <a:lnTo>
                    <a:pt x="30" y="126"/>
                  </a:lnTo>
                  <a:lnTo>
                    <a:pt x="32" y="126"/>
                  </a:lnTo>
                  <a:lnTo>
                    <a:pt x="35" y="127"/>
                  </a:lnTo>
                  <a:lnTo>
                    <a:pt x="33" y="127"/>
                  </a:lnTo>
                  <a:lnTo>
                    <a:pt x="32" y="131"/>
                  </a:lnTo>
                  <a:lnTo>
                    <a:pt x="35" y="129"/>
                  </a:lnTo>
                  <a:lnTo>
                    <a:pt x="38" y="127"/>
                  </a:lnTo>
                  <a:lnTo>
                    <a:pt x="43" y="127"/>
                  </a:lnTo>
                  <a:lnTo>
                    <a:pt x="44" y="127"/>
                  </a:lnTo>
                  <a:lnTo>
                    <a:pt x="44" y="127"/>
                  </a:lnTo>
                  <a:lnTo>
                    <a:pt x="48" y="126"/>
                  </a:lnTo>
                  <a:lnTo>
                    <a:pt x="51" y="126"/>
                  </a:lnTo>
                  <a:lnTo>
                    <a:pt x="54" y="126"/>
                  </a:lnTo>
                  <a:lnTo>
                    <a:pt x="57" y="123"/>
                  </a:lnTo>
                  <a:lnTo>
                    <a:pt x="57" y="126"/>
                  </a:lnTo>
                  <a:lnTo>
                    <a:pt x="59" y="126"/>
                  </a:lnTo>
                  <a:lnTo>
                    <a:pt x="59" y="123"/>
                  </a:lnTo>
                  <a:lnTo>
                    <a:pt x="60" y="123"/>
                  </a:lnTo>
                  <a:lnTo>
                    <a:pt x="60" y="123"/>
                  </a:lnTo>
                  <a:lnTo>
                    <a:pt x="62" y="123"/>
                  </a:lnTo>
                  <a:lnTo>
                    <a:pt x="63" y="123"/>
                  </a:lnTo>
                  <a:lnTo>
                    <a:pt x="65" y="123"/>
                  </a:lnTo>
                  <a:lnTo>
                    <a:pt x="67" y="123"/>
                  </a:lnTo>
                  <a:lnTo>
                    <a:pt x="71" y="120"/>
                  </a:lnTo>
                  <a:lnTo>
                    <a:pt x="73" y="120"/>
                  </a:lnTo>
                  <a:lnTo>
                    <a:pt x="75" y="123"/>
                  </a:lnTo>
                  <a:lnTo>
                    <a:pt x="76" y="123"/>
                  </a:lnTo>
                  <a:lnTo>
                    <a:pt x="79" y="120"/>
                  </a:lnTo>
                  <a:lnTo>
                    <a:pt x="86" y="116"/>
                  </a:lnTo>
                  <a:lnTo>
                    <a:pt x="92" y="110"/>
                  </a:lnTo>
                  <a:lnTo>
                    <a:pt x="92" y="110"/>
                  </a:lnTo>
                  <a:lnTo>
                    <a:pt x="92" y="110"/>
                  </a:lnTo>
                  <a:lnTo>
                    <a:pt x="92" y="110"/>
                  </a:lnTo>
                  <a:lnTo>
                    <a:pt x="92" y="110"/>
                  </a:lnTo>
                  <a:lnTo>
                    <a:pt x="92" y="110"/>
                  </a:lnTo>
                  <a:lnTo>
                    <a:pt x="92" y="110"/>
                  </a:lnTo>
                  <a:lnTo>
                    <a:pt x="92" y="110"/>
                  </a:lnTo>
                  <a:lnTo>
                    <a:pt x="92" y="11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69" name="Freeform 315">
              <a:extLst>
                <a:ext uri="{FF2B5EF4-FFF2-40B4-BE49-F238E27FC236}">
                  <a16:creationId xmlns:a16="http://schemas.microsoft.com/office/drawing/2014/main" id="{050FE22A-4BA9-2946-A6F7-9DECBE21D4E6}"/>
                </a:ext>
              </a:extLst>
            </p:cNvPr>
            <p:cNvSpPr>
              <a:spLocks noEditPoints="1"/>
            </p:cNvSpPr>
            <p:nvPr/>
          </p:nvSpPr>
          <p:spPr bwMode="auto">
            <a:xfrm>
              <a:off x="5944132" y="1802226"/>
              <a:ext cx="538337" cy="372349"/>
            </a:xfrm>
            <a:custGeom>
              <a:avLst/>
              <a:gdLst>
                <a:gd name="T0" fmla="*/ 189 w 240"/>
                <a:gd name="T1" fmla="*/ 30 h 166"/>
                <a:gd name="T2" fmla="*/ 206 w 240"/>
                <a:gd name="T3" fmla="*/ 14 h 166"/>
                <a:gd name="T4" fmla="*/ 229 w 240"/>
                <a:gd name="T5" fmla="*/ 24 h 166"/>
                <a:gd name="T6" fmla="*/ 229 w 240"/>
                <a:gd name="T7" fmla="*/ 14 h 166"/>
                <a:gd name="T8" fmla="*/ 237 w 240"/>
                <a:gd name="T9" fmla="*/ 8 h 166"/>
                <a:gd name="T10" fmla="*/ 218 w 240"/>
                <a:gd name="T11" fmla="*/ 6 h 166"/>
                <a:gd name="T12" fmla="*/ 213 w 240"/>
                <a:gd name="T13" fmla="*/ 1 h 166"/>
                <a:gd name="T14" fmla="*/ 202 w 240"/>
                <a:gd name="T15" fmla="*/ 8 h 166"/>
                <a:gd name="T16" fmla="*/ 191 w 240"/>
                <a:gd name="T17" fmla="*/ 11 h 166"/>
                <a:gd name="T18" fmla="*/ 189 w 240"/>
                <a:gd name="T19" fmla="*/ 3 h 166"/>
                <a:gd name="T20" fmla="*/ 178 w 240"/>
                <a:gd name="T21" fmla="*/ 8 h 166"/>
                <a:gd name="T22" fmla="*/ 162 w 240"/>
                <a:gd name="T23" fmla="*/ 11 h 166"/>
                <a:gd name="T24" fmla="*/ 159 w 240"/>
                <a:gd name="T25" fmla="*/ 14 h 166"/>
                <a:gd name="T26" fmla="*/ 146 w 240"/>
                <a:gd name="T27" fmla="*/ 17 h 166"/>
                <a:gd name="T28" fmla="*/ 143 w 240"/>
                <a:gd name="T29" fmla="*/ 14 h 166"/>
                <a:gd name="T30" fmla="*/ 130 w 240"/>
                <a:gd name="T31" fmla="*/ 20 h 166"/>
                <a:gd name="T32" fmla="*/ 121 w 240"/>
                <a:gd name="T33" fmla="*/ 25 h 166"/>
                <a:gd name="T34" fmla="*/ 110 w 240"/>
                <a:gd name="T35" fmla="*/ 33 h 166"/>
                <a:gd name="T36" fmla="*/ 110 w 240"/>
                <a:gd name="T37" fmla="*/ 38 h 166"/>
                <a:gd name="T38" fmla="*/ 99 w 240"/>
                <a:gd name="T39" fmla="*/ 38 h 166"/>
                <a:gd name="T40" fmla="*/ 100 w 240"/>
                <a:gd name="T41" fmla="*/ 44 h 166"/>
                <a:gd name="T42" fmla="*/ 95 w 240"/>
                <a:gd name="T43" fmla="*/ 47 h 166"/>
                <a:gd name="T44" fmla="*/ 87 w 240"/>
                <a:gd name="T45" fmla="*/ 51 h 166"/>
                <a:gd name="T46" fmla="*/ 83 w 240"/>
                <a:gd name="T47" fmla="*/ 57 h 166"/>
                <a:gd name="T48" fmla="*/ 83 w 240"/>
                <a:gd name="T49" fmla="*/ 60 h 166"/>
                <a:gd name="T50" fmla="*/ 72 w 240"/>
                <a:gd name="T51" fmla="*/ 73 h 166"/>
                <a:gd name="T52" fmla="*/ 62 w 240"/>
                <a:gd name="T53" fmla="*/ 79 h 166"/>
                <a:gd name="T54" fmla="*/ 62 w 240"/>
                <a:gd name="T55" fmla="*/ 84 h 166"/>
                <a:gd name="T56" fmla="*/ 46 w 240"/>
                <a:gd name="T57" fmla="*/ 90 h 166"/>
                <a:gd name="T58" fmla="*/ 64 w 240"/>
                <a:gd name="T59" fmla="*/ 87 h 166"/>
                <a:gd name="T60" fmla="*/ 52 w 240"/>
                <a:gd name="T61" fmla="*/ 97 h 166"/>
                <a:gd name="T62" fmla="*/ 41 w 240"/>
                <a:gd name="T63" fmla="*/ 97 h 166"/>
                <a:gd name="T64" fmla="*/ 33 w 240"/>
                <a:gd name="T65" fmla="*/ 101 h 166"/>
                <a:gd name="T66" fmla="*/ 25 w 240"/>
                <a:gd name="T67" fmla="*/ 101 h 166"/>
                <a:gd name="T68" fmla="*/ 18 w 240"/>
                <a:gd name="T69" fmla="*/ 106 h 166"/>
                <a:gd name="T70" fmla="*/ 10 w 240"/>
                <a:gd name="T71" fmla="*/ 111 h 166"/>
                <a:gd name="T72" fmla="*/ 0 w 240"/>
                <a:gd name="T73" fmla="*/ 119 h 166"/>
                <a:gd name="T74" fmla="*/ 0 w 240"/>
                <a:gd name="T75" fmla="*/ 125 h 166"/>
                <a:gd name="T76" fmla="*/ 5 w 240"/>
                <a:gd name="T77" fmla="*/ 132 h 166"/>
                <a:gd name="T78" fmla="*/ 6 w 240"/>
                <a:gd name="T79" fmla="*/ 138 h 166"/>
                <a:gd name="T80" fmla="*/ 13 w 240"/>
                <a:gd name="T81" fmla="*/ 138 h 166"/>
                <a:gd name="T82" fmla="*/ 5 w 240"/>
                <a:gd name="T83" fmla="*/ 143 h 166"/>
                <a:gd name="T84" fmla="*/ 14 w 240"/>
                <a:gd name="T85" fmla="*/ 146 h 166"/>
                <a:gd name="T86" fmla="*/ 8 w 240"/>
                <a:gd name="T87" fmla="*/ 154 h 166"/>
                <a:gd name="T88" fmla="*/ 25 w 240"/>
                <a:gd name="T89" fmla="*/ 166 h 166"/>
                <a:gd name="T90" fmla="*/ 49 w 240"/>
                <a:gd name="T91" fmla="*/ 154 h 166"/>
                <a:gd name="T92" fmla="*/ 56 w 240"/>
                <a:gd name="T93" fmla="*/ 141 h 166"/>
                <a:gd name="T94" fmla="*/ 64 w 240"/>
                <a:gd name="T95" fmla="*/ 154 h 166"/>
                <a:gd name="T96" fmla="*/ 75 w 240"/>
                <a:gd name="T97" fmla="*/ 138 h 166"/>
                <a:gd name="T98" fmla="*/ 75 w 240"/>
                <a:gd name="T99" fmla="*/ 119 h 166"/>
                <a:gd name="T100" fmla="*/ 72 w 240"/>
                <a:gd name="T101" fmla="*/ 92 h 166"/>
                <a:gd name="T102" fmla="*/ 84 w 240"/>
                <a:gd name="T103" fmla="*/ 82 h 166"/>
                <a:gd name="T104" fmla="*/ 103 w 240"/>
                <a:gd name="T105" fmla="*/ 55 h 166"/>
                <a:gd name="T106" fmla="*/ 126 w 240"/>
                <a:gd name="T107" fmla="*/ 36 h 166"/>
                <a:gd name="T108" fmla="*/ 146 w 240"/>
                <a:gd name="T109" fmla="*/ 27 h 166"/>
                <a:gd name="T110" fmla="*/ 3 w 240"/>
                <a:gd name="T111" fmla="*/ 128 h 166"/>
                <a:gd name="T112" fmla="*/ 10 w 240"/>
                <a:gd name="T113" fmla="*/ 117 h 166"/>
                <a:gd name="T114" fmla="*/ 16 w 240"/>
                <a:gd name="T115" fmla="*/ 124 h 166"/>
                <a:gd name="T116" fmla="*/ 21 w 240"/>
                <a:gd name="T117" fmla="*/ 111 h 166"/>
                <a:gd name="T118" fmla="*/ 30 w 240"/>
                <a:gd name="T119" fmla="*/ 105 h 166"/>
                <a:gd name="T120" fmla="*/ 137 w 240"/>
                <a:gd name="T121" fmla="*/ 2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66">
                  <a:moveTo>
                    <a:pt x="151" y="24"/>
                  </a:moveTo>
                  <a:lnTo>
                    <a:pt x="151" y="24"/>
                  </a:lnTo>
                  <a:lnTo>
                    <a:pt x="154" y="24"/>
                  </a:lnTo>
                  <a:lnTo>
                    <a:pt x="154" y="24"/>
                  </a:lnTo>
                  <a:lnTo>
                    <a:pt x="157" y="24"/>
                  </a:lnTo>
                  <a:lnTo>
                    <a:pt x="157" y="24"/>
                  </a:lnTo>
                  <a:lnTo>
                    <a:pt x="164" y="27"/>
                  </a:lnTo>
                  <a:lnTo>
                    <a:pt x="164" y="27"/>
                  </a:lnTo>
                  <a:lnTo>
                    <a:pt x="168" y="30"/>
                  </a:lnTo>
                  <a:lnTo>
                    <a:pt x="168" y="30"/>
                  </a:lnTo>
                  <a:lnTo>
                    <a:pt x="175" y="30"/>
                  </a:lnTo>
                  <a:lnTo>
                    <a:pt x="175" y="30"/>
                  </a:lnTo>
                  <a:lnTo>
                    <a:pt x="178" y="28"/>
                  </a:lnTo>
                  <a:lnTo>
                    <a:pt x="178" y="28"/>
                  </a:lnTo>
                  <a:lnTo>
                    <a:pt x="181" y="28"/>
                  </a:lnTo>
                  <a:lnTo>
                    <a:pt x="181" y="28"/>
                  </a:lnTo>
                  <a:lnTo>
                    <a:pt x="184" y="30"/>
                  </a:lnTo>
                  <a:lnTo>
                    <a:pt x="184" y="30"/>
                  </a:lnTo>
                  <a:lnTo>
                    <a:pt x="186" y="30"/>
                  </a:lnTo>
                  <a:lnTo>
                    <a:pt x="186" y="30"/>
                  </a:lnTo>
                  <a:lnTo>
                    <a:pt x="189" y="30"/>
                  </a:lnTo>
                  <a:lnTo>
                    <a:pt x="189" y="30"/>
                  </a:lnTo>
                  <a:lnTo>
                    <a:pt x="191" y="28"/>
                  </a:lnTo>
                  <a:lnTo>
                    <a:pt x="191" y="28"/>
                  </a:lnTo>
                  <a:lnTo>
                    <a:pt x="192" y="27"/>
                  </a:lnTo>
                  <a:lnTo>
                    <a:pt x="192" y="27"/>
                  </a:lnTo>
                  <a:lnTo>
                    <a:pt x="194" y="27"/>
                  </a:lnTo>
                  <a:lnTo>
                    <a:pt x="194" y="27"/>
                  </a:lnTo>
                  <a:lnTo>
                    <a:pt x="195" y="27"/>
                  </a:lnTo>
                  <a:lnTo>
                    <a:pt x="195" y="27"/>
                  </a:lnTo>
                  <a:lnTo>
                    <a:pt x="195" y="25"/>
                  </a:lnTo>
                  <a:lnTo>
                    <a:pt x="195" y="25"/>
                  </a:lnTo>
                  <a:lnTo>
                    <a:pt x="195" y="20"/>
                  </a:lnTo>
                  <a:lnTo>
                    <a:pt x="195" y="20"/>
                  </a:lnTo>
                  <a:lnTo>
                    <a:pt x="195" y="17"/>
                  </a:lnTo>
                  <a:lnTo>
                    <a:pt x="195" y="17"/>
                  </a:lnTo>
                  <a:lnTo>
                    <a:pt x="199" y="14"/>
                  </a:lnTo>
                  <a:lnTo>
                    <a:pt x="199" y="14"/>
                  </a:lnTo>
                  <a:lnTo>
                    <a:pt x="202" y="14"/>
                  </a:lnTo>
                  <a:lnTo>
                    <a:pt x="202" y="14"/>
                  </a:lnTo>
                  <a:lnTo>
                    <a:pt x="206" y="14"/>
                  </a:lnTo>
                  <a:lnTo>
                    <a:pt x="206" y="14"/>
                  </a:lnTo>
                  <a:lnTo>
                    <a:pt x="210" y="14"/>
                  </a:lnTo>
                  <a:lnTo>
                    <a:pt x="210" y="14"/>
                  </a:lnTo>
                  <a:lnTo>
                    <a:pt x="211" y="14"/>
                  </a:lnTo>
                  <a:lnTo>
                    <a:pt x="211" y="14"/>
                  </a:lnTo>
                  <a:lnTo>
                    <a:pt x="211" y="14"/>
                  </a:lnTo>
                  <a:lnTo>
                    <a:pt x="213" y="14"/>
                  </a:lnTo>
                  <a:lnTo>
                    <a:pt x="213" y="14"/>
                  </a:lnTo>
                  <a:lnTo>
                    <a:pt x="216" y="14"/>
                  </a:lnTo>
                  <a:lnTo>
                    <a:pt x="216" y="14"/>
                  </a:lnTo>
                  <a:lnTo>
                    <a:pt x="224" y="17"/>
                  </a:lnTo>
                  <a:lnTo>
                    <a:pt x="224" y="17"/>
                  </a:lnTo>
                  <a:lnTo>
                    <a:pt x="227" y="20"/>
                  </a:lnTo>
                  <a:lnTo>
                    <a:pt x="227" y="20"/>
                  </a:lnTo>
                  <a:lnTo>
                    <a:pt x="227" y="20"/>
                  </a:lnTo>
                  <a:lnTo>
                    <a:pt x="227" y="20"/>
                  </a:lnTo>
                  <a:lnTo>
                    <a:pt x="226" y="24"/>
                  </a:lnTo>
                  <a:lnTo>
                    <a:pt x="226" y="24"/>
                  </a:lnTo>
                  <a:lnTo>
                    <a:pt x="227" y="25"/>
                  </a:lnTo>
                  <a:lnTo>
                    <a:pt x="227" y="25"/>
                  </a:lnTo>
                  <a:lnTo>
                    <a:pt x="229" y="24"/>
                  </a:lnTo>
                  <a:lnTo>
                    <a:pt x="229" y="24"/>
                  </a:lnTo>
                  <a:lnTo>
                    <a:pt x="230" y="24"/>
                  </a:lnTo>
                  <a:lnTo>
                    <a:pt x="230" y="24"/>
                  </a:lnTo>
                  <a:lnTo>
                    <a:pt x="232" y="22"/>
                  </a:lnTo>
                  <a:lnTo>
                    <a:pt x="232" y="22"/>
                  </a:lnTo>
                  <a:lnTo>
                    <a:pt x="233" y="20"/>
                  </a:lnTo>
                  <a:lnTo>
                    <a:pt x="233" y="20"/>
                  </a:lnTo>
                  <a:lnTo>
                    <a:pt x="233" y="20"/>
                  </a:lnTo>
                  <a:lnTo>
                    <a:pt x="233" y="20"/>
                  </a:lnTo>
                  <a:lnTo>
                    <a:pt x="233" y="17"/>
                  </a:lnTo>
                  <a:lnTo>
                    <a:pt x="233" y="17"/>
                  </a:lnTo>
                  <a:lnTo>
                    <a:pt x="233" y="17"/>
                  </a:lnTo>
                  <a:lnTo>
                    <a:pt x="233" y="17"/>
                  </a:lnTo>
                  <a:lnTo>
                    <a:pt x="233" y="17"/>
                  </a:lnTo>
                  <a:lnTo>
                    <a:pt x="233" y="17"/>
                  </a:lnTo>
                  <a:lnTo>
                    <a:pt x="230" y="17"/>
                  </a:lnTo>
                  <a:lnTo>
                    <a:pt x="230" y="17"/>
                  </a:lnTo>
                  <a:lnTo>
                    <a:pt x="230" y="14"/>
                  </a:lnTo>
                  <a:lnTo>
                    <a:pt x="230" y="14"/>
                  </a:lnTo>
                  <a:lnTo>
                    <a:pt x="229" y="14"/>
                  </a:lnTo>
                  <a:lnTo>
                    <a:pt x="229" y="14"/>
                  </a:lnTo>
                  <a:lnTo>
                    <a:pt x="229" y="14"/>
                  </a:lnTo>
                  <a:lnTo>
                    <a:pt x="229" y="14"/>
                  </a:lnTo>
                  <a:lnTo>
                    <a:pt x="226" y="14"/>
                  </a:lnTo>
                  <a:lnTo>
                    <a:pt x="226" y="14"/>
                  </a:lnTo>
                  <a:lnTo>
                    <a:pt x="221" y="12"/>
                  </a:lnTo>
                  <a:lnTo>
                    <a:pt x="221" y="12"/>
                  </a:lnTo>
                  <a:lnTo>
                    <a:pt x="222" y="12"/>
                  </a:lnTo>
                  <a:lnTo>
                    <a:pt x="222" y="12"/>
                  </a:lnTo>
                  <a:lnTo>
                    <a:pt x="226" y="12"/>
                  </a:lnTo>
                  <a:lnTo>
                    <a:pt x="226" y="12"/>
                  </a:lnTo>
                  <a:lnTo>
                    <a:pt x="230" y="14"/>
                  </a:lnTo>
                  <a:lnTo>
                    <a:pt x="230" y="14"/>
                  </a:lnTo>
                  <a:lnTo>
                    <a:pt x="233" y="12"/>
                  </a:lnTo>
                  <a:lnTo>
                    <a:pt x="233" y="12"/>
                  </a:lnTo>
                  <a:lnTo>
                    <a:pt x="237" y="11"/>
                  </a:lnTo>
                  <a:lnTo>
                    <a:pt x="237" y="11"/>
                  </a:lnTo>
                  <a:lnTo>
                    <a:pt x="240" y="11"/>
                  </a:lnTo>
                  <a:lnTo>
                    <a:pt x="240" y="11"/>
                  </a:lnTo>
                  <a:lnTo>
                    <a:pt x="240" y="9"/>
                  </a:lnTo>
                  <a:lnTo>
                    <a:pt x="240" y="9"/>
                  </a:lnTo>
                  <a:lnTo>
                    <a:pt x="237" y="8"/>
                  </a:lnTo>
                  <a:lnTo>
                    <a:pt x="237" y="8"/>
                  </a:lnTo>
                  <a:lnTo>
                    <a:pt x="233" y="8"/>
                  </a:lnTo>
                  <a:lnTo>
                    <a:pt x="233" y="8"/>
                  </a:lnTo>
                  <a:lnTo>
                    <a:pt x="233" y="6"/>
                  </a:lnTo>
                  <a:lnTo>
                    <a:pt x="233" y="6"/>
                  </a:lnTo>
                  <a:lnTo>
                    <a:pt x="230" y="6"/>
                  </a:lnTo>
                  <a:lnTo>
                    <a:pt x="230" y="6"/>
                  </a:lnTo>
                  <a:lnTo>
                    <a:pt x="230" y="6"/>
                  </a:lnTo>
                  <a:lnTo>
                    <a:pt x="230" y="6"/>
                  </a:lnTo>
                  <a:lnTo>
                    <a:pt x="229" y="6"/>
                  </a:lnTo>
                  <a:lnTo>
                    <a:pt x="229" y="6"/>
                  </a:lnTo>
                  <a:lnTo>
                    <a:pt x="227" y="6"/>
                  </a:lnTo>
                  <a:lnTo>
                    <a:pt x="227" y="6"/>
                  </a:lnTo>
                  <a:lnTo>
                    <a:pt x="226" y="6"/>
                  </a:lnTo>
                  <a:lnTo>
                    <a:pt x="226" y="6"/>
                  </a:lnTo>
                  <a:lnTo>
                    <a:pt x="226" y="5"/>
                  </a:lnTo>
                  <a:lnTo>
                    <a:pt x="226" y="5"/>
                  </a:lnTo>
                  <a:lnTo>
                    <a:pt x="224" y="3"/>
                  </a:lnTo>
                  <a:lnTo>
                    <a:pt x="224" y="3"/>
                  </a:lnTo>
                  <a:lnTo>
                    <a:pt x="219" y="3"/>
                  </a:lnTo>
                  <a:lnTo>
                    <a:pt x="219" y="3"/>
                  </a:lnTo>
                  <a:lnTo>
                    <a:pt x="218" y="6"/>
                  </a:lnTo>
                  <a:lnTo>
                    <a:pt x="218" y="6"/>
                  </a:lnTo>
                  <a:lnTo>
                    <a:pt x="218" y="8"/>
                  </a:lnTo>
                  <a:lnTo>
                    <a:pt x="218" y="8"/>
                  </a:lnTo>
                  <a:lnTo>
                    <a:pt x="216" y="9"/>
                  </a:lnTo>
                  <a:lnTo>
                    <a:pt x="216" y="9"/>
                  </a:lnTo>
                  <a:lnTo>
                    <a:pt x="216" y="8"/>
                  </a:lnTo>
                  <a:lnTo>
                    <a:pt x="216" y="8"/>
                  </a:lnTo>
                  <a:lnTo>
                    <a:pt x="211" y="8"/>
                  </a:lnTo>
                  <a:lnTo>
                    <a:pt x="211" y="8"/>
                  </a:lnTo>
                  <a:lnTo>
                    <a:pt x="216" y="6"/>
                  </a:lnTo>
                  <a:lnTo>
                    <a:pt x="216" y="6"/>
                  </a:lnTo>
                  <a:lnTo>
                    <a:pt x="214" y="6"/>
                  </a:lnTo>
                  <a:lnTo>
                    <a:pt x="214" y="6"/>
                  </a:lnTo>
                  <a:lnTo>
                    <a:pt x="211" y="5"/>
                  </a:lnTo>
                  <a:lnTo>
                    <a:pt x="211" y="5"/>
                  </a:lnTo>
                  <a:lnTo>
                    <a:pt x="214" y="5"/>
                  </a:lnTo>
                  <a:lnTo>
                    <a:pt x="214" y="5"/>
                  </a:lnTo>
                  <a:lnTo>
                    <a:pt x="216" y="3"/>
                  </a:lnTo>
                  <a:lnTo>
                    <a:pt x="216" y="3"/>
                  </a:lnTo>
                  <a:lnTo>
                    <a:pt x="213" y="1"/>
                  </a:lnTo>
                  <a:lnTo>
                    <a:pt x="213" y="1"/>
                  </a:lnTo>
                  <a:lnTo>
                    <a:pt x="211" y="0"/>
                  </a:lnTo>
                  <a:lnTo>
                    <a:pt x="211" y="0"/>
                  </a:lnTo>
                  <a:lnTo>
                    <a:pt x="210" y="1"/>
                  </a:lnTo>
                  <a:lnTo>
                    <a:pt x="210" y="1"/>
                  </a:lnTo>
                  <a:lnTo>
                    <a:pt x="205" y="3"/>
                  </a:lnTo>
                  <a:lnTo>
                    <a:pt x="205" y="3"/>
                  </a:lnTo>
                  <a:lnTo>
                    <a:pt x="206" y="3"/>
                  </a:lnTo>
                  <a:lnTo>
                    <a:pt x="206" y="3"/>
                  </a:lnTo>
                  <a:lnTo>
                    <a:pt x="208" y="5"/>
                  </a:lnTo>
                  <a:lnTo>
                    <a:pt x="208" y="5"/>
                  </a:lnTo>
                  <a:lnTo>
                    <a:pt x="206" y="5"/>
                  </a:lnTo>
                  <a:lnTo>
                    <a:pt x="206" y="5"/>
                  </a:lnTo>
                  <a:lnTo>
                    <a:pt x="205" y="5"/>
                  </a:lnTo>
                  <a:lnTo>
                    <a:pt x="205" y="5"/>
                  </a:lnTo>
                  <a:lnTo>
                    <a:pt x="205" y="6"/>
                  </a:lnTo>
                  <a:lnTo>
                    <a:pt x="205" y="6"/>
                  </a:lnTo>
                  <a:lnTo>
                    <a:pt x="205" y="8"/>
                  </a:lnTo>
                  <a:lnTo>
                    <a:pt x="205" y="8"/>
                  </a:lnTo>
                  <a:lnTo>
                    <a:pt x="205" y="8"/>
                  </a:lnTo>
                  <a:lnTo>
                    <a:pt x="205" y="8"/>
                  </a:lnTo>
                  <a:lnTo>
                    <a:pt x="202" y="8"/>
                  </a:lnTo>
                  <a:lnTo>
                    <a:pt x="202" y="8"/>
                  </a:lnTo>
                  <a:lnTo>
                    <a:pt x="202" y="9"/>
                  </a:lnTo>
                  <a:lnTo>
                    <a:pt x="202" y="9"/>
                  </a:lnTo>
                  <a:lnTo>
                    <a:pt x="199" y="9"/>
                  </a:lnTo>
                  <a:lnTo>
                    <a:pt x="199" y="9"/>
                  </a:lnTo>
                  <a:lnTo>
                    <a:pt x="199" y="8"/>
                  </a:lnTo>
                  <a:lnTo>
                    <a:pt x="199" y="8"/>
                  </a:lnTo>
                  <a:lnTo>
                    <a:pt x="199" y="6"/>
                  </a:lnTo>
                  <a:lnTo>
                    <a:pt x="199" y="6"/>
                  </a:lnTo>
                  <a:lnTo>
                    <a:pt x="199" y="6"/>
                  </a:lnTo>
                  <a:lnTo>
                    <a:pt x="199" y="6"/>
                  </a:lnTo>
                  <a:lnTo>
                    <a:pt x="202" y="5"/>
                  </a:lnTo>
                  <a:lnTo>
                    <a:pt x="202" y="5"/>
                  </a:lnTo>
                  <a:lnTo>
                    <a:pt x="199" y="3"/>
                  </a:lnTo>
                  <a:lnTo>
                    <a:pt x="199" y="3"/>
                  </a:lnTo>
                  <a:lnTo>
                    <a:pt x="195" y="6"/>
                  </a:lnTo>
                  <a:lnTo>
                    <a:pt x="195" y="6"/>
                  </a:lnTo>
                  <a:lnTo>
                    <a:pt x="191" y="9"/>
                  </a:lnTo>
                  <a:lnTo>
                    <a:pt x="191" y="9"/>
                  </a:lnTo>
                  <a:lnTo>
                    <a:pt x="191" y="11"/>
                  </a:lnTo>
                  <a:lnTo>
                    <a:pt x="191" y="11"/>
                  </a:lnTo>
                  <a:lnTo>
                    <a:pt x="189" y="12"/>
                  </a:lnTo>
                  <a:lnTo>
                    <a:pt x="189" y="12"/>
                  </a:lnTo>
                  <a:lnTo>
                    <a:pt x="186" y="12"/>
                  </a:lnTo>
                  <a:lnTo>
                    <a:pt x="186" y="12"/>
                  </a:lnTo>
                  <a:lnTo>
                    <a:pt x="187" y="11"/>
                  </a:lnTo>
                  <a:lnTo>
                    <a:pt x="187" y="11"/>
                  </a:lnTo>
                  <a:lnTo>
                    <a:pt x="189" y="9"/>
                  </a:lnTo>
                  <a:lnTo>
                    <a:pt x="189" y="9"/>
                  </a:lnTo>
                  <a:lnTo>
                    <a:pt x="187" y="8"/>
                  </a:lnTo>
                  <a:lnTo>
                    <a:pt x="187" y="8"/>
                  </a:lnTo>
                  <a:lnTo>
                    <a:pt x="186" y="8"/>
                  </a:lnTo>
                  <a:lnTo>
                    <a:pt x="186" y="8"/>
                  </a:lnTo>
                  <a:lnTo>
                    <a:pt x="191" y="6"/>
                  </a:lnTo>
                  <a:lnTo>
                    <a:pt x="191" y="6"/>
                  </a:lnTo>
                  <a:lnTo>
                    <a:pt x="192" y="5"/>
                  </a:lnTo>
                  <a:lnTo>
                    <a:pt x="192" y="5"/>
                  </a:lnTo>
                  <a:lnTo>
                    <a:pt x="194" y="3"/>
                  </a:lnTo>
                  <a:lnTo>
                    <a:pt x="194" y="3"/>
                  </a:lnTo>
                  <a:lnTo>
                    <a:pt x="191" y="3"/>
                  </a:lnTo>
                  <a:lnTo>
                    <a:pt x="191" y="3"/>
                  </a:lnTo>
                  <a:lnTo>
                    <a:pt x="189" y="3"/>
                  </a:lnTo>
                  <a:lnTo>
                    <a:pt x="189" y="3"/>
                  </a:lnTo>
                  <a:lnTo>
                    <a:pt x="189" y="5"/>
                  </a:lnTo>
                  <a:lnTo>
                    <a:pt x="189" y="5"/>
                  </a:lnTo>
                  <a:lnTo>
                    <a:pt x="187" y="5"/>
                  </a:lnTo>
                  <a:lnTo>
                    <a:pt x="187" y="5"/>
                  </a:lnTo>
                  <a:lnTo>
                    <a:pt x="186" y="3"/>
                  </a:lnTo>
                  <a:lnTo>
                    <a:pt x="186" y="3"/>
                  </a:lnTo>
                  <a:lnTo>
                    <a:pt x="184" y="3"/>
                  </a:lnTo>
                  <a:lnTo>
                    <a:pt x="184" y="3"/>
                  </a:lnTo>
                  <a:lnTo>
                    <a:pt x="181" y="5"/>
                  </a:lnTo>
                  <a:lnTo>
                    <a:pt x="181" y="5"/>
                  </a:lnTo>
                  <a:lnTo>
                    <a:pt x="178" y="5"/>
                  </a:lnTo>
                  <a:lnTo>
                    <a:pt x="178" y="5"/>
                  </a:lnTo>
                  <a:lnTo>
                    <a:pt x="184" y="6"/>
                  </a:lnTo>
                  <a:lnTo>
                    <a:pt x="184" y="6"/>
                  </a:lnTo>
                  <a:lnTo>
                    <a:pt x="181" y="6"/>
                  </a:lnTo>
                  <a:lnTo>
                    <a:pt x="181" y="6"/>
                  </a:lnTo>
                  <a:lnTo>
                    <a:pt x="178" y="8"/>
                  </a:lnTo>
                  <a:lnTo>
                    <a:pt x="178" y="8"/>
                  </a:lnTo>
                  <a:lnTo>
                    <a:pt x="178" y="8"/>
                  </a:lnTo>
                  <a:lnTo>
                    <a:pt x="178" y="8"/>
                  </a:lnTo>
                  <a:lnTo>
                    <a:pt x="175" y="9"/>
                  </a:lnTo>
                  <a:lnTo>
                    <a:pt x="175" y="9"/>
                  </a:lnTo>
                  <a:lnTo>
                    <a:pt x="173" y="11"/>
                  </a:lnTo>
                  <a:lnTo>
                    <a:pt x="173" y="11"/>
                  </a:lnTo>
                  <a:lnTo>
                    <a:pt x="172" y="11"/>
                  </a:lnTo>
                  <a:lnTo>
                    <a:pt x="172" y="11"/>
                  </a:lnTo>
                  <a:lnTo>
                    <a:pt x="172" y="12"/>
                  </a:lnTo>
                  <a:lnTo>
                    <a:pt x="172" y="12"/>
                  </a:lnTo>
                  <a:lnTo>
                    <a:pt x="173" y="14"/>
                  </a:lnTo>
                  <a:lnTo>
                    <a:pt x="173" y="14"/>
                  </a:lnTo>
                  <a:lnTo>
                    <a:pt x="170" y="14"/>
                  </a:lnTo>
                  <a:lnTo>
                    <a:pt x="170" y="14"/>
                  </a:lnTo>
                  <a:lnTo>
                    <a:pt x="168" y="14"/>
                  </a:lnTo>
                  <a:lnTo>
                    <a:pt x="168" y="14"/>
                  </a:lnTo>
                  <a:lnTo>
                    <a:pt x="168" y="12"/>
                  </a:lnTo>
                  <a:lnTo>
                    <a:pt x="168" y="12"/>
                  </a:lnTo>
                  <a:lnTo>
                    <a:pt x="165" y="14"/>
                  </a:lnTo>
                  <a:lnTo>
                    <a:pt x="165" y="14"/>
                  </a:lnTo>
                  <a:lnTo>
                    <a:pt x="167" y="12"/>
                  </a:lnTo>
                  <a:lnTo>
                    <a:pt x="167" y="12"/>
                  </a:lnTo>
                  <a:lnTo>
                    <a:pt x="162" y="11"/>
                  </a:lnTo>
                  <a:lnTo>
                    <a:pt x="162" y="11"/>
                  </a:lnTo>
                  <a:lnTo>
                    <a:pt x="164" y="12"/>
                  </a:lnTo>
                  <a:lnTo>
                    <a:pt x="164" y="12"/>
                  </a:lnTo>
                  <a:lnTo>
                    <a:pt x="162" y="12"/>
                  </a:lnTo>
                  <a:lnTo>
                    <a:pt x="162" y="12"/>
                  </a:lnTo>
                  <a:lnTo>
                    <a:pt x="162" y="11"/>
                  </a:lnTo>
                  <a:lnTo>
                    <a:pt x="162" y="11"/>
                  </a:lnTo>
                  <a:lnTo>
                    <a:pt x="160" y="11"/>
                  </a:lnTo>
                  <a:lnTo>
                    <a:pt x="160" y="11"/>
                  </a:lnTo>
                  <a:lnTo>
                    <a:pt x="159" y="11"/>
                  </a:lnTo>
                  <a:lnTo>
                    <a:pt x="159" y="11"/>
                  </a:lnTo>
                  <a:lnTo>
                    <a:pt x="157" y="11"/>
                  </a:lnTo>
                  <a:lnTo>
                    <a:pt x="157" y="11"/>
                  </a:lnTo>
                  <a:lnTo>
                    <a:pt x="157" y="12"/>
                  </a:lnTo>
                  <a:lnTo>
                    <a:pt x="157" y="12"/>
                  </a:lnTo>
                  <a:lnTo>
                    <a:pt x="159" y="12"/>
                  </a:lnTo>
                  <a:lnTo>
                    <a:pt x="159" y="12"/>
                  </a:lnTo>
                  <a:lnTo>
                    <a:pt x="157" y="14"/>
                  </a:lnTo>
                  <a:lnTo>
                    <a:pt x="157" y="14"/>
                  </a:lnTo>
                  <a:lnTo>
                    <a:pt x="159" y="14"/>
                  </a:lnTo>
                  <a:lnTo>
                    <a:pt x="159" y="14"/>
                  </a:lnTo>
                  <a:lnTo>
                    <a:pt x="160" y="14"/>
                  </a:lnTo>
                  <a:lnTo>
                    <a:pt x="160" y="14"/>
                  </a:lnTo>
                  <a:lnTo>
                    <a:pt x="159" y="17"/>
                  </a:lnTo>
                  <a:lnTo>
                    <a:pt x="159" y="17"/>
                  </a:lnTo>
                  <a:lnTo>
                    <a:pt x="156" y="14"/>
                  </a:lnTo>
                  <a:lnTo>
                    <a:pt x="156" y="14"/>
                  </a:lnTo>
                  <a:lnTo>
                    <a:pt x="152" y="14"/>
                  </a:lnTo>
                  <a:lnTo>
                    <a:pt x="152" y="14"/>
                  </a:lnTo>
                  <a:lnTo>
                    <a:pt x="152" y="17"/>
                  </a:lnTo>
                  <a:lnTo>
                    <a:pt x="152" y="17"/>
                  </a:lnTo>
                  <a:lnTo>
                    <a:pt x="151" y="14"/>
                  </a:lnTo>
                  <a:lnTo>
                    <a:pt x="151" y="14"/>
                  </a:lnTo>
                  <a:lnTo>
                    <a:pt x="151" y="17"/>
                  </a:lnTo>
                  <a:lnTo>
                    <a:pt x="151" y="17"/>
                  </a:lnTo>
                  <a:lnTo>
                    <a:pt x="149" y="17"/>
                  </a:lnTo>
                  <a:lnTo>
                    <a:pt x="149" y="17"/>
                  </a:lnTo>
                  <a:lnTo>
                    <a:pt x="149" y="14"/>
                  </a:lnTo>
                  <a:lnTo>
                    <a:pt x="149" y="14"/>
                  </a:lnTo>
                  <a:lnTo>
                    <a:pt x="149" y="14"/>
                  </a:lnTo>
                  <a:lnTo>
                    <a:pt x="149" y="14"/>
                  </a:lnTo>
                  <a:lnTo>
                    <a:pt x="146" y="17"/>
                  </a:lnTo>
                  <a:lnTo>
                    <a:pt x="146" y="17"/>
                  </a:lnTo>
                  <a:lnTo>
                    <a:pt x="146" y="17"/>
                  </a:lnTo>
                  <a:lnTo>
                    <a:pt x="146" y="17"/>
                  </a:lnTo>
                  <a:lnTo>
                    <a:pt x="149" y="20"/>
                  </a:lnTo>
                  <a:lnTo>
                    <a:pt x="149" y="20"/>
                  </a:lnTo>
                  <a:lnTo>
                    <a:pt x="146" y="20"/>
                  </a:lnTo>
                  <a:lnTo>
                    <a:pt x="146" y="20"/>
                  </a:lnTo>
                  <a:lnTo>
                    <a:pt x="146" y="20"/>
                  </a:lnTo>
                  <a:lnTo>
                    <a:pt x="146" y="20"/>
                  </a:lnTo>
                  <a:lnTo>
                    <a:pt x="143" y="20"/>
                  </a:lnTo>
                  <a:lnTo>
                    <a:pt x="143" y="20"/>
                  </a:lnTo>
                  <a:lnTo>
                    <a:pt x="140" y="24"/>
                  </a:lnTo>
                  <a:lnTo>
                    <a:pt x="140" y="24"/>
                  </a:lnTo>
                  <a:lnTo>
                    <a:pt x="143" y="17"/>
                  </a:lnTo>
                  <a:lnTo>
                    <a:pt x="143" y="17"/>
                  </a:lnTo>
                  <a:lnTo>
                    <a:pt x="146" y="17"/>
                  </a:lnTo>
                  <a:lnTo>
                    <a:pt x="146" y="17"/>
                  </a:lnTo>
                  <a:lnTo>
                    <a:pt x="143" y="14"/>
                  </a:lnTo>
                  <a:lnTo>
                    <a:pt x="143" y="14"/>
                  </a:lnTo>
                  <a:lnTo>
                    <a:pt x="143" y="14"/>
                  </a:lnTo>
                  <a:lnTo>
                    <a:pt x="143" y="14"/>
                  </a:lnTo>
                  <a:lnTo>
                    <a:pt x="140" y="17"/>
                  </a:lnTo>
                  <a:lnTo>
                    <a:pt x="140" y="17"/>
                  </a:lnTo>
                  <a:lnTo>
                    <a:pt x="140" y="17"/>
                  </a:lnTo>
                  <a:lnTo>
                    <a:pt x="140" y="17"/>
                  </a:lnTo>
                  <a:lnTo>
                    <a:pt x="140" y="20"/>
                  </a:lnTo>
                  <a:lnTo>
                    <a:pt x="140" y="20"/>
                  </a:lnTo>
                  <a:lnTo>
                    <a:pt x="138" y="20"/>
                  </a:lnTo>
                  <a:lnTo>
                    <a:pt x="138" y="20"/>
                  </a:lnTo>
                  <a:lnTo>
                    <a:pt x="140" y="17"/>
                  </a:lnTo>
                  <a:lnTo>
                    <a:pt x="140" y="17"/>
                  </a:lnTo>
                  <a:lnTo>
                    <a:pt x="135" y="17"/>
                  </a:lnTo>
                  <a:lnTo>
                    <a:pt x="135" y="17"/>
                  </a:lnTo>
                  <a:lnTo>
                    <a:pt x="133" y="17"/>
                  </a:lnTo>
                  <a:lnTo>
                    <a:pt x="133" y="17"/>
                  </a:lnTo>
                  <a:lnTo>
                    <a:pt x="132" y="20"/>
                  </a:lnTo>
                  <a:lnTo>
                    <a:pt x="132" y="20"/>
                  </a:lnTo>
                  <a:lnTo>
                    <a:pt x="133" y="20"/>
                  </a:lnTo>
                  <a:lnTo>
                    <a:pt x="133" y="20"/>
                  </a:lnTo>
                  <a:lnTo>
                    <a:pt x="132" y="20"/>
                  </a:lnTo>
                  <a:lnTo>
                    <a:pt x="132" y="20"/>
                  </a:lnTo>
                  <a:lnTo>
                    <a:pt x="130" y="20"/>
                  </a:lnTo>
                  <a:lnTo>
                    <a:pt x="130" y="20"/>
                  </a:lnTo>
                  <a:lnTo>
                    <a:pt x="127" y="20"/>
                  </a:lnTo>
                  <a:lnTo>
                    <a:pt x="127" y="20"/>
                  </a:lnTo>
                  <a:lnTo>
                    <a:pt x="130" y="20"/>
                  </a:lnTo>
                  <a:lnTo>
                    <a:pt x="130" y="20"/>
                  </a:lnTo>
                  <a:lnTo>
                    <a:pt x="129" y="24"/>
                  </a:lnTo>
                  <a:lnTo>
                    <a:pt x="129" y="24"/>
                  </a:lnTo>
                  <a:lnTo>
                    <a:pt x="129" y="24"/>
                  </a:lnTo>
                  <a:lnTo>
                    <a:pt x="129" y="24"/>
                  </a:lnTo>
                  <a:lnTo>
                    <a:pt x="127" y="20"/>
                  </a:lnTo>
                  <a:lnTo>
                    <a:pt x="127" y="20"/>
                  </a:lnTo>
                  <a:lnTo>
                    <a:pt x="126" y="20"/>
                  </a:lnTo>
                  <a:lnTo>
                    <a:pt x="126" y="20"/>
                  </a:lnTo>
                  <a:lnTo>
                    <a:pt x="124" y="24"/>
                  </a:lnTo>
                  <a:lnTo>
                    <a:pt x="124" y="24"/>
                  </a:lnTo>
                  <a:lnTo>
                    <a:pt x="124" y="24"/>
                  </a:lnTo>
                  <a:lnTo>
                    <a:pt x="124" y="24"/>
                  </a:lnTo>
                  <a:lnTo>
                    <a:pt x="122" y="24"/>
                  </a:lnTo>
                  <a:lnTo>
                    <a:pt x="122" y="24"/>
                  </a:lnTo>
                  <a:lnTo>
                    <a:pt x="121" y="25"/>
                  </a:lnTo>
                  <a:lnTo>
                    <a:pt x="121" y="25"/>
                  </a:lnTo>
                  <a:lnTo>
                    <a:pt x="119" y="27"/>
                  </a:lnTo>
                  <a:lnTo>
                    <a:pt x="119" y="27"/>
                  </a:lnTo>
                  <a:lnTo>
                    <a:pt x="121" y="27"/>
                  </a:lnTo>
                  <a:lnTo>
                    <a:pt x="121" y="27"/>
                  </a:lnTo>
                  <a:lnTo>
                    <a:pt x="119" y="28"/>
                  </a:lnTo>
                  <a:lnTo>
                    <a:pt x="119" y="28"/>
                  </a:lnTo>
                  <a:lnTo>
                    <a:pt x="118" y="28"/>
                  </a:lnTo>
                  <a:lnTo>
                    <a:pt x="118" y="28"/>
                  </a:lnTo>
                  <a:lnTo>
                    <a:pt x="119" y="30"/>
                  </a:lnTo>
                  <a:lnTo>
                    <a:pt x="119" y="30"/>
                  </a:lnTo>
                  <a:lnTo>
                    <a:pt x="114" y="30"/>
                  </a:lnTo>
                  <a:lnTo>
                    <a:pt x="114" y="30"/>
                  </a:lnTo>
                  <a:lnTo>
                    <a:pt x="111" y="32"/>
                  </a:lnTo>
                  <a:lnTo>
                    <a:pt x="111" y="32"/>
                  </a:lnTo>
                  <a:lnTo>
                    <a:pt x="111" y="32"/>
                  </a:lnTo>
                  <a:lnTo>
                    <a:pt x="111" y="32"/>
                  </a:lnTo>
                  <a:lnTo>
                    <a:pt x="114" y="33"/>
                  </a:lnTo>
                  <a:lnTo>
                    <a:pt x="114" y="33"/>
                  </a:lnTo>
                  <a:lnTo>
                    <a:pt x="111" y="33"/>
                  </a:lnTo>
                  <a:lnTo>
                    <a:pt x="111" y="33"/>
                  </a:lnTo>
                  <a:lnTo>
                    <a:pt x="110" y="33"/>
                  </a:lnTo>
                  <a:lnTo>
                    <a:pt x="110" y="33"/>
                  </a:lnTo>
                  <a:lnTo>
                    <a:pt x="114" y="36"/>
                  </a:lnTo>
                  <a:lnTo>
                    <a:pt x="114" y="36"/>
                  </a:lnTo>
                  <a:lnTo>
                    <a:pt x="108" y="35"/>
                  </a:lnTo>
                  <a:lnTo>
                    <a:pt x="108" y="35"/>
                  </a:lnTo>
                  <a:lnTo>
                    <a:pt x="111" y="36"/>
                  </a:lnTo>
                  <a:lnTo>
                    <a:pt x="111" y="36"/>
                  </a:lnTo>
                  <a:lnTo>
                    <a:pt x="110" y="36"/>
                  </a:lnTo>
                  <a:lnTo>
                    <a:pt x="110" y="36"/>
                  </a:lnTo>
                  <a:lnTo>
                    <a:pt x="111" y="38"/>
                  </a:lnTo>
                  <a:lnTo>
                    <a:pt x="111" y="38"/>
                  </a:lnTo>
                  <a:lnTo>
                    <a:pt x="111" y="38"/>
                  </a:lnTo>
                  <a:lnTo>
                    <a:pt x="111" y="38"/>
                  </a:lnTo>
                  <a:lnTo>
                    <a:pt x="110" y="38"/>
                  </a:lnTo>
                  <a:lnTo>
                    <a:pt x="110" y="38"/>
                  </a:lnTo>
                  <a:lnTo>
                    <a:pt x="111" y="38"/>
                  </a:lnTo>
                  <a:lnTo>
                    <a:pt x="111" y="38"/>
                  </a:lnTo>
                  <a:lnTo>
                    <a:pt x="108" y="38"/>
                  </a:lnTo>
                  <a:lnTo>
                    <a:pt x="108" y="38"/>
                  </a:lnTo>
                  <a:lnTo>
                    <a:pt x="110" y="38"/>
                  </a:lnTo>
                  <a:lnTo>
                    <a:pt x="110" y="38"/>
                  </a:lnTo>
                  <a:lnTo>
                    <a:pt x="108" y="38"/>
                  </a:lnTo>
                  <a:lnTo>
                    <a:pt x="108" y="38"/>
                  </a:lnTo>
                  <a:lnTo>
                    <a:pt x="108" y="38"/>
                  </a:lnTo>
                  <a:lnTo>
                    <a:pt x="108" y="38"/>
                  </a:lnTo>
                  <a:lnTo>
                    <a:pt x="106" y="36"/>
                  </a:lnTo>
                  <a:lnTo>
                    <a:pt x="106" y="36"/>
                  </a:lnTo>
                  <a:lnTo>
                    <a:pt x="103" y="36"/>
                  </a:lnTo>
                  <a:lnTo>
                    <a:pt x="103" y="36"/>
                  </a:lnTo>
                  <a:lnTo>
                    <a:pt x="102" y="36"/>
                  </a:lnTo>
                  <a:lnTo>
                    <a:pt x="102" y="36"/>
                  </a:lnTo>
                  <a:lnTo>
                    <a:pt x="100" y="38"/>
                  </a:lnTo>
                  <a:lnTo>
                    <a:pt x="100" y="38"/>
                  </a:lnTo>
                  <a:lnTo>
                    <a:pt x="103" y="38"/>
                  </a:lnTo>
                  <a:lnTo>
                    <a:pt x="103" y="38"/>
                  </a:lnTo>
                  <a:lnTo>
                    <a:pt x="106" y="38"/>
                  </a:lnTo>
                  <a:lnTo>
                    <a:pt x="106" y="38"/>
                  </a:lnTo>
                  <a:lnTo>
                    <a:pt x="105" y="38"/>
                  </a:lnTo>
                  <a:lnTo>
                    <a:pt x="105" y="38"/>
                  </a:lnTo>
                  <a:lnTo>
                    <a:pt x="102" y="38"/>
                  </a:lnTo>
                  <a:lnTo>
                    <a:pt x="102" y="38"/>
                  </a:lnTo>
                  <a:lnTo>
                    <a:pt x="99" y="38"/>
                  </a:lnTo>
                  <a:lnTo>
                    <a:pt x="99" y="38"/>
                  </a:lnTo>
                  <a:lnTo>
                    <a:pt x="97" y="38"/>
                  </a:lnTo>
                  <a:lnTo>
                    <a:pt x="97" y="38"/>
                  </a:lnTo>
                  <a:lnTo>
                    <a:pt x="97" y="41"/>
                  </a:lnTo>
                  <a:lnTo>
                    <a:pt x="97" y="41"/>
                  </a:lnTo>
                  <a:lnTo>
                    <a:pt x="95" y="41"/>
                  </a:lnTo>
                  <a:lnTo>
                    <a:pt x="95" y="41"/>
                  </a:lnTo>
                  <a:lnTo>
                    <a:pt x="100" y="41"/>
                  </a:lnTo>
                  <a:lnTo>
                    <a:pt x="100" y="41"/>
                  </a:lnTo>
                  <a:lnTo>
                    <a:pt x="103" y="41"/>
                  </a:lnTo>
                  <a:lnTo>
                    <a:pt x="103" y="41"/>
                  </a:lnTo>
                  <a:lnTo>
                    <a:pt x="105" y="41"/>
                  </a:lnTo>
                  <a:lnTo>
                    <a:pt x="105" y="41"/>
                  </a:lnTo>
                  <a:lnTo>
                    <a:pt x="102" y="41"/>
                  </a:lnTo>
                  <a:lnTo>
                    <a:pt x="102" y="41"/>
                  </a:lnTo>
                  <a:lnTo>
                    <a:pt x="100" y="41"/>
                  </a:lnTo>
                  <a:lnTo>
                    <a:pt x="100" y="41"/>
                  </a:lnTo>
                  <a:lnTo>
                    <a:pt x="99" y="41"/>
                  </a:lnTo>
                  <a:lnTo>
                    <a:pt x="99" y="41"/>
                  </a:lnTo>
                  <a:lnTo>
                    <a:pt x="100" y="44"/>
                  </a:lnTo>
                  <a:lnTo>
                    <a:pt x="100" y="44"/>
                  </a:lnTo>
                  <a:lnTo>
                    <a:pt x="102" y="44"/>
                  </a:lnTo>
                  <a:lnTo>
                    <a:pt x="102" y="44"/>
                  </a:lnTo>
                  <a:lnTo>
                    <a:pt x="105" y="44"/>
                  </a:lnTo>
                  <a:lnTo>
                    <a:pt x="105" y="44"/>
                  </a:lnTo>
                  <a:lnTo>
                    <a:pt x="103" y="44"/>
                  </a:lnTo>
                  <a:lnTo>
                    <a:pt x="103" y="44"/>
                  </a:lnTo>
                  <a:lnTo>
                    <a:pt x="102" y="44"/>
                  </a:lnTo>
                  <a:lnTo>
                    <a:pt x="102" y="44"/>
                  </a:lnTo>
                  <a:lnTo>
                    <a:pt x="100" y="44"/>
                  </a:lnTo>
                  <a:lnTo>
                    <a:pt x="100" y="44"/>
                  </a:lnTo>
                  <a:lnTo>
                    <a:pt x="97" y="44"/>
                  </a:lnTo>
                  <a:lnTo>
                    <a:pt x="97" y="44"/>
                  </a:lnTo>
                  <a:lnTo>
                    <a:pt x="99" y="44"/>
                  </a:lnTo>
                  <a:lnTo>
                    <a:pt x="99" y="44"/>
                  </a:lnTo>
                  <a:lnTo>
                    <a:pt x="95" y="44"/>
                  </a:lnTo>
                  <a:lnTo>
                    <a:pt x="95" y="44"/>
                  </a:lnTo>
                  <a:lnTo>
                    <a:pt x="94" y="44"/>
                  </a:lnTo>
                  <a:lnTo>
                    <a:pt x="94" y="44"/>
                  </a:lnTo>
                  <a:lnTo>
                    <a:pt x="91" y="47"/>
                  </a:lnTo>
                  <a:lnTo>
                    <a:pt x="91" y="47"/>
                  </a:lnTo>
                  <a:lnTo>
                    <a:pt x="95" y="47"/>
                  </a:lnTo>
                  <a:lnTo>
                    <a:pt x="95" y="47"/>
                  </a:lnTo>
                  <a:lnTo>
                    <a:pt x="99" y="47"/>
                  </a:lnTo>
                  <a:lnTo>
                    <a:pt x="99" y="47"/>
                  </a:lnTo>
                  <a:lnTo>
                    <a:pt x="103" y="47"/>
                  </a:lnTo>
                  <a:lnTo>
                    <a:pt x="103" y="47"/>
                  </a:lnTo>
                  <a:lnTo>
                    <a:pt x="103" y="47"/>
                  </a:lnTo>
                  <a:lnTo>
                    <a:pt x="102" y="47"/>
                  </a:lnTo>
                  <a:lnTo>
                    <a:pt x="102" y="47"/>
                  </a:lnTo>
                  <a:lnTo>
                    <a:pt x="99" y="47"/>
                  </a:lnTo>
                  <a:lnTo>
                    <a:pt x="99" y="47"/>
                  </a:lnTo>
                  <a:lnTo>
                    <a:pt x="97" y="47"/>
                  </a:lnTo>
                  <a:lnTo>
                    <a:pt x="97" y="47"/>
                  </a:lnTo>
                  <a:lnTo>
                    <a:pt x="95" y="47"/>
                  </a:lnTo>
                  <a:lnTo>
                    <a:pt x="95" y="47"/>
                  </a:lnTo>
                  <a:lnTo>
                    <a:pt x="94" y="47"/>
                  </a:lnTo>
                  <a:lnTo>
                    <a:pt x="94" y="47"/>
                  </a:lnTo>
                  <a:lnTo>
                    <a:pt x="94" y="47"/>
                  </a:lnTo>
                  <a:lnTo>
                    <a:pt x="94" y="47"/>
                  </a:lnTo>
                  <a:lnTo>
                    <a:pt x="91" y="49"/>
                  </a:lnTo>
                  <a:lnTo>
                    <a:pt x="91" y="49"/>
                  </a:lnTo>
                  <a:lnTo>
                    <a:pt x="87" y="51"/>
                  </a:lnTo>
                  <a:lnTo>
                    <a:pt x="87" y="51"/>
                  </a:lnTo>
                  <a:lnTo>
                    <a:pt x="84" y="51"/>
                  </a:lnTo>
                  <a:lnTo>
                    <a:pt x="84" y="51"/>
                  </a:lnTo>
                  <a:lnTo>
                    <a:pt x="87" y="52"/>
                  </a:lnTo>
                  <a:lnTo>
                    <a:pt x="87" y="52"/>
                  </a:lnTo>
                  <a:lnTo>
                    <a:pt x="84" y="52"/>
                  </a:lnTo>
                  <a:lnTo>
                    <a:pt x="84" y="52"/>
                  </a:lnTo>
                  <a:lnTo>
                    <a:pt x="84" y="52"/>
                  </a:lnTo>
                  <a:lnTo>
                    <a:pt x="84" y="52"/>
                  </a:lnTo>
                  <a:lnTo>
                    <a:pt x="84" y="54"/>
                  </a:lnTo>
                  <a:lnTo>
                    <a:pt x="84" y="54"/>
                  </a:lnTo>
                  <a:lnTo>
                    <a:pt x="84" y="54"/>
                  </a:lnTo>
                  <a:lnTo>
                    <a:pt x="84" y="54"/>
                  </a:lnTo>
                  <a:lnTo>
                    <a:pt x="81" y="54"/>
                  </a:lnTo>
                  <a:lnTo>
                    <a:pt x="81" y="54"/>
                  </a:lnTo>
                  <a:lnTo>
                    <a:pt x="83" y="55"/>
                  </a:lnTo>
                  <a:lnTo>
                    <a:pt x="83" y="55"/>
                  </a:lnTo>
                  <a:lnTo>
                    <a:pt x="84" y="55"/>
                  </a:lnTo>
                  <a:lnTo>
                    <a:pt x="84" y="55"/>
                  </a:lnTo>
                  <a:lnTo>
                    <a:pt x="83" y="57"/>
                  </a:lnTo>
                  <a:lnTo>
                    <a:pt x="83" y="57"/>
                  </a:lnTo>
                  <a:lnTo>
                    <a:pt x="81" y="57"/>
                  </a:lnTo>
                  <a:lnTo>
                    <a:pt x="81" y="57"/>
                  </a:lnTo>
                  <a:lnTo>
                    <a:pt x="79" y="59"/>
                  </a:lnTo>
                  <a:lnTo>
                    <a:pt x="79" y="59"/>
                  </a:lnTo>
                  <a:lnTo>
                    <a:pt x="81" y="59"/>
                  </a:lnTo>
                  <a:lnTo>
                    <a:pt x="81" y="59"/>
                  </a:lnTo>
                  <a:lnTo>
                    <a:pt x="79" y="60"/>
                  </a:lnTo>
                  <a:lnTo>
                    <a:pt x="79" y="60"/>
                  </a:lnTo>
                  <a:lnTo>
                    <a:pt x="91" y="59"/>
                  </a:lnTo>
                  <a:lnTo>
                    <a:pt x="91" y="59"/>
                  </a:lnTo>
                  <a:lnTo>
                    <a:pt x="87" y="60"/>
                  </a:lnTo>
                  <a:lnTo>
                    <a:pt x="87" y="60"/>
                  </a:lnTo>
                  <a:lnTo>
                    <a:pt x="84" y="60"/>
                  </a:lnTo>
                  <a:lnTo>
                    <a:pt x="84" y="60"/>
                  </a:lnTo>
                  <a:lnTo>
                    <a:pt x="87" y="62"/>
                  </a:lnTo>
                  <a:lnTo>
                    <a:pt x="87" y="62"/>
                  </a:lnTo>
                  <a:lnTo>
                    <a:pt x="84" y="62"/>
                  </a:lnTo>
                  <a:lnTo>
                    <a:pt x="84" y="62"/>
                  </a:lnTo>
                  <a:lnTo>
                    <a:pt x="84" y="60"/>
                  </a:lnTo>
                  <a:lnTo>
                    <a:pt x="84" y="60"/>
                  </a:lnTo>
                  <a:lnTo>
                    <a:pt x="83" y="60"/>
                  </a:lnTo>
                  <a:lnTo>
                    <a:pt x="83" y="60"/>
                  </a:lnTo>
                  <a:lnTo>
                    <a:pt x="76" y="62"/>
                  </a:lnTo>
                  <a:lnTo>
                    <a:pt x="76" y="62"/>
                  </a:lnTo>
                  <a:lnTo>
                    <a:pt x="79" y="63"/>
                  </a:lnTo>
                  <a:lnTo>
                    <a:pt x="79" y="63"/>
                  </a:lnTo>
                  <a:lnTo>
                    <a:pt x="81" y="65"/>
                  </a:lnTo>
                  <a:lnTo>
                    <a:pt x="81" y="65"/>
                  </a:lnTo>
                  <a:lnTo>
                    <a:pt x="78" y="63"/>
                  </a:lnTo>
                  <a:lnTo>
                    <a:pt x="78" y="63"/>
                  </a:lnTo>
                  <a:lnTo>
                    <a:pt x="76" y="65"/>
                  </a:lnTo>
                  <a:lnTo>
                    <a:pt x="76" y="65"/>
                  </a:lnTo>
                  <a:lnTo>
                    <a:pt x="75" y="66"/>
                  </a:lnTo>
                  <a:lnTo>
                    <a:pt x="75" y="66"/>
                  </a:lnTo>
                  <a:lnTo>
                    <a:pt x="73" y="68"/>
                  </a:lnTo>
                  <a:lnTo>
                    <a:pt x="73" y="68"/>
                  </a:lnTo>
                  <a:lnTo>
                    <a:pt x="73" y="70"/>
                  </a:lnTo>
                  <a:lnTo>
                    <a:pt x="73" y="70"/>
                  </a:lnTo>
                  <a:lnTo>
                    <a:pt x="72" y="71"/>
                  </a:lnTo>
                  <a:lnTo>
                    <a:pt x="72" y="71"/>
                  </a:lnTo>
                  <a:lnTo>
                    <a:pt x="72" y="73"/>
                  </a:lnTo>
                  <a:lnTo>
                    <a:pt x="72" y="73"/>
                  </a:lnTo>
                  <a:lnTo>
                    <a:pt x="73" y="71"/>
                  </a:lnTo>
                  <a:lnTo>
                    <a:pt x="73" y="71"/>
                  </a:lnTo>
                  <a:lnTo>
                    <a:pt x="73" y="73"/>
                  </a:lnTo>
                  <a:lnTo>
                    <a:pt x="73" y="73"/>
                  </a:lnTo>
                  <a:lnTo>
                    <a:pt x="75" y="73"/>
                  </a:lnTo>
                  <a:lnTo>
                    <a:pt x="75" y="73"/>
                  </a:lnTo>
                  <a:lnTo>
                    <a:pt x="72" y="76"/>
                  </a:lnTo>
                  <a:lnTo>
                    <a:pt x="72" y="76"/>
                  </a:lnTo>
                  <a:lnTo>
                    <a:pt x="70" y="73"/>
                  </a:lnTo>
                  <a:lnTo>
                    <a:pt x="70" y="73"/>
                  </a:lnTo>
                  <a:lnTo>
                    <a:pt x="68" y="73"/>
                  </a:lnTo>
                  <a:lnTo>
                    <a:pt x="68" y="73"/>
                  </a:lnTo>
                  <a:lnTo>
                    <a:pt x="68" y="76"/>
                  </a:lnTo>
                  <a:lnTo>
                    <a:pt x="68" y="76"/>
                  </a:lnTo>
                  <a:lnTo>
                    <a:pt x="65" y="76"/>
                  </a:lnTo>
                  <a:lnTo>
                    <a:pt x="65" y="76"/>
                  </a:lnTo>
                  <a:lnTo>
                    <a:pt x="64" y="76"/>
                  </a:lnTo>
                  <a:lnTo>
                    <a:pt x="64" y="76"/>
                  </a:lnTo>
                  <a:lnTo>
                    <a:pt x="65" y="76"/>
                  </a:lnTo>
                  <a:lnTo>
                    <a:pt x="65" y="76"/>
                  </a:lnTo>
                  <a:lnTo>
                    <a:pt x="62" y="79"/>
                  </a:lnTo>
                  <a:lnTo>
                    <a:pt x="62" y="79"/>
                  </a:lnTo>
                  <a:lnTo>
                    <a:pt x="64" y="79"/>
                  </a:lnTo>
                  <a:lnTo>
                    <a:pt x="64" y="79"/>
                  </a:lnTo>
                  <a:lnTo>
                    <a:pt x="65" y="79"/>
                  </a:lnTo>
                  <a:lnTo>
                    <a:pt x="65" y="79"/>
                  </a:lnTo>
                  <a:lnTo>
                    <a:pt x="68" y="76"/>
                  </a:lnTo>
                  <a:lnTo>
                    <a:pt x="68" y="76"/>
                  </a:lnTo>
                  <a:lnTo>
                    <a:pt x="70" y="76"/>
                  </a:lnTo>
                  <a:lnTo>
                    <a:pt x="70" y="76"/>
                  </a:lnTo>
                  <a:lnTo>
                    <a:pt x="65" y="79"/>
                  </a:lnTo>
                  <a:lnTo>
                    <a:pt x="65" y="79"/>
                  </a:lnTo>
                  <a:lnTo>
                    <a:pt x="64" y="79"/>
                  </a:lnTo>
                  <a:lnTo>
                    <a:pt x="64" y="79"/>
                  </a:lnTo>
                  <a:lnTo>
                    <a:pt x="67" y="82"/>
                  </a:lnTo>
                  <a:lnTo>
                    <a:pt x="67" y="82"/>
                  </a:lnTo>
                  <a:lnTo>
                    <a:pt x="65" y="82"/>
                  </a:lnTo>
                  <a:lnTo>
                    <a:pt x="65" y="82"/>
                  </a:lnTo>
                  <a:lnTo>
                    <a:pt x="65" y="82"/>
                  </a:lnTo>
                  <a:lnTo>
                    <a:pt x="65" y="82"/>
                  </a:lnTo>
                  <a:lnTo>
                    <a:pt x="62" y="84"/>
                  </a:lnTo>
                  <a:lnTo>
                    <a:pt x="62" y="84"/>
                  </a:lnTo>
                  <a:lnTo>
                    <a:pt x="62" y="82"/>
                  </a:lnTo>
                  <a:lnTo>
                    <a:pt x="62" y="82"/>
                  </a:lnTo>
                  <a:lnTo>
                    <a:pt x="59" y="79"/>
                  </a:lnTo>
                  <a:lnTo>
                    <a:pt x="59" y="79"/>
                  </a:lnTo>
                  <a:lnTo>
                    <a:pt x="59" y="82"/>
                  </a:lnTo>
                  <a:lnTo>
                    <a:pt x="59" y="82"/>
                  </a:lnTo>
                  <a:lnTo>
                    <a:pt x="56" y="82"/>
                  </a:lnTo>
                  <a:lnTo>
                    <a:pt x="56" y="82"/>
                  </a:lnTo>
                  <a:lnTo>
                    <a:pt x="56" y="84"/>
                  </a:lnTo>
                  <a:lnTo>
                    <a:pt x="56" y="84"/>
                  </a:lnTo>
                  <a:lnTo>
                    <a:pt x="52" y="86"/>
                  </a:lnTo>
                  <a:lnTo>
                    <a:pt x="52" y="86"/>
                  </a:lnTo>
                  <a:lnTo>
                    <a:pt x="52" y="86"/>
                  </a:lnTo>
                  <a:lnTo>
                    <a:pt x="52" y="86"/>
                  </a:lnTo>
                  <a:lnTo>
                    <a:pt x="52" y="87"/>
                  </a:lnTo>
                  <a:lnTo>
                    <a:pt x="52" y="87"/>
                  </a:lnTo>
                  <a:lnTo>
                    <a:pt x="49" y="89"/>
                  </a:lnTo>
                  <a:lnTo>
                    <a:pt x="49" y="89"/>
                  </a:lnTo>
                  <a:lnTo>
                    <a:pt x="49" y="89"/>
                  </a:lnTo>
                  <a:lnTo>
                    <a:pt x="49" y="89"/>
                  </a:lnTo>
                  <a:lnTo>
                    <a:pt x="46" y="90"/>
                  </a:lnTo>
                  <a:lnTo>
                    <a:pt x="46" y="90"/>
                  </a:lnTo>
                  <a:lnTo>
                    <a:pt x="46" y="92"/>
                  </a:lnTo>
                  <a:lnTo>
                    <a:pt x="46" y="92"/>
                  </a:lnTo>
                  <a:lnTo>
                    <a:pt x="49" y="90"/>
                  </a:lnTo>
                  <a:lnTo>
                    <a:pt x="49" y="90"/>
                  </a:lnTo>
                  <a:lnTo>
                    <a:pt x="49" y="92"/>
                  </a:lnTo>
                  <a:lnTo>
                    <a:pt x="49" y="92"/>
                  </a:lnTo>
                  <a:lnTo>
                    <a:pt x="52" y="95"/>
                  </a:lnTo>
                  <a:lnTo>
                    <a:pt x="52" y="95"/>
                  </a:lnTo>
                  <a:lnTo>
                    <a:pt x="56" y="93"/>
                  </a:lnTo>
                  <a:lnTo>
                    <a:pt x="56" y="93"/>
                  </a:lnTo>
                  <a:lnTo>
                    <a:pt x="59" y="92"/>
                  </a:lnTo>
                  <a:lnTo>
                    <a:pt x="59" y="92"/>
                  </a:lnTo>
                  <a:lnTo>
                    <a:pt x="59" y="90"/>
                  </a:lnTo>
                  <a:lnTo>
                    <a:pt x="59" y="90"/>
                  </a:lnTo>
                  <a:lnTo>
                    <a:pt x="59" y="89"/>
                  </a:lnTo>
                  <a:lnTo>
                    <a:pt x="59" y="89"/>
                  </a:lnTo>
                  <a:lnTo>
                    <a:pt x="60" y="89"/>
                  </a:lnTo>
                  <a:lnTo>
                    <a:pt x="60" y="89"/>
                  </a:lnTo>
                  <a:lnTo>
                    <a:pt x="64" y="87"/>
                  </a:lnTo>
                  <a:lnTo>
                    <a:pt x="64" y="87"/>
                  </a:lnTo>
                  <a:lnTo>
                    <a:pt x="65" y="87"/>
                  </a:lnTo>
                  <a:lnTo>
                    <a:pt x="65" y="87"/>
                  </a:lnTo>
                  <a:lnTo>
                    <a:pt x="62" y="89"/>
                  </a:lnTo>
                  <a:lnTo>
                    <a:pt x="62" y="89"/>
                  </a:lnTo>
                  <a:lnTo>
                    <a:pt x="60" y="90"/>
                  </a:lnTo>
                  <a:lnTo>
                    <a:pt x="60" y="90"/>
                  </a:lnTo>
                  <a:lnTo>
                    <a:pt x="62" y="90"/>
                  </a:lnTo>
                  <a:lnTo>
                    <a:pt x="62" y="90"/>
                  </a:lnTo>
                  <a:lnTo>
                    <a:pt x="64" y="90"/>
                  </a:lnTo>
                  <a:lnTo>
                    <a:pt x="64" y="90"/>
                  </a:lnTo>
                  <a:lnTo>
                    <a:pt x="59" y="92"/>
                  </a:lnTo>
                  <a:lnTo>
                    <a:pt x="59" y="92"/>
                  </a:lnTo>
                  <a:lnTo>
                    <a:pt x="56" y="93"/>
                  </a:lnTo>
                  <a:lnTo>
                    <a:pt x="56" y="93"/>
                  </a:lnTo>
                  <a:lnTo>
                    <a:pt x="59" y="93"/>
                  </a:lnTo>
                  <a:lnTo>
                    <a:pt x="59" y="93"/>
                  </a:lnTo>
                  <a:lnTo>
                    <a:pt x="59" y="95"/>
                  </a:lnTo>
                  <a:lnTo>
                    <a:pt x="59" y="95"/>
                  </a:lnTo>
                  <a:lnTo>
                    <a:pt x="52" y="95"/>
                  </a:lnTo>
                  <a:lnTo>
                    <a:pt x="52" y="95"/>
                  </a:lnTo>
                  <a:lnTo>
                    <a:pt x="52" y="97"/>
                  </a:lnTo>
                  <a:lnTo>
                    <a:pt x="52" y="97"/>
                  </a:lnTo>
                  <a:lnTo>
                    <a:pt x="49" y="97"/>
                  </a:lnTo>
                  <a:lnTo>
                    <a:pt x="49" y="97"/>
                  </a:lnTo>
                  <a:lnTo>
                    <a:pt x="49" y="97"/>
                  </a:lnTo>
                  <a:lnTo>
                    <a:pt x="49" y="97"/>
                  </a:lnTo>
                  <a:lnTo>
                    <a:pt x="49" y="95"/>
                  </a:lnTo>
                  <a:lnTo>
                    <a:pt x="49" y="95"/>
                  </a:lnTo>
                  <a:lnTo>
                    <a:pt x="48" y="93"/>
                  </a:lnTo>
                  <a:lnTo>
                    <a:pt x="48" y="93"/>
                  </a:lnTo>
                  <a:lnTo>
                    <a:pt x="43" y="95"/>
                  </a:lnTo>
                  <a:lnTo>
                    <a:pt x="43" y="95"/>
                  </a:lnTo>
                  <a:lnTo>
                    <a:pt x="45" y="95"/>
                  </a:lnTo>
                  <a:lnTo>
                    <a:pt x="45" y="95"/>
                  </a:lnTo>
                  <a:lnTo>
                    <a:pt x="43" y="97"/>
                  </a:lnTo>
                  <a:lnTo>
                    <a:pt x="43" y="97"/>
                  </a:lnTo>
                  <a:lnTo>
                    <a:pt x="45" y="97"/>
                  </a:lnTo>
                  <a:lnTo>
                    <a:pt x="45" y="97"/>
                  </a:lnTo>
                  <a:lnTo>
                    <a:pt x="41" y="98"/>
                  </a:lnTo>
                  <a:lnTo>
                    <a:pt x="41" y="98"/>
                  </a:lnTo>
                  <a:lnTo>
                    <a:pt x="41" y="97"/>
                  </a:lnTo>
                  <a:lnTo>
                    <a:pt x="41" y="97"/>
                  </a:lnTo>
                  <a:lnTo>
                    <a:pt x="40" y="97"/>
                  </a:lnTo>
                  <a:lnTo>
                    <a:pt x="40" y="97"/>
                  </a:lnTo>
                  <a:lnTo>
                    <a:pt x="38" y="97"/>
                  </a:lnTo>
                  <a:lnTo>
                    <a:pt x="38" y="97"/>
                  </a:lnTo>
                  <a:lnTo>
                    <a:pt x="37" y="97"/>
                  </a:lnTo>
                  <a:lnTo>
                    <a:pt x="37" y="97"/>
                  </a:lnTo>
                  <a:lnTo>
                    <a:pt x="37" y="98"/>
                  </a:lnTo>
                  <a:lnTo>
                    <a:pt x="37" y="98"/>
                  </a:lnTo>
                  <a:lnTo>
                    <a:pt x="40" y="98"/>
                  </a:lnTo>
                  <a:lnTo>
                    <a:pt x="40" y="98"/>
                  </a:lnTo>
                  <a:lnTo>
                    <a:pt x="33" y="100"/>
                  </a:lnTo>
                  <a:lnTo>
                    <a:pt x="33" y="100"/>
                  </a:lnTo>
                  <a:lnTo>
                    <a:pt x="35" y="101"/>
                  </a:lnTo>
                  <a:lnTo>
                    <a:pt x="35" y="101"/>
                  </a:lnTo>
                  <a:lnTo>
                    <a:pt x="37" y="101"/>
                  </a:lnTo>
                  <a:lnTo>
                    <a:pt x="37" y="101"/>
                  </a:lnTo>
                  <a:lnTo>
                    <a:pt x="35" y="103"/>
                  </a:lnTo>
                  <a:lnTo>
                    <a:pt x="35" y="103"/>
                  </a:lnTo>
                  <a:lnTo>
                    <a:pt x="33" y="103"/>
                  </a:lnTo>
                  <a:lnTo>
                    <a:pt x="33" y="103"/>
                  </a:lnTo>
                  <a:lnTo>
                    <a:pt x="33" y="101"/>
                  </a:lnTo>
                  <a:lnTo>
                    <a:pt x="33" y="101"/>
                  </a:lnTo>
                  <a:lnTo>
                    <a:pt x="32" y="100"/>
                  </a:lnTo>
                  <a:lnTo>
                    <a:pt x="32" y="100"/>
                  </a:lnTo>
                  <a:lnTo>
                    <a:pt x="30" y="100"/>
                  </a:lnTo>
                  <a:lnTo>
                    <a:pt x="30" y="100"/>
                  </a:lnTo>
                  <a:lnTo>
                    <a:pt x="30" y="101"/>
                  </a:lnTo>
                  <a:lnTo>
                    <a:pt x="30" y="101"/>
                  </a:lnTo>
                  <a:lnTo>
                    <a:pt x="32" y="103"/>
                  </a:lnTo>
                  <a:lnTo>
                    <a:pt x="32" y="103"/>
                  </a:lnTo>
                  <a:lnTo>
                    <a:pt x="33" y="105"/>
                  </a:lnTo>
                  <a:lnTo>
                    <a:pt x="33" y="105"/>
                  </a:lnTo>
                  <a:lnTo>
                    <a:pt x="30" y="103"/>
                  </a:lnTo>
                  <a:lnTo>
                    <a:pt x="30" y="103"/>
                  </a:lnTo>
                  <a:lnTo>
                    <a:pt x="30" y="101"/>
                  </a:lnTo>
                  <a:lnTo>
                    <a:pt x="30" y="101"/>
                  </a:lnTo>
                  <a:lnTo>
                    <a:pt x="29" y="101"/>
                  </a:lnTo>
                  <a:lnTo>
                    <a:pt x="29" y="101"/>
                  </a:lnTo>
                  <a:lnTo>
                    <a:pt x="25" y="103"/>
                  </a:lnTo>
                  <a:lnTo>
                    <a:pt x="25" y="103"/>
                  </a:lnTo>
                  <a:lnTo>
                    <a:pt x="25" y="101"/>
                  </a:lnTo>
                  <a:lnTo>
                    <a:pt x="25" y="101"/>
                  </a:lnTo>
                  <a:lnTo>
                    <a:pt x="22" y="101"/>
                  </a:lnTo>
                  <a:lnTo>
                    <a:pt x="22" y="101"/>
                  </a:lnTo>
                  <a:lnTo>
                    <a:pt x="21" y="103"/>
                  </a:lnTo>
                  <a:lnTo>
                    <a:pt x="21" y="103"/>
                  </a:lnTo>
                  <a:lnTo>
                    <a:pt x="24" y="105"/>
                  </a:lnTo>
                  <a:lnTo>
                    <a:pt x="24" y="105"/>
                  </a:lnTo>
                  <a:lnTo>
                    <a:pt x="25" y="105"/>
                  </a:lnTo>
                  <a:lnTo>
                    <a:pt x="25" y="105"/>
                  </a:lnTo>
                  <a:lnTo>
                    <a:pt x="25" y="105"/>
                  </a:lnTo>
                  <a:lnTo>
                    <a:pt x="25" y="105"/>
                  </a:lnTo>
                  <a:lnTo>
                    <a:pt x="25" y="106"/>
                  </a:lnTo>
                  <a:lnTo>
                    <a:pt x="25" y="106"/>
                  </a:lnTo>
                  <a:lnTo>
                    <a:pt x="21" y="105"/>
                  </a:lnTo>
                  <a:lnTo>
                    <a:pt x="21" y="105"/>
                  </a:lnTo>
                  <a:lnTo>
                    <a:pt x="18" y="105"/>
                  </a:lnTo>
                  <a:lnTo>
                    <a:pt x="18" y="105"/>
                  </a:lnTo>
                  <a:lnTo>
                    <a:pt x="14" y="105"/>
                  </a:lnTo>
                  <a:lnTo>
                    <a:pt x="14" y="105"/>
                  </a:lnTo>
                  <a:lnTo>
                    <a:pt x="16" y="106"/>
                  </a:lnTo>
                  <a:lnTo>
                    <a:pt x="16" y="106"/>
                  </a:lnTo>
                  <a:lnTo>
                    <a:pt x="18" y="106"/>
                  </a:lnTo>
                  <a:lnTo>
                    <a:pt x="18" y="106"/>
                  </a:lnTo>
                  <a:lnTo>
                    <a:pt x="13" y="108"/>
                  </a:lnTo>
                  <a:lnTo>
                    <a:pt x="13" y="108"/>
                  </a:lnTo>
                  <a:lnTo>
                    <a:pt x="16" y="108"/>
                  </a:lnTo>
                  <a:lnTo>
                    <a:pt x="16" y="108"/>
                  </a:lnTo>
                  <a:lnTo>
                    <a:pt x="16" y="109"/>
                  </a:lnTo>
                  <a:lnTo>
                    <a:pt x="16" y="109"/>
                  </a:lnTo>
                  <a:lnTo>
                    <a:pt x="16" y="111"/>
                  </a:lnTo>
                  <a:lnTo>
                    <a:pt x="16" y="111"/>
                  </a:lnTo>
                  <a:lnTo>
                    <a:pt x="14" y="109"/>
                  </a:lnTo>
                  <a:lnTo>
                    <a:pt x="14" y="109"/>
                  </a:lnTo>
                  <a:lnTo>
                    <a:pt x="11" y="109"/>
                  </a:lnTo>
                  <a:lnTo>
                    <a:pt x="11" y="109"/>
                  </a:lnTo>
                  <a:lnTo>
                    <a:pt x="11" y="111"/>
                  </a:lnTo>
                  <a:lnTo>
                    <a:pt x="11" y="111"/>
                  </a:lnTo>
                  <a:lnTo>
                    <a:pt x="14" y="112"/>
                  </a:lnTo>
                  <a:lnTo>
                    <a:pt x="14" y="112"/>
                  </a:lnTo>
                  <a:lnTo>
                    <a:pt x="11" y="112"/>
                  </a:lnTo>
                  <a:lnTo>
                    <a:pt x="11" y="112"/>
                  </a:lnTo>
                  <a:lnTo>
                    <a:pt x="10" y="111"/>
                  </a:lnTo>
                  <a:lnTo>
                    <a:pt x="10" y="111"/>
                  </a:lnTo>
                  <a:lnTo>
                    <a:pt x="8" y="111"/>
                  </a:lnTo>
                  <a:lnTo>
                    <a:pt x="8" y="111"/>
                  </a:lnTo>
                  <a:lnTo>
                    <a:pt x="8" y="112"/>
                  </a:lnTo>
                  <a:lnTo>
                    <a:pt x="8" y="112"/>
                  </a:lnTo>
                  <a:lnTo>
                    <a:pt x="6" y="111"/>
                  </a:lnTo>
                  <a:lnTo>
                    <a:pt x="6" y="111"/>
                  </a:lnTo>
                  <a:lnTo>
                    <a:pt x="5" y="111"/>
                  </a:lnTo>
                  <a:lnTo>
                    <a:pt x="5" y="111"/>
                  </a:lnTo>
                  <a:lnTo>
                    <a:pt x="5" y="112"/>
                  </a:lnTo>
                  <a:lnTo>
                    <a:pt x="5" y="112"/>
                  </a:lnTo>
                  <a:lnTo>
                    <a:pt x="3" y="114"/>
                  </a:lnTo>
                  <a:lnTo>
                    <a:pt x="3" y="114"/>
                  </a:lnTo>
                  <a:lnTo>
                    <a:pt x="3" y="116"/>
                  </a:lnTo>
                  <a:lnTo>
                    <a:pt x="3" y="116"/>
                  </a:lnTo>
                  <a:lnTo>
                    <a:pt x="3" y="116"/>
                  </a:lnTo>
                  <a:lnTo>
                    <a:pt x="3" y="116"/>
                  </a:lnTo>
                  <a:lnTo>
                    <a:pt x="3" y="117"/>
                  </a:lnTo>
                  <a:lnTo>
                    <a:pt x="3" y="117"/>
                  </a:lnTo>
                  <a:lnTo>
                    <a:pt x="0" y="117"/>
                  </a:lnTo>
                  <a:lnTo>
                    <a:pt x="0" y="117"/>
                  </a:lnTo>
                  <a:lnTo>
                    <a:pt x="0" y="119"/>
                  </a:lnTo>
                  <a:lnTo>
                    <a:pt x="0" y="119"/>
                  </a:lnTo>
                  <a:lnTo>
                    <a:pt x="3" y="119"/>
                  </a:lnTo>
                  <a:lnTo>
                    <a:pt x="3" y="119"/>
                  </a:lnTo>
                  <a:lnTo>
                    <a:pt x="3" y="119"/>
                  </a:lnTo>
                  <a:lnTo>
                    <a:pt x="3" y="119"/>
                  </a:lnTo>
                  <a:lnTo>
                    <a:pt x="3" y="120"/>
                  </a:lnTo>
                  <a:lnTo>
                    <a:pt x="3" y="120"/>
                  </a:lnTo>
                  <a:lnTo>
                    <a:pt x="0" y="122"/>
                  </a:lnTo>
                  <a:lnTo>
                    <a:pt x="0" y="122"/>
                  </a:lnTo>
                  <a:lnTo>
                    <a:pt x="3" y="122"/>
                  </a:lnTo>
                  <a:lnTo>
                    <a:pt x="3" y="122"/>
                  </a:lnTo>
                  <a:lnTo>
                    <a:pt x="3" y="122"/>
                  </a:lnTo>
                  <a:lnTo>
                    <a:pt x="3" y="122"/>
                  </a:lnTo>
                  <a:lnTo>
                    <a:pt x="6" y="122"/>
                  </a:lnTo>
                  <a:lnTo>
                    <a:pt x="6" y="122"/>
                  </a:lnTo>
                  <a:lnTo>
                    <a:pt x="0" y="124"/>
                  </a:lnTo>
                  <a:lnTo>
                    <a:pt x="0" y="124"/>
                  </a:lnTo>
                  <a:lnTo>
                    <a:pt x="3" y="124"/>
                  </a:lnTo>
                  <a:lnTo>
                    <a:pt x="3" y="124"/>
                  </a:lnTo>
                  <a:lnTo>
                    <a:pt x="0" y="125"/>
                  </a:lnTo>
                  <a:lnTo>
                    <a:pt x="0" y="125"/>
                  </a:lnTo>
                  <a:lnTo>
                    <a:pt x="3" y="125"/>
                  </a:lnTo>
                  <a:lnTo>
                    <a:pt x="3" y="125"/>
                  </a:lnTo>
                  <a:lnTo>
                    <a:pt x="5" y="125"/>
                  </a:lnTo>
                  <a:lnTo>
                    <a:pt x="5" y="125"/>
                  </a:lnTo>
                  <a:lnTo>
                    <a:pt x="10" y="125"/>
                  </a:lnTo>
                  <a:lnTo>
                    <a:pt x="10" y="125"/>
                  </a:lnTo>
                  <a:lnTo>
                    <a:pt x="5" y="127"/>
                  </a:lnTo>
                  <a:lnTo>
                    <a:pt x="5" y="127"/>
                  </a:lnTo>
                  <a:lnTo>
                    <a:pt x="3" y="127"/>
                  </a:lnTo>
                  <a:lnTo>
                    <a:pt x="3" y="127"/>
                  </a:lnTo>
                  <a:lnTo>
                    <a:pt x="0" y="128"/>
                  </a:lnTo>
                  <a:lnTo>
                    <a:pt x="0" y="128"/>
                  </a:lnTo>
                  <a:lnTo>
                    <a:pt x="0" y="128"/>
                  </a:lnTo>
                  <a:lnTo>
                    <a:pt x="0" y="128"/>
                  </a:lnTo>
                  <a:lnTo>
                    <a:pt x="0" y="128"/>
                  </a:lnTo>
                  <a:lnTo>
                    <a:pt x="0" y="128"/>
                  </a:lnTo>
                  <a:lnTo>
                    <a:pt x="0" y="132"/>
                  </a:lnTo>
                  <a:lnTo>
                    <a:pt x="0" y="132"/>
                  </a:lnTo>
                  <a:lnTo>
                    <a:pt x="3" y="132"/>
                  </a:lnTo>
                  <a:lnTo>
                    <a:pt x="3" y="132"/>
                  </a:lnTo>
                  <a:lnTo>
                    <a:pt x="5" y="132"/>
                  </a:lnTo>
                  <a:lnTo>
                    <a:pt x="5" y="132"/>
                  </a:lnTo>
                  <a:lnTo>
                    <a:pt x="6" y="128"/>
                  </a:lnTo>
                  <a:lnTo>
                    <a:pt x="6" y="128"/>
                  </a:lnTo>
                  <a:lnTo>
                    <a:pt x="6" y="132"/>
                  </a:lnTo>
                  <a:lnTo>
                    <a:pt x="6" y="132"/>
                  </a:lnTo>
                  <a:lnTo>
                    <a:pt x="5" y="135"/>
                  </a:lnTo>
                  <a:lnTo>
                    <a:pt x="5" y="135"/>
                  </a:lnTo>
                  <a:lnTo>
                    <a:pt x="3" y="135"/>
                  </a:lnTo>
                  <a:lnTo>
                    <a:pt x="3" y="135"/>
                  </a:lnTo>
                  <a:lnTo>
                    <a:pt x="3" y="132"/>
                  </a:lnTo>
                  <a:lnTo>
                    <a:pt x="3" y="132"/>
                  </a:lnTo>
                  <a:lnTo>
                    <a:pt x="0" y="135"/>
                  </a:lnTo>
                  <a:lnTo>
                    <a:pt x="0" y="135"/>
                  </a:lnTo>
                  <a:lnTo>
                    <a:pt x="3" y="135"/>
                  </a:lnTo>
                  <a:lnTo>
                    <a:pt x="3" y="135"/>
                  </a:lnTo>
                  <a:lnTo>
                    <a:pt x="3" y="138"/>
                  </a:lnTo>
                  <a:lnTo>
                    <a:pt x="3" y="138"/>
                  </a:lnTo>
                  <a:lnTo>
                    <a:pt x="5" y="138"/>
                  </a:lnTo>
                  <a:lnTo>
                    <a:pt x="5" y="138"/>
                  </a:lnTo>
                  <a:lnTo>
                    <a:pt x="6" y="138"/>
                  </a:lnTo>
                  <a:lnTo>
                    <a:pt x="6" y="138"/>
                  </a:lnTo>
                  <a:lnTo>
                    <a:pt x="8" y="139"/>
                  </a:lnTo>
                  <a:lnTo>
                    <a:pt x="8" y="139"/>
                  </a:lnTo>
                  <a:lnTo>
                    <a:pt x="10" y="138"/>
                  </a:lnTo>
                  <a:lnTo>
                    <a:pt x="10" y="138"/>
                  </a:lnTo>
                  <a:lnTo>
                    <a:pt x="13" y="135"/>
                  </a:lnTo>
                  <a:lnTo>
                    <a:pt x="13" y="135"/>
                  </a:lnTo>
                  <a:lnTo>
                    <a:pt x="16" y="135"/>
                  </a:lnTo>
                  <a:lnTo>
                    <a:pt x="16" y="135"/>
                  </a:lnTo>
                  <a:lnTo>
                    <a:pt x="18" y="135"/>
                  </a:lnTo>
                  <a:lnTo>
                    <a:pt x="18" y="135"/>
                  </a:lnTo>
                  <a:lnTo>
                    <a:pt x="22" y="135"/>
                  </a:lnTo>
                  <a:lnTo>
                    <a:pt x="22" y="135"/>
                  </a:lnTo>
                  <a:lnTo>
                    <a:pt x="18" y="135"/>
                  </a:lnTo>
                  <a:lnTo>
                    <a:pt x="18" y="135"/>
                  </a:lnTo>
                  <a:lnTo>
                    <a:pt x="16" y="138"/>
                  </a:lnTo>
                  <a:lnTo>
                    <a:pt x="16" y="138"/>
                  </a:lnTo>
                  <a:lnTo>
                    <a:pt x="16" y="135"/>
                  </a:lnTo>
                  <a:lnTo>
                    <a:pt x="16" y="135"/>
                  </a:lnTo>
                  <a:lnTo>
                    <a:pt x="16" y="135"/>
                  </a:lnTo>
                  <a:lnTo>
                    <a:pt x="16" y="135"/>
                  </a:lnTo>
                  <a:lnTo>
                    <a:pt x="13" y="138"/>
                  </a:lnTo>
                  <a:lnTo>
                    <a:pt x="13" y="138"/>
                  </a:lnTo>
                  <a:lnTo>
                    <a:pt x="11" y="138"/>
                  </a:lnTo>
                  <a:lnTo>
                    <a:pt x="11" y="138"/>
                  </a:lnTo>
                  <a:lnTo>
                    <a:pt x="13" y="138"/>
                  </a:lnTo>
                  <a:lnTo>
                    <a:pt x="13" y="138"/>
                  </a:lnTo>
                  <a:lnTo>
                    <a:pt x="8" y="139"/>
                  </a:lnTo>
                  <a:lnTo>
                    <a:pt x="8" y="139"/>
                  </a:lnTo>
                  <a:lnTo>
                    <a:pt x="6" y="141"/>
                  </a:lnTo>
                  <a:lnTo>
                    <a:pt x="6" y="141"/>
                  </a:lnTo>
                  <a:lnTo>
                    <a:pt x="8" y="143"/>
                  </a:lnTo>
                  <a:lnTo>
                    <a:pt x="8" y="143"/>
                  </a:lnTo>
                  <a:lnTo>
                    <a:pt x="8" y="144"/>
                  </a:lnTo>
                  <a:lnTo>
                    <a:pt x="8" y="144"/>
                  </a:lnTo>
                  <a:lnTo>
                    <a:pt x="6" y="144"/>
                  </a:lnTo>
                  <a:lnTo>
                    <a:pt x="6" y="144"/>
                  </a:lnTo>
                  <a:lnTo>
                    <a:pt x="5" y="144"/>
                  </a:lnTo>
                  <a:lnTo>
                    <a:pt x="5" y="144"/>
                  </a:lnTo>
                  <a:lnTo>
                    <a:pt x="3" y="146"/>
                  </a:lnTo>
                  <a:lnTo>
                    <a:pt x="3" y="146"/>
                  </a:lnTo>
                  <a:lnTo>
                    <a:pt x="5" y="143"/>
                  </a:lnTo>
                  <a:lnTo>
                    <a:pt x="5" y="143"/>
                  </a:lnTo>
                  <a:lnTo>
                    <a:pt x="3" y="144"/>
                  </a:lnTo>
                  <a:lnTo>
                    <a:pt x="3" y="144"/>
                  </a:lnTo>
                  <a:lnTo>
                    <a:pt x="3" y="147"/>
                  </a:lnTo>
                  <a:lnTo>
                    <a:pt x="3" y="147"/>
                  </a:lnTo>
                  <a:lnTo>
                    <a:pt x="3" y="149"/>
                  </a:lnTo>
                  <a:lnTo>
                    <a:pt x="3" y="149"/>
                  </a:lnTo>
                  <a:lnTo>
                    <a:pt x="3" y="149"/>
                  </a:lnTo>
                  <a:lnTo>
                    <a:pt x="3" y="149"/>
                  </a:lnTo>
                  <a:lnTo>
                    <a:pt x="5" y="149"/>
                  </a:lnTo>
                  <a:lnTo>
                    <a:pt x="5" y="149"/>
                  </a:lnTo>
                  <a:lnTo>
                    <a:pt x="8" y="149"/>
                  </a:lnTo>
                  <a:lnTo>
                    <a:pt x="8" y="149"/>
                  </a:lnTo>
                  <a:lnTo>
                    <a:pt x="8" y="147"/>
                  </a:lnTo>
                  <a:lnTo>
                    <a:pt x="8" y="147"/>
                  </a:lnTo>
                  <a:lnTo>
                    <a:pt x="10" y="147"/>
                  </a:lnTo>
                  <a:lnTo>
                    <a:pt x="10" y="147"/>
                  </a:lnTo>
                  <a:lnTo>
                    <a:pt x="11" y="146"/>
                  </a:lnTo>
                  <a:lnTo>
                    <a:pt x="11" y="146"/>
                  </a:lnTo>
                  <a:lnTo>
                    <a:pt x="13" y="146"/>
                  </a:lnTo>
                  <a:lnTo>
                    <a:pt x="13" y="146"/>
                  </a:lnTo>
                  <a:lnTo>
                    <a:pt x="14" y="146"/>
                  </a:lnTo>
                  <a:lnTo>
                    <a:pt x="14" y="146"/>
                  </a:lnTo>
                  <a:lnTo>
                    <a:pt x="10" y="149"/>
                  </a:lnTo>
                  <a:lnTo>
                    <a:pt x="10" y="149"/>
                  </a:lnTo>
                  <a:lnTo>
                    <a:pt x="11" y="149"/>
                  </a:lnTo>
                  <a:lnTo>
                    <a:pt x="11" y="149"/>
                  </a:lnTo>
                  <a:lnTo>
                    <a:pt x="13" y="149"/>
                  </a:lnTo>
                  <a:lnTo>
                    <a:pt x="13" y="149"/>
                  </a:lnTo>
                  <a:lnTo>
                    <a:pt x="14" y="149"/>
                  </a:lnTo>
                  <a:lnTo>
                    <a:pt x="14" y="149"/>
                  </a:lnTo>
                  <a:lnTo>
                    <a:pt x="11" y="151"/>
                  </a:lnTo>
                  <a:lnTo>
                    <a:pt x="11" y="151"/>
                  </a:lnTo>
                  <a:lnTo>
                    <a:pt x="8" y="152"/>
                  </a:lnTo>
                  <a:lnTo>
                    <a:pt x="8" y="152"/>
                  </a:lnTo>
                  <a:lnTo>
                    <a:pt x="10" y="152"/>
                  </a:lnTo>
                  <a:lnTo>
                    <a:pt x="10" y="152"/>
                  </a:lnTo>
                  <a:lnTo>
                    <a:pt x="10" y="154"/>
                  </a:lnTo>
                  <a:lnTo>
                    <a:pt x="10" y="154"/>
                  </a:lnTo>
                  <a:lnTo>
                    <a:pt x="11" y="155"/>
                  </a:lnTo>
                  <a:lnTo>
                    <a:pt x="11" y="155"/>
                  </a:lnTo>
                  <a:lnTo>
                    <a:pt x="8" y="154"/>
                  </a:lnTo>
                  <a:lnTo>
                    <a:pt x="8" y="154"/>
                  </a:lnTo>
                  <a:lnTo>
                    <a:pt x="5" y="154"/>
                  </a:lnTo>
                  <a:lnTo>
                    <a:pt x="5" y="154"/>
                  </a:lnTo>
                  <a:lnTo>
                    <a:pt x="5" y="155"/>
                  </a:lnTo>
                  <a:lnTo>
                    <a:pt x="5" y="155"/>
                  </a:lnTo>
                  <a:lnTo>
                    <a:pt x="5" y="157"/>
                  </a:lnTo>
                  <a:lnTo>
                    <a:pt x="5" y="157"/>
                  </a:lnTo>
                  <a:lnTo>
                    <a:pt x="8" y="162"/>
                  </a:lnTo>
                  <a:lnTo>
                    <a:pt x="8" y="162"/>
                  </a:lnTo>
                  <a:lnTo>
                    <a:pt x="13" y="163"/>
                  </a:lnTo>
                  <a:lnTo>
                    <a:pt x="13" y="163"/>
                  </a:lnTo>
                  <a:lnTo>
                    <a:pt x="16" y="163"/>
                  </a:lnTo>
                  <a:lnTo>
                    <a:pt x="16" y="163"/>
                  </a:lnTo>
                  <a:lnTo>
                    <a:pt x="18" y="163"/>
                  </a:lnTo>
                  <a:lnTo>
                    <a:pt x="18" y="163"/>
                  </a:lnTo>
                  <a:lnTo>
                    <a:pt x="16" y="163"/>
                  </a:lnTo>
                  <a:lnTo>
                    <a:pt x="16" y="163"/>
                  </a:lnTo>
                  <a:lnTo>
                    <a:pt x="19" y="166"/>
                  </a:lnTo>
                  <a:lnTo>
                    <a:pt x="19" y="166"/>
                  </a:lnTo>
                  <a:lnTo>
                    <a:pt x="22" y="166"/>
                  </a:lnTo>
                  <a:lnTo>
                    <a:pt x="22" y="166"/>
                  </a:lnTo>
                  <a:lnTo>
                    <a:pt x="25" y="166"/>
                  </a:lnTo>
                  <a:lnTo>
                    <a:pt x="25" y="166"/>
                  </a:lnTo>
                  <a:lnTo>
                    <a:pt x="29" y="166"/>
                  </a:lnTo>
                  <a:lnTo>
                    <a:pt x="29" y="166"/>
                  </a:lnTo>
                  <a:lnTo>
                    <a:pt x="35" y="163"/>
                  </a:lnTo>
                  <a:lnTo>
                    <a:pt x="35" y="163"/>
                  </a:lnTo>
                  <a:lnTo>
                    <a:pt x="38" y="160"/>
                  </a:lnTo>
                  <a:lnTo>
                    <a:pt x="38" y="160"/>
                  </a:lnTo>
                  <a:lnTo>
                    <a:pt x="41" y="159"/>
                  </a:lnTo>
                  <a:lnTo>
                    <a:pt x="41" y="159"/>
                  </a:lnTo>
                  <a:lnTo>
                    <a:pt x="41" y="157"/>
                  </a:lnTo>
                  <a:lnTo>
                    <a:pt x="41" y="157"/>
                  </a:lnTo>
                  <a:lnTo>
                    <a:pt x="45" y="157"/>
                  </a:lnTo>
                  <a:lnTo>
                    <a:pt x="45" y="157"/>
                  </a:lnTo>
                  <a:lnTo>
                    <a:pt x="43" y="155"/>
                  </a:lnTo>
                  <a:lnTo>
                    <a:pt x="43" y="155"/>
                  </a:lnTo>
                  <a:lnTo>
                    <a:pt x="46" y="154"/>
                  </a:lnTo>
                  <a:lnTo>
                    <a:pt x="46" y="154"/>
                  </a:lnTo>
                  <a:lnTo>
                    <a:pt x="46" y="152"/>
                  </a:lnTo>
                  <a:lnTo>
                    <a:pt x="46" y="152"/>
                  </a:lnTo>
                  <a:lnTo>
                    <a:pt x="49" y="154"/>
                  </a:lnTo>
                  <a:lnTo>
                    <a:pt x="49" y="154"/>
                  </a:lnTo>
                  <a:lnTo>
                    <a:pt x="49" y="154"/>
                  </a:lnTo>
                  <a:lnTo>
                    <a:pt x="49" y="154"/>
                  </a:lnTo>
                  <a:lnTo>
                    <a:pt x="49" y="152"/>
                  </a:lnTo>
                  <a:lnTo>
                    <a:pt x="49" y="152"/>
                  </a:lnTo>
                  <a:lnTo>
                    <a:pt x="52" y="151"/>
                  </a:lnTo>
                  <a:lnTo>
                    <a:pt x="52" y="151"/>
                  </a:lnTo>
                  <a:lnTo>
                    <a:pt x="56" y="147"/>
                  </a:lnTo>
                  <a:lnTo>
                    <a:pt x="56" y="147"/>
                  </a:lnTo>
                  <a:lnTo>
                    <a:pt x="52" y="146"/>
                  </a:lnTo>
                  <a:lnTo>
                    <a:pt x="52" y="146"/>
                  </a:lnTo>
                  <a:lnTo>
                    <a:pt x="52" y="146"/>
                  </a:lnTo>
                  <a:lnTo>
                    <a:pt x="52" y="146"/>
                  </a:lnTo>
                  <a:lnTo>
                    <a:pt x="56" y="144"/>
                  </a:lnTo>
                  <a:lnTo>
                    <a:pt x="56" y="144"/>
                  </a:lnTo>
                  <a:lnTo>
                    <a:pt x="56" y="146"/>
                  </a:lnTo>
                  <a:lnTo>
                    <a:pt x="56" y="146"/>
                  </a:lnTo>
                  <a:lnTo>
                    <a:pt x="56" y="144"/>
                  </a:lnTo>
                  <a:lnTo>
                    <a:pt x="56" y="144"/>
                  </a:lnTo>
                  <a:lnTo>
                    <a:pt x="56" y="143"/>
                  </a:lnTo>
                  <a:lnTo>
                    <a:pt x="56" y="143"/>
                  </a:lnTo>
                  <a:lnTo>
                    <a:pt x="56" y="141"/>
                  </a:lnTo>
                  <a:lnTo>
                    <a:pt x="56" y="141"/>
                  </a:lnTo>
                  <a:lnTo>
                    <a:pt x="59" y="141"/>
                  </a:lnTo>
                  <a:lnTo>
                    <a:pt x="59" y="141"/>
                  </a:lnTo>
                  <a:lnTo>
                    <a:pt x="56" y="143"/>
                  </a:lnTo>
                  <a:lnTo>
                    <a:pt x="56" y="143"/>
                  </a:lnTo>
                  <a:lnTo>
                    <a:pt x="56" y="144"/>
                  </a:lnTo>
                  <a:lnTo>
                    <a:pt x="56" y="144"/>
                  </a:lnTo>
                  <a:lnTo>
                    <a:pt x="56" y="147"/>
                  </a:lnTo>
                  <a:lnTo>
                    <a:pt x="56" y="147"/>
                  </a:lnTo>
                  <a:lnTo>
                    <a:pt x="59" y="151"/>
                  </a:lnTo>
                  <a:lnTo>
                    <a:pt x="59" y="151"/>
                  </a:lnTo>
                  <a:lnTo>
                    <a:pt x="60" y="152"/>
                  </a:lnTo>
                  <a:lnTo>
                    <a:pt x="60" y="152"/>
                  </a:lnTo>
                  <a:lnTo>
                    <a:pt x="62" y="152"/>
                  </a:lnTo>
                  <a:lnTo>
                    <a:pt x="62" y="152"/>
                  </a:lnTo>
                  <a:lnTo>
                    <a:pt x="62" y="152"/>
                  </a:lnTo>
                  <a:lnTo>
                    <a:pt x="62" y="152"/>
                  </a:lnTo>
                  <a:lnTo>
                    <a:pt x="64" y="152"/>
                  </a:lnTo>
                  <a:lnTo>
                    <a:pt x="64" y="152"/>
                  </a:lnTo>
                  <a:lnTo>
                    <a:pt x="64" y="154"/>
                  </a:lnTo>
                  <a:lnTo>
                    <a:pt x="64" y="154"/>
                  </a:lnTo>
                  <a:lnTo>
                    <a:pt x="65" y="155"/>
                  </a:lnTo>
                  <a:lnTo>
                    <a:pt x="65" y="155"/>
                  </a:lnTo>
                  <a:lnTo>
                    <a:pt x="67" y="154"/>
                  </a:lnTo>
                  <a:lnTo>
                    <a:pt x="67" y="154"/>
                  </a:lnTo>
                  <a:lnTo>
                    <a:pt x="68" y="152"/>
                  </a:lnTo>
                  <a:lnTo>
                    <a:pt x="68" y="152"/>
                  </a:lnTo>
                  <a:lnTo>
                    <a:pt x="68" y="147"/>
                  </a:lnTo>
                  <a:lnTo>
                    <a:pt x="68" y="147"/>
                  </a:lnTo>
                  <a:lnTo>
                    <a:pt x="67" y="146"/>
                  </a:lnTo>
                  <a:lnTo>
                    <a:pt x="67" y="146"/>
                  </a:lnTo>
                  <a:lnTo>
                    <a:pt x="68" y="144"/>
                  </a:lnTo>
                  <a:lnTo>
                    <a:pt x="68" y="144"/>
                  </a:lnTo>
                  <a:lnTo>
                    <a:pt x="68" y="143"/>
                  </a:lnTo>
                  <a:lnTo>
                    <a:pt x="68" y="143"/>
                  </a:lnTo>
                  <a:lnTo>
                    <a:pt x="70" y="141"/>
                  </a:lnTo>
                  <a:lnTo>
                    <a:pt x="70" y="141"/>
                  </a:lnTo>
                  <a:lnTo>
                    <a:pt x="72" y="139"/>
                  </a:lnTo>
                  <a:lnTo>
                    <a:pt x="72" y="139"/>
                  </a:lnTo>
                  <a:lnTo>
                    <a:pt x="73" y="139"/>
                  </a:lnTo>
                  <a:lnTo>
                    <a:pt x="73" y="139"/>
                  </a:lnTo>
                  <a:lnTo>
                    <a:pt x="75" y="138"/>
                  </a:lnTo>
                  <a:lnTo>
                    <a:pt x="75" y="138"/>
                  </a:lnTo>
                  <a:lnTo>
                    <a:pt x="76" y="135"/>
                  </a:lnTo>
                  <a:lnTo>
                    <a:pt x="76" y="135"/>
                  </a:lnTo>
                  <a:lnTo>
                    <a:pt x="75" y="132"/>
                  </a:lnTo>
                  <a:lnTo>
                    <a:pt x="75" y="132"/>
                  </a:lnTo>
                  <a:lnTo>
                    <a:pt x="73" y="128"/>
                  </a:lnTo>
                  <a:lnTo>
                    <a:pt x="73" y="128"/>
                  </a:lnTo>
                  <a:lnTo>
                    <a:pt x="73" y="128"/>
                  </a:lnTo>
                  <a:lnTo>
                    <a:pt x="73" y="128"/>
                  </a:lnTo>
                  <a:lnTo>
                    <a:pt x="75" y="127"/>
                  </a:lnTo>
                  <a:lnTo>
                    <a:pt x="75" y="127"/>
                  </a:lnTo>
                  <a:lnTo>
                    <a:pt x="78" y="125"/>
                  </a:lnTo>
                  <a:lnTo>
                    <a:pt x="78" y="125"/>
                  </a:lnTo>
                  <a:lnTo>
                    <a:pt x="79" y="124"/>
                  </a:lnTo>
                  <a:lnTo>
                    <a:pt x="79" y="124"/>
                  </a:lnTo>
                  <a:lnTo>
                    <a:pt x="78" y="122"/>
                  </a:lnTo>
                  <a:lnTo>
                    <a:pt x="78" y="122"/>
                  </a:lnTo>
                  <a:lnTo>
                    <a:pt x="78" y="120"/>
                  </a:lnTo>
                  <a:lnTo>
                    <a:pt x="78" y="120"/>
                  </a:lnTo>
                  <a:lnTo>
                    <a:pt x="75" y="119"/>
                  </a:lnTo>
                  <a:lnTo>
                    <a:pt x="75" y="119"/>
                  </a:lnTo>
                  <a:lnTo>
                    <a:pt x="72" y="117"/>
                  </a:lnTo>
                  <a:lnTo>
                    <a:pt x="72" y="117"/>
                  </a:lnTo>
                  <a:lnTo>
                    <a:pt x="72" y="114"/>
                  </a:lnTo>
                  <a:lnTo>
                    <a:pt x="72" y="114"/>
                  </a:lnTo>
                  <a:lnTo>
                    <a:pt x="72" y="109"/>
                  </a:lnTo>
                  <a:lnTo>
                    <a:pt x="72" y="109"/>
                  </a:lnTo>
                  <a:lnTo>
                    <a:pt x="72" y="106"/>
                  </a:lnTo>
                  <a:lnTo>
                    <a:pt x="72" y="106"/>
                  </a:lnTo>
                  <a:lnTo>
                    <a:pt x="70" y="105"/>
                  </a:lnTo>
                  <a:lnTo>
                    <a:pt x="70" y="105"/>
                  </a:lnTo>
                  <a:lnTo>
                    <a:pt x="70" y="103"/>
                  </a:lnTo>
                  <a:lnTo>
                    <a:pt x="70" y="103"/>
                  </a:lnTo>
                  <a:lnTo>
                    <a:pt x="72" y="101"/>
                  </a:lnTo>
                  <a:lnTo>
                    <a:pt x="72" y="101"/>
                  </a:lnTo>
                  <a:lnTo>
                    <a:pt x="70" y="98"/>
                  </a:lnTo>
                  <a:lnTo>
                    <a:pt x="70" y="98"/>
                  </a:lnTo>
                  <a:lnTo>
                    <a:pt x="70" y="95"/>
                  </a:lnTo>
                  <a:lnTo>
                    <a:pt x="70" y="95"/>
                  </a:lnTo>
                  <a:lnTo>
                    <a:pt x="72" y="93"/>
                  </a:lnTo>
                  <a:lnTo>
                    <a:pt x="72" y="93"/>
                  </a:lnTo>
                  <a:lnTo>
                    <a:pt x="72" y="92"/>
                  </a:lnTo>
                  <a:lnTo>
                    <a:pt x="72" y="92"/>
                  </a:lnTo>
                  <a:lnTo>
                    <a:pt x="73" y="90"/>
                  </a:lnTo>
                  <a:lnTo>
                    <a:pt x="73" y="90"/>
                  </a:lnTo>
                  <a:lnTo>
                    <a:pt x="76" y="89"/>
                  </a:lnTo>
                  <a:lnTo>
                    <a:pt x="76" y="89"/>
                  </a:lnTo>
                  <a:lnTo>
                    <a:pt x="81" y="87"/>
                  </a:lnTo>
                  <a:lnTo>
                    <a:pt x="81" y="87"/>
                  </a:lnTo>
                  <a:lnTo>
                    <a:pt x="84" y="87"/>
                  </a:lnTo>
                  <a:lnTo>
                    <a:pt x="84" y="87"/>
                  </a:lnTo>
                  <a:lnTo>
                    <a:pt x="87" y="87"/>
                  </a:lnTo>
                  <a:lnTo>
                    <a:pt x="87" y="87"/>
                  </a:lnTo>
                  <a:lnTo>
                    <a:pt x="91" y="86"/>
                  </a:lnTo>
                  <a:lnTo>
                    <a:pt x="91" y="86"/>
                  </a:lnTo>
                  <a:lnTo>
                    <a:pt x="91" y="84"/>
                  </a:lnTo>
                  <a:lnTo>
                    <a:pt x="91" y="84"/>
                  </a:lnTo>
                  <a:lnTo>
                    <a:pt x="91" y="82"/>
                  </a:lnTo>
                  <a:lnTo>
                    <a:pt x="91" y="82"/>
                  </a:lnTo>
                  <a:lnTo>
                    <a:pt x="87" y="82"/>
                  </a:lnTo>
                  <a:lnTo>
                    <a:pt x="87" y="82"/>
                  </a:lnTo>
                  <a:lnTo>
                    <a:pt x="84" y="82"/>
                  </a:lnTo>
                  <a:lnTo>
                    <a:pt x="84" y="82"/>
                  </a:lnTo>
                  <a:lnTo>
                    <a:pt x="91" y="76"/>
                  </a:lnTo>
                  <a:lnTo>
                    <a:pt x="91" y="76"/>
                  </a:lnTo>
                  <a:lnTo>
                    <a:pt x="94" y="73"/>
                  </a:lnTo>
                  <a:lnTo>
                    <a:pt x="94" y="73"/>
                  </a:lnTo>
                  <a:lnTo>
                    <a:pt x="94" y="70"/>
                  </a:lnTo>
                  <a:lnTo>
                    <a:pt x="94" y="70"/>
                  </a:lnTo>
                  <a:lnTo>
                    <a:pt x="94" y="66"/>
                  </a:lnTo>
                  <a:lnTo>
                    <a:pt x="94" y="66"/>
                  </a:lnTo>
                  <a:lnTo>
                    <a:pt x="94" y="62"/>
                  </a:lnTo>
                  <a:lnTo>
                    <a:pt x="94" y="62"/>
                  </a:lnTo>
                  <a:lnTo>
                    <a:pt x="97" y="62"/>
                  </a:lnTo>
                  <a:lnTo>
                    <a:pt x="97" y="62"/>
                  </a:lnTo>
                  <a:lnTo>
                    <a:pt x="102" y="60"/>
                  </a:lnTo>
                  <a:lnTo>
                    <a:pt x="102" y="60"/>
                  </a:lnTo>
                  <a:lnTo>
                    <a:pt x="102" y="59"/>
                  </a:lnTo>
                  <a:lnTo>
                    <a:pt x="102" y="59"/>
                  </a:lnTo>
                  <a:lnTo>
                    <a:pt x="102" y="57"/>
                  </a:lnTo>
                  <a:lnTo>
                    <a:pt x="102" y="57"/>
                  </a:lnTo>
                  <a:lnTo>
                    <a:pt x="102" y="55"/>
                  </a:lnTo>
                  <a:lnTo>
                    <a:pt x="102" y="55"/>
                  </a:lnTo>
                  <a:lnTo>
                    <a:pt x="103" y="55"/>
                  </a:lnTo>
                  <a:lnTo>
                    <a:pt x="103" y="55"/>
                  </a:lnTo>
                  <a:lnTo>
                    <a:pt x="111" y="49"/>
                  </a:lnTo>
                  <a:lnTo>
                    <a:pt x="111" y="49"/>
                  </a:lnTo>
                  <a:lnTo>
                    <a:pt x="111" y="47"/>
                  </a:lnTo>
                  <a:lnTo>
                    <a:pt x="111" y="47"/>
                  </a:lnTo>
                  <a:lnTo>
                    <a:pt x="110" y="47"/>
                  </a:lnTo>
                  <a:lnTo>
                    <a:pt x="110" y="47"/>
                  </a:lnTo>
                  <a:lnTo>
                    <a:pt x="108" y="44"/>
                  </a:lnTo>
                  <a:lnTo>
                    <a:pt x="108" y="44"/>
                  </a:lnTo>
                  <a:lnTo>
                    <a:pt x="111" y="41"/>
                  </a:lnTo>
                  <a:lnTo>
                    <a:pt x="111" y="41"/>
                  </a:lnTo>
                  <a:lnTo>
                    <a:pt x="116" y="38"/>
                  </a:lnTo>
                  <a:lnTo>
                    <a:pt x="116" y="38"/>
                  </a:lnTo>
                  <a:lnTo>
                    <a:pt x="119" y="38"/>
                  </a:lnTo>
                  <a:lnTo>
                    <a:pt x="119" y="38"/>
                  </a:lnTo>
                  <a:lnTo>
                    <a:pt x="122" y="38"/>
                  </a:lnTo>
                  <a:lnTo>
                    <a:pt x="122" y="38"/>
                  </a:lnTo>
                  <a:lnTo>
                    <a:pt x="124" y="38"/>
                  </a:lnTo>
                  <a:lnTo>
                    <a:pt x="124" y="38"/>
                  </a:lnTo>
                  <a:lnTo>
                    <a:pt x="126" y="36"/>
                  </a:lnTo>
                  <a:lnTo>
                    <a:pt x="126" y="36"/>
                  </a:lnTo>
                  <a:lnTo>
                    <a:pt x="126" y="33"/>
                  </a:lnTo>
                  <a:lnTo>
                    <a:pt x="126" y="33"/>
                  </a:lnTo>
                  <a:lnTo>
                    <a:pt x="126" y="32"/>
                  </a:lnTo>
                  <a:lnTo>
                    <a:pt x="126" y="32"/>
                  </a:lnTo>
                  <a:lnTo>
                    <a:pt x="127" y="32"/>
                  </a:lnTo>
                  <a:lnTo>
                    <a:pt x="127" y="32"/>
                  </a:lnTo>
                  <a:lnTo>
                    <a:pt x="129" y="32"/>
                  </a:lnTo>
                  <a:lnTo>
                    <a:pt x="129" y="32"/>
                  </a:lnTo>
                  <a:lnTo>
                    <a:pt x="132" y="32"/>
                  </a:lnTo>
                  <a:lnTo>
                    <a:pt x="132" y="32"/>
                  </a:lnTo>
                  <a:lnTo>
                    <a:pt x="138" y="33"/>
                  </a:lnTo>
                  <a:lnTo>
                    <a:pt x="138" y="33"/>
                  </a:lnTo>
                  <a:lnTo>
                    <a:pt x="143" y="33"/>
                  </a:lnTo>
                  <a:lnTo>
                    <a:pt x="143" y="33"/>
                  </a:lnTo>
                  <a:lnTo>
                    <a:pt x="146" y="32"/>
                  </a:lnTo>
                  <a:lnTo>
                    <a:pt x="146" y="32"/>
                  </a:lnTo>
                  <a:lnTo>
                    <a:pt x="143" y="32"/>
                  </a:lnTo>
                  <a:lnTo>
                    <a:pt x="143" y="32"/>
                  </a:lnTo>
                  <a:lnTo>
                    <a:pt x="146" y="28"/>
                  </a:lnTo>
                  <a:lnTo>
                    <a:pt x="146" y="28"/>
                  </a:lnTo>
                  <a:lnTo>
                    <a:pt x="146" y="27"/>
                  </a:lnTo>
                  <a:lnTo>
                    <a:pt x="146" y="27"/>
                  </a:lnTo>
                  <a:lnTo>
                    <a:pt x="143" y="25"/>
                  </a:lnTo>
                  <a:lnTo>
                    <a:pt x="143" y="25"/>
                  </a:lnTo>
                  <a:lnTo>
                    <a:pt x="149" y="25"/>
                  </a:lnTo>
                  <a:lnTo>
                    <a:pt x="149" y="25"/>
                  </a:lnTo>
                  <a:lnTo>
                    <a:pt x="149" y="25"/>
                  </a:lnTo>
                  <a:lnTo>
                    <a:pt x="149" y="25"/>
                  </a:lnTo>
                  <a:lnTo>
                    <a:pt x="152" y="24"/>
                  </a:lnTo>
                  <a:lnTo>
                    <a:pt x="151" y="24"/>
                  </a:lnTo>
                  <a:lnTo>
                    <a:pt x="151" y="24"/>
                  </a:lnTo>
                  <a:lnTo>
                    <a:pt x="151" y="24"/>
                  </a:lnTo>
                  <a:close/>
                  <a:moveTo>
                    <a:pt x="3" y="128"/>
                  </a:moveTo>
                  <a:lnTo>
                    <a:pt x="3" y="128"/>
                  </a:lnTo>
                  <a:lnTo>
                    <a:pt x="3" y="132"/>
                  </a:lnTo>
                  <a:lnTo>
                    <a:pt x="3" y="132"/>
                  </a:lnTo>
                  <a:lnTo>
                    <a:pt x="3" y="128"/>
                  </a:lnTo>
                  <a:lnTo>
                    <a:pt x="3" y="128"/>
                  </a:lnTo>
                  <a:lnTo>
                    <a:pt x="5" y="128"/>
                  </a:lnTo>
                  <a:lnTo>
                    <a:pt x="3" y="128"/>
                  </a:lnTo>
                  <a:lnTo>
                    <a:pt x="3" y="128"/>
                  </a:lnTo>
                  <a:lnTo>
                    <a:pt x="3" y="128"/>
                  </a:lnTo>
                  <a:close/>
                  <a:moveTo>
                    <a:pt x="5" y="147"/>
                  </a:moveTo>
                  <a:lnTo>
                    <a:pt x="5" y="147"/>
                  </a:lnTo>
                  <a:lnTo>
                    <a:pt x="3" y="147"/>
                  </a:lnTo>
                  <a:lnTo>
                    <a:pt x="3" y="147"/>
                  </a:lnTo>
                  <a:lnTo>
                    <a:pt x="5" y="146"/>
                  </a:lnTo>
                  <a:lnTo>
                    <a:pt x="5" y="147"/>
                  </a:lnTo>
                  <a:lnTo>
                    <a:pt x="5" y="147"/>
                  </a:lnTo>
                  <a:lnTo>
                    <a:pt x="5" y="147"/>
                  </a:lnTo>
                  <a:close/>
                  <a:moveTo>
                    <a:pt x="10" y="117"/>
                  </a:moveTo>
                  <a:lnTo>
                    <a:pt x="10" y="117"/>
                  </a:lnTo>
                  <a:lnTo>
                    <a:pt x="10" y="116"/>
                  </a:lnTo>
                  <a:lnTo>
                    <a:pt x="10" y="116"/>
                  </a:lnTo>
                  <a:lnTo>
                    <a:pt x="8" y="116"/>
                  </a:lnTo>
                  <a:lnTo>
                    <a:pt x="8" y="116"/>
                  </a:lnTo>
                  <a:lnTo>
                    <a:pt x="6" y="116"/>
                  </a:lnTo>
                  <a:lnTo>
                    <a:pt x="6" y="116"/>
                  </a:lnTo>
                  <a:lnTo>
                    <a:pt x="10" y="114"/>
                  </a:lnTo>
                  <a:lnTo>
                    <a:pt x="10" y="114"/>
                  </a:lnTo>
                  <a:lnTo>
                    <a:pt x="13" y="116"/>
                  </a:lnTo>
                  <a:lnTo>
                    <a:pt x="10" y="117"/>
                  </a:lnTo>
                  <a:lnTo>
                    <a:pt x="10" y="117"/>
                  </a:lnTo>
                  <a:lnTo>
                    <a:pt x="10" y="117"/>
                  </a:lnTo>
                  <a:close/>
                  <a:moveTo>
                    <a:pt x="22" y="125"/>
                  </a:moveTo>
                  <a:lnTo>
                    <a:pt x="22" y="125"/>
                  </a:lnTo>
                  <a:lnTo>
                    <a:pt x="21" y="127"/>
                  </a:lnTo>
                  <a:lnTo>
                    <a:pt x="21" y="127"/>
                  </a:lnTo>
                  <a:lnTo>
                    <a:pt x="22" y="128"/>
                  </a:lnTo>
                  <a:lnTo>
                    <a:pt x="22" y="128"/>
                  </a:lnTo>
                  <a:lnTo>
                    <a:pt x="19" y="128"/>
                  </a:lnTo>
                  <a:lnTo>
                    <a:pt x="19" y="128"/>
                  </a:lnTo>
                  <a:lnTo>
                    <a:pt x="21" y="127"/>
                  </a:lnTo>
                  <a:lnTo>
                    <a:pt x="21" y="127"/>
                  </a:lnTo>
                  <a:lnTo>
                    <a:pt x="19" y="127"/>
                  </a:lnTo>
                  <a:lnTo>
                    <a:pt x="19" y="127"/>
                  </a:lnTo>
                  <a:lnTo>
                    <a:pt x="18" y="125"/>
                  </a:lnTo>
                  <a:lnTo>
                    <a:pt x="18" y="125"/>
                  </a:lnTo>
                  <a:lnTo>
                    <a:pt x="16" y="125"/>
                  </a:lnTo>
                  <a:lnTo>
                    <a:pt x="16" y="125"/>
                  </a:lnTo>
                  <a:lnTo>
                    <a:pt x="14" y="125"/>
                  </a:lnTo>
                  <a:lnTo>
                    <a:pt x="14" y="125"/>
                  </a:lnTo>
                  <a:lnTo>
                    <a:pt x="16" y="124"/>
                  </a:lnTo>
                  <a:lnTo>
                    <a:pt x="16" y="124"/>
                  </a:lnTo>
                  <a:lnTo>
                    <a:pt x="18" y="124"/>
                  </a:lnTo>
                  <a:lnTo>
                    <a:pt x="18" y="124"/>
                  </a:lnTo>
                  <a:lnTo>
                    <a:pt x="22" y="124"/>
                  </a:lnTo>
                  <a:lnTo>
                    <a:pt x="22" y="124"/>
                  </a:lnTo>
                  <a:lnTo>
                    <a:pt x="21" y="125"/>
                  </a:lnTo>
                  <a:lnTo>
                    <a:pt x="22" y="125"/>
                  </a:lnTo>
                  <a:lnTo>
                    <a:pt x="22" y="125"/>
                  </a:lnTo>
                  <a:lnTo>
                    <a:pt x="22" y="125"/>
                  </a:lnTo>
                  <a:close/>
                  <a:moveTo>
                    <a:pt x="22" y="111"/>
                  </a:moveTo>
                  <a:lnTo>
                    <a:pt x="22" y="111"/>
                  </a:lnTo>
                  <a:lnTo>
                    <a:pt x="19" y="112"/>
                  </a:lnTo>
                  <a:lnTo>
                    <a:pt x="19" y="112"/>
                  </a:lnTo>
                  <a:lnTo>
                    <a:pt x="21" y="111"/>
                  </a:lnTo>
                  <a:lnTo>
                    <a:pt x="21" y="111"/>
                  </a:lnTo>
                  <a:lnTo>
                    <a:pt x="21" y="109"/>
                  </a:lnTo>
                  <a:lnTo>
                    <a:pt x="21" y="109"/>
                  </a:lnTo>
                  <a:lnTo>
                    <a:pt x="19" y="108"/>
                  </a:lnTo>
                  <a:lnTo>
                    <a:pt x="19" y="108"/>
                  </a:lnTo>
                  <a:lnTo>
                    <a:pt x="22" y="109"/>
                  </a:lnTo>
                  <a:lnTo>
                    <a:pt x="22" y="109"/>
                  </a:lnTo>
                  <a:lnTo>
                    <a:pt x="21" y="111"/>
                  </a:lnTo>
                  <a:lnTo>
                    <a:pt x="22" y="111"/>
                  </a:lnTo>
                  <a:lnTo>
                    <a:pt x="22" y="111"/>
                  </a:lnTo>
                  <a:lnTo>
                    <a:pt x="22" y="111"/>
                  </a:lnTo>
                  <a:close/>
                  <a:moveTo>
                    <a:pt x="25" y="124"/>
                  </a:moveTo>
                  <a:lnTo>
                    <a:pt x="25" y="124"/>
                  </a:lnTo>
                  <a:lnTo>
                    <a:pt x="24" y="125"/>
                  </a:lnTo>
                  <a:lnTo>
                    <a:pt x="24" y="125"/>
                  </a:lnTo>
                  <a:lnTo>
                    <a:pt x="24" y="124"/>
                  </a:lnTo>
                  <a:lnTo>
                    <a:pt x="24" y="124"/>
                  </a:lnTo>
                  <a:lnTo>
                    <a:pt x="24" y="122"/>
                  </a:lnTo>
                  <a:lnTo>
                    <a:pt x="24" y="122"/>
                  </a:lnTo>
                  <a:lnTo>
                    <a:pt x="25" y="120"/>
                  </a:lnTo>
                  <a:lnTo>
                    <a:pt x="25" y="120"/>
                  </a:lnTo>
                  <a:lnTo>
                    <a:pt x="25" y="124"/>
                  </a:lnTo>
                  <a:lnTo>
                    <a:pt x="25" y="124"/>
                  </a:lnTo>
                  <a:lnTo>
                    <a:pt x="25" y="124"/>
                  </a:lnTo>
                  <a:lnTo>
                    <a:pt x="25" y="124"/>
                  </a:lnTo>
                  <a:close/>
                  <a:moveTo>
                    <a:pt x="29" y="105"/>
                  </a:moveTo>
                  <a:lnTo>
                    <a:pt x="29" y="105"/>
                  </a:lnTo>
                  <a:lnTo>
                    <a:pt x="30" y="105"/>
                  </a:lnTo>
                  <a:lnTo>
                    <a:pt x="30" y="105"/>
                  </a:lnTo>
                  <a:lnTo>
                    <a:pt x="32" y="105"/>
                  </a:lnTo>
                  <a:lnTo>
                    <a:pt x="29" y="105"/>
                  </a:lnTo>
                  <a:lnTo>
                    <a:pt x="29" y="105"/>
                  </a:lnTo>
                  <a:lnTo>
                    <a:pt x="29" y="105"/>
                  </a:lnTo>
                  <a:close/>
                  <a:moveTo>
                    <a:pt x="76" y="71"/>
                  </a:moveTo>
                  <a:lnTo>
                    <a:pt x="76" y="71"/>
                  </a:lnTo>
                  <a:lnTo>
                    <a:pt x="75" y="70"/>
                  </a:lnTo>
                  <a:lnTo>
                    <a:pt x="75" y="70"/>
                  </a:lnTo>
                  <a:lnTo>
                    <a:pt x="78" y="70"/>
                  </a:lnTo>
                  <a:lnTo>
                    <a:pt x="76" y="71"/>
                  </a:lnTo>
                  <a:lnTo>
                    <a:pt x="76" y="71"/>
                  </a:lnTo>
                  <a:lnTo>
                    <a:pt x="76" y="71"/>
                  </a:lnTo>
                  <a:close/>
                  <a:moveTo>
                    <a:pt x="118" y="35"/>
                  </a:moveTo>
                  <a:lnTo>
                    <a:pt x="118" y="35"/>
                  </a:lnTo>
                  <a:lnTo>
                    <a:pt x="116" y="33"/>
                  </a:lnTo>
                  <a:lnTo>
                    <a:pt x="116" y="33"/>
                  </a:lnTo>
                  <a:lnTo>
                    <a:pt x="119" y="33"/>
                  </a:lnTo>
                  <a:lnTo>
                    <a:pt x="118" y="35"/>
                  </a:lnTo>
                  <a:lnTo>
                    <a:pt x="118" y="35"/>
                  </a:lnTo>
                  <a:lnTo>
                    <a:pt x="118" y="35"/>
                  </a:lnTo>
                  <a:close/>
                  <a:moveTo>
                    <a:pt x="137" y="24"/>
                  </a:moveTo>
                  <a:lnTo>
                    <a:pt x="137" y="24"/>
                  </a:lnTo>
                  <a:lnTo>
                    <a:pt x="135" y="20"/>
                  </a:lnTo>
                  <a:lnTo>
                    <a:pt x="135" y="20"/>
                  </a:lnTo>
                  <a:lnTo>
                    <a:pt x="137" y="20"/>
                  </a:lnTo>
                  <a:lnTo>
                    <a:pt x="137" y="24"/>
                  </a:lnTo>
                  <a:lnTo>
                    <a:pt x="137" y="24"/>
                  </a:lnTo>
                  <a:lnTo>
                    <a:pt x="137" y="2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0" name="Freeform 343">
              <a:extLst>
                <a:ext uri="{FF2B5EF4-FFF2-40B4-BE49-F238E27FC236}">
                  <a16:creationId xmlns:a16="http://schemas.microsoft.com/office/drawing/2014/main" id="{5ACD509A-879F-DABF-DCE1-1770141E4C47}"/>
                </a:ext>
              </a:extLst>
            </p:cNvPr>
            <p:cNvSpPr>
              <a:spLocks noEditPoints="1"/>
            </p:cNvSpPr>
            <p:nvPr/>
          </p:nvSpPr>
          <p:spPr bwMode="auto">
            <a:xfrm>
              <a:off x="5560566" y="2616461"/>
              <a:ext cx="340947" cy="246738"/>
            </a:xfrm>
            <a:custGeom>
              <a:avLst/>
              <a:gdLst>
                <a:gd name="T0" fmla="*/ 141 w 152"/>
                <a:gd name="T1" fmla="*/ 26 h 110"/>
                <a:gd name="T2" fmla="*/ 143 w 152"/>
                <a:gd name="T3" fmla="*/ 19 h 110"/>
                <a:gd name="T4" fmla="*/ 136 w 152"/>
                <a:gd name="T5" fmla="*/ 19 h 110"/>
                <a:gd name="T6" fmla="*/ 130 w 152"/>
                <a:gd name="T7" fmla="*/ 19 h 110"/>
                <a:gd name="T8" fmla="*/ 122 w 152"/>
                <a:gd name="T9" fmla="*/ 16 h 110"/>
                <a:gd name="T10" fmla="*/ 114 w 152"/>
                <a:gd name="T11" fmla="*/ 15 h 110"/>
                <a:gd name="T12" fmla="*/ 106 w 152"/>
                <a:gd name="T13" fmla="*/ 16 h 110"/>
                <a:gd name="T14" fmla="*/ 101 w 152"/>
                <a:gd name="T15" fmla="*/ 15 h 110"/>
                <a:gd name="T16" fmla="*/ 90 w 152"/>
                <a:gd name="T17" fmla="*/ 11 h 110"/>
                <a:gd name="T18" fmla="*/ 85 w 152"/>
                <a:gd name="T19" fmla="*/ 7 h 110"/>
                <a:gd name="T20" fmla="*/ 71 w 152"/>
                <a:gd name="T21" fmla="*/ 7 h 110"/>
                <a:gd name="T22" fmla="*/ 55 w 152"/>
                <a:gd name="T23" fmla="*/ 5 h 110"/>
                <a:gd name="T24" fmla="*/ 30 w 152"/>
                <a:gd name="T25" fmla="*/ 4 h 110"/>
                <a:gd name="T26" fmla="*/ 20 w 152"/>
                <a:gd name="T27" fmla="*/ 2 h 110"/>
                <a:gd name="T28" fmla="*/ 14 w 152"/>
                <a:gd name="T29" fmla="*/ 0 h 110"/>
                <a:gd name="T30" fmla="*/ 11 w 152"/>
                <a:gd name="T31" fmla="*/ 5 h 110"/>
                <a:gd name="T32" fmla="*/ 1 w 152"/>
                <a:gd name="T33" fmla="*/ 10 h 110"/>
                <a:gd name="T34" fmla="*/ 3 w 152"/>
                <a:gd name="T35" fmla="*/ 15 h 110"/>
                <a:gd name="T36" fmla="*/ 3 w 152"/>
                <a:gd name="T37" fmla="*/ 16 h 110"/>
                <a:gd name="T38" fmla="*/ 4 w 152"/>
                <a:gd name="T39" fmla="*/ 19 h 110"/>
                <a:gd name="T40" fmla="*/ 3 w 152"/>
                <a:gd name="T41" fmla="*/ 26 h 110"/>
                <a:gd name="T42" fmla="*/ 4 w 152"/>
                <a:gd name="T43" fmla="*/ 26 h 110"/>
                <a:gd name="T44" fmla="*/ 11 w 152"/>
                <a:gd name="T45" fmla="*/ 26 h 110"/>
                <a:gd name="T46" fmla="*/ 11 w 152"/>
                <a:gd name="T47" fmla="*/ 27 h 110"/>
                <a:gd name="T48" fmla="*/ 19 w 152"/>
                <a:gd name="T49" fmla="*/ 27 h 110"/>
                <a:gd name="T50" fmla="*/ 25 w 152"/>
                <a:gd name="T51" fmla="*/ 26 h 110"/>
                <a:gd name="T52" fmla="*/ 30 w 152"/>
                <a:gd name="T53" fmla="*/ 30 h 110"/>
                <a:gd name="T54" fmla="*/ 27 w 152"/>
                <a:gd name="T55" fmla="*/ 37 h 110"/>
                <a:gd name="T56" fmla="*/ 23 w 152"/>
                <a:gd name="T57" fmla="*/ 46 h 110"/>
                <a:gd name="T58" fmla="*/ 22 w 152"/>
                <a:gd name="T59" fmla="*/ 51 h 110"/>
                <a:gd name="T60" fmla="*/ 20 w 152"/>
                <a:gd name="T61" fmla="*/ 57 h 110"/>
                <a:gd name="T62" fmla="*/ 17 w 152"/>
                <a:gd name="T63" fmla="*/ 61 h 110"/>
                <a:gd name="T64" fmla="*/ 20 w 152"/>
                <a:gd name="T65" fmla="*/ 69 h 110"/>
                <a:gd name="T66" fmla="*/ 17 w 152"/>
                <a:gd name="T67" fmla="*/ 75 h 110"/>
                <a:gd name="T68" fmla="*/ 20 w 152"/>
                <a:gd name="T69" fmla="*/ 78 h 110"/>
                <a:gd name="T70" fmla="*/ 14 w 152"/>
                <a:gd name="T71" fmla="*/ 86 h 110"/>
                <a:gd name="T72" fmla="*/ 17 w 152"/>
                <a:gd name="T73" fmla="*/ 92 h 110"/>
                <a:gd name="T74" fmla="*/ 22 w 152"/>
                <a:gd name="T75" fmla="*/ 96 h 110"/>
                <a:gd name="T76" fmla="*/ 27 w 152"/>
                <a:gd name="T77" fmla="*/ 102 h 110"/>
                <a:gd name="T78" fmla="*/ 28 w 152"/>
                <a:gd name="T79" fmla="*/ 107 h 110"/>
                <a:gd name="T80" fmla="*/ 36 w 152"/>
                <a:gd name="T81" fmla="*/ 110 h 110"/>
                <a:gd name="T82" fmla="*/ 46 w 152"/>
                <a:gd name="T83" fmla="*/ 105 h 110"/>
                <a:gd name="T84" fmla="*/ 65 w 152"/>
                <a:gd name="T85" fmla="*/ 99 h 110"/>
                <a:gd name="T86" fmla="*/ 74 w 152"/>
                <a:gd name="T87" fmla="*/ 99 h 110"/>
                <a:gd name="T88" fmla="*/ 84 w 152"/>
                <a:gd name="T89" fmla="*/ 91 h 110"/>
                <a:gd name="T90" fmla="*/ 93 w 152"/>
                <a:gd name="T91" fmla="*/ 86 h 110"/>
                <a:gd name="T92" fmla="*/ 104 w 152"/>
                <a:gd name="T93" fmla="*/ 72 h 110"/>
                <a:gd name="T94" fmla="*/ 101 w 152"/>
                <a:gd name="T95" fmla="*/ 61 h 110"/>
                <a:gd name="T96" fmla="*/ 111 w 152"/>
                <a:gd name="T97" fmla="*/ 46 h 110"/>
                <a:gd name="T98" fmla="*/ 117 w 152"/>
                <a:gd name="T99" fmla="*/ 40 h 110"/>
                <a:gd name="T100" fmla="*/ 139 w 152"/>
                <a:gd name="T101" fmla="*/ 30 h 110"/>
                <a:gd name="T102" fmla="*/ 27 w 152"/>
                <a:gd name="T103" fmla="*/ 99 h 110"/>
                <a:gd name="T104" fmla="*/ 133 w 152"/>
                <a:gd name="T105" fmla="*/ 57 h 110"/>
                <a:gd name="T106" fmla="*/ 136 w 152"/>
                <a:gd name="T107" fmla="*/ 64 h 110"/>
                <a:gd name="T108" fmla="*/ 144 w 152"/>
                <a:gd name="T109" fmla="*/ 59 h 110"/>
                <a:gd name="T110" fmla="*/ 120 w 152"/>
                <a:gd name="T111" fmla="*/ 69 h 110"/>
                <a:gd name="T112" fmla="*/ 123 w 152"/>
                <a:gd name="T113" fmla="*/ 67 h 110"/>
                <a:gd name="T114" fmla="*/ 149 w 152"/>
                <a:gd name="T115" fmla="*/ 54 h 110"/>
                <a:gd name="T116" fmla="*/ 152 w 152"/>
                <a:gd name="T117" fmla="*/ 5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0">
                  <a:moveTo>
                    <a:pt x="139" y="30"/>
                  </a:moveTo>
                  <a:lnTo>
                    <a:pt x="139" y="30"/>
                  </a:lnTo>
                  <a:lnTo>
                    <a:pt x="139" y="29"/>
                  </a:lnTo>
                  <a:lnTo>
                    <a:pt x="139" y="29"/>
                  </a:lnTo>
                  <a:lnTo>
                    <a:pt x="141" y="26"/>
                  </a:lnTo>
                  <a:lnTo>
                    <a:pt x="141" y="26"/>
                  </a:lnTo>
                  <a:lnTo>
                    <a:pt x="141" y="26"/>
                  </a:lnTo>
                  <a:lnTo>
                    <a:pt x="141" y="26"/>
                  </a:lnTo>
                  <a:lnTo>
                    <a:pt x="141" y="23"/>
                  </a:lnTo>
                  <a:lnTo>
                    <a:pt x="141" y="23"/>
                  </a:lnTo>
                  <a:lnTo>
                    <a:pt x="141" y="23"/>
                  </a:lnTo>
                  <a:lnTo>
                    <a:pt x="143" y="23"/>
                  </a:lnTo>
                  <a:lnTo>
                    <a:pt x="143" y="23"/>
                  </a:lnTo>
                  <a:lnTo>
                    <a:pt x="143" y="23"/>
                  </a:lnTo>
                  <a:lnTo>
                    <a:pt x="143" y="23"/>
                  </a:lnTo>
                  <a:lnTo>
                    <a:pt x="143" y="19"/>
                  </a:lnTo>
                  <a:lnTo>
                    <a:pt x="143" y="19"/>
                  </a:lnTo>
                  <a:lnTo>
                    <a:pt x="141" y="19"/>
                  </a:lnTo>
                  <a:lnTo>
                    <a:pt x="141" y="19"/>
                  </a:lnTo>
                  <a:lnTo>
                    <a:pt x="139" y="19"/>
                  </a:lnTo>
                  <a:lnTo>
                    <a:pt x="139" y="19"/>
                  </a:lnTo>
                  <a:lnTo>
                    <a:pt x="136" y="19"/>
                  </a:lnTo>
                  <a:lnTo>
                    <a:pt x="136" y="19"/>
                  </a:lnTo>
                  <a:lnTo>
                    <a:pt x="136" y="19"/>
                  </a:lnTo>
                  <a:lnTo>
                    <a:pt x="136" y="19"/>
                  </a:lnTo>
                  <a:lnTo>
                    <a:pt x="133" y="19"/>
                  </a:lnTo>
                  <a:lnTo>
                    <a:pt x="133" y="19"/>
                  </a:lnTo>
                  <a:lnTo>
                    <a:pt x="133" y="19"/>
                  </a:lnTo>
                  <a:lnTo>
                    <a:pt x="133" y="19"/>
                  </a:lnTo>
                  <a:lnTo>
                    <a:pt x="130" y="19"/>
                  </a:lnTo>
                  <a:lnTo>
                    <a:pt x="130" y="19"/>
                  </a:lnTo>
                  <a:lnTo>
                    <a:pt x="130" y="19"/>
                  </a:lnTo>
                  <a:lnTo>
                    <a:pt x="130" y="19"/>
                  </a:lnTo>
                  <a:lnTo>
                    <a:pt x="125" y="19"/>
                  </a:lnTo>
                  <a:lnTo>
                    <a:pt x="125" y="19"/>
                  </a:lnTo>
                  <a:lnTo>
                    <a:pt x="122" y="19"/>
                  </a:lnTo>
                  <a:lnTo>
                    <a:pt x="122" y="19"/>
                  </a:lnTo>
                  <a:lnTo>
                    <a:pt x="122" y="16"/>
                  </a:lnTo>
                  <a:lnTo>
                    <a:pt x="122" y="16"/>
                  </a:lnTo>
                  <a:lnTo>
                    <a:pt x="122" y="16"/>
                  </a:lnTo>
                  <a:lnTo>
                    <a:pt x="122" y="16"/>
                  </a:lnTo>
                  <a:lnTo>
                    <a:pt x="120" y="16"/>
                  </a:lnTo>
                  <a:lnTo>
                    <a:pt x="120" y="16"/>
                  </a:lnTo>
                  <a:lnTo>
                    <a:pt x="119" y="16"/>
                  </a:lnTo>
                  <a:lnTo>
                    <a:pt x="119" y="16"/>
                  </a:lnTo>
                  <a:lnTo>
                    <a:pt x="116" y="15"/>
                  </a:lnTo>
                  <a:lnTo>
                    <a:pt x="116" y="15"/>
                  </a:lnTo>
                  <a:lnTo>
                    <a:pt x="114" y="15"/>
                  </a:lnTo>
                  <a:lnTo>
                    <a:pt x="114" y="15"/>
                  </a:lnTo>
                  <a:lnTo>
                    <a:pt x="112" y="15"/>
                  </a:lnTo>
                  <a:lnTo>
                    <a:pt x="112" y="15"/>
                  </a:lnTo>
                  <a:lnTo>
                    <a:pt x="112" y="16"/>
                  </a:lnTo>
                  <a:lnTo>
                    <a:pt x="112" y="16"/>
                  </a:lnTo>
                  <a:lnTo>
                    <a:pt x="108" y="16"/>
                  </a:lnTo>
                  <a:lnTo>
                    <a:pt x="108" y="16"/>
                  </a:lnTo>
                  <a:lnTo>
                    <a:pt x="106" y="16"/>
                  </a:lnTo>
                  <a:lnTo>
                    <a:pt x="106" y="16"/>
                  </a:lnTo>
                  <a:lnTo>
                    <a:pt x="104" y="16"/>
                  </a:lnTo>
                  <a:lnTo>
                    <a:pt x="104" y="16"/>
                  </a:lnTo>
                  <a:lnTo>
                    <a:pt x="104" y="16"/>
                  </a:lnTo>
                  <a:lnTo>
                    <a:pt x="104" y="16"/>
                  </a:lnTo>
                  <a:lnTo>
                    <a:pt x="101" y="15"/>
                  </a:lnTo>
                  <a:lnTo>
                    <a:pt x="101" y="15"/>
                  </a:lnTo>
                  <a:lnTo>
                    <a:pt x="101" y="15"/>
                  </a:lnTo>
                  <a:lnTo>
                    <a:pt x="101" y="15"/>
                  </a:lnTo>
                  <a:lnTo>
                    <a:pt x="95" y="13"/>
                  </a:lnTo>
                  <a:lnTo>
                    <a:pt x="95" y="13"/>
                  </a:lnTo>
                  <a:lnTo>
                    <a:pt x="93" y="11"/>
                  </a:lnTo>
                  <a:lnTo>
                    <a:pt x="93" y="11"/>
                  </a:lnTo>
                  <a:lnTo>
                    <a:pt x="92" y="11"/>
                  </a:lnTo>
                  <a:lnTo>
                    <a:pt x="92" y="11"/>
                  </a:lnTo>
                  <a:lnTo>
                    <a:pt x="90" y="11"/>
                  </a:lnTo>
                  <a:lnTo>
                    <a:pt x="90" y="11"/>
                  </a:lnTo>
                  <a:lnTo>
                    <a:pt x="89" y="10"/>
                  </a:lnTo>
                  <a:lnTo>
                    <a:pt x="89" y="10"/>
                  </a:lnTo>
                  <a:lnTo>
                    <a:pt x="90" y="8"/>
                  </a:lnTo>
                  <a:lnTo>
                    <a:pt x="90" y="8"/>
                  </a:lnTo>
                  <a:lnTo>
                    <a:pt x="87" y="7"/>
                  </a:lnTo>
                  <a:lnTo>
                    <a:pt x="87" y="7"/>
                  </a:lnTo>
                  <a:lnTo>
                    <a:pt x="85" y="7"/>
                  </a:lnTo>
                  <a:lnTo>
                    <a:pt x="85" y="7"/>
                  </a:lnTo>
                  <a:lnTo>
                    <a:pt x="84" y="7"/>
                  </a:lnTo>
                  <a:lnTo>
                    <a:pt x="84" y="7"/>
                  </a:lnTo>
                  <a:lnTo>
                    <a:pt x="81" y="7"/>
                  </a:lnTo>
                  <a:lnTo>
                    <a:pt x="81" y="7"/>
                  </a:lnTo>
                  <a:lnTo>
                    <a:pt x="74" y="5"/>
                  </a:lnTo>
                  <a:lnTo>
                    <a:pt x="74" y="5"/>
                  </a:lnTo>
                  <a:lnTo>
                    <a:pt x="71" y="7"/>
                  </a:lnTo>
                  <a:lnTo>
                    <a:pt x="71" y="7"/>
                  </a:lnTo>
                  <a:lnTo>
                    <a:pt x="69" y="5"/>
                  </a:lnTo>
                  <a:lnTo>
                    <a:pt x="69" y="5"/>
                  </a:lnTo>
                  <a:lnTo>
                    <a:pt x="65" y="5"/>
                  </a:lnTo>
                  <a:lnTo>
                    <a:pt x="65" y="5"/>
                  </a:lnTo>
                  <a:lnTo>
                    <a:pt x="62" y="5"/>
                  </a:lnTo>
                  <a:lnTo>
                    <a:pt x="62" y="5"/>
                  </a:lnTo>
                  <a:lnTo>
                    <a:pt x="55" y="5"/>
                  </a:lnTo>
                  <a:lnTo>
                    <a:pt x="55" y="5"/>
                  </a:lnTo>
                  <a:lnTo>
                    <a:pt x="50" y="5"/>
                  </a:lnTo>
                  <a:lnTo>
                    <a:pt x="50" y="5"/>
                  </a:lnTo>
                  <a:lnTo>
                    <a:pt x="42" y="4"/>
                  </a:lnTo>
                  <a:lnTo>
                    <a:pt x="42" y="4"/>
                  </a:lnTo>
                  <a:lnTo>
                    <a:pt x="36" y="4"/>
                  </a:lnTo>
                  <a:lnTo>
                    <a:pt x="36" y="4"/>
                  </a:lnTo>
                  <a:lnTo>
                    <a:pt x="30" y="4"/>
                  </a:lnTo>
                  <a:lnTo>
                    <a:pt x="30" y="4"/>
                  </a:lnTo>
                  <a:lnTo>
                    <a:pt x="27" y="4"/>
                  </a:lnTo>
                  <a:lnTo>
                    <a:pt x="27" y="4"/>
                  </a:lnTo>
                  <a:lnTo>
                    <a:pt x="25" y="5"/>
                  </a:lnTo>
                  <a:lnTo>
                    <a:pt x="25" y="5"/>
                  </a:lnTo>
                  <a:lnTo>
                    <a:pt x="23" y="2"/>
                  </a:lnTo>
                  <a:lnTo>
                    <a:pt x="23" y="2"/>
                  </a:lnTo>
                  <a:lnTo>
                    <a:pt x="20" y="2"/>
                  </a:lnTo>
                  <a:lnTo>
                    <a:pt x="20" y="2"/>
                  </a:lnTo>
                  <a:lnTo>
                    <a:pt x="19" y="2"/>
                  </a:lnTo>
                  <a:lnTo>
                    <a:pt x="19" y="2"/>
                  </a:lnTo>
                  <a:lnTo>
                    <a:pt x="17" y="0"/>
                  </a:lnTo>
                  <a:lnTo>
                    <a:pt x="17" y="0"/>
                  </a:lnTo>
                  <a:lnTo>
                    <a:pt x="14" y="2"/>
                  </a:lnTo>
                  <a:lnTo>
                    <a:pt x="14" y="2"/>
                  </a:lnTo>
                  <a:lnTo>
                    <a:pt x="14" y="0"/>
                  </a:lnTo>
                  <a:lnTo>
                    <a:pt x="14" y="0"/>
                  </a:lnTo>
                  <a:lnTo>
                    <a:pt x="14" y="2"/>
                  </a:lnTo>
                  <a:lnTo>
                    <a:pt x="14" y="2"/>
                  </a:lnTo>
                  <a:lnTo>
                    <a:pt x="11" y="4"/>
                  </a:lnTo>
                  <a:lnTo>
                    <a:pt x="11" y="4"/>
                  </a:lnTo>
                  <a:lnTo>
                    <a:pt x="11" y="5"/>
                  </a:lnTo>
                  <a:lnTo>
                    <a:pt x="11" y="5"/>
                  </a:lnTo>
                  <a:lnTo>
                    <a:pt x="11" y="5"/>
                  </a:lnTo>
                  <a:lnTo>
                    <a:pt x="11" y="5"/>
                  </a:lnTo>
                  <a:lnTo>
                    <a:pt x="8" y="7"/>
                  </a:lnTo>
                  <a:lnTo>
                    <a:pt x="8" y="7"/>
                  </a:lnTo>
                  <a:lnTo>
                    <a:pt x="4" y="7"/>
                  </a:lnTo>
                  <a:lnTo>
                    <a:pt x="4" y="7"/>
                  </a:lnTo>
                  <a:lnTo>
                    <a:pt x="3" y="8"/>
                  </a:lnTo>
                  <a:lnTo>
                    <a:pt x="3" y="8"/>
                  </a:lnTo>
                  <a:lnTo>
                    <a:pt x="1" y="10"/>
                  </a:lnTo>
                  <a:lnTo>
                    <a:pt x="1" y="10"/>
                  </a:lnTo>
                  <a:lnTo>
                    <a:pt x="0" y="11"/>
                  </a:lnTo>
                  <a:lnTo>
                    <a:pt x="0" y="11"/>
                  </a:lnTo>
                  <a:lnTo>
                    <a:pt x="0" y="13"/>
                  </a:lnTo>
                  <a:lnTo>
                    <a:pt x="0" y="13"/>
                  </a:lnTo>
                  <a:lnTo>
                    <a:pt x="1" y="15"/>
                  </a:lnTo>
                  <a:lnTo>
                    <a:pt x="1" y="15"/>
                  </a:lnTo>
                  <a:lnTo>
                    <a:pt x="3" y="15"/>
                  </a:lnTo>
                  <a:lnTo>
                    <a:pt x="3" y="15"/>
                  </a:lnTo>
                  <a:lnTo>
                    <a:pt x="1" y="16"/>
                  </a:lnTo>
                  <a:lnTo>
                    <a:pt x="1" y="16"/>
                  </a:lnTo>
                  <a:lnTo>
                    <a:pt x="1" y="16"/>
                  </a:lnTo>
                  <a:lnTo>
                    <a:pt x="1" y="16"/>
                  </a:lnTo>
                  <a:lnTo>
                    <a:pt x="1" y="19"/>
                  </a:lnTo>
                  <a:lnTo>
                    <a:pt x="1" y="19"/>
                  </a:lnTo>
                  <a:lnTo>
                    <a:pt x="3" y="16"/>
                  </a:lnTo>
                  <a:lnTo>
                    <a:pt x="3" y="16"/>
                  </a:lnTo>
                  <a:lnTo>
                    <a:pt x="4" y="16"/>
                  </a:lnTo>
                  <a:lnTo>
                    <a:pt x="4" y="16"/>
                  </a:lnTo>
                  <a:lnTo>
                    <a:pt x="4" y="16"/>
                  </a:lnTo>
                  <a:lnTo>
                    <a:pt x="4" y="16"/>
                  </a:lnTo>
                  <a:lnTo>
                    <a:pt x="3" y="19"/>
                  </a:lnTo>
                  <a:lnTo>
                    <a:pt x="3" y="19"/>
                  </a:lnTo>
                  <a:lnTo>
                    <a:pt x="4" y="19"/>
                  </a:lnTo>
                  <a:lnTo>
                    <a:pt x="4" y="19"/>
                  </a:lnTo>
                  <a:lnTo>
                    <a:pt x="3" y="23"/>
                  </a:lnTo>
                  <a:lnTo>
                    <a:pt x="3" y="23"/>
                  </a:lnTo>
                  <a:lnTo>
                    <a:pt x="4" y="23"/>
                  </a:lnTo>
                  <a:lnTo>
                    <a:pt x="4" y="23"/>
                  </a:lnTo>
                  <a:lnTo>
                    <a:pt x="3" y="23"/>
                  </a:lnTo>
                  <a:lnTo>
                    <a:pt x="3" y="23"/>
                  </a:lnTo>
                  <a:lnTo>
                    <a:pt x="3" y="26"/>
                  </a:lnTo>
                  <a:lnTo>
                    <a:pt x="3" y="26"/>
                  </a:lnTo>
                  <a:lnTo>
                    <a:pt x="3" y="26"/>
                  </a:lnTo>
                  <a:lnTo>
                    <a:pt x="3" y="26"/>
                  </a:lnTo>
                  <a:lnTo>
                    <a:pt x="4" y="26"/>
                  </a:lnTo>
                  <a:lnTo>
                    <a:pt x="4" y="26"/>
                  </a:lnTo>
                  <a:lnTo>
                    <a:pt x="4" y="26"/>
                  </a:lnTo>
                  <a:lnTo>
                    <a:pt x="4" y="26"/>
                  </a:lnTo>
                  <a:lnTo>
                    <a:pt x="4" y="26"/>
                  </a:lnTo>
                  <a:lnTo>
                    <a:pt x="8" y="26"/>
                  </a:lnTo>
                  <a:lnTo>
                    <a:pt x="8" y="26"/>
                  </a:lnTo>
                  <a:lnTo>
                    <a:pt x="8" y="26"/>
                  </a:lnTo>
                  <a:lnTo>
                    <a:pt x="8" y="26"/>
                  </a:lnTo>
                  <a:lnTo>
                    <a:pt x="11" y="23"/>
                  </a:lnTo>
                  <a:lnTo>
                    <a:pt x="11" y="23"/>
                  </a:lnTo>
                  <a:lnTo>
                    <a:pt x="11" y="26"/>
                  </a:lnTo>
                  <a:lnTo>
                    <a:pt x="11" y="26"/>
                  </a:lnTo>
                  <a:lnTo>
                    <a:pt x="11" y="26"/>
                  </a:lnTo>
                  <a:lnTo>
                    <a:pt x="11" y="26"/>
                  </a:lnTo>
                  <a:lnTo>
                    <a:pt x="11" y="26"/>
                  </a:lnTo>
                  <a:lnTo>
                    <a:pt x="11" y="26"/>
                  </a:lnTo>
                  <a:lnTo>
                    <a:pt x="11" y="27"/>
                  </a:lnTo>
                  <a:lnTo>
                    <a:pt x="11" y="27"/>
                  </a:lnTo>
                  <a:lnTo>
                    <a:pt x="11" y="27"/>
                  </a:lnTo>
                  <a:lnTo>
                    <a:pt x="11" y="27"/>
                  </a:lnTo>
                  <a:lnTo>
                    <a:pt x="14" y="27"/>
                  </a:lnTo>
                  <a:lnTo>
                    <a:pt x="14" y="27"/>
                  </a:lnTo>
                  <a:lnTo>
                    <a:pt x="14" y="27"/>
                  </a:lnTo>
                  <a:lnTo>
                    <a:pt x="14" y="27"/>
                  </a:lnTo>
                  <a:lnTo>
                    <a:pt x="15" y="27"/>
                  </a:lnTo>
                  <a:lnTo>
                    <a:pt x="15" y="27"/>
                  </a:lnTo>
                  <a:lnTo>
                    <a:pt x="19" y="27"/>
                  </a:lnTo>
                  <a:lnTo>
                    <a:pt x="19" y="27"/>
                  </a:lnTo>
                  <a:lnTo>
                    <a:pt x="20" y="27"/>
                  </a:lnTo>
                  <a:lnTo>
                    <a:pt x="20" y="27"/>
                  </a:lnTo>
                  <a:lnTo>
                    <a:pt x="22" y="26"/>
                  </a:lnTo>
                  <a:lnTo>
                    <a:pt x="22" y="26"/>
                  </a:lnTo>
                  <a:lnTo>
                    <a:pt x="23" y="26"/>
                  </a:lnTo>
                  <a:lnTo>
                    <a:pt x="23" y="26"/>
                  </a:lnTo>
                  <a:lnTo>
                    <a:pt x="25" y="26"/>
                  </a:lnTo>
                  <a:lnTo>
                    <a:pt x="25" y="26"/>
                  </a:lnTo>
                  <a:lnTo>
                    <a:pt x="28" y="26"/>
                  </a:lnTo>
                  <a:lnTo>
                    <a:pt x="28" y="26"/>
                  </a:lnTo>
                  <a:lnTo>
                    <a:pt x="28" y="27"/>
                  </a:lnTo>
                  <a:lnTo>
                    <a:pt x="28" y="27"/>
                  </a:lnTo>
                  <a:lnTo>
                    <a:pt x="28" y="29"/>
                  </a:lnTo>
                  <a:lnTo>
                    <a:pt x="28" y="29"/>
                  </a:lnTo>
                  <a:lnTo>
                    <a:pt x="30" y="30"/>
                  </a:lnTo>
                  <a:lnTo>
                    <a:pt x="30" y="30"/>
                  </a:lnTo>
                  <a:lnTo>
                    <a:pt x="33" y="30"/>
                  </a:lnTo>
                  <a:lnTo>
                    <a:pt x="33" y="30"/>
                  </a:lnTo>
                  <a:lnTo>
                    <a:pt x="31" y="32"/>
                  </a:lnTo>
                  <a:lnTo>
                    <a:pt x="31" y="32"/>
                  </a:lnTo>
                  <a:lnTo>
                    <a:pt x="30" y="35"/>
                  </a:lnTo>
                  <a:lnTo>
                    <a:pt x="30" y="35"/>
                  </a:lnTo>
                  <a:lnTo>
                    <a:pt x="27" y="37"/>
                  </a:lnTo>
                  <a:lnTo>
                    <a:pt x="27" y="37"/>
                  </a:lnTo>
                  <a:lnTo>
                    <a:pt x="25" y="37"/>
                  </a:lnTo>
                  <a:lnTo>
                    <a:pt x="25" y="37"/>
                  </a:lnTo>
                  <a:lnTo>
                    <a:pt x="23" y="40"/>
                  </a:lnTo>
                  <a:lnTo>
                    <a:pt x="23" y="40"/>
                  </a:lnTo>
                  <a:lnTo>
                    <a:pt x="25" y="43"/>
                  </a:lnTo>
                  <a:lnTo>
                    <a:pt x="25" y="43"/>
                  </a:lnTo>
                  <a:lnTo>
                    <a:pt x="23" y="46"/>
                  </a:lnTo>
                  <a:lnTo>
                    <a:pt x="23" y="46"/>
                  </a:lnTo>
                  <a:lnTo>
                    <a:pt x="23" y="48"/>
                  </a:lnTo>
                  <a:lnTo>
                    <a:pt x="23" y="48"/>
                  </a:lnTo>
                  <a:lnTo>
                    <a:pt x="23" y="50"/>
                  </a:lnTo>
                  <a:lnTo>
                    <a:pt x="23" y="50"/>
                  </a:lnTo>
                  <a:lnTo>
                    <a:pt x="22" y="50"/>
                  </a:lnTo>
                  <a:lnTo>
                    <a:pt x="22" y="50"/>
                  </a:lnTo>
                  <a:lnTo>
                    <a:pt x="22" y="51"/>
                  </a:lnTo>
                  <a:lnTo>
                    <a:pt x="22" y="51"/>
                  </a:lnTo>
                  <a:lnTo>
                    <a:pt x="22" y="53"/>
                  </a:lnTo>
                  <a:lnTo>
                    <a:pt x="22" y="53"/>
                  </a:lnTo>
                  <a:lnTo>
                    <a:pt x="22" y="54"/>
                  </a:lnTo>
                  <a:lnTo>
                    <a:pt x="22" y="54"/>
                  </a:lnTo>
                  <a:lnTo>
                    <a:pt x="22" y="56"/>
                  </a:lnTo>
                  <a:lnTo>
                    <a:pt x="22" y="56"/>
                  </a:lnTo>
                  <a:lnTo>
                    <a:pt x="20" y="57"/>
                  </a:lnTo>
                  <a:lnTo>
                    <a:pt x="20" y="57"/>
                  </a:lnTo>
                  <a:lnTo>
                    <a:pt x="19" y="59"/>
                  </a:lnTo>
                  <a:lnTo>
                    <a:pt x="19" y="59"/>
                  </a:lnTo>
                  <a:lnTo>
                    <a:pt x="17" y="59"/>
                  </a:lnTo>
                  <a:lnTo>
                    <a:pt x="17" y="59"/>
                  </a:lnTo>
                  <a:lnTo>
                    <a:pt x="14" y="59"/>
                  </a:lnTo>
                  <a:lnTo>
                    <a:pt x="14" y="59"/>
                  </a:lnTo>
                  <a:lnTo>
                    <a:pt x="17" y="61"/>
                  </a:lnTo>
                  <a:lnTo>
                    <a:pt x="17" y="61"/>
                  </a:lnTo>
                  <a:lnTo>
                    <a:pt x="17" y="62"/>
                  </a:lnTo>
                  <a:lnTo>
                    <a:pt x="17" y="62"/>
                  </a:lnTo>
                  <a:lnTo>
                    <a:pt x="17" y="64"/>
                  </a:lnTo>
                  <a:lnTo>
                    <a:pt x="17" y="64"/>
                  </a:lnTo>
                  <a:lnTo>
                    <a:pt x="19" y="65"/>
                  </a:lnTo>
                  <a:lnTo>
                    <a:pt x="19" y="65"/>
                  </a:lnTo>
                  <a:lnTo>
                    <a:pt x="20" y="69"/>
                  </a:lnTo>
                  <a:lnTo>
                    <a:pt x="20" y="69"/>
                  </a:lnTo>
                  <a:lnTo>
                    <a:pt x="17" y="72"/>
                  </a:lnTo>
                  <a:lnTo>
                    <a:pt x="17" y="72"/>
                  </a:lnTo>
                  <a:lnTo>
                    <a:pt x="17" y="72"/>
                  </a:lnTo>
                  <a:lnTo>
                    <a:pt x="17" y="72"/>
                  </a:lnTo>
                  <a:lnTo>
                    <a:pt x="15" y="75"/>
                  </a:lnTo>
                  <a:lnTo>
                    <a:pt x="15" y="75"/>
                  </a:lnTo>
                  <a:lnTo>
                    <a:pt x="17" y="75"/>
                  </a:lnTo>
                  <a:lnTo>
                    <a:pt x="17" y="75"/>
                  </a:lnTo>
                  <a:lnTo>
                    <a:pt x="15" y="75"/>
                  </a:lnTo>
                  <a:lnTo>
                    <a:pt x="15" y="75"/>
                  </a:lnTo>
                  <a:lnTo>
                    <a:pt x="17" y="78"/>
                  </a:lnTo>
                  <a:lnTo>
                    <a:pt x="17" y="78"/>
                  </a:lnTo>
                  <a:lnTo>
                    <a:pt x="19" y="78"/>
                  </a:lnTo>
                  <a:lnTo>
                    <a:pt x="19" y="78"/>
                  </a:lnTo>
                  <a:lnTo>
                    <a:pt x="20" y="78"/>
                  </a:lnTo>
                  <a:lnTo>
                    <a:pt x="20" y="78"/>
                  </a:lnTo>
                  <a:lnTo>
                    <a:pt x="19" y="81"/>
                  </a:lnTo>
                  <a:lnTo>
                    <a:pt x="19" y="81"/>
                  </a:lnTo>
                  <a:lnTo>
                    <a:pt x="17" y="83"/>
                  </a:lnTo>
                  <a:lnTo>
                    <a:pt x="17" y="83"/>
                  </a:lnTo>
                  <a:lnTo>
                    <a:pt x="15" y="84"/>
                  </a:lnTo>
                  <a:lnTo>
                    <a:pt x="15" y="84"/>
                  </a:lnTo>
                  <a:lnTo>
                    <a:pt x="14" y="86"/>
                  </a:lnTo>
                  <a:lnTo>
                    <a:pt x="14" y="86"/>
                  </a:lnTo>
                  <a:lnTo>
                    <a:pt x="14" y="88"/>
                  </a:lnTo>
                  <a:lnTo>
                    <a:pt x="14" y="88"/>
                  </a:lnTo>
                  <a:lnTo>
                    <a:pt x="14" y="88"/>
                  </a:lnTo>
                  <a:lnTo>
                    <a:pt x="14" y="91"/>
                  </a:lnTo>
                  <a:lnTo>
                    <a:pt x="14" y="91"/>
                  </a:lnTo>
                  <a:lnTo>
                    <a:pt x="14" y="92"/>
                  </a:lnTo>
                  <a:lnTo>
                    <a:pt x="14" y="92"/>
                  </a:lnTo>
                  <a:lnTo>
                    <a:pt x="17" y="92"/>
                  </a:lnTo>
                  <a:lnTo>
                    <a:pt x="17" y="92"/>
                  </a:lnTo>
                  <a:lnTo>
                    <a:pt x="19" y="92"/>
                  </a:lnTo>
                  <a:lnTo>
                    <a:pt x="19" y="92"/>
                  </a:lnTo>
                  <a:lnTo>
                    <a:pt x="20" y="92"/>
                  </a:lnTo>
                  <a:lnTo>
                    <a:pt x="20" y="92"/>
                  </a:lnTo>
                  <a:lnTo>
                    <a:pt x="20" y="92"/>
                  </a:lnTo>
                  <a:lnTo>
                    <a:pt x="20" y="92"/>
                  </a:lnTo>
                  <a:lnTo>
                    <a:pt x="22" y="96"/>
                  </a:lnTo>
                  <a:lnTo>
                    <a:pt x="22" y="96"/>
                  </a:lnTo>
                  <a:lnTo>
                    <a:pt x="27" y="99"/>
                  </a:lnTo>
                  <a:lnTo>
                    <a:pt x="27" y="99"/>
                  </a:lnTo>
                  <a:lnTo>
                    <a:pt x="25" y="99"/>
                  </a:lnTo>
                  <a:lnTo>
                    <a:pt x="25" y="99"/>
                  </a:lnTo>
                  <a:lnTo>
                    <a:pt x="25" y="102"/>
                  </a:lnTo>
                  <a:lnTo>
                    <a:pt x="25" y="102"/>
                  </a:lnTo>
                  <a:lnTo>
                    <a:pt x="27" y="102"/>
                  </a:lnTo>
                  <a:lnTo>
                    <a:pt x="27" y="102"/>
                  </a:lnTo>
                  <a:lnTo>
                    <a:pt x="28" y="102"/>
                  </a:lnTo>
                  <a:lnTo>
                    <a:pt x="28" y="102"/>
                  </a:lnTo>
                  <a:lnTo>
                    <a:pt x="28" y="105"/>
                  </a:lnTo>
                  <a:lnTo>
                    <a:pt x="28" y="105"/>
                  </a:lnTo>
                  <a:lnTo>
                    <a:pt x="27" y="105"/>
                  </a:lnTo>
                  <a:lnTo>
                    <a:pt x="27" y="105"/>
                  </a:lnTo>
                  <a:lnTo>
                    <a:pt x="28" y="107"/>
                  </a:lnTo>
                  <a:lnTo>
                    <a:pt x="28" y="107"/>
                  </a:lnTo>
                  <a:lnTo>
                    <a:pt x="30" y="108"/>
                  </a:lnTo>
                  <a:lnTo>
                    <a:pt x="30" y="108"/>
                  </a:lnTo>
                  <a:lnTo>
                    <a:pt x="33" y="110"/>
                  </a:lnTo>
                  <a:lnTo>
                    <a:pt x="33" y="110"/>
                  </a:lnTo>
                  <a:lnTo>
                    <a:pt x="35" y="110"/>
                  </a:lnTo>
                  <a:lnTo>
                    <a:pt x="35" y="110"/>
                  </a:lnTo>
                  <a:lnTo>
                    <a:pt x="36" y="110"/>
                  </a:lnTo>
                  <a:lnTo>
                    <a:pt x="36" y="110"/>
                  </a:lnTo>
                  <a:lnTo>
                    <a:pt x="38" y="108"/>
                  </a:lnTo>
                  <a:lnTo>
                    <a:pt x="38" y="108"/>
                  </a:lnTo>
                  <a:lnTo>
                    <a:pt x="39" y="107"/>
                  </a:lnTo>
                  <a:lnTo>
                    <a:pt x="39" y="107"/>
                  </a:lnTo>
                  <a:lnTo>
                    <a:pt x="39" y="105"/>
                  </a:lnTo>
                  <a:lnTo>
                    <a:pt x="39" y="105"/>
                  </a:lnTo>
                  <a:lnTo>
                    <a:pt x="46" y="105"/>
                  </a:lnTo>
                  <a:lnTo>
                    <a:pt x="46" y="105"/>
                  </a:lnTo>
                  <a:lnTo>
                    <a:pt x="49" y="102"/>
                  </a:lnTo>
                  <a:lnTo>
                    <a:pt x="49" y="102"/>
                  </a:lnTo>
                  <a:lnTo>
                    <a:pt x="49" y="102"/>
                  </a:lnTo>
                  <a:lnTo>
                    <a:pt x="49" y="102"/>
                  </a:lnTo>
                  <a:lnTo>
                    <a:pt x="52" y="102"/>
                  </a:lnTo>
                  <a:lnTo>
                    <a:pt x="52" y="102"/>
                  </a:lnTo>
                  <a:lnTo>
                    <a:pt x="65" y="99"/>
                  </a:lnTo>
                  <a:lnTo>
                    <a:pt x="65" y="99"/>
                  </a:lnTo>
                  <a:lnTo>
                    <a:pt x="68" y="102"/>
                  </a:lnTo>
                  <a:lnTo>
                    <a:pt x="68" y="102"/>
                  </a:lnTo>
                  <a:lnTo>
                    <a:pt x="71" y="99"/>
                  </a:lnTo>
                  <a:lnTo>
                    <a:pt x="71" y="99"/>
                  </a:lnTo>
                  <a:lnTo>
                    <a:pt x="71" y="99"/>
                  </a:lnTo>
                  <a:lnTo>
                    <a:pt x="71" y="99"/>
                  </a:lnTo>
                  <a:lnTo>
                    <a:pt x="74" y="99"/>
                  </a:lnTo>
                  <a:lnTo>
                    <a:pt x="74" y="99"/>
                  </a:lnTo>
                  <a:lnTo>
                    <a:pt x="77" y="99"/>
                  </a:lnTo>
                  <a:lnTo>
                    <a:pt x="77" y="99"/>
                  </a:lnTo>
                  <a:lnTo>
                    <a:pt x="77" y="99"/>
                  </a:lnTo>
                  <a:lnTo>
                    <a:pt x="77" y="99"/>
                  </a:lnTo>
                  <a:lnTo>
                    <a:pt x="81" y="96"/>
                  </a:lnTo>
                  <a:lnTo>
                    <a:pt x="81" y="96"/>
                  </a:lnTo>
                  <a:lnTo>
                    <a:pt x="84" y="91"/>
                  </a:lnTo>
                  <a:lnTo>
                    <a:pt x="84" y="91"/>
                  </a:lnTo>
                  <a:lnTo>
                    <a:pt x="87" y="89"/>
                  </a:lnTo>
                  <a:lnTo>
                    <a:pt x="87" y="89"/>
                  </a:lnTo>
                  <a:lnTo>
                    <a:pt x="92" y="89"/>
                  </a:lnTo>
                  <a:lnTo>
                    <a:pt x="92" y="89"/>
                  </a:lnTo>
                  <a:lnTo>
                    <a:pt x="93" y="88"/>
                  </a:lnTo>
                  <a:lnTo>
                    <a:pt x="93" y="88"/>
                  </a:lnTo>
                  <a:lnTo>
                    <a:pt x="93" y="86"/>
                  </a:lnTo>
                  <a:lnTo>
                    <a:pt x="93" y="86"/>
                  </a:lnTo>
                  <a:lnTo>
                    <a:pt x="95" y="83"/>
                  </a:lnTo>
                  <a:lnTo>
                    <a:pt x="95" y="83"/>
                  </a:lnTo>
                  <a:lnTo>
                    <a:pt x="95" y="78"/>
                  </a:lnTo>
                  <a:lnTo>
                    <a:pt x="95" y="78"/>
                  </a:lnTo>
                  <a:lnTo>
                    <a:pt x="101" y="75"/>
                  </a:lnTo>
                  <a:lnTo>
                    <a:pt x="101" y="75"/>
                  </a:lnTo>
                  <a:lnTo>
                    <a:pt x="104" y="72"/>
                  </a:lnTo>
                  <a:lnTo>
                    <a:pt x="104" y="72"/>
                  </a:lnTo>
                  <a:lnTo>
                    <a:pt x="104" y="72"/>
                  </a:lnTo>
                  <a:lnTo>
                    <a:pt x="104" y="72"/>
                  </a:lnTo>
                  <a:lnTo>
                    <a:pt x="101" y="69"/>
                  </a:lnTo>
                  <a:lnTo>
                    <a:pt x="101" y="69"/>
                  </a:lnTo>
                  <a:lnTo>
                    <a:pt x="101" y="65"/>
                  </a:lnTo>
                  <a:lnTo>
                    <a:pt x="101" y="65"/>
                  </a:lnTo>
                  <a:lnTo>
                    <a:pt x="101" y="61"/>
                  </a:lnTo>
                  <a:lnTo>
                    <a:pt x="101" y="61"/>
                  </a:lnTo>
                  <a:lnTo>
                    <a:pt x="101" y="56"/>
                  </a:lnTo>
                  <a:lnTo>
                    <a:pt x="101" y="56"/>
                  </a:lnTo>
                  <a:lnTo>
                    <a:pt x="104" y="53"/>
                  </a:lnTo>
                  <a:lnTo>
                    <a:pt x="104" y="53"/>
                  </a:lnTo>
                  <a:lnTo>
                    <a:pt x="108" y="50"/>
                  </a:lnTo>
                  <a:lnTo>
                    <a:pt x="108" y="50"/>
                  </a:lnTo>
                  <a:lnTo>
                    <a:pt x="111" y="46"/>
                  </a:lnTo>
                  <a:lnTo>
                    <a:pt x="111" y="46"/>
                  </a:lnTo>
                  <a:lnTo>
                    <a:pt x="112" y="43"/>
                  </a:lnTo>
                  <a:lnTo>
                    <a:pt x="112" y="43"/>
                  </a:lnTo>
                  <a:lnTo>
                    <a:pt x="114" y="43"/>
                  </a:lnTo>
                  <a:lnTo>
                    <a:pt x="114" y="43"/>
                  </a:lnTo>
                  <a:lnTo>
                    <a:pt x="112" y="43"/>
                  </a:lnTo>
                  <a:lnTo>
                    <a:pt x="112" y="43"/>
                  </a:lnTo>
                  <a:lnTo>
                    <a:pt x="117" y="40"/>
                  </a:lnTo>
                  <a:lnTo>
                    <a:pt x="117" y="40"/>
                  </a:lnTo>
                  <a:lnTo>
                    <a:pt x="123" y="37"/>
                  </a:lnTo>
                  <a:lnTo>
                    <a:pt x="123" y="37"/>
                  </a:lnTo>
                  <a:lnTo>
                    <a:pt x="130" y="35"/>
                  </a:lnTo>
                  <a:lnTo>
                    <a:pt x="130" y="35"/>
                  </a:lnTo>
                  <a:lnTo>
                    <a:pt x="133" y="32"/>
                  </a:lnTo>
                  <a:lnTo>
                    <a:pt x="139" y="30"/>
                  </a:lnTo>
                  <a:lnTo>
                    <a:pt x="139" y="30"/>
                  </a:lnTo>
                  <a:lnTo>
                    <a:pt x="139" y="30"/>
                  </a:lnTo>
                  <a:close/>
                  <a:moveTo>
                    <a:pt x="27" y="99"/>
                  </a:moveTo>
                  <a:lnTo>
                    <a:pt x="27" y="99"/>
                  </a:lnTo>
                  <a:lnTo>
                    <a:pt x="27" y="99"/>
                  </a:lnTo>
                  <a:lnTo>
                    <a:pt x="27" y="99"/>
                  </a:lnTo>
                  <a:lnTo>
                    <a:pt x="28" y="99"/>
                  </a:lnTo>
                  <a:lnTo>
                    <a:pt x="27" y="99"/>
                  </a:lnTo>
                  <a:lnTo>
                    <a:pt x="27" y="99"/>
                  </a:lnTo>
                  <a:lnTo>
                    <a:pt x="27" y="99"/>
                  </a:lnTo>
                  <a:close/>
                  <a:moveTo>
                    <a:pt x="139" y="56"/>
                  </a:moveTo>
                  <a:lnTo>
                    <a:pt x="139" y="56"/>
                  </a:lnTo>
                  <a:lnTo>
                    <a:pt x="141" y="54"/>
                  </a:lnTo>
                  <a:lnTo>
                    <a:pt x="141" y="54"/>
                  </a:lnTo>
                  <a:lnTo>
                    <a:pt x="136" y="56"/>
                  </a:lnTo>
                  <a:lnTo>
                    <a:pt x="136" y="56"/>
                  </a:lnTo>
                  <a:lnTo>
                    <a:pt x="133" y="57"/>
                  </a:lnTo>
                  <a:lnTo>
                    <a:pt x="133" y="57"/>
                  </a:lnTo>
                  <a:lnTo>
                    <a:pt x="133" y="61"/>
                  </a:lnTo>
                  <a:lnTo>
                    <a:pt x="133" y="61"/>
                  </a:lnTo>
                  <a:lnTo>
                    <a:pt x="136" y="61"/>
                  </a:lnTo>
                  <a:lnTo>
                    <a:pt x="136" y="61"/>
                  </a:lnTo>
                  <a:lnTo>
                    <a:pt x="136" y="62"/>
                  </a:lnTo>
                  <a:lnTo>
                    <a:pt x="136" y="62"/>
                  </a:lnTo>
                  <a:lnTo>
                    <a:pt x="136" y="64"/>
                  </a:lnTo>
                  <a:lnTo>
                    <a:pt x="136" y="64"/>
                  </a:lnTo>
                  <a:lnTo>
                    <a:pt x="139" y="64"/>
                  </a:lnTo>
                  <a:lnTo>
                    <a:pt x="139" y="64"/>
                  </a:lnTo>
                  <a:lnTo>
                    <a:pt x="141" y="62"/>
                  </a:lnTo>
                  <a:lnTo>
                    <a:pt x="141" y="62"/>
                  </a:lnTo>
                  <a:lnTo>
                    <a:pt x="143" y="59"/>
                  </a:lnTo>
                  <a:lnTo>
                    <a:pt x="143" y="59"/>
                  </a:lnTo>
                  <a:lnTo>
                    <a:pt x="144" y="59"/>
                  </a:lnTo>
                  <a:lnTo>
                    <a:pt x="144" y="59"/>
                  </a:lnTo>
                  <a:lnTo>
                    <a:pt x="144" y="57"/>
                  </a:lnTo>
                  <a:lnTo>
                    <a:pt x="144" y="57"/>
                  </a:lnTo>
                  <a:lnTo>
                    <a:pt x="141" y="57"/>
                  </a:lnTo>
                  <a:lnTo>
                    <a:pt x="139" y="56"/>
                  </a:lnTo>
                  <a:lnTo>
                    <a:pt x="139" y="56"/>
                  </a:lnTo>
                  <a:lnTo>
                    <a:pt x="139" y="56"/>
                  </a:lnTo>
                  <a:close/>
                  <a:moveTo>
                    <a:pt x="120" y="69"/>
                  </a:moveTo>
                  <a:lnTo>
                    <a:pt x="120" y="69"/>
                  </a:lnTo>
                  <a:lnTo>
                    <a:pt x="120" y="70"/>
                  </a:lnTo>
                  <a:lnTo>
                    <a:pt x="120" y="70"/>
                  </a:lnTo>
                  <a:lnTo>
                    <a:pt x="122" y="70"/>
                  </a:lnTo>
                  <a:lnTo>
                    <a:pt x="122" y="70"/>
                  </a:lnTo>
                  <a:lnTo>
                    <a:pt x="123" y="69"/>
                  </a:lnTo>
                  <a:lnTo>
                    <a:pt x="123" y="69"/>
                  </a:lnTo>
                  <a:lnTo>
                    <a:pt x="123" y="67"/>
                  </a:lnTo>
                  <a:lnTo>
                    <a:pt x="123" y="67"/>
                  </a:lnTo>
                  <a:lnTo>
                    <a:pt x="123" y="69"/>
                  </a:lnTo>
                  <a:lnTo>
                    <a:pt x="123" y="69"/>
                  </a:lnTo>
                  <a:lnTo>
                    <a:pt x="120" y="69"/>
                  </a:lnTo>
                  <a:lnTo>
                    <a:pt x="120" y="69"/>
                  </a:lnTo>
                  <a:close/>
                  <a:moveTo>
                    <a:pt x="150" y="54"/>
                  </a:moveTo>
                  <a:lnTo>
                    <a:pt x="150" y="54"/>
                  </a:lnTo>
                  <a:lnTo>
                    <a:pt x="149" y="54"/>
                  </a:lnTo>
                  <a:lnTo>
                    <a:pt x="149" y="54"/>
                  </a:lnTo>
                  <a:lnTo>
                    <a:pt x="147" y="56"/>
                  </a:lnTo>
                  <a:lnTo>
                    <a:pt x="147" y="56"/>
                  </a:lnTo>
                  <a:lnTo>
                    <a:pt x="149" y="56"/>
                  </a:lnTo>
                  <a:lnTo>
                    <a:pt x="149" y="56"/>
                  </a:lnTo>
                  <a:lnTo>
                    <a:pt x="150" y="57"/>
                  </a:lnTo>
                  <a:lnTo>
                    <a:pt x="150" y="57"/>
                  </a:lnTo>
                  <a:lnTo>
                    <a:pt x="152" y="57"/>
                  </a:lnTo>
                  <a:lnTo>
                    <a:pt x="152" y="57"/>
                  </a:lnTo>
                  <a:lnTo>
                    <a:pt x="152" y="56"/>
                  </a:lnTo>
                  <a:lnTo>
                    <a:pt x="152" y="56"/>
                  </a:lnTo>
                  <a:lnTo>
                    <a:pt x="150" y="54"/>
                  </a:lnTo>
                  <a:lnTo>
                    <a:pt x="150" y="54"/>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1" name="Freeform 347">
              <a:extLst>
                <a:ext uri="{FF2B5EF4-FFF2-40B4-BE49-F238E27FC236}">
                  <a16:creationId xmlns:a16="http://schemas.microsoft.com/office/drawing/2014/main" id="{BCCBE75B-65BE-03A8-914D-1182EAE4D951}"/>
                </a:ext>
              </a:extLst>
            </p:cNvPr>
            <p:cNvSpPr>
              <a:spLocks noEditPoints="1"/>
            </p:cNvSpPr>
            <p:nvPr/>
          </p:nvSpPr>
          <p:spPr bwMode="auto">
            <a:xfrm>
              <a:off x="6083202" y="1858303"/>
              <a:ext cx="273655" cy="405997"/>
            </a:xfrm>
            <a:custGeom>
              <a:avLst/>
              <a:gdLst>
                <a:gd name="T0" fmla="*/ 78 w 122"/>
                <a:gd name="T1" fmla="*/ 151 h 181"/>
                <a:gd name="T2" fmla="*/ 76 w 122"/>
                <a:gd name="T3" fmla="*/ 145 h 181"/>
                <a:gd name="T4" fmla="*/ 76 w 122"/>
                <a:gd name="T5" fmla="*/ 145 h 181"/>
                <a:gd name="T6" fmla="*/ 75 w 122"/>
                <a:gd name="T7" fmla="*/ 156 h 181"/>
                <a:gd name="T8" fmla="*/ 75 w 122"/>
                <a:gd name="T9" fmla="*/ 156 h 181"/>
                <a:gd name="T10" fmla="*/ 41 w 122"/>
                <a:gd name="T11" fmla="*/ 181 h 181"/>
                <a:gd name="T12" fmla="*/ 38 w 122"/>
                <a:gd name="T13" fmla="*/ 180 h 181"/>
                <a:gd name="T14" fmla="*/ 75 w 122"/>
                <a:gd name="T15" fmla="*/ 122 h 181"/>
                <a:gd name="T16" fmla="*/ 75 w 122"/>
                <a:gd name="T17" fmla="*/ 122 h 181"/>
                <a:gd name="T18" fmla="*/ 122 w 122"/>
                <a:gd name="T19" fmla="*/ 40 h 181"/>
                <a:gd name="T20" fmla="*/ 117 w 122"/>
                <a:gd name="T21" fmla="*/ 26 h 181"/>
                <a:gd name="T22" fmla="*/ 113 w 122"/>
                <a:gd name="T23" fmla="*/ 16 h 181"/>
                <a:gd name="T24" fmla="*/ 103 w 122"/>
                <a:gd name="T25" fmla="*/ 7 h 181"/>
                <a:gd name="T26" fmla="*/ 81 w 122"/>
                <a:gd name="T27" fmla="*/ 0 h 181"/>
                <a:gd name="T28" fmla="*/ 76 w 122"/>
                <a:gd name="T29" fmla="*/ 8 h 181"/>
                <a:gd name="T30" fmla="*/ 64 w 122"/>
                <a:gd name="T31" fmla="*/ 11 h 181"/>
                <a:gd name="T32" fmla="*/ 46 w 122"/>
                <a:gd name="T33" fmla="*/ 19 h 181"/>
                <a:gd name="T34" fmla="*/ 40 w 122"/>
                <a:gd name="T35" fmla="*/ 32 h 181"/>
                <a:gd name="T36" fmla="*/ 32 w 122"/>
                <a:gd name="T37" fmla="*/ 45 h 181"/>
                <a:gd name="T38" fmla="*/ 27 w 122"/>
                <a:gd name="T39" fmla="*/ 59 h 181"/>
                <a:gd name="T40" fmla="*/ 11 w 122"/>
                <a:gd name="T41" fmla="*/ 65 h 181"/>
                <a:gd name="T42" fmla="*/ 8 w 122"/>
                <a:gd name="T43" fmla="*/ 78 h 181"/>
                <a:gd name="T44" fmla="*/ 11 w 122"/>
                <a:gd name="T45" fmla="*/ 94 h 181"/>
                <a:gd name="T46" fmla="*/ 11 w 122"/>
                <a:gd name="T47" fmla="*/ 103 h 181"/>
                <a:gd name="T48" fmla="*/ 8 w 122"/>
                <a:gd name="T49" fmla="*/ 114 h 181"/>
                <a:gd name="T50" fmla="*/ 6 w 122"/>
                <a:gd name="T51" fmla="*/ 127 h 181"/>
                <a:gd name="T52" fmla="*/ 0 w 122"/>
                <a:gd name="T53" fmla="*/ 127 h 181"/>
                <a:gd name="T54" fmla="*/ 3 w 122"/>
                <a:gd name="T55" fmla="*/ 138 h 181"/>
                <a:gd name="T56" fmla="*/ 6 w 122"/>
                <a:gd name="T57" fmla="*/ 141 h 181"/>
                <a:gd name="T58" fmla="*/ 11 w 122"/>
                <a:gd name="T59" fmla="*/ 153 h 181"/>
                <a:gd name="T60" fmla="*/ 14 w 122"/>
                <a:gd name="T61" fmla="*/ 165 h 181"/>
                <a:gd name="T62" fmla="*/ 32 w 122"/>
                <a:gd name="T63" fmla="*/ 176 h 181"/>
                <a:gd name="T64" fmla="*/ 35 w 122"/>
                <a:gd name="T65" fmla="*/ 168 h 181"/>
                <a:gd name="T66" fmla="*/ 49 w 122"/>
                <a:gd name="T67" fmla="*/ 167 h 181"/>
                <a:gd name="T68" fmla="*/ 57 w 122"/>
                <a:gd name="T69" fmla="*/ 149 h 181"/>
                <a:gd name="T70" fmla="*/ 57 w 122"/>
                <a:gd name="T71" fmla="*/ 145 h 181"/>
                <a:gd name="T72" fmla="*/ 56 w 122"/>
                <a:gd name="T73" fmla="*/ 137 h 181"/>
                <a:gd name="T74" fmla="*/ 60 w 122"/>
                <a:gd name="T75" fmla="*/ 132 h 181"/>
                <a:gd name="T76" fmla="*/ 67 w 122"/>
                <a:gd name="T77" fmla="*/ 130 h 181"/>
                <a:gd name="T78" fmla="*/ 75 w 122"/>
                <a:gd name="T79" fmla="*/ 126 h 181"/>
                <a:gd name="T80" fmla="*/ 76 w 122"/>
                <a:gd name="T81" fmla="*/ 121 h 181"/>
                <a:gd name="T82" fmla="*/ 78 w 122"/>
                <a:gd name="T83" fmla="*/ 113 h 181"/>
                <a:gd name="T84" fmla="*/ 65 w 122"/>
                <a:gd name="T85" fmla="*/ 107 h 181"/>
                <a:gd name="T86" fmla="*/ 59 w 122"/>
                <a:gd name="T87" fmla="*/ 99 h 181"/>
                <a:gd name="T88" fmla="*/ 62 w 122"/>
                <a:gd name="T89" fmla="*/ 92 h 181"/>
                <a:gd name="T90" fmla="*/ 62 w 122"/>
                <a:gd name="T91" fmla="*/ 83 h 181"/>
                <a:gd name="T92" fmla="*/ 65 w 122"/>
                <a:gd name="T93" fmla="*/ 75 h 181"/>
                <a:gd name="T94" fmla="*/ 70 w 122"/>
                <a:gd name="T95" fmla="*/ 75 h 181"/>
                <a:gd name="T96" fmla="*/ 84 w 122"/>
                <a:gd name="T97" fmla="*/ 68 h 181"/>
                <a:gd name="T98" fmla="*/ 97 w 122"/>
                <a:gd name="T99" fmla="*/ 59 h 181"/>
                <a:gd name="T100" fmla="*/ 100 w 122"/>
                <a:gd name="T101" fmla="*/ 51 h 181"/>
                <a:gd name="T102" fmla="*/ 102 w 122"/>
                <a:gd name="T103" fmla="*/ 45 h 181"/>
                <a:gd name="T104" fmla="*/ 108 w 122"/>
                <a:gd name="T105" fmla="*/ 40 h 181"/>
                <a:gd name="T106" fmla="*/ 117 w 122"/>
                <a:gd name="T107" fmla="*/ 41 h 181"/>
                <a:gd name="T108" fmla="*/ 122 w 122"/>
                <a:gd name="T109" fmla="*/ 40 h 181"/>
                <a:gd name="T110" fmla="*/ 87 w 122"/>
                <a:gd name="T111" fmla="*/ 103 h 181"/>
                <a:gd name="T112" fmla="*/ 87 w 122"/>
                <a:gd name="T113" fmla="*/ 107 h 181"/>
                <a:gd name="T114" fmla="*/ 89 w 122"/>
                <a:gd name="T115" fmla="*/ 105 h 181"/>
                <a:gd name="T116" fmla="*/ 87 w 122"/>
                <a:gd name="T117" fmla="*/ 10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181">
                  <a:moveTo>
                    <a:pt x="76" y="145"/>
                  </a:moveTo>
                  <a:lnTo>
                    <a:pt x="73" y="148"/>
                  </a:lnTo>
                  <a:lnTo>
                    <a:pt x="73" y="151"/>
                  </a:lnTo>
                  <a:lnTo>
                    <a:pt x="73" y="153"/>
                  </a:lnTo>
                  <a:lnTo>
                    <a:pt x="75" y="154"/>
                  </a:lnTo>
                  <a:lnTo>
                    <a:pt x="78" y="151"/>
                  </a:lnTo>
                  <a:lnTo>
                    <a:pt x="81" y="148"/>
                  </a:lnTo>
                  <a:lnTo>
                    <a:pt x="78" y="148"/>
                  </a:lnTo>
                  <a:lnTo>
                    <a:pt x="81" y="145"/>
                  </a:lnTo>
                  <a:lnTo>
                    <a:pt x="81" y="145"/>
                  </a:lnTo>
                  <a:lnTo>
                    <a:pt x="78" y="141"/>
                  </a:lnTo>
                  <a:lnTo>
                    <a:pt x="76" y="145"/>
                  </a:lnTo>
                  <a:lnTo>
                    <a:pt x="76" y="145"/>
                  </a:lnTo>
                  <a:lnTo>
                    <a:pt x="76" y="145"/>
                  </a:lnTo>
                  <a:lnTo>
                    <a:pt x="76" y="145"/>
                  </a:lnTo>
                  <a:lnTo>
                    <a:pt x="76" y="145"/>
                  </a:lnTo>
                  <a:lnTo>
                    <a:pt x="76" y="145"/>
                  </a:lnTo>
                  <a:lnTo>
                    <a:pt x="76" y="145"/>
                  </a:lnTo>
                  <a:lnTo>
                    <a:pt x="76" y="145"/>
                  </a:lnTo>
                  <a:lnTo>
                    <a:pt x="76" y="145"/>
                  </a:lnTo>
                  <a:close/>
                  <a:moveTo>
                    <a:pt x="75" y="156"/>
                  </a:moveTo>
                  <a:lnTo>
                    <a:pt x="75" y="154"/>
                  </a:lnTo>
                  <a:lnTo>
                    <a:pt x="73" y="156"/>
                  </a:lnTo>
                  <a:lnTo>
                    <a:pt x="75" y="156"/>
                  </a:lnTo>
                  <a:lnTo>
                    <a:pt x="75" y="156"/>
                  </a:lnTo>
                  <a:lnTo>
                    <a:pt x="75" y="156"/>
                  </a:lnTo>
                  <a:lnTo>
                    <a:pt x="75" y="156"/>
                  </a:lnTo>
                  <a:lnTo>
                    <a:pt x="75" y="156"/>
                  </a:lnTo>
                  <a:lnTo>
                    <a:pt x="75" y="156"/>
                  </a:lnTo>
                  <a:lnTo>
                    <a:pt x="75" y="156"/>
                  </a:lnTo>
                  <a:lnTo>
                    <a:pt x="75" y="156"/>
                  </a:lnTo>
                  <a:lnTo>
                    <a:pt x="75" y="156"/>
                  </a:lnTo>
                  <a:close/>
                  <a:moveTo>
                    <a:pt x="38" y="180"/>
                  </a:moveTo>
                  <a:lnTo>
                    <a:pt x="38" y="181"/>
                  </a:lnTo>
                  <a:lnTo>
                    <a:pt x="40" y="181"/>
                  </a:lnTo>
                  <a:lnTo>
                    <a:pt x="41" y="181"/>
                  </a:lnTo>
                  <a:lnTo>
                    <a:pt x="41" y="180"/>
                  </a:lnTo>
                  <a:lnTo>
                    <a:pt x="38" y="178"/>
                  </a:lnTo>
                  <a:lnTo>
                    <a:pt x="38" y="180"/>
                  </a:lnTo>
                  <a:lnTo>
                    <a:pt x="38" y="180"/>
                  </a:lnTo>
                  <a:lnTo>
                    <a:pt x="38" y="180"/>
                  </a:lnTo>
                  <a:lnTo>
                    <a:pt x="38" y="180"/>
                  </a:lnTo>
                  <a:lnTo>
                    <a:pt x="38" y="180"/>
                  </a:lnTo>
                  <a:lnTo>
                    <a:pt x="38" y="180"/>
                  </a:lnTo>
                  <a:lnTo>
                    <a:pt x="38" y="180"/>
                  </a:lnTo>
                  <a:lnTo>
                    <a:pt x="38" y="180"/>
                  </a:lnTo>
                  <a:lnTo>
                    <a:pt x="38" y="180"/>
                  </a:lnTo>
                  <a:close/>
                  <a:moveTo>
                    <a:pt x="75" y="122"/>
                  </a:moveTo>
                  <a:lnTo>
                    <a:pt x="75" y="124"/>
                  </a:lnTo>
                  <a:lnTo>
                    <a:pt x="76" y="124"/>
                  </a:lnTo>
                  <a:lnTo>
                    <a:pt x="75" y="122"/>
                  </a:lnTo>
                  <a:lnTo>
                    <a:pt x="75" y="122"/>
                  </a:lnTo>
                  <a:lnTo>
                    <a:pt x="75" y="122"/>
                  </a:lnTo>
                  <a:lnTo>
                    <a:pt x="75" y="122"/>
                  </a:lnTo>
                  <a:lnTo>
                    <a:pt x="75" y="122"/>
                  </a:lnTo>
                  <a:lnTo>
                    <a:pt x="75" y="122"/>
                  </a:lnTo>
                  <a:lnTo>
                    <a:pt x="75" y="122"/>
                  </a:lnTo>
                  <a:lnTo>
                    <a:pt x="75" y="122"/>
                  </a:lnTo>
                  <a:lnTo>
                    <a:pt x="75" y="122"/>
                  </a:lnTo>
                  <a:close/>
                  <a:moveTo>
                    <a:pt x="122" y="40"/>
                  </a:moveTo>
                  <a:lnTo>
                    <a:pt x="117" y="35"/>
                  </a:lnTo>
                  <a:lnTo>
                    <a:pt x="117" y="34"/>
                  </a:lnTo>
                  <a:lnTo>
                    <a:pt x="117" y="30"/>
                  </a:lnTo>
                  <a:lnTo>
                    <a:pt x="117" y="29"/>
                  </a:lnTo>
                  <a:lnTo>
                    <a:pt x="119" y="27"/>
                  </a:lnTo>
                  <a:lnTo>
                    <a:pt x="117" y="26"/>
                  </a:lnTo>
                  <a:lnTo>
                    <a:pt x="116" y="24"/>
                  </a:lnTo>
                  <a:lnTo>
                    <a:pt x="116" y="22"/>
                  </a:lnTo>
                  <a:lnTo>
                    <a:pt x="116" y="22"/>
                  </a:lnTo>
                  <a:lnTo>
                    <a:pt x="116" y="19"/>
                  </a:lnTo>
                  <a:lnTo>
                    <a:pt x="114" y="19"/>
                  </a:lnTo>
                  <a:lnTo>
                    <a:pt x="113" y="16"/>
                  </a:lnTo>
                  <a:lnTo>
                    <a:pt x="113" y="16"/>
                  </a:lnTo>
                  <a:lnTo>
                    <a:pt x="114" y="13"/>
                  </a:lnTo>
                  <a:lnTo>
                    <a:pt x="113" y="13"/>
                  </a:lnTo>
                  <a:lnTo>
                    <a:pt x="111" y="11"/>
                  </a:lnTo>
                  <a:lnTo>
                    <a:pt x="108" y="10"/>
                  </a:lnTo>
                  <a:lnTo>
                    <a:pt x="103" y="7"/>
                  </a:lnTo>
                  <a:lnTo>
                    <a:pt x="92" y="0"/>
                  </a:lnTo>
                  <a:lnTo>
                    <a:pt x="87" y="0"/>
                  </a:lnTo>
                  <a:lnTo>
                    <a:pt x="87" y="0"/>
                  </a:lnTo>
                  <a:lnTo>
                    <a:pt x="87" y="0"/>
                  </a:lnTo>
                  <a:lnTo>
                    <a:pt x="87" y="0"/>
                  </a:lnTo>
                  <a:lnTo>
                    <a:pt x="81" y="0"/>
                  </a:lnTo>
                  <a:lnTo>
                    <a:pt x="84" y="2"/>
                  </a:lnTo>
                  <a:lnTo>
                    <a:pt x="84" y="3"/>
                  </a:lnTo>
                  <a:lnTo>
                    <a:pt x="81" y="7"/>
                  </a:lnTo>
                  <a:lnTo>
                    <a:pt x="84" y="7"/>
                  </a:lnTo>
                  <a:lnTo>
                    <a:pt x="81" y="8"/>
                  </a:lnTo>
                  <a:lnTo>
                    <a:pt x="76" y="8"/>
                  </a:lnTo>
                  <a:lnTo>
                    <a:pt x="70" y="7"/>
                  </a:lnTo>
                  <a:lnTo>
                    <a:pt x="67" y="7"/>
                  </a:lnTo>
                  <a:lnTo>
                    <a:pt x="65" y="7"/>
                  </a:lnTo>
                  <a:lnTo>
                    <a:pt x="64" y="7"/>
                  </a:lnTo>
                  <a:lnTo>
                    <a:pt x="64" y="8"/>
                  </a:lnTo>
                  <a:lnTo>
                    <a:pt x="64" y="11"/>
                  </a:lnTo>
                  <a:lnTo>
                    <a:pt x="62" y="13"/>
                  </a:lnTo>
                  <a:lnTo>
                    <a:pt x="60" y="13"/>
                  </a:lnTo>
                  <a:lnTo>
                    <a:pt x="57" y="13"/>
                  </a:lnTo>
                  <a:lnTo>
                    <a:pt x="54" y="13"/>
                  </a:lnTo>
                  <a:lnTo>
                    <a:pt x="49" y="16"/>
                  </a:lnTo>
                  <a:lnTo>
                    <a:pt x="46" y="19"/>
                  </a:lnTo>
                  <a:lnTo>
                    <a:pt x="46" y="22"/>
                  </a:lnTo>
                  <a:lnTo>
                    <a:pt x="49" y="22"/>
                  </a:lnTo>
                  <a:lnTo>
                    <a:pt x="49" y="24"/>
                  </a:lnTo>
                  <a:lnTo>
                    <a:pt x="41" y="30"/>
                  </a:lnTo>
                  <a:lnTo>
                    <a:pt x="40" y="30"/>
                  </a:lnTo>
                  <a:lnTo>
                    <a:pt x="40" y="32"/>
                  </a:lnTo>
                  <a:lnTo>
                    <a:pt x="40" y="34"/>
                  </a:lnTo>
                  <a:lnTo>
                    <a:pt x="40" y="35"/>
                  </a:lnTo>
                  <a:lnTo>
                    <a:pt x="35" y="37"/>
                  </a:lnTo>
                  <a:lnTo>
                    <a:pt x="30" y="37"/>
                  </a:lnTo>
                  <a:lnTo>
                    <a:pt x="32" y="41"/>
                  </a:lnTo>
                  <a:lnTo>
                    <a:pt x="32" y="45"/>
                  </a:lnTo>
                  <a:lnTo>
                    <a:pt x="30" y="48"/>
                  </a:lnTo>
                  <a:lnTo>
                    <a:pt x="27" y="51"/>
                  </a:lnTo>
                  <a:lnTo>
                    <a:pt x="22" y="56"/>
                  </a:lnTo>
                  <a:lnTo>
                    <a:pt x="25" y="56"/>
                  </a:lnTo>
                  <a:lnTo>
                    <a:pt x="27" y="57"/>
                  </a:lnTo>
                  <a:lnTo>
                    <a:pt x="27" y="59"/>
                  </a:lnTo>
                  <a:lnTo>
                    <a:pt x="27" y="61"/>
                  </a:lnTo>
                  <a:lnTo>
                    <a:pt x="25" y="62"/>
                  </a:lnTo>
                  <a:lnTo>
                    <a:pt x="22" y="62"/>
                  </a:lnTo>
                  <a:lnTo>
                    <a:pt x="17" y="62"/>
                  </a:lnTo>
                  <a:lnTo>
                    <a:pt x="14" y="64"/>
                  </a:lnTo>
                  <a:lnTo>
                    <a:pt x="11" y="65"/>
                  </a:lnTo>
                  <a:lnTo>
                    <a:pt x="8" y="67"/>
                  </a:lnTo>
                  <a:lnTo>
                    <a:pt x="8" y="68"/>
                  </a:lnTo>
                  <a:lnTo>
                    <a:pt x="8" y="68"/>
                  </a:lnTo>
                  <a:lnTo>
                    <a:pt x="8" y="72"/>
                  </a:lnTo>
                  <a:lnTo>
                    <a:pt x="8" y="75"/>
                  </a:lnTo>
                  <a:lnTo>
                    <a:pt x="8" y="78"/>
                  </a:lnTo>
                  <a:lnTo>
                    <a:pt x="8" y="78"/>
                  </a:lnTo>
                  <a:lnTo>
                    <a:pt x="8" y="81"/>
                  </a:lnTo>
                  <a:lnTo>
                    <a:pt x="8" y="84"/>
                  </a:lnTo>
                  <a:lnTo>
                    <a:pt x="8" y="89"/>
                  </a:lnTo>
                  <a:lnTo>
                    <a:pt x="8" y="92"/>
                  </a:lnTo>
                  <a:lnTo>
                    <a:pt x="11" y="94"/>
                  </a:lnTo>
                  <a:lnTo>
                    <a:pt x="14" y="95"/>
                  </a:lnTo>
                  <a:lnTo>
                    <a:pt x="14" y="97"/>
                  </a:lnTo>
                  <a:lnTo>
                    <a:pt x="17" y="99"/>
                  </a:lnTo>
                  <a:lnTo>
                    <a:pt x="14" y="100"/>
                  </a:lnTo>
                  <a:lnTo>
                    <a:pt x="11" y="102"/>
                  </a:lnTo>
                  <a:lnTo>
                    <a:pt x="11" y="103"/>
                  </a:lnTo>
                  <a:lnTo>
                    <a:pt x="11" y="103"/>
                  </a:lnTo>
                  <a:lnTo>
                    <a:pt x="11" y="107"/>
                  </a:lnTo>
                  <a:lnTo>
                    <a:pt x="14" y="110"/>
                  </a:lnTo>
                  <a:lnTo>
                    <a:pt x="11" y="113"/>
                  </a:lnTo>
                  <a:lnTo>
                    <a:pt x="11" y="114"/>
                  </a:lnTo>
                  <a:lnTo>
                    <a:pt x="8" y="114"/>
                  </a:lnTo>
                  <a:lnTo>
                    <a:pt x="8" y="116"/>
                  </a:lnTo>
                  <a:lnTo>
                    <a:pt x="6" y="118"/>
                  </a:lnTo>
                  <a:lnTo>
                    <a:pt x="6" y="119"/>
                  </a:lnTo>
                  <a:lnTo>
                    <a:pt x="5" y="121"/>
                  </a:lnTo>
                  <a:lnTo>
                    <a:pt x="6" y="122"/>
                  </a:lnTo>
                  <a:lnTo>
                    <a:pt x="6" y="127"/>
                  </a:lnTo>
                  <a:lnTo>
                    <a:pt x="5" y="129"/>
                  </a:lnTo>
                  <a:lnTo>
                    <a:pt x="3" y="130"/>
                  </a:lnTo>
                  <a:lnTo>
                    <a:pt x="2" y="129"/>
                  </a:lnTo>
                  <a:lnTo>
                    <a:pt x="2" y="127"/>
                  </a:lnTo>
                  <a:lnTo>
                    <a:pt x="0" y="127"/>
                  </a:lnTo>
                  <a:lnTo>
                    <a:pt x="0" y="127"/>
                  </a:lnTo>
                  <a:lnTo>
                    <a:pt x="0" y="129"/>
                  </a:lnTo>
                  <a:lnTo>
                    <a:pt x="0" y="132"/>
                  </a:lnTo>
                  <a:lnTo>
                    <a:pt x="0" y="135"/>
                  </a:lnTo>
                  <a:lnTo>
                    <a:pt x="0" y="137"/>
                  </a:lnTo>
                  <a:lnTo>
                    <a:pt x="2" y="137"/>
                  </a:lnTo>
                  <a:lnTo>
                    <a:pt x="3" y="138"/>
                  </a:lnTo>
                  <a:lnTo>
                    <a:pt x="3" y="137"/>
                  </a:lnTo>
                  <a:lnTo>
                    <a:pt x="5" y="137"/>
                  </a:lnTo>
                  <a:lnTo>
                    <a:pt x="3" y="138"/>
                  </a:lnTo>
                  <a:lnTo>
                    <a:pt x="5" y="138"/>
                  </a:lnTo>
                  <a:lnTo>
                    <a:pt x="8" y="138"/>
                  </a:lnTo>
                  <a:lnTo>
                    <a:pt x="6" y="141"/>
                  </a:lnTo>
                  <a:lnTo>
                    <a:pt x="6" y="145"/>
                  </a:lnTo>
                  <a:lnTo>
                    <a:pt x="6" y="145"/>
                  </a:lnTo>
                  <a:lnTo>
                    <a:pt x="8" y="148"/>
                  </a:lnTo>
                  <a:lnTo>
                    <a:pt x="8" y="149"/>
                  </a:lnTo>
                  <a:lnTo>
                    <a:pt x="8" y="149"/>
                  </a:lnTo>
                  <a:lnTo>
                    <a:pt x="11" y="153"/>
                  </a:lnTo>
                  <a:lnTo>
                    <a:pt x="14" y="157"/>
                  </a:lnTo>
                  <a:lnTo>
                    <a:pt x="17" y="161"/>
                  </a:lnTo>
                  <a:lnTo>
                    <a:pt x="17" y="162"/>
                  </a:lnTo>
                  <a:lnTo>
                    <a:pt x="14" y="162"/>
                  </a:lnTo>
                  <a:lnTo>
                    <a:pt x="17" y="165"/>
                  </a:lnTo>
                  <a:lnTo>
                    <a:pt x="14" y="165"/>
                  </a:lnTo>
                  <a:lnTo>
                    <a:pt x="14" y="168"/>
                  </a:lnTo>
                  <a:lnTo>
                    <a:pt x="17" y="172"/>
                  </a:lnTo>
                  <a:lnTo>
                    <a:pt x="21" y="173"/>
                  </a:lnTo>
                  <a:lnTo>
                    <a:pt x="17" y="176"/>
                  </a:lnTo>
                  <a:lnTo>
                    <a:pt x="29" y="175"/>
                  </a:lnTo>
                  <a:lnTo>
                    <a:pt x="32" y="176"/>
                  </a:lnTo>
                  <a:lnTo>
                    <a:pt x="33" y="176"/>
                  </a:lnTo>
                  <a:lnTo>
                    <a:pt x="33" y="175"/>
                  </a:lnTo>
                  <a:lnTo>
                    <a:pt x="32" y="172"/>
                  </a:lnTo>
                  <a:lnTo>
                    <a:pt x="32" y="172"/>
                  </a:lnTo>
                  <a:lnTo>
                    <a:pt x="33" y="170"/>
                  </a:lnTo>
                  <a:lnTo>
                    <a:pt x="35" y="168"/>
                  </a:lnTo>
                  <a:lnTo>
                    <a:pt x="38" y="168"/>
                  </a:lnTo>
                  <a:lnTo>
                    <a:pt x="38" y="167"/>
                  </a:lnTo>
                  <a:lnTo>
                    <a:pt x="41" y="167"/>
                  </a:lnTo>
                  <a:lnTo>
                    <a:pt x="43" y="167"/>
                  </a:lnTo>
                  <a:lnTo>
                    <a:pt x="46" y="167"/>
                  </a:lnTo>
                  <a:lnTo>
                    <a:pt x="49" y="167"/>
                  </a:lnTo>
                  <a:lnTo>
                    <a:pt x="52" y="164"/>
                  </a:lnTo>
                  <a:lnTo>
                    <a:pt x="54" y="159"/>
                  </a:lnTo>
                  <a:lnTo>
                    <a:pt x="54" y="156"/>
                  </a:lnTo>
                  <a:lnTo>
                    <a:pt x="56" y="154"/>
                  </a:lnTo>
                  <a:lnTo>
                    <a:pt x="56" y="151"/>
                  </a:lnTo>
                  <a:lnTo>
                    <a:pt x="57" y="149"/>
                  </a:lnTo>
                  <a:lnTo>
                    <a:pt x="57" y="148"/>
                  </a:lnTo>
                  <a:lnTo>
                    <a:pt x="56" y="148"/>
                  </a:lnTo>
                  <a:lnTo>
                    <a:pt x="57" y="145"/>
                  </a:lnTo>
                  <a:lnTo>
                    <a:pt x="56" y="145"/>
                  </a:lnTo>
                  <a:lnTo>
                    <a:pt x="54" y="141"/>
                  </a:lnTo>
                  <a:lnTo>
                    <a:pt x="57" y="145"/>
                  </a:lnTo>
                  <a:lnTo>
                    <a:pt x="57" y="141"/>
                  </a:lnTo>
                  <a:lnTo>
                    <a:pt x="56" y="141"/>
                  </a:lnTo>
                  <a:lnTo>
                    <a:pt x="57" y="141"/>
                  </a:lnTo>
                  <a:lnTo>
                    <a:pt x="57" y="138"/>
                  </a:lnTo>
                  <a:lnTo>
                    <a:pt x="52" y="135"/>
                  </a:lnTo>
                  <a:lnTo>
                    <a:pt x="56" y="137"/>
                  </a:lnTo>
                  <a:lnTo>
                    <a:pt x="59" y="135"/>
                  </a:lnTo>
                  <a:lnTo>
                    <a:pt x="56" y="134"/>
                  </a:lnTo>
                  <a:lnTo>
                    <a:pt x="57" y="134"/>
                  </a:lnTo>
                  <a:lnTo>
                    <a:pt x="59" y="134"/>
                  </a:lnTo>
                  <a:lnTo>
                    <a:pt x="60" y="134"/>
                  </a:lnTo>
                  <a:lnTo>
                    <a:pt x="60" y="132"/>
                  </a:lnTo>
                  <a:lnTo>
                    <a:pt x="62" y="132"/>
                  </a:lnTo>
                  <a:lnTo>
                    <a:pt x="65" y="132"/>
                  </a:lnTo>
                  <a:lnTo>
                    <a:pt x="64" y="130"/>
                  </a:lnTo>
                  <a:lnTo>
                    <a:pt x="65" y="130"/>
                  </a:lnTo>
                  <a:lnTo>
                    <a:pt x="65" y="129"/>
                  </a:lnTo>
                  <a:lnTo>
                    <a:pt x="67" y="130"/>
                  </a:lnTo>
                  <a:lnTo>
                    <a:pt x="65" y="127"/>
                  </a:lnTo>
                  <a:lnTo>
                    <a:pt x="67" y="129"/>
                  </a:lnTo>
                  <a:lnTo>
                    <a:pt x="68" y="130"/>
                  </a:lnTo>
                  <a:lnTo>
                    <a:pt x="70" y="129"/>
                  </a:lnTo>
                  <a:lnTo>
                    <a:pt x="71" y="127"/>
                  </a:lnTo>
                  <a:lnTo>
                    <a:pt x="75" y="126"/>
                  </a:lnTo>
                  <a:lnTo>
                    <a:pt x="75" y="124"/>
                  </a:lnTo>
                  <a:lnTo>
                    <a:pt x="73" y="124"/>
                  </a:lnTo>
                  <a:lnTo>
                    <a:pt x="71" y="124"/>
                  </a:lnTo>
                  <a:lnTo>
                    <a:pt x="70" y="122"/>
                  </a:lnTo>
                  <a:lnTo>
                    <a:pt x="73" y="122"/>
                  </a:lnTo>
                  <a:lnTo>
                    <a:pt x="76" y="121"/>
                  </a:lnTo>
                  <a:lnTo>
                    <a:pt x="78" y="119"/>
                  </a:lnTo>
                  <a:lnTo>
                    <a:pt x="81" y="118"/>
                  </a:lnTo>
                  <a:lnTo>
                    <a:pt x="78" y="116"/>
                  </a:lnTo>
                  <a:lnTo>
                    <a:pt x="78" y="116"/>
                  </a:lnTo>
                  <a:lnTo>
                    <a:pt x="78" y="114"/>
                  </a:lnTo>
                  <a:lnTo>
                    <a:pt x="78" y="113"/>
                  </a:lnTo>
                  <a:lnTo>
                    <a:pt x="75" y="113"/>
                  </a:lnTo>
                  <a:lnTo>
                    <a:pt x="71" y="110"/>
                  </a:lnTo>
                  <a:lnTo>
                    <a:pt x="68" y="110"/>
                  </a:lnTo>
                  <a:lnTo>
                    <a:pt x="68" y="107"/>
                  </a:lnTo>
                  <a:lnTo>
                    <a:pt x="67" y="107"/>
                  </a:lnTo>
                  <a:lnTo>
                    <a:pt x="65" y="107"/>
                  </a:lnTo>
                  <a:lnTo>
                    <a:pt x="64" y="107"/>
                  </a:lnTo>
                  <a:lnTo>
                    <a:pt x="60" y="107"/>
                  </a:lnTo>
                  <a:lnTo>
                    <a:pt x="62" y="103"/>
                  </a:lnTo>
                  <a:lnTo>
                    <a:pt x="60" y="103"/>
                  </a:lnTo>
                  <a:lnTo>
                    <a:pt x="59" y="100"/>
                  </a:lnTo>
                  <a:lnTo>
                    <a:pt x="59" y="99"/>
                  </a:lnTo>
                  <a:lnTo>
                    <a:pt x="59" y="97"/>
                  </a:lnTo>
                  <a:lnTo>
                    <a:pt x="59" y="95"/>
                  </a:lnTo>
                  <a:lnTo>
                    <a:pt x="59" y="94"/>
                  </a:lnTo>
                  <a:lnTo>
                    <a:pt x="60" y="92"/>
                  </a:lnTo>
                  <a:lnTo>
                    <a:pt x="62" y="94"/>
                  </a:lnTo>
                  <a:lnTo>
                    <a:pt x="62" y="92"/>
                  </a:lnTo>
                  <a:lnTo>
                    <a:pt x="60" y="89"/>
                  </a:lnTo>
                  <a:lnTo>
                    <a:pt x="62" y="87"/>
                  </a:lnTo>
                  <a:lnTo>
                    <a:pt x="64" y="86"/>
                  </a:lnTo>
                  <a:lnTo>
                    <a:pt x="60" y="84"/>
                  </a:lnTo>
                  <a:lnTo>
                    <a:pt x="60" y="81"/>
                  </a:lnTo>
                  <a:lnTo>
                    <a:pt x="62" y="83"/>
                  </a:lnTo>
                  <a:lnTo>
                    <a:pt x="65" y="81"/>
                  </a:lnTo>
                  <a:lnTo>
                    <a:pt x="67" y="81"/>
                  </a:lnTo>
                  <a:lnTo>
                    <a:pt x="67" y="78"/>
                  </a:lnTo>
                  <a:lnTo>
                    <a:pt x="65" y="78"/>
                  </a:lnTo>
                  <a:lnTo>
                    <a:pt x="64" y="75"/>
                  </a:lnTo>
                  <a:lnTo>
                    <a:pt x="65" y="75"/>
                  </a:lnTo>
                  <a:lnTo>
                    <a:pt x="65" y="78"/>
                  </a:lnTo>
                  <a:lnTo>
                    <a:pt x="68" y="78"/>
                  </a:lnTo>
                  <a:lnTo>
                    <a:pt x="70" y="78"/>
                  </a:lnTo>
                  <a:lnTo>
                    <a:pt x="71" y="78"/>
                  </a:lnTo>
                  <a:lnTo>
                    <a:pt x="71" y="75"/>
                  </a:lnTo>
                  <a:lnTo>
                    <a:pt x="70" y="75"/>
                  </a:lnTo>
                  <a:lnTo>
                    <a:pt x="73" y="75"/>
                  </a:lnTo>
                  <a:lnTo>
                    <a:pt x="78" y="72"/>
                  </a:lnTo>
                  <a:lnTo>
                    <a:pt x="81" y="68"/>
                  </a:lnTo>
                  <a:lnTo>
                    <a:pt x="81" y="68"/>
                  </a:lnTo>
                  <a:lnTo>
                    <a:pt x="84" y="68"/>
                  </a:lnTo>
                  <a:lnTo>
                    <a:pt x="84" y="68"/>
                  </a:lnTo>
                  <a:lnTo>
                    <a:pt x="87" y="68"/>
                  </a:lnTo>
                  <a:lnTo>
                    <a:pt x="89" y="65"/>
                  </a:lnTo>
                  <a:lnTo>
                    <a:pt x="89" y="67"/>
                  </a:lnTo>
                  <a:lnTo>
                    <a:pt x="90" y="65"/>
                  </a:lnTo>
                  <a:lnTo>
                    <a:pt x="94" y="62"/>
                  </a:lnTo>
                  <a:lnTo>
                    <a:pt x="97" y="59"/>
                  </a:lnTo>
                  <a:lnTo>
                    <a:pt x="100" y="57"/>
                  </a:lnTo>
                  <a:lnTo>
                    <a:pt x="97" y="54"/>
                  </a:lnTo>
                  <a:lnTo>
                    <a:pt x="97" y="54"/>
                  </a:lnTo>
                  <a:lnTo>
                    <a:pt x="95" y="51"/>
                  </a:lnTo>
                  <a:lnTo>
                    <a:pt x="97" y="51"/>
                  </a:lnTo>
                  <a:lnTo>
                    <a:pt x="100" y="51"/>
                  </a:lnTo>
                  <a:lnTo>
                    <a:pt x="100" y="48"/>
                  </a:lnTo>
                  <a:lnTo>
                    <a:pt x="100" y="48"/>
                  </a:lnTo>
                  <a:lnTo>
                    <a:pt x="98" y="46"/>
                  </a:lnTo>
                  <a:lnTo>
                    <a:pt x="102" y="46"/>
                  </a:lnTo>
                  <a:lnTo>
                    <a:pt x="103" y="45"/>
                  </a:lnTo>
                  <a:lnTo>
                    <a:pt x="102" y="45"/>
                  </a:lnTo>
                  <a:lnTo>
                    <a:pt x="103" y="43"/>
                  </a:lnTo>
                  <a:lnTo>
                    <a:pt x="108" y="45"/>
                  </a:lnTo>
                  <a:lnTo>
                    <a:pt x="106" y="43"/>
                  </a:lnTo>
                  <a:lnTo>
                    <a:pt x="106" y="41"/>
                  </a:lnTo>
                  <a:lnTo>
                    <a:pt x="106" y="40"/>
                  </a:lnTo>
                  <a:lnTo>
                    <a:pt x="108" y="40"/>
                  </a:lnTo>
                  <a:lnTo>
                    <a:pt x="108" y="41"/>
                  </a:lnTo>
                  <a:lnTo>
                    <a:pt x="111" y="40"/>
                  </a:lnTo>
                  <a:lnTo>
                    <a:pt x="114" y="41"/>
                  </a:lnTo>
                  <a:lnTo>
                    <a:pt x="113" y="40"/>
                  </a:lnTo>
                  <a:lnTo>
                    <a:pt x="116" y="41"/>
                  </a:lnTo>
                  <a:lnTo>
                    <a:pt x="117" y="41"/>
                  </a:lnTo>
                  <a:lnTo>
                    <a:pt x="122" y="40"/>
                  </a:lnTo>
                  <a:lnTo>
                    <a:pt x="122" y="40"/>
                  </a:lnTo>
                  <a:lnTo>
                    <a:pt x="122" y="40"/>
                  </a:lnTo>
                  <a:lnTo>
                    <a:pt x="122" y="40"/>
                  </a:lnTo>
                  <a:lnTo>
                    <a:pt x="122" y="40"/>
                  </a:lnTo>
                  <a:lnTo>
                    <a:pt x="122" y="40"/>
                  </a:lnTo>
                  <a:lnTo>
                    <a:pt x="122" y="40"/>
                  </a:lnTo>
                  <a:lnTo>
                    <a:pt x="122" y="40"/>
                  </a:lnTo>
                  <a:lnTo>
                    <a:pt x="122" y="40"/>
                  </a:lnTo>
                  <a:lnTo>
                    <a:pt x="122" y="40"/>
                  </a:lnTo>
                  <a:close/>
                  <a:moveTo>
                    <a:pt x="87" y="103"/>
                  </a:moveTo>
                  <a:lnTo>
                    <a:pt x="87" y="103"/>
                  </a:lnTo>
                  <a:lnTo>
                    <a:pt x="86" y="103"/>
                  </a:lnTo>
                  <a:lnTo>
                    <a:pt x="87" y="103"/>
                  </a:lnTo>
                  <a:lnTo>
                    <a:pt x="87" y="105"/>
                  </a:lnTo>
                  <a:lnTo>
                    <a:pt x="86" y="103"/>
                  </a:lnTo>
                  <a:lnTo>
                    <a:pt x="86" y="107"/>
                  </a:lnTo>
                  <a:lnTo>
                    <a:pt x="87" y="107"/>
                  </a:lnTo>
                  <a:lnTo>
                    <a:pt x="87" y="107"/>
                  </a:lnTo>
                  <a:lnTo>
                    <a:pt x="89" y="107"/>
                  </a:lnTo>
                  <a:lnTo>
                    <a:pt x="87" y="107"/>
                  </a:lnTo>
                  <a:lnTo>
                    <a:pt x="87" y="105"/>
                  </a:lnTo>
                  <a:lnTo>
                    <a:pt x="87" y="105"/>
                  </a:lnTo>
                  <a:lnTo>
                    <a:pt x="89" y="105"/>
                  </a:lnTo>
                  <a:lnTo>
                    <a:pt x="89" y="103"/>
                  </a:lnTo>
                  <a:lnTo>
                    <a:pt x="87" y="103"/>
                  </a:lnTo>
                  <a:lnTo>
                    <a:pt x="87" y="103"/>
                  </a:lnTo>
                  <a:lnTo>
                    <a:pt x="87" y="103"/>
                  </a:lnTo>
                  <a:lnTo>
                    <a:pt x="87" y="103"/>
                  </a:lnTo>
                  <a:lnTo>
                    <a:pt x="87" y="103"/>
                  </a:lnTo>
                  <a:lnTo>
                    <a:pt x="87" y="103"/>
                  </a:lnTo>
                  <a:lnTo>
                    <a:pt x="87" y="103"/>
                  </a:lnTo>
                  <a:lnTo>
                    <a:pt x="87" y="103"/>
                  </a:lnTo>
                  <a:lnTo>
                    <a:pt x="87" y="103"/>
                  </a:lnTo>
                  <a:lnTo>
                    <a:pt x="87" y="103"/>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2" name="Freeform 351">
              <a:extLst>
                <a:ext uri="{FF2B5EF4-FFF2-40B4-BE49-F238E27FC236}">
                  <a16:creationId xmlns:a16="http://schemas.microsoft.com/office/drawing/2014/main" id="{E17FDE8C-EE03-E926-8B60-23562A8B5D9F}"/>
                </a:ext>
              </a:extLst>
            </p:cNvPr>
            <p:cNvSpPr>
              <a:spLocks noEditPoints="1"/>
            </p:cNvSpPr>
            <p:nvPr/>
          </p:nvSpPr>
          <p:spPr bwMode="auto">
            <a:xfrm>
              <a:off x="5683936" y="2385424"/>
              <a:ext cx="361135" cy="309544"/>
            </a:xfrm>
            <a:custGeom>
              <a:avLst/>
              <a:gdLst>
                <a:gd name="T0" fmla="*/ 149 w 161"/>
                <a:gd name="T1" fmla="*/ 122 h 138"/>
                <a:gd name="T2" fmla="*/ 151 w 161"/>
                <a:gd name="T3" fmla="*/ 129 h 138"/>
                <a:gd name="T4" fmla="*/ 154 w 161"/>
                <a:gd name="T5" fmla="*/ 138 h 138"/>
                <a:gd name="T6" fmla="*/ 157 w 161"/>
                <a:gd name="T7" fmla="*/ 113 h 138"/>
                <a:gd name="T8" fmla="*/ 157 w 161"/>
                <a:gd name="T9" fmla="*/ 113 h 138"/>
                <a:gd name="T10" fmla="*/ 137 w 161"/>
                <a:gd name="T11" fmla="*/ 29 h 138"/>
                <a:gd name="T12" fmla="*/ 130 w 161"/>
                <a:gd name="T13" fmla="*/ 29 h 138"/>
                <a:gd name="T14" fmla="*/ 113 w 161"/>
                <a:gd name="T15" fmla="*/ 21 h 138"/>
                <a:gd name="T16" fmla="*/ 105 w 161"/>
                <a:gd name="T17" fmla="*/ 16 h 138"/>
                <a:gd name="T18" fmla="*/ 100 w 161"/>
                <a:gd name="T19" fmla="*/ 11 h 138"/>
                <a:gd name="T20" fmla="*/ 92 w 161"/>
                <a:gd name="T21" fmla="*/ 8 h 138"/>
                <a:gd name="T22" fmla="*/ 84 w 161"/>
                <a:gd name="T23" fmla="*/ 0 h 138"/>
                <a:gd name="T24" fmla="*/ 73 w 161"/>
                <a:gd name="T25" fmla="*/ 8 h 138"/>
                <a:gd name="T26" fmla="*/ 68 w 161"/>
                <a:gd name="T27" fmla="*/ 16 h 138"/>
                <a:gd name="T28" fmla="*/ 61 w 161"/>
                <a:gd name="T29" fmla="*/ 24 h 138"/>
                <a:gd name="T30" fmla="*/ 46 w 161"/>
                <a:gd name="T31" fmla="*/ 26 h 138"/>
                <a:gd name="T32" fmla="*/ 38 w 161"/>
                <a:gd name="T33" fmla="*/ 21 h 138"/>
                <a:gd name="T34" fmla="*/ 37 w 161"/>
                <a:gd name="T35" fmla="*/ 26 h 138"/>
                <a:gd name="T36" fmla="*/ 35 w 161"/>
                <a:gd name="T37" fmla="*/ 35 h 138"/>
                <a:gd name="T38" fmla="*/ 29 w 161"/>
                <a:gd name="T39" fmla="*/ 35 h 138"/>
                <a:gd name="T40" fmla="*/ 19 w 161"/>
                <a:gd name="T41" fmla="*/ 32 h 138"/>
                <a:gd name="T42" fmla="*/ 2 w 161"/>
                <a:gd name="T43" fmla="*/ 38 h 138"/>
                <a:gd name="T44" fmla="*/ 7 w 161"/>
                <a:gd name="T45" fmla="*/ 40 h 138"/>
                <a:gd name="T46" fmla="*/ 7 w 161"/>
                <a:gd name="T47" fmla="*/ 46 h 138"/>
                <a:gd name="T48" fmla="*/ 16 w 161"/>
                <a:gd name="T49" fmla="*/ 48 h 138"/>
                <a:gd name="T50" fmla="*/ 22 w 161"/>
                <a:gd name="T51" fmla="*/ 49 h 138"/>
                <a:gd name="T52" fmla="*/ 26 w 161"/>
                <a:gd name="T53" fmla="*/ 53 h 138"/>
                <a:gd name="T54" fmla="*/ 30 w 161"/>
                <a:gd name="T55" fmla="*/ 56 h 138"/>
                <a:gd name="T56" fmla="*/ 38 w 161"/>
                <a:gd name="T57" fmla="*/ 67 h 138"/>
                <a:gd name="T58" fmla="*/ 38 w 161"/>
                <a:gd name="T59" fmla="*/ 76 h 138"/>
                <a:gd name="T60" fmla="*/ 38 w 161"/>
                <a:gd name="T61" fmla="*/ 91 h 138"/>
                <a:gd name="T62" fmla="*/ 35 w 161"/>
                <a:gd name="T63" fmla="*/ 103 h 138"/>
                <a:gd name="T64" fmla="*/ 35 w 161"/>
                <a:gd name="T65" fmla="*/ 111 h 138"/>
                <a:gd name="T66" fmla="*/ 41 w 161"/>
                <a:gd name="T67" fmla="*/ 114 h 138"/>
                <a:gd name="T68" fmla="*/ 51 w 161"/>
                <a:gd name="T69" fmla="*/ 118 h 138"/>
                <a:gd name="T70" fmla="*/ 61 w 161"/>
                <a:gd name="T71" fmla="*/ 116 h 138"/>
                <a:gd name="T72" fmla="*/ 67 w 161"/>
                <a:gd name="T73" fmla="*/ 121 h 138"/>
                <a:gd name="T74" fmla="*/ 80 w 161"/>
                <a:gd name="T75" fmla="*/ 122 h 138"/>
                <a:gd name="T76" fmla="*/ 88 w 161"/>
                <a:gd name="T77" fmla="*/ 122 h 138"/>
                <a:gd name="T78" fmla="*/ 91 w 161"/>
                <a:gd name="T79" fmla="*/ 110 h 138"/>
                <a:gd name="T80" fmla="*/ 105 w 161"/>
                <a:gd name="T81" fmla="*/ 107 h 138"/>
                <a:gd name="T82" fmla="*/ 110 w 161"/>
                <a:gd name="T83" fmla="*/ 108 h 138"/>
                <a:gd name="T84" fmla="*/ 111 w 161"/>
                <a:gd name="T85" fmla="*/ 111 h 138"/>
                <a:gd name="T86" fmla="*/ 127 w 161"/>
                <a:gd name="T87" fmla="*/ 111 h 138"/>
                <a:gd name="T88" fmla="*/ 137 w 161"/>
                <a:gd name="T89" fmla="*/ 102 h 138"/>
                <a:gd name="T90" fmla="*/ 134 w 161"/>
                <a:gd name="T91" fmla="*/ 97 h 138"/>
                <a:gd name="T92" fmla="*/ 130 w 161"/>
                <a:gd name="T93" fmla="*/ 91 h 138"/>
                <a:gd name="T94" fmla="*/ 134 w 161"/>
                <a:gd name="T95" fmla="*/ 81 h 138"/>
                <a:gd name="T96" fmla="*/ 130 w 161"/>
                <a:gd name="T97" fmla="*/ 72 h 138"/>
                <a:gd name="T98" fmla="*/ 126 w 161"/>
                <a:gd name="T99" fmla="*/ 65 h 138"/>
                <a:gd name="T100" fmla="*/ 121 w 161"/>
                <a:gd name="T101" fmla="*/ 67 h 138"/>
                <a:gd name="T102" fmla="*/ 129 w 161"/>
                <a:gd name="T103" fmla="*/ 56 h 138"/>
                <a:gd name="T104" fmla="*/ 134 w 161"/>
                <a:gd name="T105" fmla="*/ 53 h 138"/>
                <a:gd name="T106" fmla="*/ 137 w 161"/>
                <a:gd name="T107" fmla="*/ 48 h 138"/>
                <a:gd name="T108" fmla="*/ 146 w 161"/>
                <a:gd name="T109" fmla="*/ 29 h 138"/>
                <a:gd name="T110" fmla="*/ 141 w 161"/>
                <a:gd name="T111" fmla="*/ 29 h 138"/>
                <a:gd name="T112" fmla="*/ 141 w 161"/>
                <a:gd name="T113" fmla="*/ 2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 h="138">
                  <a:moveTo>
                    <a:pt x="157" y="113"/>
                  </a:moveTo>
                  <a:lnTo>
                    <a:pt x="157" y="114"/>
                  </a:lnTo>
                  <a:lnTo>
                    <a:pt x="157" y="118"/>
                  </a:lnTo>
                  <a:lnTo>
                    <a:pt x="151" y="119"/>
                  </a:lnTo>
                  <a:lnTo>
                    <a:pt x="149" y="122"/>
                  </a:lnTo>
                  <a:lnTo>
                    <a:pt x="149" y="124"/>
                  </a:lnTo>
                  <a:lnTo>
                    <a:pt x="149" y="126"/>
                  </a:lnTo>
                  <a:lnTo>
                    <a:pt x="151" y="127"/>
                  </a:lnTo>
                  <a:lnTo>
                    <a:pt x="149" y="129"/>
                  </a:lnTo>
                  <a:lnTo>
                    <a:pt x="151" y="129"/>
                  </a:lnTo>
                  <a:lnTo>
                    <a:pt x="149" y="132"/>
                  </a:lnTo>
                  <a:lnTo>
                    <a:pt x="153" y="132"/>
                  </a:lnTo>
                  <a:lnTo>
                    <a:pt x="151" y="132"/>
                  </a:lnTo>
                  <a:lnTo>
                    <a:pt x="153" y="135"/>
                  </a:lnTo>
                  <a:lnTo>
                    <a:pt x="154" y="138"/>
                  </a:lnTo>
                  <a:lnTo>
                    <a:pt x="161" y="126"/>
                  </a:lnTo>
                  <a:lnTo>
                    <a:pt x="161" y="119"/>
                  </a:lnTo>
                  <a:lnTo>
                    <a:pt x="157" y="113"/>
                  </a:lnTo>
                  <a:lnTo>
                    <a:pt x="157" y="113"/>
                  </a:lnTo>
                  <a:lnTo>
                    <a:pt x="157" y="113"/>
                  </a:lnTo>
                  <a:lnTo>
                    <a:pt x="157" y="113"/>
                  </a:lnTo>
                  <a:lnTo>
                    <a:pt x="157" y="113"/>
                  </a:lnTo>
                  <a:lnTo>
                    <a:pt x="157" y="113"/>
                  </a:lnTo>
                  <a:lnTo>
                    <a:pt x="157" y="113"/>
                  </a:lnTo>
                  <a:lnTo>
                    <a:pt x="157" y="113"/>
                  </a:lnTo>
                  <a:lnTo>
                    <a:pt x="157" y="113"/>
                  </a:lnTo>
                  <a:close/>
                  <a:moveTo>
                    <a:pt x="141" y="29"/>
                  </a:moveTo>
                  <a:lnTo>
                    <a:pt x="140" y="29"/>
                  </a:lnTo>
                  <a:lnTo>
                    <a:pt x="137" y="29"/>
                  </a:lnTo>
                  <a:lnTo>
                    <a:pt x="137" y="29"/>
                  </a:lnTo>
                  <a:lnTo>
                    <a:pt x="134" y="29"/>
                  </a:lnTo>
                  <a:lnTo>
                    <a:pt x="134" y="29"/>
                  </a:lnTo>
                  <a:lnTo>
                    <a:pt x="134" y="27"/>
                  </a:lnTo>
                  <a:lnTo>
                    <a:pt x="130" y="27"/>
                  </a:lnTo>
                  <a:lnTo>
                    <a:pt x="130" y="29"/>
                  </a:lnTo>
                  <a:lnTo>
                    <a:pt x="129" y="26"/>
                  </a:lnTo>
                  <a:lnTo>
                    <a:pt x="126" y="24"/>
                  </a:lnTo>
                  <a:lnTo>
                    <a:pt x="119" y="22"/>
                  </a:lnTo>
                  <a:lnTo>
                    <a:pt x="114" y="22"/>
                  </a:lnTo>
                  <a:lnTo>
                    <a:pt x="113" y="21"/>
                  </a:lnTo>
                  <a:lnTo>
                    <a:pt x="110" y="19"/>
                  </a:lnTo>
                  <a:lnTo>
                    <a:pt x="110" y="16"/>
                  </a:lnTo>
                  <a:lnTo>
                    <a:pt x="110" y="13"/>
                  </a:lnTo>
                  <a:lnTo>
                    <a:pt x="107" y="16"/>
                  </a:lnTo>
                  <a:lnTo>
                    <a:pt x="105" y="16"/>
                  </a:lnTo>
                  <a:lnTo>
                    <a:pt x="103" y="16"/>
                  </a:lnTo>
                  <a:lnTo>
                    <a:pt x="102" y="16"/>
                  </a:lnTo>
                  <a:lnTo>
                    <a:pt x="102" y="13"/>
                  </a:lnTo>
                  <a:lnTo>
                    <a:pt x="102" y="11"/>
                  </a:lnTo>
                  <a:lnTo>
                    <a:pt x="100" y="11"/>
                  </a:lnTo>
                  <a:lnTo>
                    <a:pt x="99" y="11"/>
                  </a:lnTo>
                  <a:lnTo>
                    <a:pt x="97" y="11"/>
                  </a:lnTo>
                  <a:lnTo>
                    <a:pt x="95" y="10"/>
                  </a:lnTo>
                  <a:lnTo>
                    <a:pt x="94" y="8"/>
                  </a:lnTo>
                  <a:lnTo>
                    <a:pt x="92" y="8"/>
                  </a:lnTo>
                  <a:lnTo>
                    <a:pt x="91" y="6"/>
                  </a:lnTo>
                  <a:lnTo>
                    <a:pt x="86" y="5"/>
                  </a:lnTo>
                  <a:lnTo>
                    <a:pt x="84" y="3"/>
                  </a:lnTo>
                  <a:lnTo>
                    <a:pt x="84" y="3"/>
                  </a:lnTo>
                  <a:lnTo>
                    <a:pt x="84" y="0"/>
                  </a:lnTo>
                  <a:lnTo>
                    <a:pt x="84" y="0"/>
                  </a:lnTo>
                  <a:lnTo>
                    <a:pt x="83" y="0"/>
                  </a:lnTo>
                  <a:lnTo>
                    <a:pt x="80" y="0"/>
                  </a:lnTo>
                  <a:lnTo>
                    <a:pt x="75" y="3"/>
                  </a:lnTo>
                  <a:lnTo>
                    <a:pt x="73" y="8"/>
                  </a:lnTo>
                  <a:lnTo>
                    <a:pt x="73" y="11"/>
                  </a:lnTo>
                  <a:lnTo>
                    <a:pt x="75" y="13"/>
                  </a:lnTo>
                  <a:lnTo>
                    <a:pt x="73" y="13"/>
                  </a:lnTo>
                  <a:lnTo>
                    <a:pt x="72" y="14"/>
                  </a:lnTo>
                  <a:lnTo>
                    <a:pt x="68" y="16"/>
                  </a:lnTo>
                  <a:lnTo>
                    <a:pt x="61" y="19"/>
                  </a:lnTo>
                  <a:lnTo>
                    <a:pt x="57" y="21"/>
                  </a:lnTo>
                  <a:lnTo>
                    <a:pt x="57" y="22"/>
                  </a:lnTo>
                  <a:lnTo>
                    <a:pt x="57" y="24"/>
                  </a:lnTo>
                  <a:lnTo>
                    <a:pt x="61" y="24"/>
                  </a:lnTo>
                  <a:lnTo>
                    <a:pt x="61" y="24"/>
                  </a:lnTo>
                  <a:lnTo>
                    <a:pt x="57" y="26"/>
                  </a:lnTo>
                  <a:lnTo>
                    <a:pt x="54" y="26"/>
                  </a:lnTo>
                  <a:lnTo>
                    <a:pt x="51" y="26"/>
                  </a:lnTo>
                  <a:lnTo>
                    <a:pt x="46" y="26"/>
                  </a:lnTo>
                  <a:lnTo>
                    <a:pt x="43" y="26"/>
                  </a:lnTo>
                  <a:lnTo>
                    <a:pt x="41" y="24"/>
                  </a:lnTo>
                  <a:lnTo>
                    <a:pt x="41" y="22"/>
                  </a:lnTo>
                  <a:lnTo>
                    <a:pt x="41" y="21"/>
                  </a:lnTo>
                  <a:lnTo>
                    <a:pt x="38" y="21"/>
                  </a:lnTo>
                  <a:lnTo>
                    <a:pt x="37" y="21"/>
                  </a:lnTo>
                  <a:lnTo>
                    <a:pt x="34" y="19"/>
                  </a:lnTo>
                  <a:lnTo>
                    <a:pt x="35" y="22"/>
                  </a:lnTo>
                  <a:lnTo>
                    <a:pt x="35" y="24"/>
                  </a:lnTo>
                  <a:lnTo>
                    <a:pt x="37" y="26"/>
                  </a:lnTo>
                  <a:lnTo>
                    <a:pt x="38" y="27"/>
                  </a:lnTo>
                  <a:lnTo>
                    <a:pt x="37" y="32"/>
                  </a:lnTo>
                  <a:lnTo>
                    <a:pt x="38" y="35"/>
                  </a:lnTo>
                  <a:lnTo>
                    <a:pt x="40" y="35"/>
                  </a:lnTo>
                  <a:lnTo>
                    <a:pt x="35" y="35"/>
                  </a:lnTo>
                  <a:lnTo>
                    <a:pt x="34" y="35"/>
                  </a:lnTo>
                  <a:lnTo>
                    <a:pt x="32" y="35"/>
                  </a:lnTo>
                  <a:lnTo>
                    <a:pt x="32" y="35"/>
                  </a:lnTo>
                  <a:lnTo>
                    <a:pt x="30" y="35"/>
                  </a:lnTo>
                  <a:lnTo>
                    <a:pt x="29" y="35"/>
                  </a:lnTo>
                  <a:lnTo>
                    <a:pt x="29" y="35"/>
                  </a:lnTo>
                  <a:lnTo>
                    <a:pt x="26" y="35"/>
                  </a:lnTo>
                  <a:lnTo>
                    <a:pt x="22" y="35"/>
                  </a:lnTo>
                  <a:lnTo>
                    <a:pt x="19" y="32"/>
                  </a:lnTo>
                  <a:lnTo>
                    <a:pt x="19" y="32"/>
                  </a:lnTo>
                  <a:lnTo>
                    <a:pt x="16" y="32"/>
                  </a:lnTo>
                  <a:lnTo>
                    <a:pt x="13" y="35"/>
                  </a:lnTo>
                  <a:lnTo>
                    <a:pt x="5" y="35"/>
                  </a:lnTo>
                  <a:lnTo>
                    <a:pt x="2" y="35"/>
                  </a:lnTo>
                  <a:lnTo>
                    <a:pt x="2" y="38"/>
                  </a:lnTo>
                  <a:lnTo>
                    <a:pt x="0" y="38"/>
                  </a:lnTo>
                  <a:lnTo>
                    <a:pt x="2" y="38"/>
                  </a:lnTo>
                  <a:lnTo>
                    <a:pt x="3" y="38"/>
                  </a:lnTo>
                  <a:lnTo>
                    <a:pt x="5" y="38"/>
                  </a:lnTo>
                  <a:lnTo>
                    <a:pt x="7" y="40"/>
                  </a:lnTo>
                  <a:lnTo>
                    <a:pt x="5" y="40"/>
                  </a:lnTo>
                  <a:lnTo>
                    <a:pt x="7" y="41"/>
                  </a:lnTo>
                  <a:lnTo>
                    <a:pt x="2" y="43"/>
                  </a:lnTo>
                  <a:lnTo>
                    <a:pt x="3" y="45"/>
                  </a:lnTo>
                  <a:lnTo>
                    <a:pt x="7" y="46"/>
                  </a:lnTo>
                  <a:lnTo>
                    <a:pt x="10" y="46"/>
                  </a:lnTo>
                  <a:lnTo>
                    <a:pt x="11" y="46"/>
                  </a:lnTo>
                  <a:lnTo>
                    <a:pt x="14" y="48"/>
                  </a:lnTo>
                  <a:lnTo>
                    <a:pt x="16" y="46"/>
                  </a:lnTo>
                  <a:lnTo>
                    <a:pt x="16" y="48"/>
                  </a:lnTo>
                  <a:lnTo>
                    <a:pt x="19" y="48"/>
                  </a:lnTo>
                  <a:lnTo>
                    <a:pt x="19" y="49"/>
                  </a:lnTo>
                  <a:lnTo>
                    <a:pt x="19" y="51"/>
                  </a:lnTo>
                  <a:lnTo>
                    <a:pt x="22" y="49"/>
                  </a:lnTo>
                  <a:lnTo>
                    <a:pt x="22" y="49"/>
                  </a:lnTo>
                  <a:lnTo>
                    <a:pt x="22" y="51"/>
                  </a:lnTo>
                  <a:lnTo>
                    <a:pt x="22" y="51"/>
                  </a:lnTo>
                  <a:lnTo>
                    <a:pt x="26" y="51"/>
                  </a:lnTo>
                  <a:lnTo>
                    <a:pt x="26" y="51"/>
                  </a:lnTo>
                  <a:lnTo>
                    <a:pt x="26" y="53"/>
                  </a:lnTo>
                  <a:lnTo>
                    <a:pt x="26" y="54"/>
                  </a:lnTo>
                  <a:lnTo>
                    <a:pt x="29" y="54"/>
                  </a:lnTo>
                  <a:lnTo>
                    <a:pt x="29" y="54"/>
                  </a:lnTo>
                  <a:lnTo>
                    <a:pt x="29" y="56"/>
                  </a:lnTo>
                  <a:lnTo>
                    <a:pt x="30" y="56"/>
                  </a:lnTo>
                  <a:lnTo>
                    <a:pt x="29" y="59"/>
                  </a:lnTo>
                  <a:lnTo>
                    <a:pt x="30" y="62"/>
                  </a:lnTo>
                  <a:lnTo>
                    <a:pt x="32" y="64"/>
                  </a:lnTo>
                  <a:lnTo>
                    <a:pt x="37" y="67"/>
                  </a:lnTo>
                  <a:lnTo>
                    <a:pt x="38" y="67"/>
                  </a:lnTo>
                  <a:lnTo>
                    <a:pt x="40" y="67"/>
                  </a:lnTo>
                  <a:lnTo>
                    <a:pt x="40" y="72"/>
                  </a:lnTo>
                  <a:lnTo>
                    <a:pt x="40" y="75"/>
                  </a:lnTo>
                  <a:lnTo>
                    <a:pt x="38" y="75"/>
                  </a:lnTo>
                  <a:lnTo>
                    <a:pt x="38" y="76"/>
                  </a:lnTo>
                  <a:lnTo>
                    <a:pt x="41" y="78"/>
                  </a:lnTo>
                  <a:lnTo>
                    <a:pt x="43" y="80"/>
                  </a:lnTo>
                  <a:lnTo>
                    <a:pt x="40" y="78"/>
                  </a:lnTo>
                  <a:lnTo>
                    <a:pt x="38" y="84"/>
                  </a:lnTo>
                  <a:lnTo>
                    <a:pt x="38" y="91"/>
                  </a:lnTo>
                  <a:lnTo>
                    <a:pt x="40" y="91"/>
                  </a:lnTo>
                  <a:lnTo>
                    <a:pt x="38" y="91"/>
                  </a:lnTo>
                  <a:lnTo>
                    <a:pt x="37" y="94"/>
                  </a:lnTo>
                  <a:lnTo>
                    <a:pt x="37" y="95"/>
                  </a:lnTo>
                  <a:lnTo>
                    <a:pt x="35" y="103"/>
                  </a:lnTo>
                  <a:lnTo>
                    <a:pt x="34" y="107"/>
                  </a:lnTo>
                  <a:lnTo>
                    <a:pt x="32" y="108"/>
                  </a:lnTo>
                  <a:lnTo>
                    <a:pt x="30" y="110"/>
                  </a:lnTo>
                  <a:lnTo>
                    <a:pt x="32" y="110"/>
                  </a:lnTo>
                  <a:lnTo>
                    <a:pt x="35" y="111"/>
                  </a:lnTo>
                  <a:lnTo>
                    <a:pt x="34" y="113"/>
                  </a:lnTo>
                  <a:lnTo>
                    <a:pt x="35" y="113"/>
                  </a:lnTo>
                  <a:lnTo>
                    <a:pt x="37" y="113"/>
                  </a:lnTo>
                  <a:lnTo>
                    <a:pt x="38" y="113"/>
                  </a:lnTo>
                  <a:lnTo>
                    <a:pt x="41" y="114"/>
                  </a:lnTo>
                  <a:lnTo>
                    <a:pt x="46" y="116"/>
                  </a:lnTo>
                  <a:lnTo>
                    <a:pt x="48" y="116"/>
                  </a:lnTo>
                  <a:lnTo>
                    <a:pt x="49" y="118"/>
                  </a:lnTo>
                  <a:lnTo>
                    <a:pt x="51" y="118"/>
                  </a:lnTo>
                  <a:lnTo>
                    <a:pt x="51" y="118"/>
                  </a:lnTo>
                  <a:lnTo>
                    <a:pt x="54" y="118"/>
                  </a:lnTo>
                  <a:lnTo>
                    <a:pt x="57" y="118"/>
                  </a:lnTo>
                  <a:lnTo>
                    <a:pt x="57" y="116"/>
                  </a:lnTo>
                  <a:lnTo>
                    <a:pt x="61" y="116"/>
                  </a:lnTo>
                  <a:lnTo>
                    <a:pt x="61" y="116"/>
                  </a:lnTo>
                  <a:lnTo>
                    <a:pt x="64" y="118"/>
                  </a:lnTo>
                  <a:lnTo>
                    <a:pt x="65" y="118"/>
                  </a:lnTo>
                  <a:lnTo>
                    <a:pt x="67" y="118"/>
                  </a:lnTo>
                  <a:lnTo>
                    <a:pt x="67" y="119"/>
                  </a:lnTo>
                  <a:lnTo>
                    <a:pt x="67" y="121"/>
                  </a:lnTo>
                  <a:lnTo>
                    <a:pt x="70" y="121"/>
                  </a:lnTo>
                  <a:lnTo>
                    <a:pt x="75" y="122"/>
                  </a:lnTo>
                  <a:lnTo>
                    <a:pt x="76" y="122"/>
                  </a:lnTo>
                  <a:lnTo>
                    <a:pt x="78" y="122"/>
                  </a:lnTo>
                  <a:lnTo>
                    <a:pt x="80" y="122"/>
                  </a:lnTo>
                  <a:lnTo>
                    <a:pt x="81" y="122"/>
                  </a:lnTo>
                  <a:lnTo>
                    <a:pt x="83" y="122"/>
                  </a:lnTo>
                  <a:lnTo>
                    <a:pt x="84" y="121"/>
                  </a:lnTo>
                  <a:lnTo>
                    <a:pt x="86" y="121"/>
                  </a:lnTo>
                  <a:lnTo>
                    <a:pt x="88" y="122"/>
                  </a:lnTo>
                  <a:lnTo>
                    <a:pt x="84" y="114"/>
                  </a:lnTo>
                  <a:lnTo>
                    <a:pt x="86" y="113"/>
                  </a:lnTo>
                  <a:lnTo>
                    <a:pt x="86" y="113"/>
                  </a:lnTo>
                  <a:lnTo>
                    <a:pt x="88" y="111"/>
                  </a:lnTo>
                  <a:lnTo>
                    <a:pt x="91" y="110"/>
                  </a:lnTo>
                  <a:lnTo>
                    <a:pt x="94" y="108"/>
                  </a:lnTo>
                  <a:lnTo>
                    <a:pt x="97" y="107"/>
                  </a:lnTo>
                  <a:lnTo>
                    <a:pt x="102" y="108"/>
                  </a:lnTo>
                  <a:lnTo>
                    <a:pt x="105" y="108"/>
                  </a:lnTo>
                  <a:lnTo>
                    <a:pt x="105" y="107"/>
                  </a:lnTo>
                  <a:lnTo>
                    <a:pt x="107" y="108"/>
                  </a:lnTo>
                  <a:lnTo>
                    <a:pt x="108" y="108"/>
                  </a:lnTo>
                  <a:lnTo>
                    <a:pt x="110" y="108"/>
                  </a:lnTo>
                  <a:lnTo>
                    <a:pt x="110" y="107"/>
                  </a:lnTo>
                  <a:lnTo>
                    <a:pt x="110" y="108"/>
                  </a:lnTo>
                  <a:lnTo>
                    <a:pt x="110" y="108"/>
                  </a:lnTo>
                  <a:lnTo>
                    <a:pt x="110" y="110"/>
                  </a:lnTo>
                  <a:lnTo>
                    <a:pt x="110" y="110"/>
                  </a:lnTo>
                  <a:lnTo>
                    <a:pt x="111" y="110"/>
                  </a:lnTo>
                  <a:lnTo>
                    <a:pt x="111" y="111"/>
                  </a:lnTo>
                  <a:lnTo>
                    <a:pt x="114" y="113"/>
                  </a:lnTo>
                  <a:lnTo>
                    <a:pt x="119" y="113"/>
                  </a:lnTo>
                  <a:lnTo>
                    <a:pt x="121" y="113"/>
                  </a:lnTo>
                  <a:lnTo>
                    <a:pt x="122" y="113"/>
                  </a:lnTo>
                  <a:lnTo>
                    <a:pt x="127" y="111"/>
                  </a:lnTo>
                  <a:lnTo>
                    <a:pt x="127" y="110"/>
                  </a:lnTo>
                  <a:lnTo>
                    <a:pt x="134" y="107"/>
                  </a:lnTo>
                  <a:lnTo>
                    <a:pt x="137" y="103"/>
                  </a:lnTo>
                  <a:lnTo>
                    <a:pt x="137" y="103"/>
                  </a:lnTo>
                  <a:lnTo>
                    <a:pt x="137" y="102"/>
                  </a:lnTo>
                  <a:lnTo>
                    <a:pt x="137" y="100"/>
                  </a:lnTo>
                  <a:lnTo>
                    <a:pt x="140" y="99"/>
                  </a:lnTo>
                  <a:lnTo>
                    <a:pt x="140" y="97"/>
                  </a:lnTo>
                  <a:lnTo>
                    <a:pt x="137" y="97"/>
                  </a:lnTo>
                  <a:lnTo>
                    <a:pt x="134" y="97"/>
                  </a:lnTo>
                  <a:lnTo>
                    <a:pt x="134" y="97"/>
                  </a:lnTo>
                  <a:lnTo>
                    <a:pt x="130" y="95"/>
                  </a:lnTo>
                  <a:lnTo>
                    <a:pt x="130" y="94"/>
                  </a:lnTo>
                  <a:lnTo>
                    <a:pt x="130" y="91"/>
                  </a:lnTo>
                  <a:lnTo>
                    <a:pt x="130" y="91"/>
                  </a:lnTo>
                  <a:lnTo>
                    <a:pt x="130" y="87"/>
                  </a:lnTo>
                  <a:lnTo>
                    <a:pt x="129" y="87"/>
                  </a:lnTo>
                  <a:lnTo>
                    <a:pt x="127" y="84"/>
                  </a:lnTo>
                  <a:lnTo>
                    <a:pt x="130" y="84"/>
                  </a:lnTo>
                  <a:lnTo>
                    <a:pt x="134" y="81"/>
                  </a:lnTo>
                  <a:lnTo>
                    <a:pt x="134" y="80"/>
                  </a:lnTo>
                  <a:lnTo>
                    <a:pt x="130" y="78"/>
                  </a:lnTo>
                  <a:lnTo>
                    <a:pt x="130" y="75"/>
                  </a:lnTo>
                  <a:lnTo>
                    <a:pt x="130" y="73"/>
                  </a:lnTo>
                  <a:lnTo>
                    <a:pt x="130" y="72"/>
                  </a:lnTo>
                  <a:lnTo>
                    <a:pt x="130" y="70"/>
                  </a:lnTo>
                  <a:lnTo>
                    <a:pt x="130" y="67"/>
                  </a:lnTo>
                  <a:lnTo>
                    <a:pt x="129" y="65"/>
                  </a:lnTo>
                  <a:lnTo>
                    <a:pt x="127" y="65"/>
                  </a:lnTo>
                  <a:lnTo>
                    <a:pt x="126" y="65"/>
                  </a:lnTo>
                  <a:lnTo>
                    <a:pt x="124" y="65"/>
                  </a:lnTo>
                  <a:lnTo>
                    <a:pt x="124" y="67"/>
                  </a:lnTo>
                  <a:lnTo>
                    <a:pt x="122" y="68"/>
                  </a:lnTo>
                  <a:lnTo>
                    <a:pt x="119" y="70"/>
                  </a:lnTo>
                  <a:lnTo>
                    <a:pt x="121" y="67"/>
                  </a:lnTo>
                  <a:lnTo>
                    <a:pt x="121" y="64"/>
                  </a:lnTo>
                  <a:lnTo>
                    <a:pt x="122" y="62"/>
                  </a:lnTo>
                  <a:lnTo>
                    <a:pt x="124" y="60"/>
                  </a:lnTo>
                  <a:lnTo>
                    <a:pt x="126" y="59"/>
                  </a:lnTo>
                  <a:lnTo>
                    <a:pt x="129" y="56"/>
                  </a:lnTo>
                  <a:lnTo>
                    <a:pt x="134" y="53"/>
                  </a:lnTo>
                  <a:lnTo>
                    <a:pt x="130" y="53"/>
                  </a:lnTo>
                  <a:lnTo>
                    <a:pt x="130" y="51"/>
                  </a:lnTo>
                  <a:lnTo>
                    <a:pt x="134" y="51"/>
                  </a:lnTo>
                  <a:lnTo>
                    <a:pt x="134" y="53"/>
                  </a:lnTo>
                  <a:lnTo>
                    <a:pt x="137" y="51"/>
                  </a:lnTo>
                  <a:lnTo>
                    <a:pt x="137" y="51"/>
                  </a:lnTo>
                  <a:lnTo>
                    <a:pt x="140" y="49"/>
                  </a:lnTo>
                  <a:lnTo>
                    <a:pt x="137" y="49"/>
                  </a:lnTo>
                  <a:lnTo>
                    <a:pt x="137" y="48"/>
                  </a:lnTo>
                  <a:lnTo>
                    <a:pt x="137" y="46"/>
                  </a:lnTo>
                  <a:lnTo>
                    <a:pt x="140" y="43"/>
                  </a:lnTo>
                  <a:lnTo>
                    <a:pt x="140" y="38"/>
                  </a:lnTo>
                  <a:lnTo>
                    <a:pt x="141" y="35"/>
                  </a:lnTo>
                  <a:lnTo>
                    <a:pt x="146" y="29"/>
                  </a:lnTo>
                  <a:lnTo>
                    <a:pt x="145" y="29"/>
                  </a:lnTo>
                  <a:lnTo>
                    <a:pt x="141" y="29"/>
                  </a:lnTo>
                  <a:lnTo>
                    <a:pt x="141" y="29"/>
                  </a:lnTo>
                  <a:lnTo>
                    <a:pt x="141" y="29"/>
                  </a:lnTo>
                  <a:lnTo>
                    <a:pt x="141" y="29"/>
                  </a:lnTo>
                  <a:lnTo>
                    <a:pt x="141" y="29"/>
                  </a:lnTo>
                  <a:lnTo>
                    <a:pt x="141" y="29"/>
                  </a:lnTo>
                  <a:lnTo>
                    <a:pt x="141" y="29"/>
                  </a:lnTo>
                  <a:lnTo>
                    <a:pt x="141" y="29"/>
                  </a:lnTo>
                  <a:lnTo>
                    <a:pt x="141" y="2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3" name="Freeform 353">
              <a:extLst>
                <a:ext uri="{FF2B5EF4-FFF2-40B4-BE49-F238E27FC236}">
                  <a16:creationId xmlns:a16="http://schemas.microsoft.com/office/drawing/2014/main" id="{97C4AF3C-90EE-36A2-2666-4CB2B6236BE2}"/>
                </a:ext>
              </a:extLst>
            </p:cNvPr>
            <p:cNvSpPr>
              <a:spLocks noEditPoints="1"/>
            </p:cNvSpPr>
            <p:nvPr/>
          </p:nvSpPr>
          <p:spPr bwMode="auto">
            <a:xfrm>
              <a:off x="5955346" y="2268784"/>
              <a:ext cx="224307" cy="237766"/>
            </a:xfrm>
            <a:custGeom>
              <a:avLst/>
              <a:gdLst>
                <a:gd name="T0" fmla="*/ 98 w 100"/>
                <a:gd name="T1" fmla="*/ 46 h 106"/>
                <a:gd name="T2" fmla="*/ 95 w 100"/>
                <a:gd name="T3" fmla="*/ 43 h 106"/>
                <a:gd name="T4" fmla="*/ 95 w 100"/>
                <a:gd name="T5" fmla="*/ 35 h 106"/>
                <a:gd name="T6" fmla="*/ 90 w 100"/>
                <a:gd name="T7" fmla="*/ 28 h 106"/>
                <a:gd name="T8" fmla="*/ 92 w 100"/>
                <a:gd name="T9" fmla="*/ 20 h 106"/>
                <a:gd name="T10" fmla="*/ 86 w 100"/>
                <a:gd name="T11" fmla="*/ 14 h 106"/>
                <a:gd name="T12" fmla="*/ 81 w 100"/>
                <a:gd name="T13" fmla="*/ 11 h 106"/>
                <a:gd name="T14" fmla="*/ 73 w 100"/>
                <a:gd name="T15" fmla="*/ 6 h 106"/>
                <a:gd name="T16" fmla="*/ 67 w 100"/>
                <a:gd name="T17" fmla="*/ 11 h 106"/>
                <a:gd name="T18" fmla="*/ 60 w 100"/>
                <a:gd name="T19" fmla="*/ 14 h 106"/>
                <a:gd name="T20" fmla="*/ 54 w 100"/>
                <a:gd name="T21" fmla="*/ 11 h 106"/>
                <a:gd name="T22" fmla="*/ 51 w 100"/>
                <a:gd name="T23" fmla="*/ 8 h 106"/>
                <a:gd name="T24" fmla="*/ 44 w 100"/>
                <a:gd name="T25" fmla="*/ 6 h 106"/>
                <a:gd name="T26" fmla="*/ 36 w 100"/>
                <a:gd name="T27" fmla="*/ 1 h 106"/>
                <a:gd name="T28" fmla="*/ 33 w 100"/>
                <a:gd name="T29" fmla="*/ 5 h 106"/>
                <a:gd name="T30" fmla="*/ 32 w 100"/>
                <a:gd name="T31" fmla="*/ 9 h 106"/>
                <a:gd name="T32" fmla="*/ 33 w 100"/>
                <a:gd name="T33" fmla="*/ 14 h 106"/>
                <a:gd name="T34" fmla="*/ 32 w 100"/>
                <a:gd name="T35" fmla="*/ 14 h 106"/>
                <a:gd name="T36" fmla="*/ 28 w 100"/>
                <a:gd name="T37" fmla="*/ 20 h 106"/>
                <a:gd name="T38" fmla="*/ 24 w 100"/>
                <a:gd name="T39" fmla="*/ 20 h 106"/>
                <a:gd name="T40" fmla="*/ 14 w 100"/>
                <a:gd name="T41" fmla="*/ 17 h 106"/>
                <a:gd name="T42" fmla="*/ 14 w 100"/>
                <a:gd name="T43" fmla="*/ 25 h 106"/>
                <a:gd name="T44" fmla="*/ 13 w 100"/>
                <a:gd name="T45" fmla="*/ 31 h 106"/>
                <a:gd name="T46" fmla="*/ 13 w 100"/>
                <a:gd name="T47" fmla="*/ 35 h 106"/>
                <a:gd name="T48" fmla="*/ 9 w 100"/>
                <a:gd name="T49" fmla="*/ 41 h 106"/>
                <a:gd name="T50" fmla="*/ 0 w 100"/>
                <a:gd name="T51" fmla="*/ 43 h 106"/>
                <a:gd name="T52" fmla="*/ 3 w 100"/>
                <a:gd name="T53" fmla="*/ 49 h 106"/>
                <a:gd name="T54" fmla="*/ 1 w 100"/>
                <a:gd name="T55" fmla="*/ 55 h 106"/>
                <a:gd name="T56" fmla="*/ 5 w 100"/>
                <a:gd name="T57" fmla="*/ 62 h 106"/>
                <a:gd name="T58" fmla="*/ 1 w 100"/>
                <a:gd name="T59" fmla="*/ 66 h 106"/>
                <a:gd name="T60" fmla="*/ 6 w 100"/>
                <a:gd name="T61" fmla="*/ 73 h 106"/>
                <a:gd name="T62" fmla="*/ 11 w 100"/>
                <a:gd name="T63" fmla="*/ 79 h 106"/>
                <a:gd name="T64" fmla="*/ 16 w 100"/>
                <a:gd name="T65" fmla="*/ 81 h 106"/>
                <a:gd name="T66" fmla="*/ 24 w 100"/>
                <a:gd name="T67" fmla="*/ 81 h 106"/>
                <a:gd name="T68" fmla="*/ 19 w 100"/>
                <a:gd name="T69" fmla="*/ 95 h 106"/>
                <a:gd name="T70" fmla="*/ 19 w 100"/>
                <a:gd name="T71" fmla="*/ 101 h 106"/>
                <a:gd name="T72" fmla="*/ 28 w 100"/>
                <a:gd name="T73" fmla="*/ 100 h 106"/>
                <a:gd name="T74" fmla="*/ 35 w 100"/>
                <a:gd name="T75" fmla="*/ 100 h 106"/>
                <a:gd name="T76" fmla="*/ 44 w 100"/>
                <a:gd name="T77" fmla="*/ 103 h 106"/>
                <a:gd name="T78" fmla="*/ 47 w 100"/>
                <a:gd name="T79" fmla="*/ 105 h 106"/>
                <a:gd name="T80" fmla="*/ 55 w 100"/>
                <a:gd name="T81" fmla="*/ 103 h 106"/>
                <a:gd name="T82" fmla="*/ 62 w 100"/>
                <a:gd name="T83" fmla="*/ 103 h 106"/>
                <a:gd name="T84" fmla="*/ 73 w 100"/>
                <a:gd name="T85" fmla="*/ 101 h 106"/>
                <a:gd name="T86" fmla="*/ 74 w 100"/>
                <a:gd name="T87" fmla="*/ 101 h 106"/>
                <a:gd name="T88" fmla="*/ 78 w 100"/>
                <a:gd name="T89" fmla="*/ 100 h 106"/>
                <a:gd name="T90" fmla="*/ 76 w 100"/>
                <a:gd name="T91" fmla="*/ 95 h 106"/>
                <a:gd name="T92" fmla="*/ 82 w 100"/>
                <a:gd name="T93" fmla="*/ 90 h 106"/>
                <a:gd name="T94" fmla="*/ 87 w 100"/>
                <a:gd name="T95" fmla="*/ 87 h 106"/>
                <a:gd name="T96" fmla="*/ 74 w 100"/>
                <a:gd name="T97" fmla="*/ 74 h 106"/>
                <a:gd name="T98" fmla="*/ 70 w 100"/>
                <a:gd name="T99" fmla="*/ 65 h 106"/>
                <a:gd name="T100" fmla="*/ 74 w 100"/>
                <a:gd name="T101" fmla="*/ 62 h 106"/>
                <a:gd name="T102" fmla="*/ 90 w 100"/>
                <a:gd name="T103" fmla="*/ 55 h 106"/>
                <a:gd name="T104" fmla="*/ 95 w 100"/>
                <a:gd name="T105" fmla="*/ 55 h 106"/>
                <a:gd name="T106" fmla="*/ 100 w 100"/>
                <a:gd name="T107" fmla="*/ 55 h 106"/>
                <a:gd name="T108" fmla="*/ 71 w 100"/>
                <a:gd name="T109" fmla="*/ 8 h 106"/>
                <a:gd name="T110" fmla="*/ 82 w 100"/>
                <a:gd name="T111" fmla="*/ 8 h 106"/>
                <a:gd name="T112" fmla="*/ 84 w 100"/>
                <a:gd name="T113" fmla="*/ 3 h 106"/>
                <a:gd name="T114" fmla="*/ 81 w 100"/>
                <a:gd name="T115" fmla="*/ 1 h 106"/>
                <a:gd name="T116" fmla="*/ 81 w 100"/>
                <a:gd name="T117" fmla="*/ 5 h 106"/>
                <a:gd name="T118" fmla="*/ 78 w 100"/>
                <a:gd name="T119"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106">
                  <a:moveTo>
                    <a:pt x="100" y="54"/>
                  </a:moveTo>
                  <a:lnTo>
                    <a:pt x="100" y="54"/>
                  </a:lnTo>
                  <a:lnTo>
                    <a:pt x="100" y="52"/>
                  </a:lnTo>
                  <a:lnTo>
                    <a:pt x="100" y="52"/>
                  </a:lnTo>
                  <a:lnTo>
                    <a:pt x="100" y="49"/>
                  </a:lnTo>
                  <a:lnTo>
                    <a:pt x="100" y="49"/>
                  </a:lnTo>
                  <a:lnTo>
                    <a:pt x="98" y="46"/>
                  </a:lnTo>
                  <a:lnTo>
                    <a:pt x="98" y="46"/>
                  </a:lnTo>
                  <a:lnTo>
                    <a:pt x="97" y="46"/>
                  </a:lnTo>
                  <a:lnTo>
                    <a:pt x="97" y="46"/>
                  </a:lnTo>
                  <a:lnTo>
                    <a:pt x="97" y="44"/>
                  </a:lnTo>
                  <a:lnTo>
                    <a:pt x="97" y="44"/>
                  </a:lnTo>
                  <a:lnTo>
                    <a:pt x="95" y="44"/>
                  </a:lnTo>
                  <a:lnTo>
                    <a:pt x="95" y="44"/>
                  </a:lnTo>
                  <a:lnTo>
                    <a:pt x="95" y="43"/>
                  </a:lnTo>
                  <a:lnTo>
                    <a:pt x="95" y="43"/>
                  </a:lnTo>
                  <a:lnTo>
                    <a:pt x="97" y="41"/>
                  </a:lnTo>
                  <a:lnTo>
                    <a:pt x="97" y="41"/>
                  </a:lnTo>
                  <a:lnTo>
                    <a:pt x="97" y="38"/>
                  </a:lnTo>
                  <a:lnTo>
                    <a:pt x="97" y="38"/>
                  </a:lnTo>
                  <a:lnTo>
                    <a:pt x="95" y="36"/>
                  </a:lnTo>
                  <a:lnTo>
                    <a:pt x="95" y="36"/>
                  </a:lnTo>
                  <a:lnTo>
                    <a:pt x="95" y="35"/>
                  </a:lnTo>
                  <a:lnTo>
                    <a:pt x="95" y="35"/>
                  </a:lnTo>
                  <a:lnTo>
                    <a:pt x="95" y="33"/>
                  </a:lnTo>
                  <a:lnTo>
                    <a:pt x="95" y="33"/>
                  </a:lnTo>
                  <a:lnTo>
                    <a:pt x="95" y="31"/>
                  </a:lnTo>
                  <a:lnTo>
                    <a:pt x="95" y="31"/>
                  </a:lnTo>
                  <a:lnTo>
                    <a:pt x="94" y="30"/>
                  </a:lnTo>
                  <a:lnTo>
                    <a:pt x="94" y="30"/>
                  </a:lnTo>
                  <a:lnTo>
                    <a:pt x="90" y="28"/>
                  </a:lnTo>
                  <a:lnTo>
                    <a:pt x="90" y="28"/>
                  </a:lnTo>
                  <a:lnTo>
                    <a:pt x="89" y="27"/>
                  </a:lnTo>
                  <a:lnTo>
                    <a:pt x="89" y="27"/>
                  </a:lnTo>
                  <a:lnTo>
                    <a:pt x="92" y="24"/>
                  </a:lnTo>
                  <a:lnTo>
                    <a:pt x="92" y="24"/>
                  </a:lnTo>
                  <a:lnTo>
                    <a:pt x="92" y="22"/>
                  </a:lnTo>
                  <a:lnTo>
                    <a:pt x="92" y="22"/>
                  </a:lnTo>
                  <a:lnTo>
                    <a:pt x="92" y="20"/>
                  </a:lnTo>
                  <a:lnTo>
                    <a:pt x="92" y="20"/>
                  </a:lnTo>
                  <a:lnTo>
                    <a:pt x="90" y="17"/>
                  </a:lnTo>
                  <a:lnTo>
                    <a:pt x="90" y="17"/>
                  </a:lnTo>
                  <a:lnTo>
                    <a:pt x="89" y="17"/>
                  </a:lnTo>
                  <a:lnTo>
                    <a:pt x="89" y="17"/>
                  </a:lnTo>
                  <a:lnTo>
                    <a:pt x="87" y="14"/>
                  </a:lnTo>
                  <a:lnTo>
                    <a:pt x="87" y="14"/>
                  </a:lnTo>
                  <a:lnTo>
                    <a:pt x="86" y="14"/>
                  </a:lnTo>
                  <a:lnTo>
                    <a:pt x="86" y="14"/>
                  </a:lnTo>
                  <a:lnTo>
                    <a:pt x="84" y="11"/>
                  </a:lnTo>
                  <a:lnTo>
                    <a:pt x="84" y="11"/>
                  </a:lnTo>
                  <a:lnTo>
                    <a:pt x="84" y="11"/>
                  </a:lnTo>
                  <a:lnTo>
                    <a:pt x="84" y="11"/>
                  </a:lnTo>
                  <a:lnTo>
                    <a:pt x="82" y="11"/>
                  </a:lnTo>
                  <a:lnTo>
                    <a:pt x="82" y="11"/>
                  </a:lnTo>
                  <a:lnTo>
                    <a:pt x="81" y="11"/>
                  </a:lnTo>
                  <a:lnTo>
                    <a:pt x="81" y="11"/>
                  </a:lnTo>
                  <a:lnTo>
                    <a:pt x="79" y="9"/>
                  </a:lnTo>
                  <a:lnTo>
                    <a:pt x="79" y="9"/>
                  </a:lnTo>
                  <a:lnTo>
                    <a:pt x="78" y="8"/>
                  </a:lnTo>
                  <a:lnTo>
                    <a:pt x="78" y="8"/>
                  </a:lnTo>
                  <a:lnTo>
                    <a:pt x="74" y="8"/>
                  </a:lnTo>
                  <a:lnTo>
                    <a:pt x="74" y="8"/>
                  </a:lnTo>
                  <a:lnTo>
                    <a:pt x="73" y="6"/>
                  </a:lnTo>
                  <a:lnTo>
                    <a:pt x="73" y="6"/>
                  </a:lnTo>
                  <a:lnTo>
                    <a:pt x="70" y="8"/>
                  </a:lnTo>
                  <a:lnTo>
                    <a:pt x="70" y="8"/>
                  </a:lnTo>
                  <a:lnTo>
                    <a:pt x="68" y="9"/>
                  </a:lnTo>
                  <a:lnTo>
                    <a:pt x="68" y="9"/>
                  </a:lnTo>
                  <a:lnTo>
                    <a:pt x="67" y="11"/>
                  </a:lnTo>
                  <a:lnTo>
                    <a:pt x="67" y="11"/>
                  </a:lnTo>
                  <a:lnTo>
                    <a:pt x="67" y="11"/>
                  </a:lnTo>
                  <a:lnTo>
                    <a:pt x="67" y="11"/>
                  </a:lnTo>
                  <a:lnTo>
                    <a:pt x="65" y="11"/>
                  </a:lnTo>
                  <a:lnTo>
                    <a:pt x="65" y="11"/>
                  </a:lnTo>
                  <a:lnTo>
                    <a:pt x="60" y="11"/>
                  </a:lnTo>
                  <a:lnTo>
                    <a:pt x="60" y="11"/>
                  </a:lnTo>
                  <a:lnTo>
                    <a:pt x="62" y="11"/>
                  </a:lnTo>
                  <a:lnTo>
                    <a:pt x="62" y="11"/>
                  </a:lnTo>
                  <a:lnTo>
                    <a:pt x="60" y="14"/>
                  </a:lnTo>
                  <a:lnTo>
                    <a:pt x="60" y="14"/>
                  </a:lnTo>
                  <a:lnTo>
                    <a:pt x="55" y="11"/>
                  </a:lnTo>
                  <a:lnTo>
                    <a:pt x="55" y="11"/>
                  </a:lnTo>
                  <a:lnTo>
                    <a:pt x="54" y="11"/>
                  </a:lnTo>
                  <a:lnTo>
                    <a:pt x="54" y="11"/>
                  </a:lnTo>
                  <a:lnTo>
                    <a:pt x="54" y="14"/>
                  </a:lnTo>
                  <a:lnTo>
                    <a:pt x="54" y="14"/>
                  </a:lnTo>
                  <a:lnTo>
                    <a:pt x="54" y="11"/>
                  </a:lnTo>
                  <a:lnTo>
                    <a:pt x="54" y="11"/>
                  </a:lnTo>
                  <a:lnTo>
                    <a:pt x="55" y="11"/>
                  </a:lnTo>
                  <a:lnTo>
                    <a:pt x="55" y="11"/>
                  </a:lnTo>
                  <a:lnTo>
                    <a:pt x="55" y="8"/>
                  </a:lnTo>
                  <a:lnTo>
                    <a:pt x="55" y="8"/>
                  </a:lnTo>
                  <a:lnTo>
                    <a:pt x="54" y="8"/>
                  </a:lnTo>
                  <a:lnTo>
                    <a:pt x="54" y="8"/>
                  </a:lnTo>
                  <a:lnTo>
                    <a:pt x="51" y="8"/>
                  </a:lnTo>
                  <a:lnTo>
                    <a:pt x="51" y="8"/>
                  </a:lnTo>
                  <a:lnTo>
                    <a:pt x="47" y="8"/>
                  </a:lnTo>
                  <a:lnTo>
                    <a:pt x="47" y="8"/>
                  </a:lnTo>
                  <a:lnTo>
                    <a:pt x="47" y="8"/>
                  </a:lnTo>
                  <a:lnTo>
                    <a:pt x="47" y="8"/>
                  </a:lnTo>
                  <a:lnTo>
                    <a:pt x="47" y="6"/>
                  </a:lnTo>
                  <a:lnTo>
                    <a:pt x="47" y="6"/>
                  </a:lnTo>
                  <a:lnTo>
                    <a:pt x="44" y="6"/>
                  </a:lnTo>
                  <a:lnTo>
                    <a:pt x="44" y="6"/>
                  </a:lnTo>
                  <a:lnTo>
                    <a:pt x="44" y="5"/>
                  </a:lnTo>
                  <a:lnTo>
                    <a:pt x="44" y="5"/>
                  </a:lnTo>
                  <a:lnTo>
                    <a:pt x="44" y="3"/>
                  </a:lnTo>
                  <a:lnTo>
                    <a:pt x="44" y="3"/>
                  </a:lnTo>
                  <a:lnTo>
                    <a:pt x="41" y="1"/>
                  </a:lnTo>
                  <a:lnTo>
                    <a:pt x="41" y="1"/>
                  </a:lnTo>
                  <a:lnTo>
                    <a:pt x="36" y="1"/>
                  </a:lnTo>
                  <a:lnTo>
                    <a:pt x="36" y="1"/>
                  </a:lnTo>
                  <a:lnTo>
                    <a:pt x="32" y="0"/>
                  </a:lnTo>
                  <a:lnTo>
                    <a:pt x="32" y="0"/>
                  </a:lnTo>
                  <a:lnTo>
                    <a:pt x="30" y="0"/>
                  </a:lnTo>
                  <a:lnTo>
                    <a:pt x="30" y="0"/>
                  </a:lnTo>
                  <a:lnTo>
                    <a:pt x="32" y="3"/>
                  </a:lnTo>
                  <a:lnTo>
                    <a:pt x="32" y="3"/>
                  </a:lnTo>
                  <a:lnTo>
                    <a:pt x="33" y="5"/>
                  </a:lnTo>
                  <a:lnTo>
                    <a:pt x="33" y="5"/>
                  </a:lnTo>
                  <a:lnTo>
                    <a:pt x="33" y="6"/>
                  </a:lnTo>
                  <a:lnTo>
                    <a:pt x="33" y="6"/>
                  </a:lnTo>
                  <a:lnTo>
                    <a:pt x="32" y="8"/>
                  </a:lnTo>
                  <a:lnTo>
                    <a:pt x="32" y="8"/>
                  </a:lnTo>
                  <a:lnTo>
                    <a:pt x="30" y="9"/>
                  </a:lnTo>
                  <a:lnTo>
                    <a:pt x="30" y="9"/>
                  </a:lnTo>
                  <a:lnTo>
                    <a:pt x="32" y="9"/>
                  </a:lnTo>
                  <a:lnTo>
                    <a:pt x="32" y="9"/>
                  </a:lnTo>
                  <a:lnTo>
                    <a:pt x="33" y="11"/>
                  </a:lnTo>
                  <a:lnTo>
                    <a:pt x="33" y="11"/>
                  </a:lnTo>
                  <a:lnTo>
                    <a:pt x="35" y="11"/>
                  </a:lnTo>
                  <a:lnTo>
                    <a:pt x="35" y="11"/>
                  </a:lnTo>
                  <a:lnTo>
                    <a:pt x="33" y="11"/>
                  </a:lnTo>
                  <a:lnTo>
                    <a:pt x="33" y="11"/>
                  </a:lnTo>
                  <a:lnTo>
                    <a:pt x="33" y="14"/>
                  </a:lnTo>
                  <a:lnTo>
                    <a:pt x="33" y="14"/>
                  </a:lnTo>
                  <a:lnTo>
                    <a:pt x="35" y="14"/>
                  </a:lnTo>
                  <a:lnTo>
                    <a:pt x="35" y="14"/>
                  </a:lnTo>
                  <a:lnTo>
                    <a:pt x="36" y="14"/>
                  </a:lnTo>
                  <a:lnTo>
                    <a:pt x="36" y="14"/>
                  </a:lnTo>
                  <a:lnTo>
                    <a:pt x="35" y="14"/>
                  </a:lnTo>
                  <a:lnTo>
                    <a:pt x="35" y="14"/>
                  </a:lnTo>
                  <a:lnTo>
                    <a:pt x="32" y="14"/>
                  </a:lnTo>
                  <a:lnTo>
                    <a:pt x="32" y="14"/>
                  </a:lnTo>
                  <a:lnTo>
                    <a:pt x="30" y="14"/>
                  </a:lnTo>
                  <a:lnTo>
                    <a:pt x="30" y="14"/>
                  </a:lnTo>
                  <a:lnTo>
                    <a:pt x="28" y="14"/>
                  </a:lnTo>
                  <a:lnTo>
                    <a:pt x="28" y="14"/>
                  </a:lnTo>
                  <a:lnTo>
                    <a:pt x="28" y="17"/>
                  </a:lnTo>
                  <a:lnTo>
                    <a:pt x="28" y="17"/>
                  </a:lnTo>
                  <a:lnTo>
                    <a:pt x="28" y="20"/>
                  </a:lnTo>
                  <a:lnTo>
                    <a:pt x="28" y="20"/>
                  </a:lnTo>
                  <a:lnTo>
                    <a:pt x="27" y="17"/>
                  </a:lnTo>
                  <a:lnTo>
                    <a:pt x="27" y="17"/>
                  </a:lnTo>
                  <a:lnTo>
                    <a:pt x="25" y="17"/>
                  </a:lnTo>
                  <a:lnTo>
                    <a:pt x="25" y="17"/>
                  </a:lnTo>
                  <a:lnTo>
                    <a:pt x="25" y="20"/>
                  </a:lnTo>
                  <a:lnTo>
                    <a:pt x="25" y="20"/>
                  </a:lnTo>
                  <a:lnTo>
                    <a:pt x="24" y="20"/>
                  </a:lnTo>
                  <a:lnTo>
                    <a:pt x="24" y="20"/>
                  </a:lnTo>
                  <a:lnTo>
                    <a:pt x="24" y="17"/>
                  </a:lnTo>
                  <a:lnTo>
                    <a:pt x="24" y="17"/>
                  </a:lnTo>
                  <a:lnTo>
                    <a:pt x="22" y="17"/>
                  </a:lnTo>
                  <a:lnTo>
                    <a:pt x="22" y="17"/>
                  </a:lnTo>
                  <a:lnTo>
                    <a:pt x="17" y="17"/>
                  </a:lnTo>
                  <a:lnTo>
                    <a:pt x="17" y="17"/>
                  </a:lnTo>
                  <a:lnTo>
                    <a:pt x="14" y="17"/>
                  </a:lnTo>
                  <a:lnTo>
                    <a:pt x="14" y="17"/>
                  </a:lnTo>
                  <a:lnTo>
                    <a:pt x="13" y="20"/>
                  </a:lnTo>
                  <a:lnTo>
                    <a:pt x="13" y="20"/>
                  </a:lnTo>
                  <a:lnTo>
                    <a:pt x="16" y="22"/>
                  </a:lnTo>
                  <a:lnTo>
                    <a:pt x="16" y="22"/>
                  </a:lnTo>
                  <a:lnTo>
                    <a:pt x="14" y="24"/>
                  </a:lnTo>
                  <a:lnTo>
                    <a:pt x="14" y="24"/>
                  </a:lnTo>
                  <a:lnTo>
                    <a:pt x="14" y="25"/>
                  </a:lnTo>
                  <a:lnTo>
                    <a:pt x="14" y="25"/>
                  </a:lnTo>
                  <a:lnTo>
                    <a:pt x="14" y="27"/>
                  </a:lnTo>
                  <a:lnTo>
                    <a:pt x="14" y="27"/>
                  </a:lnTo>
                  <a:lnTo>
                    <a:pt x="14" y="30"/>
                  </a:lnTo>
                  <a:lnTo>
                    <a:pt x="14" y="30"/>
                  </a:lnTo>
                  <a:lnTo>
                    <a:pt x="13" y="30"/>
                  </a:lnTo>
                  <a:lnTo>
                    <a:pt x="13" y="30"/>
                  </a:lnTo>
                  <a:lnTo>
                    <a:pt x="13" y="31"/>
                  </a:lnTo>
                  <a:lnTo>
                    <a:pt x="13" y="31"/>
                  </a:lnTo>
                  <a:lnTo>
                    <a:pt x="11" y="31"/>
                  </a:lnTo>
                  <a:lnTo>
                    <a:pt x="11" y="31"/>
                  </a:lnTo>
                  <a:lnTo>
                    <a:pt x="9" y="31"/>
                  </a:lnTo>
                  <a:lnTo>
                    <a:pt x="9" y="31"/>
                  </a:lnTo>
                  <a:lnTo>
                    <a:pt x="9" y="33"/>
                  </a:lnTo>
                  <a:lnTo>
                    <a:pt x="9" y="33"/>
                  </a:lnTo>
                  <a:lnTo>
                    <a:pt x="13" y="35"/>
                  </a:lnTo>
                  <a:lnTo>
                    <a:pt x="13" y="35"/>
                  </a:lnTo>
                  <a:lnTo>
                    <a:pt x="13" y="36"/>
                  </a:lnTo>
                  <a:lnTo>
                    <a:pt x="13" y="36"/>
                  </a:lnTo>
                  <a:lnTo>
                    <a:pt x="11" y="38"/>
                  </a:lnTo>
                  <a:lnTo>
                    <a:pt x="11" y="38"/>
                  </a:lnTo>
                  <a:lnTo>
                    <a:pt x="9" y="39"/>
                  </a:lnTo>
                  <a:lnTo>
                    <a:pt x="9" y="39"/>
                  </a:lnTo>
                  <a:lnTo>
                    <a:pt x="9" y="41"/>
                  </a:lnTo>
                  <a:lnTo>
                    <a:pt x="9" y="41"/>
                  </a:lnTo>
                  <a:lnTo>
                    <a:pt x="8" y="43"/>
                  </a:lnTo>
                  <a:lnTo>
                    <a:pt x="8" y="43"/>
                  </a:lnTo>
                  <a:lnTo>
                    <a:pt x="3" y="41"/>
                  </a:lnTo>
                  <a:lnTo>
                    <a:pt x="3" y="41"/>
                  </a:lnTo>
                  <a:lnTo>
                    <a:pt x="1" y="43"/>
                  </a:lnTo>
                  <a:lnTo>
                    <a:pt x="1" y="43"/>
                  </a:lnTo>
                  <a:lnTo>
                    <a:pt x="0" y="43"/>
                  </a:lnTo>
                  <a:lnTo>
                    <a:pt x="0" y="43"/>
                  </a:lnTo>
                  <a:lnTo>
                    <a:pt x="0" y="44"/>
                  </a:lnTo>
                  <a:lnTo>
                    <a:pt x="0" y="44"/>
                  </a:lnTo>
                  <a:lnTo>
                    <a:pt x="3" y="46"/>
                  </a:lnTo>
                  <a:lnTo>
                    <a:pt x="3" y="46"/>
                  </a:lnTo>
                  <a:lnTo>
                    <a:pt x="3" y="46"/>
                  </a:lnTo>
                  <a:lnTo>
                    <a:pt x="3" y="46"/>
                  </a:lnTo>
                  <a:lnTo>
                    <a:pt x="3" y="49"/>
                  </a:lnTo>
                  <a:lnTo>
                    <a:pt x="3" y="49"/>
                  </a:lnTo>
                  <a:lnTo>
                    <a:pt x="1" y="52"/>
                  </a:lnTo>
                  <a:lnTo>
                    <a:pt x="1" y="52"/>
                  </a:lnTo>
                  <a:lnTo>
                    <a:pt x="0" y="52"/>
                  </a:lnTo>
                  <a:lnTo>
                    <a:pt x="0" y="52"/>
                  </a:lnTo>
                  <a:lnTo>
                    <a:pt x="1" y="55"/>
                  </a:lnTo>
                  <a:lnTo>
                    <a:pt x="1" y="55"/>
                  </a:lnTo>
                  <a:lnTo>
                    <a:pt x="1" y="55"/>
                  </a:lnTo>
                  <a:lnTo>
                    <a:pt x="1" y="55"/>
                  </a:lnTo>
                  <a:lnTo>
                    <a:pt x="1" y="57"/>
                  </a:lnTo>
                  <a:lnTo>
                    <a:pt x="1" y="57"/>
                  </a:lnTo>
                  <a:lnTo>
                    <a:pt x="3" y="58"/>
                  </a:lnTo>
                  <a:lnTo>
                    <a:pt x="3" y="58"/>
                  </a:lnTo>
                  <a:lnTo>
                    <a:pt x="3" y="60"/>
                  </a:lnTo>
                  <a:lnTo>
                    <a:pt x="3" y="60"/>
                  </a:lnTo>
                  <a:lnTo>
                    <a:pt x="5" y="62"/>
                  </a:lnTo>
                  <a:lnTo>
                    <a:pt x="5" y="62"/>
                  </a:lnTo>
                  <a:lnTo>
                    <a:pt x="5" y="63"/>
                  </a:lnTo>
                  <a:lnTo>
                    <a:pt x="5" y="63"/>
                  </a:lnTo>
                  <a:lnTo>
                    <a:pt x="3" y="65"/>
                  </a:lnTo>
                  <a:lnTo>
                    <a:pt x="3" y="65"/>
                  </a:lnTo>
                  <a:lnTo>
                    <a:pt x="1" y="65"/>
                  </a:lnTo>
                  <a:lnTo>
                    <a:pt x="1" y="65"/>
                  </a:lnTo>
                  <a:lnTo>
                    <a:pt x="1" y="66"/>
                  </a:lnTo>
                  <a:lnTo>
                    <a:pt x="1" y="66"/>
                  </a:lnTo>
                  <a:lnTo>
                    <a:pt x="1" y="68"/>
                  </a:lnTo>
                  <a:lnTo>
                    <a:pt x="1" y="68"/>
                  </a:lnTo>
                  <a:lnTo>
                    <a:pt x="5" y="70"/>
                  </a:lnTo>
                  <a:lnTo>
                    <a:pt x="5" y="70"/>
                  </a:lnTo>
                  <a:lnTo>
                    <a:pt x="6" y="71"/>
                  </a:lnTo>
                  <a:lnTo>
                    <a:pt x="6" y="71"/>
                  </a:lnTo>
                  <a:lnTo>
                    <a:pt x="6" y="73"/>
                  </a:lnTo>
                  <a:lnTo>
                    <a:pt x="6" y="73"/>
                  </a:lnTo>
                  <a:lnTo>
                    <a:pt x="5" y="76"/>
                  </a:lnTo>
                  <a:lnTo>
                    <a:pt x="5" y="76"/>
                  </a:lnTo>
                  <a:lnTo>
                    <a:pt x="8" y="78"/>
                  </a:lnTo>
                  <a:lnTo>
                    <a:pt x="8" y="78"/>
                  </a:lnTo>
                  <a:lnTo>
                    <a:pt x="9" y="81"/>
                  </a:lnTo>
                  <a:lnTo>
                    <a:pt x="9" y="81"/>
                  </a:lnTo>
                  <a:lnTo>
                    <a:pt x="11" y="79"/>
                  </a:lnTo>
                  <a:lnTo>
                    <a:pt x="11" y="79"/>
                  </a:lnTo>
                  <a:lnTo>
                    <a:pt x="13" y="79"/>
                  </a:lnTo>
                  <a:lnTo>
                    <a:pt x="13" y="79"/>
                  </a:lnTo>
                  <a:lnTo>
                    <a:pt x="13" y="81"/>
                  </a:lnTo>
                  <a:lnTo>
                    <a:pt x="13" y="81"/>
                  </a:lnTo>
                  <a:lnTo>
                    <a:pt x="14" y="81"/>
                  </a:lnTo>
                  <a:lnTo>
                    <a:pt x="14" y="81"/>
                  </a:lnTo>
                  <a:lnTo>
                    <a:pt x="16" y="81"/>
                  </a:lnTo>
                  <a:lnTo>
                    <a:pt x="16" y="81"/>
                  </a:lnTo>
                  <a:lnTo>
                    <a:pt x="17" y="81"/>
                  </a:lnTo>
                  <a:lnTo>
                    <a:pt x="17" y="81"/>
                  </a:lnTo>
                  <a:lnTo>
                    <a:pt x="19" y="81"/>
                  </a:lnTo>
                  <a:lnTo>
                    <a:pt x="19" y="81"/>
                  </a:lnTo>
                  <a:lnTo>
                    <a:pt x="20" y="81"/>
                  </a:lnTo>
                  <a:lnTo>
                    <a:pt x="20" y="81"/>
                  </a:lnTo>
                  <a:lnTo>
                    <a:pt x="24" y="81"/>
                  </a:lnTo>
                  <a:lnTo>
                    <a:pt x="24" y="81"/>
                  </a:lnTo>
                  <a:lnTo>
                    <a:pt x="25" y="81"/>
                  </a:lnTo>
                  <a:lnTo>
                    <a:pt x="25" y="81"/>
                  </a:lnTo>
                  <a:lnTo>
                    <a:pt x="20" y="87"/>
                  </a:lnTo>
                  <a:lnTo>
                    <a:pt x="20" y="87"/>
                  </a:lnTo>
                  <a:lnTo>
                    <a:pt x="20" y="90"/>
                  </a:lnTo>
                  <a:lnTo>
                    <a:pt x="20" y="90"/>
                  </a:lnTo>
                  <a:lnTo>
                    <a:pt x="19" y="95"/>
                  </a:lnTo>
                  <a:lnTo>
                    <a:pt x="19" y="95"/>
                  </a:lnTo>
                  <a:lnTo>
                    <a:pt x="17" y="98"/>
                  </a:lnTo>
                  <a:lnTo>
                    <a:pt x="17" y="98"/>
                  </a:lnTo>
                  <a:lnTo>
                    <a:pt x="17" y="100"/>
                  </a:lnTo>
                  <a:lnTo>
                    <a:pt x="17" y="100"/>
                  </a:lnTo>
                  <a:lnTo>
                    <a:pt x="17" y="101"/>
                  </a:lnTo>
                  <a:lnTo>
                    <a:pt x="17" y="101"/>
                  </a:lnTo>
                  <a:lnTo>
                    <a:pt x="19" y="101"/>
                  </a:lnTo>
                  <a:lnTo>
                    <a:pt x="19" y="101"/>
                  </a:lnTo>
                  <a:lnTo>
                    <a:pt x="20" y="103"/>
                  </a:lnTo>
                  <a:lnTo>
                    <a:pt x="20" y="103"/>
                  </a:lnTo>
                  <a:lnTo>
                    <a:pt x="24" y="101"/>
                  </a:lnTo>
                  <a:lnTo>
                    <a:pt x="24" y="101"/>
                  </a:lnTo>
                  <a:lnTo>
                    <a:pt x="27" y="101"/>
                  </a:lnTo>
                  <a:lnTo>
                    <a:pt x="27" y="101"/>
                  </a:lnTo>
                  <a:lnTo>
                    <a:pt x="28" y="100"/>
                  </a:lnTo>
                  <a:lnTo>
                    <a:pt x="28" y="100"/>
                  </a:lnTo>
                  <a:lnTo>
                    <a:pt x="27" y="100"/>
                  </a:lnTo>
                  <a:lnTo>
                    <a:pt x="27" y="100"/>
                  </a:lnTo>
                  <a:lnTo>
                    <a:pt x="28" y="100"/>
                  </a:lnTo>
                  <a:lnTo>
                    <a:pt x="28" y="100"/>
                  </a:lnTo>
                  <a:lnTo>
                    <a:pt x="30" y="100"/>
                  </a:lnTo>
                  <a:lnTo>
                    <a:pt x="30" y="100"/>
                  </a:lnTo>
                  <a:lnTo>
                    <a:pt x="35" y="100"/>
                  </a:lnTo>
                  <a:lnTo>
                    <a:pt x="35" y="100"/>
                  </a:lnTo>
                  <a:lnTo>
                    <a:pt x="38" y="101"/>
                  </a:lnTo>
                  <a:lnTo>
                    <a:pt x="38" y="101"/>
                  </a:lnTo>
                  <a:lnTo>
                    <a:pt x="41" y="103"/>
                  </a:lnTo>
                  <a:lnTo>
                    <a:pt x="41" y="103"/>
                  </a:lnTo>
                  <a:lnTo>
                    <a:pt x="43" y="103"/>
                  </a:lnTo>
                  <a:lnTo>
                    <a:pt x="43" y="103"/>
                  </a:lnTo>
                  <a:lnTo>
                    <a:pt x="44" y="103"/>
                  </a:lnTo>
                  <a:lnTo>
                    <a:pt x="44" y="103"/>
                  </a:lnTo>
                  <a:lnTo>
                    <a:pt x="47" y="105"/>
                  </a:lnTo>
                  <a:lnTo>
                    <a:pt x="47" y="105"/>
                  </a:lnTo>
                  <a:lnTo>
                    <a:pt x="47" y="106"/>
                  </a:lnTo>
                  <a:lnTo>
                    <a:pt x="47" y="106"/>
                  </a:lnTo>
                  <a:lnTo>
                    <a:pt x="47" y="106"/>
                  </a:lnTo>
                  <a:lnTo>
                    <a:pt x="47" y="106"/>
                  </a:lnTo>
                  <a:lnTo>
                    <a:pt x="47" y="105"/>
                  </a:lnTo>
                  <a:lnTo>
                    <a:pt x="47" y="105"/>
                  </a:lnTo>
                  <a:lnTo>
                    <a:pt x="51" y="101"/>
                  </a:lnTo>
                  <a:lnTo>
                    <a:pt x="51" y="101"/>
                  </a:lnTo>
                  <a:lnTo>
                    <a:pt x="54" y="103"/>
                  </a:lnTo>
                  <a:lnTo>
                    <a:pt x="54" y="103"/>
                  </a:lnTo>
                  <a:lnTo>
                    <a:pt x="54" y="103"/>
                  </a:lnTo>
                  <a:lnTo>
                    <a:pt x="54" y="103"/>
                  </a:lnTo>
                  <a:lnTo>
                    <a:pt x="55" y="103"/>
                  </a:lnTo>
                  <a:lnTo>
                    <a:pt x="55" y="103"/>
                  </a:lnTo>
                  <a:lnTo>
                    <a:pt x="57" y="105"/>
                  </a:lnTo>
                  <a:lnTo>
                    <a:pt x="57" y="105"/>
                  </a:lnTo>
                  <a:lnTo>
                    <a:pt x="59" y="105"/>
                  </a:lnTo>
                  <a:lnTo>
                    <a:pt x="59" y="105"/>
                  </a:lnTo>
                  <a:lnTo>
                    <a:pt x="60" y="103"/>
                  </a:lnTo>
                  <a:lnTo>
                    <a:pt x="60" y="103"/>
                  </a:lnTo>
                  <a:lnTo>
                    <a:pt x="62" y="103"/>
                  </a:lnTo>
                  <a:lnTo>
                    <a:pt x="62" y="103"/>
                  </a:lnTo>
                  <a:lnTo>
                    <a:pt x="65" y="101"/>
                  </a:lnTo>
                  <a:lnTo>
                    <a:pt x="65" y="101"/>
                  </a:lnTo>
                  <a:lnTo>
                    <a:pt x="70" y="101"/>
                  </a:lnTo>
                  <a:lnTo>
                    <a:pt x="70" y="101"/>
                  </a:lnTo>
                  <a:lnTo>
                    <a:pt x="70" y="100"/>
                  </a:lnTo>
                  <a:lnTo>
                    <a:pt x="70" y="100"/>
                  </a:lnTo>
                  <a:lnTo>
                    <a:pt x="73" y="101"/>
                  </a:lnTo>
                  <a:lnTo>
                    <a:pt x="73" y="101"/>
                  </a:lnTo>
                  <a:lnTo>
                    <a:pt x="73" y="101"/>
                  </a:lnTo>
                  <a:lnTo>
                    <a:pt x="73" y="101"/>
                  </a:lnTo>
                  <a:lnTo>
                    <a:pt x="74" y="101"/>
                  </a:lnTo>
                  <a:lnTo>
                    <a:pt x="74" y="101"/>
                  </a:lnTo>
                  <a:lnTo>
                    <a:pt x="74" y="100"/>
                  </a:lnTo>
                  <a:lnTo>
                    <a:pt x="74" y="100"/>
                  </a:lnTo>
                  <a:lnTo>
                    <a:pt x="74" y="101"/>
                  </a:lnTo>
                  <a:lnTo>
                    <a:pt x="74" y="101"/>
                  </a:lnTo>
                  <a:lnTo>
                    <a:pt x="78" y="103"/>
                  </a:lnTo>
                  <a:lnTo>
                    <a:pt x="78" y="103"/>
                  </a:lnTo>
                  <a:lnTo>
                    <a:pt x="78" y="103"/>
                  </a:lnTo>
                  <a:lnTo>
                    <a:pt x="78" y="103"/>
                  </a:lnTo>
                  <a:lnTo>
                    <a:pt x="78" y="101"/>
                  </a:lnTo>
                  <a:lnTo>
                    <a:pt x="78" y="101"/>
                  </a:lnTo>
                  <a:lnTo>
                    <a:pt x="78" y="100"/>
                  </a:lnTo>
                  <a:lnTo>
                    <a:pt x="78" y="100"/>
                  </a:lnTo>
                  <a:lnTo>
                    <a:pt x="78" y="98"/>
                  </a:lnTo>
                  <a:lnTo>
                    <a:pt x="78" y="98"/>
                  </a:lnTo>
                  <a:lnTo>
                    <a:pt x="78" y="97"/>
                  </a:lnTo>
                  <a:lnTo>
                    <a:pt x="78" y="97"/>
                  </a:lnTo>
                  <a:lnTo>
                    <a:pt x="78" y="95"/>
                  </a:lnTo>
                  <a:lnTo>
                    <a:pt x="78" y="95"/>
                  </a:lnTo>
                  <a:lnTo>
                    <a:pt x="76" y="95"/>
                  </a:lnTo>
                  <a:lnTo>
                    <a:pt x="76" y="95"/>
                  </a:lnTo>
                  <a:lnTo>
                    <a:pt x="78" y="93"/>
                  </a:lnTo>
                  <a:lnTo>
                    <a:pt x="78" y="93"/>
                  </a:lnTo>
                  <a:lnTo>
                    <a:pt x="79" y="92"/>
                  </a:lnTo>
                  <a:lnTo>
                    <a:pt x="79" y="92"/>
                  </a:lnTo>
                  <a:lnTo>
                    <a:pt x="81" y="90"/>
                  </a:lnTo>
                  <a:lnTo>
                    <a:pt x="81" y="90"/>
                  </a:lnTo>
                  <a:lnTo>
                    <a:pt x="82" y="90"/>
                  </a:lnTo>
                  <a:lnTo>
                    <a:pt x="82" y="90"/>
                  </a:lnTo>
                  <a:lnTo>
                    <a:pt x="82" y="87"/>
                  </a:lnTo>
                  <a:lnTo>
                    <a:pt x="82" y="87"/>
                  </a:lnTo>
                  <a:lnTo>
                    <a:pt x="84" y="87"/>
                  </a:lnTo>
                  <a:lnTo>
                    <a:pt x="84" y="87"/>
                  </a:lnTo>
                  <a:lnTo>
                    <a:pt x="84" y="87"/>
                  </a:lnTo>
                  <a:lnTo>
                    <a:pt x="86" y="87"/>
                  </a:lnTo>
                  <a:lnTo>
                    <a:pt x="86" y="87"/>
                  </a:lnTo>
                  <a:lnTo>
                    <a:pt x="87" y="87"/>
                  </a:lnTo>
                  <a:lnTo>
                    <a:pt x="87" y="87"/>
                  </a:lnTo>
                  <a:lnTo>
                    <a:pt x="86" y="84"/>
                  </a:lnTo>
                  <a:lnTo>
                    <a:pt x="86" y="84"/>
                  </a:lnTo>
                  <a:lnTo>
                    <a:pt x="82" y="81"/>
                  </a:lnTo>
                  <a:lnTo>
                    <a:pt x="82" y="81"/>
                  </a:lnTo>
                  <a:lnTo>
                    <a:pt x="78" y="78"/>
                  </a:lnTo>
                  <a:lnTo>
                    <a:pt x="78" y="78"/>
                  </a:lnTo>
                  <a:lnTo>
                    <a:pt x="74" y="74"/>
                  </a:lnTo>
                  <a:lnTo>
                    <a:pt x="74" y="74"/>
                  </a:lnTo>
                  <a:lnTo>
                    <a:pt x="71" y="71"/>
                  </a:lnTo>
                  <a:lnTo>
                    <a:pt x="71" y="71"/>
                  </a:lnTo>
                  <a:lnTo>
                    <a:pt x="73" y="70"/>
                  </a:lnTo>
                  <a:lnTo>
                    <a:pt x="73" y="70"/>
                  </a:lnTo>
                  <a:lnTo>
                    <a:pt x="71" y="66"/>
                  </a:lnTo>
                  <a:lnTo>
                    <a:pt x="71" y="66"/>
                  </a:lnTo>
                  <a:lnTo>
                    <a:pt x="70" y="65"/>
                  </a:lnTo>
                  <a:lnTo>
                    <a:pt x="70" y="65"/>
                  </a:lnTo>
                  <a:lnTo>
                    <a:pt x="70" y="65"/>
                  </a:lnTo>
                  <a:lnTo>
                    <a:pt x="70" y="65"/>
                  </a:lnTo>
                  <a:lnTo>
                    <a:pt x="70" y="65"/>
                  </a:lnTo>
                  <a:lnTo>
                    <a:pt x="70" y="65"/>
                  </a:lnTo>
                  <a:lnTo>
                    <a:pt x="71" y="63"/>
                  </a:lnTo>
                  <a:lnTo>
                    <a:pt x="71" y="63"/>
                  </a:lnTo>
                  <a:lnTo>
                    <a:pt x="74" y="62"/>
                  </a:lnTo>
                  <a:lnTo>
                    <a:pt x="74" y="62"/>
                  </a:lnTo>
                  <a:lnTo>
                    <a:pt x="78" y="60"/>
                  </a:lnTo>
                  <a:lnTo>
                    <a:pt x="78" y="60"/>
                  </a:lnTo>
                  <a:lnTo>
                    <a:pt x="82" y="58"/>
                  </a:lnTo>
                  <a:lnTo>
                    <a:pt x="82" y="58"/>
                  </a:lnTo>
                  <a:lnTo>
                    <a:pt x="86" y="57"/>
                  </a:lnTo>
                  <a:lnTo>
                    <a:pt x="86" y="57"/>
                  </a:lnTo>
                  <a:lnTo>
                    <a:pt x="90" y="55"/>
                  </a:lnTo>
                  <a:lnTo>
                    <a:pt x="90" y="55"/>
                  </a:lnTo>
                  <a:lnTo>
                    <a:pt x="92" y="55"/>
                  </a:lnTo>
                  <a:lnTo>
                    <a:pt x="92" y="55"/>
                  </a:lnTo>
                  <a:lnTo>
                    <a:pt x="94" y="52"/>
                  </a:lnTo>
                  <a:lnTo>
                    <a:pt x="94" y="52"/>
                  </a:lnTo>
                  <a:lnTo>
                    <a:pt x="94" y="52"/>
                  </a:lnTo>
                  <a:lnTo>
                    <a:pt x="95" y="55"/>
                  </a:lnTo>
                  <a:lnTo>
                    <a:pt x="95" y="55"/>
                  </a:lnTo>
                  <a:lnTo>
                    <a:pt x="95" y="55"/>
                  </a:lnTo>
                  <a:lnTo>
                    <a:pt x="95" y="55"/>
                  </a:lnTo>
                  <a:lnTo>
                    <a:pt x="97" y="55"/>
                  </a:lnTo>
                  <a:lnTo>
                    <a:pt x="97" y="55"/>
                  </a:lnTo>
                  <a:lnTo>
                    <a:pt x="98" y="55"/>
                  </a:lnTo>
                  <a:lnTo>
                    <a:pt x="98" y="55"/>
                  </a:lnTo>
                  <a:lnTo>
                    <a:pt x="100" y="55"/>
                  </a:lnTo>
                  <a:lnTo>
                    <a:pt x="100" y="55"/>
                  </a:lnTo>
                  <a:lnTo>
                    <a:pt x="100" y="55"/>
                  </a:lnTo>
                  <a:lnTo>
                    <a:pt x="100" y="54"/>
                  </a:lnTo>
                  <a:lnTo>
                    <a:pt x="100" y="54"/>
                  </a:lnTo>
                  <a:lnTo>
                    <a:pt x="100" y="54"/>
                  </a:lnTo>
                  <a:close/>
                  <a:moveTo>
                    <a:pt x="70" y="9"/>
                  </a:moveTo>
                  <a:lnTo>
                    <a:pt x="70" y="9"/>
                  </a:lnTo>
                  <a:lnTo>
                    <a:pt x="71" y="8"/>
                  </a:lnTo>
                  <a:lnTo>
                    <a:pt x="71" y="8"/>
                  </a:lnTo>
                  <a:lnTo>
                    <a:pt x="73" y="8"/>
                  </a:lnTo>
                  <a:lnTo>
                    <a:pt x="70" y="9"/>
                  </a:lnTo>
                  <a:lnTo>
                    <a:pt x="70" y="9"/>
                  </a:lnTo>
                  <a:lnTo>
                    <a:pt x="70" y="9"/>
                  </a:lnTo>
                  <a:close/>
                  <a:moveTo>
                    <a:pt x="81" y="8"/>
                  </a:moveTo>
                  <a:lnTo>
                    <a:pt x="81" y="8"/>
                  </a:lnTo>
                  <a:lnTo>
                    <a:pt x="82" y="8"/>
                  </a:lnTo>
                  <a:lnTo>
                    <a:pt x="82" y="8"/>
                  </a:lnTo>
                  <a:lnTo>
                    <a:pt x="84" y="8"/>
                  </a:lnTo>
                  <a:lnTo>
                    <a:pt x="84" y="8"/>
                  </a:lnTo>
                  <a:lnTo>
                    <a:pt x="84" y="6"/>
                  </a:lnTo>
                  <a:lnTo>
                    <a:pt x="84" y="6"/>
                  </a:lnTo>
                  <a:lnTo>
                    <a:pt x="84" y="5"/>
                  </a:lnTo>
                  <a:lnTo>
                    <a:pt x="84" y="5"/>
                  </a:lnTo>
                  <a:lnTo>
                    <a:pt x="84" y="3"/>
                  </a:lnTo>
                  <a:lnTo>
                    <a:pt x="84" y="3"/>
                  </a:lnTo>
                  <a:lnTo>
                    <a:pt x="82" y="1"/>
                  </a:lnTo>
                  <a:lnTo>
                    <a:pt x="82" y="1"/>
                  </a:lnTo>
                  <a:lnTo>
                    <a:pt x="81" y="1"/>
                  </a:lnTo>
                  <a:lnTo>
                    <a:pt x="81" y="1"/>
                  </a:lnTo>
                  <a:lnTo>
                    <a:pt x="81" y="1"/>
                  </a:lnTo>
                  <a:lnTo>
                    <a:pt x="81" y="1"/>
                  </a:lnTo>
                  <a:lnTo>
                    <a:pt x="81" y="1"/>
                  </a:lnTo>
                  <a:lnTo>
                    <a:pt x="81" y="1"/>
                  </a:lnTo>
                  <a:lnTo>
                    <a:pt x="79" y="1"/>
                  </a:lnTo>
                  <a:lnTo>
                    <a:pt x="79" y="1"/>
                  </a:lnTo>
                  <a:lnTo>
                    <a:pt x="81" y="1"/>
                  </a:lnTo>
                  <a:lnTo>
                    <a:pt x="81" y="1"/>
                  </a:lnTo>
                  <a:lnTo>
                    <a:pt x="81" y="3"/>
                  </a:lnTo>
                  <a:lnTo>
                    <a:pt x="81" y="3"/>
                  </a:lnTo>
                  <a:lnTo>
                    <a:pt x="81" y="5"/>
                  </a:lnTo>
                  <a:lnTo>
                    <a:pt x="81" y="5"/>
                  </a:lnTo>
                  <a:lnTo>
                    <a:pt x="79" y="3"/>
                  </a:lnTo>
                  <a:lnTo>
                    <a:pt x="79" y="3"/>
                  </a:lnTo>
                  <a:lnTo>
                    <a:pt x="78" y="3"/>
                  </a:lnTo>
                  <a:lnTo>
                    <a:pt x="78" y="3"/>
                  </a:lnTo>
                  <a:lnTo>
                    <a:pt x="79" y="5"/>
                  </a:lnTo>
                  <a:lnTo>
                    <a:pt x="79" y="5"/>
                  </a:lnTo>
                  <a:lnTo>
                    <a:pt x="78" y="5"/>
                  </a:lnTo>
                  <a:lnTo>
                    <a:pt x="78" y="5"/>
                  </a:lnTo>
                  <a:lnTo>
                    <a:pt x="78" y="6"/>
                  </a:lnTo>
                  <a:lnTo>
                    <a:pt x="78" y="6"/>
                  </a:lnTo>
                  <a:lnTo>
                    <a:pt x="79" y="8"/>
                  </a:lnTo>
                  <a:lnTo>
                    <a:pt x="79" y="8"/>
                  </a:lnTo>
                  <a:lnTo>
                    <a:pt x="81" y="8"/>
                  </a:lnTo>
                  <a:lnTo>
                    <a:pt x="81" y="8"/>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4" name="Freeform 355">
              <a:extLst>
                <a:ext uri="{FF2B5EF4-FFF2-40B4-BE49-F238E27FC236}">
                  <a16:creationId xmlns:a16="http://schemas.microsoft.com/office/drawing/2014/main" id="{F3D25B56-4BA3-7264-6877-35D4A7B46030}"/>
                </a:ext>
              </a:extLst>
            </p:cNvPr>
            <p:cNvSpPr>
              <a:spLocks/>
            </p:cNvSpPr>
            <p:nvPr/>
          </p:nvSpPr>
          <p:spPr bwMode="auto">
            <a:xfrm>
              <a:off x="5870110" y="2371966"/>
              <a:ext cx="96453" cy="62806"/>
            </a:xfrm>
            <a:custGeom>
              <a:avLst/>
              <a:gdLst>
                <a:gd name="T0" fmla="*/ 1 w 43"/>
                <a:gd name="T1" fmla="*/ 9 h 28"/>
                <a:gd name="T2" fmla="*/ 1 w 43"/>
                <a:gd name="T3" fmla="*/ 9 h 28"/>
                <a:gd name="T4" fmla="*/ 3 w 43"/>
                <a:gd name="T5" fmla="*/ 11 h 28"/>
                <a:gd name="T6" fmla="*/ 8 w 43"/>
                <a:gd name="T7" fmla="*/ 12 h 28"/>
                <a:gd name="T8" fmla="*/ 9 w 43"/>
                <a:gd name="T9" fmla="*/ 14 h 28"/>
                <a:gd name="T10" fmla="*/ 11 w 43"/>
                <a:gd name="T11" fmla="*/ 14 h 28"/>
                <a:gd name="T12" fmla="*/ 12 w 43"/>
                <a:gd name="T13" fmla="*/ 16 h 28"/>
                <a:gd name="T14" fmla="*/ 12 w 43"/>
                <a:gd name="T15" fmla="*/ 17 h 28"/>
                <a:gd name="T16" fmla="*/ 16 w 43"/>
                <a:gd name="T17" fmla="*/ 17 h 28"/>
                <a:gd name="T18" fmla="*/ 16 w 43"/>
                <a:gd name="T19" fmla="*/ 17 h 28"/>
                <a:gd name="T20" fmla="*/ 19 w 43"/>
                <a:gd name="T21" fmla="*/ 17 h 28"/>
                <a:gd name="T22" fmla="*/ 19 w 43"/>
                <a:gd name="T23" fmla="*/ 19 h 28"/>
                <a:gd name="T24" fmla="*/ 19 w 43"/>
                <a:gd name="T25" fmla="*/ 22 h 28"/>
                <a:gd name="T26" fmla="*/ 19 w 43"/>
                <a:gd name="T27" fmla="*/ 22 h 28"/>
                <a:gd name="T28" fmla="*/ 22 w 43"/>
                <a:gd name="T29" fmla="*/ 22 h 28"/>
                <a:gd name="T30" fmla="*/ 22 w 43"/>
                <a:gd name="T31" fmla="*/ 22 h 28"/>
                <a:gd name="T32" fmla="*/ 25 w 43"/>
                <a:gd name="T33" fmla="*/ 19 h 28"/>
                <a:gd name="T34" fmla="*/ 25 w 43"/>
                <a:gd name="T35" fmla="*/ 22 h 28"/>
                <a:gd name="T36" fmla="*/ 25 w 43"/>
                <a:gd name="T37" fmla="*/ 25 h 28"/>
                <a:gd name="T38" fmla="*/ 30 w 43"/>
                <a:gd name="T39" fmla="*/ 27 h 28"/>
                <a:gd name="T40" fmla="*/ 31 w 43"/>
                <a:gd name="T41" fmla="*/ 28 h 28"/>
                <a:gd name="T42" fmla="*/ 36 w 43"/>
                <a:gd name="T43" fmla="*/ 28 h 28"/>
                <a:gd name="T44" fmla="*/ 36 w 43"/>
                <a:gd name="T45" fmla="*/ 27 h 28"/>
                <a:gd name="T46" fmla="*/ 36 w 43"/>
                <a:gd name="T47" fmla="*/ 25 h 28"/>
                <a:gd name="T48" fmla="*/ 36 w 43"/>
                <a:gd name="T49" fmla="*/ 24 h 28"/>
                <a:gd name="T50" fmla="*/ 36 w 43"/>
                <a:gd name="T51" fmla="*/ 22 h 28"/>
                <a:gd name="T52" fmla="*/ 36 w 43"/>
                <a:gd name="T53" fmla="*/ 20 h 28"/>
                <a:gd name="T54" fmla="*/ 38 w 43"/>
                <a:gd name="T55" fmla="*/ 20 h 28"/>
                <a:gd name="T56" fmla="*/ 39 w 43"/>
                <a:gd name="T57" fmla="*/ 20 h 28"/>
                <a:gd name="T58" fmla="*/ 39 w 43"/>
                <a:gd name="T59" fmla="*/ 19 h 28"/>
                <a:gd name="T60" fmla="*/ 41 w 43"/>
                <a:gd name="T61" fmla="*/ 19 h 28"/>
                <a:gd name="T62" fmla="*/ 43 w 43"/>
                <a:gd name="T63" fmla="*/ 17 h 28"/>
                <a:gd name="T64" fmla="*/ 43 w 43"/>
                <a:gd name="T65" fmla="*/ 16 h 28"/>
                <a:gd name="T66" fmla="*/ 41 w 43"/>
                <a:gd name="T67" fmla="*/ 14 h 28"/>
                <a:gd name="T68" fmla="*/ 41 w 43"/>
                <a:gd name="T69" fmla="*/ 12 h 28"/>
                <a:gd name="T70" fmla="*/ 39 w 43"/>
                <a:gd name="T71" fmla="*/ 11 h 28"/>
                <a:gd name="T72" fmla="*/ 38 w 43"/>
                <a:gd name="T73" fmla="*/ 11 h 28"/>
                <a:gd name="T74" fmla="*/ 36 w 43"/>
                <a:gd name="T75" fmla="*/ 11 h 28"/>
                <a:gd name="T76" fmla="*/ 35 w 43"/>
                <a:gd name="T77" fmla="*/ 9 h 28"/>
                <a:gd name="T78" fmla="*/ 35 w 43"/>
                <a:gd name="T79" fmla="*/ 9 h 28"/>
                <a:gd name="T80" fmla="*/ 36 w 43"/>
                <a:gd name="T81" fmla="*/ 6 h 28"/>
                <a:gd name="T82" fmla="*/ 35 w 43"/>
                <a:gd name="T83" fmla="*/ 5 h 28"/>
                <a:gd name="T84" fmla="*/ 31 w 43"/>
                <a:gd name="T85" fmla="*/ 3 h 28"/>
                <a:gd name="T86" fmla="*/ 30 w 43"/>
                <a:gd name="T87" fmla="*/ 3 h 28"/>
                <a:gd name="T88" fmla="*/ 28 w 43"/>
                <a:gd name="T89" fmla="*/ 0 h 28"/>
                <a:gd name="T90" fmla="*/ 27 w 43"/>
                <a:gd name="T91" fmla="*/ 3 h 28"/>
                <a:gd name="T92" fmla="*/ 25 w 43"/>
                <a:gd name="T93" fmla="*/ 0 h 28"/>
                <a:gd name="T94" fmla="*/ 25 w 43"/>
                <a:gd name="T95" fmla="*/ 3 h 28"/>
                <a:gd name="T96" fmla="*/ 22 w 43"/>
                <a:gd name="T97" fmla="*/ 0 h 28"/>
                <a:gd name="T98" fmla="*/ 22 w 43"/>
                <a:gd name="T99" fmla="*/ 3 h 28"/>
                <a:gd name="T100" fmla="*/ 20 w 43"/>
                <a:gd name="T101" fmla="*/ 3 h 28"/>
                <a:gd name="T102" fmla="*/ 19 w 43"/>
                <a:gd name="T103" fmla="*/ 3 h 28"/>
                <a:gd name="T104" fmla="*/ 19 w 43"/>
                <a:gd name="T105" fmla="*/ 3 h 28"/>
                <a:gd name="T106" fmla="*/ 19 w 43"/>
                <a:gd name="T107" fmla="*/ 3 h 28"/>
                <a:gd name="T108" fmla="*/ 16 w 43"/>
                <a:gd name="T109" fmla="*/ 6 h 28"/>
                <a:gd name="T110" fmla="*/ 12 w 43"/>
                <a:gd name="T111" fmla="*/ 3 h 28"/>
                <a:gd name="T112" fmla="*/ 11 w 43"/>
                <a:gd name="T113" fmla="*/ 3 h 28"/>
                <a:gd name="T114" fmla="*/ 11 w 43"/>
                <a:gd name="T115" fmla="*/ 3 h 28"/>
                <a:gd name="T116" fmla="*/ 0 w 43"/>
                <a:gd name="T117" fmla="*/ 6 h 28"/>
                <a:gd name="T118" fmla="*/ 1 w 43"/>
                <a:gd name="T119" fmla="*/ 9 h 28"/>
                <a:gd name="T120" fmla="*/ 1 w 43"/>
                <a:gd name="T121"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28">
                  <a:moveTo>
                    <a:pt x="1" y="9"/>
                  </a:moveTo>
                  <a:lnTo>
                    <a:pt x="1" y="9"/>
                  </a:lnTo>
                  <a:lnTo>
                    <a:pt x="1" y="9"/>
                  </a:lnTo>
                  <a:lnTo>
                    <a:pt x="1" y="9"/>
                  </a:lnTo>
                  <a:lnTo>
                    <a:pt x="3" y="11"/>
                  </a:lnTo>
                  <a:lnTo>
                    <a:pt x="3" y="11"/>
                  </a:lnTo>
                  <a:lnTo>
                    <a:pt x="8" y="12"/>
                  </a:lnTo>
                  <a:lnTo>
                    <a:pt x="8" y="12"/>
                  </a:lnTo>
                  <a:lnTo>
                    <a:pt x="9" y="14"/>
                  </a:lnTo>
                  <a:lnTo>
                    <a:pt x="9" y="14"/>
                  </a:lnTo>
                  <a:lnTo>
                    <a:pt x="11" y="14"/>
                  </a:lnTo>
                  <a:lnTo>
                    <a:pt x="11" y="14"/>
                  </a:lnTo>
                  <a:lnTo>
                    <a:pt x="12" y="16"/>
                  </a:lnTo>
                  <a:lnTo>
                    <a:pt x="12" y="16"/>
                  </a:lnTo>
                  <a:lnTo>
                    <a:pt x="12" y="17"/>
                  </a:lnTo>
                  <a:lnTo>
                    <a:pt x="12" y="17"/>
                  </a:lnTo>
                  <a:lnTo>
                    <a:pt x="16" y="17"/>
                  </a:lnTo>
                  <a:lnTo>
                    <a:pt x="16" y="17"/>
                  </a:lnTo>
                  <a:lnTo>
                    <a:pt x="16" y="17"/>
                  </a:lnTo>
                  <a:lnTo>
                    <a:pt x="16" y="17"/>
                  </a:lnTo>
                  <a:lnTo>
                    <a:pt x="19" y="17"/>
                  </a:lnTo>
                  <a:lnTo>
                    <a:pt x="19" y="17"/>
                  </a:lnTo>
                  <a:lnTo>
                    <a:pt x="19" y="19"/>
                  </a:lnTo>
                  <a:lnTo>
                    <a:pt x="19" y="19"/>
                  </a:lnTo>
                  <a:lnTo>
                    <a:pt x="19" y="22"/>
                  </a:lnTo>
                  <a:lnTo>
                    <a:pt x="19" y="22"/>
                  </a:lnTo>
                  <a:lnTo>
                    <a:pt x="19" y="22"/>
                  </a:lnTo>
                  <a:lnTo>
                    <a:pt x="19" y="22"/>
                  </a:lnTo>
                  <a:lnTo>
                    <a:pt x="22" y="22"/>
                  </a:lnTo>
                  <a:lnTo>
                    <a:pt x="22" y="22"/>
                  </a:lnTo>
                  <a:lnTo>
                    <a:pt x="22" y="22"/>
                  </a:lnTo>
                  <a:lnTo>
                    <a:pt x="22" y="22"/>
                  </a:lnTo>
                  <a:lnTo>
                    <a:pt x="25" y="19"/>
                  </a:lnTo>
                  <a:lnTo>
                    <a:pt x="25" y="19"/>
                  </a:lnTo>
                  <a:lnTo>
                    <a:pt x="25" y="22"/>
                  </a:lnTo>
                  <a:lnTo>
                    <a:pt x="25" y="22"/>
                  </a:lnTo>
                  <a:lnTo>
                    <a:pt x="25" y="25"/>
                  </a:lnTo>
                  <a:lnTo>
                    <a:pt x="25" y="25"/>
                  </a:lnTo>
                  <a:lnTo>
                    <a:pt x="30" y="27"/>
                  </a:lnTo>
                  <a:lnTo>
                    <a:pt x="30" y="27"/>
                  </a:lnTo>
                  <a:lnTo>
                    <a:pt x="31" y="28"/>
                  </a:lnTo>
                  <a:lnTo>
                    <a:pt x="31" y="28"/>
                  </a:lnTo>
                  <a:lnTo>
                    <a:pt x="36" y="28"/>
                  </a:lnTo>
                  <a:lnTo>
                    <a:pt x="36" y="28"/>
                  </a:lnTo>
                  <a:lnTo>
                    <a:pt x="36" y="27"/>
                  </a:lnTo>
                  <a:lnTo>
                    <a:pt x="36" y="27"/>
                  </a:lnTo>
                  <a:lnTo>
                    <a:pt x="36" y="25"/>
                  </a:lnTo>
                  <a:lnTo>
                    <a:pt x="36" y="25"/>
                  </a:lnTo>
                  <a:lnTo>
                    <a:pt x="36" y="24"/>
                  </a:lnTo>
                  <a:lnTo>
                    <a:pt x="36" y="24"/>
                  </a:lnTo>
                  <a:lnTo>
                    <a:pt x="36" y="22"/>
                  </a:lnTo>
                  <a:lnTo>
                    <a:pt x="36" y="22"/>
                  </a:lnTo>
                  <a:lnTo>
                    <a:pt x="36" y="20"/>
                  </a:lnTo>
                  <a:lnTo>
                    <a:pt x="36" y="20"/>
                  </a:lnTo>
                  <a:lnTo>
                    <a:pt x="38" y="20"/>
                  </a:lnTo>
                  <a:lnTo>
                    <a:pt x="38" y="20"/>
                  </a:lnTo>
                  <a:lnTo>
                    <a:pt x="39" y="20"/>
                  </a:lnTo>
                  <a:lnTo>
                    <a:pt x="39" y="20"/>
                  </a:lnTo>
                  <a:lnTo>
                    <a:pt x="39" y="19"/>
                  </a:lnTo>
                  <a:lnTo>
                    <a:pt x="39" y="19"/>
                  </a:lnTo>
                  <a:lnTo>
                    <a:pt x="41" y="19"/>
                  </a:lnTo>
                  <a:lnTo>
                    <a:pt x="41" y="19"/>
                  </a:lnTo>
                  <a:lnTo>
                    <a:pt x="43" y="17"/>
                  </a:lnTo>
                  <a:lnTo>
                    <a:pt x="43" y="17"/>
                  </a:lnTo>
                  <a:lnTo>
                    <a:pt x="43" y="16"/>
                  </a:lnTo>
                  <a:lnTo>
                    <a:pt x="43" y="16"/>
                  </a:lnTo>
                  <a:lnTo>
                    <a:pt x="41" y="14"/>
                  </a:lnTo>
                  <a:lnTo>
                    <a:pt x="41" y="14"/>
                  </a:lnTo>
                  <a:lnTo>
                    <a:pt x="41" y="12"/>
                  </a:lnTo>
                  <a:lnTo>
                    <a:pt x="41" y="12"/>
                  </a:lnTo>
                  <a:lnTo>
                    <a:pt x="39" y="11"/>
                  </a:lnTo>
                  <a:lnTo>
                    <a:pt x="39" y="11"/>
                  </a:lnTo>
                  <a:lnTo>
                    <a:pt x="38" y="11"/>
                  </a:lnTo>
                  <a:lnTo>
                    <a:pt x="38" y="11"/>
                  </a:lnTo>
                  <a:lnTo>
                    <a:pt x="36" y="11"/>
                  </a:lnTo>
                  <a:lnTo>
                    <a:pt x="36" y="11"/>
                  </a:lnTo>
                  <a:lnTo>
                    <a:pt x="35" y="9"/>
                  </a:lnTo>
                  <a:lnTo>
                    <a:pt x="35" y="9"/>
                  </a:lnTo>
                  <a:lnTo>
                    <a:pt x="35" y="9"/>
                  </a:lnTo>
                  <a:lnTo>
                    <a:pt x="35" y="9"/>
                  </a:lnTo>
                  <a:lnTo>
                    <a:pt x="36" y="6"/>
                  </a:lnTo>
                  <a:lnTo>
                    <a:pt x="36" y="6"/>
                  </a:lnTo>
                  <a:lnTo>
                    <a:pt x="35" y="5"/>
                  </a:lnTo>
                  <a:lnTo>
                    <a:pt x="35" y="5"/>
                  </a:lnTo>
                  <a:lnTo>
                    <a:pt x="31" y="3"/>
                  </a:lnTo>
                  <a:lnTo>
                    <a:pt x="31" y="3"/>
                  </a:lnTo>
                  <a:lnTo>
                    <a:pt x="30" y="3"/>
                  </a:lnTo>
                  <a:lnTo>
                    <a:pt x="30" y="3"/>
                  </a:lnTo>
                  <a:lnTo>
                    <a:pt x="28" y="0"/>
                  </a:lnTo>
                  <a:lnTo>
                    <a:pt x="28" y="0"/>
                  </a:lnTo>
                  <a:lnTo>
                    <a:pt x="27" y="3"/>
                  </a:lnTo>
                  <a:lnTo>
                    <a:pt x="27" y="3"/>
                  </a:lnTo>
                  <a:lnTo>
                    <a:pt x="25" y="0"/>
                  </a:lnTo>
                  <a:lnTo>
                    <a:pt x="25" y="0"/>
                  </a:lnTo>
                  <a:lnTo>
                    <a:pt x="25" y="3"/>
                  </a:lnTo>
                  <a:lnTo>
                    <a:pt x="25" y="3"/>
                  </a:lnTo>
                  <a:lnTo>
                    <a:pt x="22" y="0"/>
                  </a:lnTo>
                  <a:lnTo>
                    <a:pt x="22" y="0"/>
                  </a:lnTo>
                  <a:lnTo>
                    <a:pt x="22" y="3"/>
                  </a:lnTo>
                  <a:lnTo>
                    <a:pt x="22" y="3"/>
                  </a:lnTo>
                  <a:lnTo>
                    <a:pt x="20" y="3"/>
                  </a:lnTo>
                  <a:lnTo>
                    <a:pt x="20" y="3"/>
                  </a:lnTo>
                  <a:lnTo>
                    <a:pt x="19" y="3"/>
                  </a:lnTo>
                  <a:lnTo>
                    <a:pt x="19" y="3"/>
                  </a:lnTo>
                  <a:lnTo>
                    <a:pt x="19" y="3"/>
                  </a:lnTo>
                  <a:lnTo>
                    <a:pt x="19" y="3"/>
                  </a:lnTo>
                  <a:lnTo>
                    <a:pt x="19" y="3"/>
                  </a:lnTo>
                  <a:lnTo>
                    <a:pt x="19" y="3"/>
                  </a:lnTo>
                  <a:lnTo>
                    <a:pt x="16" y="6"/>
                  </a:lnTo>
                  <a:lnTo>
                    <a:pt x="16" y="6"/>
                  </a:lnTo>
                  <a:lnTo>
                    <a:pt x="12" y="3"/>
                  </a:lnTo>
                  <a:lnTo>
                    <a:pt x="12" y="3"/>
                  </a:lnTo>
                  <a:lnTo>
                    <a:pt x="11" y="3"/>
                  </a:lnTo>
                  <a:lnTo>
                    <a:pt x="11" y="3"/>
                  </a:lnTo>
                  <a:lnTo>
                    <a:pt x="11" y="3"/>
                  </a:lnTo>
                  <a:lnTo>
                    <a:pt x="11" y="3"/>
                  </a:lnTo>
                  <a:lnTo>
                    <a:pt x="0" y="6"/>
                  </a:lnTo>
                  <a:lnTo>
                    <a:pt x="0" y="6"/>
                  </a:lnTo>
                  <a:lnTo>
                    <a:pt x="1" y="6"/>
                  </a:lnTo>
                  <a:lnTo>
                    <a:pt x="1" y="9"/>
                  </a:lnTo>
                  <a:lnTo>
                    <a:pt x="1" y="9"/>
                  </a:lnTo>
                  <a:lnTo>
                    <a:pt x="1" y="9"/>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5" name="Freeform 357">
              <a:extLst>
                <a:ext uri="{FF2B5EF4-FFF2-40B4-BE49-F238E27FC236}">
                  <a16:creationId xmlns:a16="http://schemas.microsoft.com/office/drawing/2014/main" id="{13297C97-F9D9-3AF6-AFAE-60F792C64AEC}"/>
                </a:ext>
              </a:extLst>
            </p:cNvPr>
            <p:cNvSpPr>
              <a:spLocks/>
            </p:cNvSpPr>
            <p:nvPr/>
          </p:nvSpPr>
          <p:spPr bwMode="auto">
            <a:xfrm>
              <a:off x="5894783" y="2313645"/>
              <a:ext cx="96453" cy="78508"/>
            </a:xfrm>
            <a:custGeom>
              <a:avLst/>
              <a:gdLst>
                <a:gd name="T0" fmla="*/ 38 w 43"/>
                <a:gd name="T1" fmla="*/ 0 h 35"/>
                <a:gd name="T2" fmla="*/ 35 w 43"/>
                <a:gd name="T3" fmla="*/ 0 h 35"/>
                <a:gd name="T4" fmla="*/ 25 w 43"/>
                <a:gd name="T5" fmla="*/ 2 h 35"/>
                <a:gd name="T6" fmla="*/ 22 w 43"/>
                <a:gd name="T7" fmla="*/ 5 h 35"/>
                <a:gd name="T8" fmla="*/ 19 w 43"/>
                <a:gd name="T9" fmla="*/ 7 h 35"/>
                <a:gd name="T10" fmla="*/ 16 w 43"/>
                <a:gd name="T11" fmla="*/ 7 h 35"/>
                <a:gd name="T12" fmla="*/ 13 w 43"/>
                <a:gd name="T13" fmla="*/ 15 h 35"/>
                <a:gd name="T14" fmla="*/ 8 w 43"/>
                <a:gd name="T15" fmla="*/ 21 h 35"/>
                <a:gd name="T16" fmla="*/ 11 w 43"/>
                <a:gd name="T17" fmla="*/ 24 h 35"/>
                <a:gd name="T18" fmla="*/ 13 w 43"/>
                <a:gd name="T19" fmla="*/ 24 h 35"/>
                <a:gd name="T20" fmla="*/ 9 w 43"/>
                <a:gd name="T21" fmla="*/ 24 h 35"/>
                <a:gd name="T22" fmla="*/ 8 w 43"/>
                <a:gd name="T23" fmla="*/ 24 h 35"/>
                <a:gd name="T24" fmla="*/ 8 w 43"/>
                <a:gd name="T25" fmla="*/ 26 h 35"/>
                <a:gd name="T26" fmla="*/ 5 w 43"/>
                <a:gd name="T27" fmla="*/ 24 h 35"/>
                <a:gd name="T28" fmla="*/ 0 w 43"/>
                <a:gd name="T29" fmla="*/ 26 h 35"/>
                <a:gd name="T30" fmla="*/ 3 w 43"/>
                <a:gd name="T31" fmla="*/ 27 h 35"/>
                <a:gd name="T32" fmla="*/ 9 w 43"/>
                <a:gd name="T33" fmla="*/ 27 h 35"/>
                <a:gd name="T34" fmla="*/ 9 w 43"/>
                <a:gd name="T35" fmla="*/ 27 h 35"/>
                <a:gd name="T36" fmla="*/ 11 w 43"/>
                <a:gd name="T37" fmla="*/ 26 h 35"/>
                <a:gd name="T38" fmla="*/ 14 w 43"/>
                <a:gd name="T39" fmla="*/ 27 h 35"/>
                <a:gd name="T40" fmla="*/ 16 w 43"/>
                <a:gd name="T41" fmla="*/ 27 h 35"/>
                <a:gd name="T42" fmla="*/ 19 w 43"/>
                <a:gd name="T43" fmla="*/ 26 h 35"/>
                <a:gd name="T44" fmla="*/ 22 w 43"/>
                <a:gd name="T45" fmla="*/ 29 h 35"/>
                <a:gd name="T46" fmla="*/ 25 w 43"/>
                <a:gd name="T47" fmla="*/ 31 h 35"/>
                <a:gd name="T48" fmla="*/ 25 w 43"/>
                <a:gd name="T49" fmla="*/ 34 h 35"/>
                <a:gd name="T50" fmla="*/ 25 w 43"/>
                <a:gd name="T51" fmla="*/ 35 h 35"/>
                <a:gd name="T52" fmla="*/ 27 w 43"/>
                <a:gd name="T53" fmla="*/ 35 h 35"/>
                <a:gd name="T54" fmla="*/ 28 w 43"/>
                <a:gd name="T55" fmla="*/ 35 h 35"/>
                <a:gd name="T56" fmla="*/ 28 w 43"/>
                <a:gd name="T57" fmla="*/ 34 h 35"/>
                <a:gd name="T58" fmla="*/ 27 w 43"/>
                <a:gd name="T59" fmla="*/ 32 h 35"/>
                <a:gd name="T60" fmla="*/ 30 w 43"/>
                <a:gd name="T61" fmla="*/ 29 h 35"/>
                <a:gd name="T62" fmla="*/ 30 w 43"/>
                <a:gd name="T63" fmla="*/ 26 h 35"/>
                <a:gd name="T64" fmla="*/ 27 w 43"/>
                <a:gd name="T65" fmla="*/ 24 h 35"/>
                <a:gd name="T66" fmla="*/ 27 w 43"/>
                <a:gd name="T67" fmla="*/ 21 h 35"/>
                <a:gd name="T68" fmla="*/ 30 w 43"/>
                <a:gd name="T69" fmla="*/ 21 h 35"/>
                <a:gd name="T70" fmla="*/ 35 w 43"/>
                <a:gd name="T71" fmla="*/ 21 h 35"/>
                <a:gd name="T72" fmla="*/ 36 w 43"/>
                <a:gd name="T73" fmla="*/ 19 h 35"/>
                <a:gd name="T74" fmla="*/ 38 w 43"/>
                <a:gd name="T75" fmla="*/ 18 h 35"/>
                <a:gd name="T76" fmla="*/ 40 w 43"/>
                <a:gd name="T77" fmla="*/ 15 h 35"/>
                <a:gd name="T78" fmla="*/ 36 w 43"/>
                <a:gd name="T79" fmla="*/ 13 h 35"/>
                <a:gd name="T80" fmla="*/ 38 w 43"/>
                <a:gd name="T81" fmla="*/ 11 h 35"/>
                <a:gd name="T82" fmla="*/ 40 w 43"/>
                <a:gd name="T83" fmla="*/ 11 h 35"/>
                <a:gd name="T84" fmla="*/ 41 w 43"/>
                <a:gd name="T85" fmla="*/ 10 h 35"/>
                <a:gd name="T86" fmla="*/ 41 w 43"/>
                <a:gd name="T87" fmla="*/ 7 h 35"/>
                <a:gd name="T88" fmla="*/ 41 w 43"/>
                <a:gd name="T89" fmla="*/ 5 h 35"/>
                <a:gd name="T90" fmla="*/ 40 w 43"/>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35">
                  <a:moveTo>
                    <a:pt x="40" y="2"/>
                  </a:moveTo>
                  <a:lnTo>
                    <a:pt x="40" y="2"/>
                  </a:lnTo>
                  <a:lnTo>
                    <a:pt x="38" y="0"/>
                  </a:lnTo>
                  <a:lnTo>
                    <a:pt x="38" y="0"/>
                  </a:lnTo>
                  <a:lnTo>
                    <a:pt x="35" y="0"/>
                  </a:lnTo>
                  <a:lnTo>
                    <a:pt x="35" y="0"/>
                  </a:lnTo>
                  <a:lnTo>
                    <a:pt x="28" y="2"/>
                  </a:lnTo>
                  <a:lnTo>
                    <a:pt x="28" y="2"/>
                  </a:lnTo>
                  <a:lnTo>
                    <a:pt x="25" y="2"/>
                  </a:lnTo>
                  <a:lnTo>
                    <a:pt x="25" y="2"/>
                  </a:lnTo>
                  <a:lnTo>
                    <a:pt x="22" y="5"/>
                  </a:lnTo>
                  <a:lnTo>
                    <a:pt x="22" y="5"/>
                  </a:lnTo>
                  <a:lnTo>
                    <a:pt x="22" y="5"/>
                  </a:lnTo>
                  <a:lnTo>
                    <a:pt x="22" y="5"/>
                  </a:lnTo>
                  <a:lnTo>
                    <a:pt x="19" y="7"/>
                  </a:lnTo>
                  <a:lnTo>
                    <a:pt x="19" y="7"/>
                  </a:lnTo>
                  <a:lnTo>
                    <a:pt x="16" y="7"/>
                  </a:lnTo>
                  <a:lnTo>
                    <a:pt x="16" y="7"/>
                  </a:lnTo>
                  <a:lnTo>
                    <a:pt x="14" y="8"/>
                  </a:lnTo>
                  <a:lnTo>
                    <a:pt x="14" y="8"/>
                  </a:lnTo>
                  <a:lnTo>
                    <a:pt x="13" y="15"/>
                  </a:lnTo>
                  <a:lnTo>
                    <a:pt x="13" y="15"/>
                  </a:lnTo>
                  <a:lnTo>
                    <a:pt x="8" y="21"/>
                  </a:lnTo>
                  <a:lnTo>
                    <a:pt x="8" y="21"/>
                  </a:lnTo>
                  <a:lnTo>
                    <a:pt x="8" y="21"/>
                  </a:lnTo>
                  <a:lnTo>
                    <a:pt x="8" y="21"/>
                  </a:lnTo>
                  <a:lnTo>
                    <a:pt x="11" y="24"/>
                  </a:lnTo>
                  <a:lnTo>
                    <a:pt x="11" y="24"/>
                  </a:lnTo>
                  <a:lnTo>
                    <a:pt x="13" y="24"/>
                  </a:lnTo>
                  <a:lnTo>
                    <a:pt x="13" y="24"/>
                  </a:lnTo>
                  <a:lnTo>
                    <a:pt x="11" y="24"/>
                  </a:lnTo>
                  <a:lnTo>
                    <a:pt x="11" y="24"/>
                  </a:lnTo>
                  <a:lnTo>
                    <a:pt x="9" y="24"/>
                  </a:lnTo>
                  <a:lnTo>
                    <a:pt x="9" y="24"/>
                  </a:lnTo>
                  <a:lnTo>
                    <a:pt x="8" y="24"/>
                  </a:lnTo>
                  <a:lnTo>
                    <a:pt x="8" y="24"/>
                  </a:lnTo>
                  <a:lnTo>
                    <a:pt x="6" y="24"/>
                  </a:lnTo>
                  <a:lnTo>
                    <a:pt x="6" y="24"/>
                  </a:lnTo>
                  <a:lnTo>
                    <a:pt x="8" y="26"/>
                  </a:lnTo>
                  <a:lnTo>
                    <a:pt x="8" y="26"/>
                  </a:lnTo>
                  <a:lnTo>
                    <a:pt x="5" y="24"/>
                  </a:lnTo>
                  <a:lnTo>
                    <a:pt x="5" y="24"/>
                  </a:lnTo>
                  <a:lnTo>
                    <a:pt x="3" y="24"/>
                  </a:lnTo>
                  <a:lnTo>
                    <a:pt x="3" y="24"/>
                  </a:lnTo>
                  <a:lnTo>
                    <a:pt x="0" y="26"/>
                  </a:lnTo>
                  <a:lnTo>
                    <a:pt x="0" y="26"/>
                  </a:lnTo>
                  <a:lnTo>
                    <a:pt x="3" y="27"/>
                  </a:lnTo>
                  <a:lnTo>
                    <a:pt x="3" y="27"/>
                  </a:lnTo>
                  <a:lnTo>
                    <a:pt x="6" y="27"/>
                  </a:lnTo>
                  <a:lnTo>
                    <a:pt x="6" y="27"/>
                  </a:lnTo>
                  <a:lnTo>
                    <a:pt x="9" y="27"/>
                  </a:lnTo>
                  <a:lnTo>
                    <a:pt x="9" y="27"/>
                  </a:lnTo>
                  <a:lnTo>
                    <a:pt x="9" y="27"/>
                  </a:lnTo>
                  <a:lnTo>
                    <a:pt x="9" y="27"/>
                  </a:lnTo>
                  <a:lnTo>
                    <a:pt x="11" y="27"/>
                  </a:lnTo>
                  <a:lnTo>
                    <a:pt x="11" y="27"/>
                  </a:lnTo>
                  <a:lnTo>
                    <a:pt x="11" y="26"/>
                  </a:lnTo>
                  <a:lnTo>
                    <a:pt x="11" y="26"/>
                  </a:lnTo>
                  <a:lnTo>
                    <a:pt x="14" y="27"/>
                  </a:lnTo>
                  <a:lnTo>
                    <a:pt x="14" y="27"/>
                  </a:lnTo>
                  <a:lnTo>
                    <a:pt x="14" y="26"/>
                  </a:lnTo>
                  <a:lnTo>
                    <a:pt x="14" y="26"/>
                  </a:lnTo>
                  <a:lnTo>
                    <a:pt x="16" y="27"/>
                  </a:lnTo>
                  <a:lnTo>
                    <a:pt x="16" y="27"/>
                  </a:lnTo>
                  <a:lnTo>
                    <a:pt x="19" y="26"/>
                  </a:lnTo>
                  <a:lnTo>
                    <a:pt x="19" y="26"/>
                  </a:lnTo>
                  <a:lnTo>
                    <a:pt x="19" y="29"/>
                  </a:lnTo>
                  <a:lnTo>
                    <a:pt x="19" y="29"/>
                  </a:lnTo>
                  <a:lnTo>
                    <a:pt x="22" y="29"/>
                  </a:lnTo>
                  <a:lnTo>
                    <a:pt x="22" y="29"/>
                  </a:lnTo>
                  <a:lnTo>
                    <a:pt x="25" y="31"/>
                  </a:lnTo>
                  <a:lnTo>
                    <a:pt x="25" y="31"/>
                  </a:lnTo>
                  <a:lnTo>
                    <a:pt x="25" y="32"/>
                  </a:lnTo>
                  <a:lnTo>
                    <a:pt x="25" y="32"/>
                  </a:lnTo>
                  <a:lnTo>
                    <a:pt x="25" y="34"/>
                  </a:lnTo>
                  <a:lnTo>
                    <a:pt x="25" y="34"/>
                  </a:lnTo>
                  <a:lnTo>
                    <a:pt x="25" y="35"/>
                  </a:lnTo>
                  <a:lnTo>
                    <a:pt x="25" y="35"/>
                  </a:lnTo>
                  <a:lnTo>
                    <a:pt x="25" y="35"/>
                  </a:lnTo>
                  <a:lnTo>
                    <a:pt x="25" y="35"/>
                  </a:lnTo>
                  <a:lnTo>
                    <a:pt x="27" y="35"/>
                  </a:lnTo>
                  <a:lnTo>
                    <a:pt x="27" y="35"/>
                  </a:lnTo>
                  <a:lnTo>
                    <a:pt x="28" y="35"/>
                  </a:lnTo>
                  <a:lnTo>
                    <a:pt x="28" y="35"/>
                  </a:lnTo>
                  <a:lnTo>
                    <a:pt x="28" y="35"/>
                  </a:lnTo>
                  <a:lnTo>
                    <a:pt x="28" y="35"/>
                  </a:lnTo>
                  <a:lnTo>
                    <a:pt x="28" y="34"/>
                  </a:lnTo>
                  <a:lnTo>
                    <a:pt x="28" y="34"/>
                  </a:lnTo>
                  <a:lnTo>
                    <a:pt x="27" y="32"/>
                  </a:lnTo>
                  <a:lnTo>
                    <a:pt x="27" y="32"/>
                  </a:lnTo>
                  <a:lnTo>
                    <a:pt x="28" y="31"/>
                  </a:lnTo>
                  <a:lnTo>
                    <a:pt x="28" y="31"/>
                  </a:lnTo>
                  <a:lnTo>
                    <a:pt x="30" y="29"/>
                  </a:lnTo>
                  <a:lnTo>
                    <a:pt x="30" y="29"/>
                  </a:lnTo>
                  <a:lnTo>
                    <a:pt x="30" y="26"/>
                  </a:lnTo>
                  <a:lnTo>
                    <a:pt x="30" y="26"/>
                  </a:lnTo>
                  <a:lnTo>
                    <a:pt x="30" y="24"/>
                  </a:lnTo>
                  <a:lnTo>
                    <a:pt x="30" y="24"/>
                  </a:lnTo>
                  <a:lnTo>
                    <a:pt x="27" y="24"/>
                  </a:lnTo>
                  <a:lnTo>
                    <a:pt x="27" y="24"/>
                  </a:lnTo>
                  <a:lnTo>
                    <a:pt x="27" y="21"/>
                  </a:lnTo>
                  <a:lnTo>
                    <a:pt x="27" y="21"/>
                  </a:lnTo>
                  <a:lnTo>
                    <a:pt x="28" y="21"/>
                  </a:lnTo>
                  <a:lnTo>
                    <a:pt x="28" y="21"/>
                  </a:lnTo>
                  <a:lnTo>
                    <a:pt x="30" y="21"/>
                  </a:lnTo>
                  <a:lnTo>
                    <a:pt x="30" y="21"/>
                  </a:lnTo>
                  <a:lnTo>
                    <a:pt x="35" y="21"/>
                  </a:lnTo>
                  <a:lnTo>
                    <a:pt x="35" y="21"/>
                  </a:lnTo>
                  <a:lnTo>
                    <a:pt x="36" y="21"/>
                  </a:lnTo>
                  <a:lnTo>
                    <a:pt x="36" y="21"/>
                  </a:lnTo>
                  <a:lnTo>
                    <a:pt x="36" y="19"/>
                  </a:lnTo>
                  <a:lnTo>
                    <a:pt x="36" y="19"/>
                  </a:lnTo>
                  <a:lnTo>
                    <a:pt x="38" y="18"/>
                  </a:lnTo>
                  <a:lnTo>
                    <a:pt x="38" y="18"/>
                  </a:lnTo>
                  <a:lnTo>
                    <a:pt x="40" y="16"/>
                  </a:lnTo>
                  <a:lnTo>
                    <a:pt x="40" y="16"/>
                  </a:lnTo>
                  <a:lnTo>
                    <a:pt x="40" y="15"/>
                  </a:lnTo>
                  <a:lnTo>
                    <a:pt x="40" y="15"/>
                  </a:lnTo>
                  <a:lnTo>
                    <a:pt x="36" y="13"/>
                  </a:lnTo>
                  <a:lnTo>
                    <a:pt x="36" y="13"/>
                  </a:lnTo>
                  <a:lnTo>
                    <a:pt x="36" y="11"/>
                  </a:lnTo>
                  <a:lnTo>
                    <a:pt x="36" y="11"/>
                  </a:lnTo>
                  <a:lnTo>
                    <a:pt x="38" y="11"/>
                  </a:lnTo>
                  <a:lnTo>
                    <a:pt x="38" y="11"/>
                  </a:lnTo>
                  <a:lnTo>
                    <a:pt x="40" y="11"/>
                  </a:lnTo>
                  <a:lnTo>
                    <a:pt x="40" y="11"/>
                  </a:lnTo>
                  <a:lnTo>
                    <a:pt x="40" y="10"/>
                  </a:lnTo>
                  <a:lnTo>
                    <a:pt x="40" y="10"/>
                  </a:lnTo>
                  <a:lnTo>
                    <a:pt x="41" y="10"/>
                  </a:lnTo>
                  <a:lnTo>
                    <a:pt x="41" y="10"/>
                  </a:lnTo>
                  <a:lnTo>
                    <a:pt x="41" y="7"/>
                  </a:lnTo>
                  <a:lnTo>
                    <a:pt x="41" y="7"/>
                  </a:lnTo>
                  <a:lnTo>
                    <a:pt x="41" y="5"/>
                  </a:lnTo>
                  <a:lnTo>
                    <a:pt x="41" y="5"/>
                  </a:lnTo>
                  <a:lnTo>
                    <a:pt x="41" y="5"/>
                  </a:lnTo>
                  <a:lnTo>
                    <a:pt x="41" y="5"/>
                  </a:lnTo>
                  <a:lnTo>
                    <a:pt x="43" y="2"/>
                  </a:lnTo>
                  <a:lnTo>
                    <a:pt x="40" y="2"/>
                  </a:lnTo>
                  <a:lnTo>
                    <a:pt x="40" y="2"/>
                  </a:lnTo>
                  <a:lnTo>
                    <a:pt x="40" y="2"/>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6" name="Freeform 381">
              <a:extLst>
                <a:ext uri="{FF2B5EF4-FFF2-40B4-BE49-F238E27FC236}">
                  <a16:creationId xmlns:a16="http://schemas.microsoft.com/office/drawing/2014/main" id="{49D2087E-3035-9CFB-9E0B-ACB44B298820}"/>
                </a:ext>
              </a:extLst>
            </p:cNvPr>
            <p:cNvSpPr>
              <a:spLocks/>
            </p:cNvSpPr>
            <p:nvPr/>
          </p:nvSpPr>
          <p:spPr bwMode="auto">
            <a:xfrm>
              <a:off x="6439850" y="1833629"/>
              <a:ext cx="899472" cy="865825"/>
            </a:xfrm>
            <a:custGeom>
              <a:avLst/>
              <a:gdLst>
                <a:gd name="T0" fmla="*/ 395 w 401"/>
                <a:gd name="T1" fmla="*/ 194 h 386"/>
                <a:gd name="T2" fmla="*/ 379 w 401"/>
                <a:gd name="T3" fmla="*/ 157 h 386"/>
                <a:gd name="T4" fmla="*/ 381 w 401"/>
                <a:gd name="T5" fmla="*/ 124 h 386"/>
                <a:gd name="T6" fmla="*/ 370 w 401"/>
                <a:gd name="T7" fmla="*/ 64 h 386"/>
                <a:gd name="T8" fmla="*/ 344 w 401"/>
                <a:gd name="T9" fmla="*/ 11 h 386"/>
                <a:gd name="T10" fmla="*/ 290 w 401"/>
                <a:gd name="T11" fmla="*/ 3 h 386"/>
                <a:gd name="T12" fmla="*/ 289 w 401"/>
                <a:gd name="T13" fmla="*/ 19 h 386"/>
                <a:gd name="T14" fmla="*/ 270 w 401"/>
                <a:gd name="T15" fmla="*/ 16 h 386"/>
                <a:gd name="T16" fmla="*/ 236 w 401"/>
                <a:gd name="T17" fmla="*/ 22 h 386"/>
                <a:gd name="T18" fmla="*/ 224 w 401"/>
                <a:gd name="T19" fmla="*/ 21 h 386"/>
                <a:gd name="T20" fmla="*/ 187 w 401"/>
                <a:gd name="T21" fmla="*/ 27 h 386"/>
                <a:gd name="T22" fmla="*/ 160 w 401"/>
                <a:gd name="T23" fmla="*/ 33 h 386"/>
                <a:gd name="T24" fmla="*/ 141 w 401"/>
                <a:gd name="T25" fmla="*/ 16 h 386"/>
                <a:gd name="T26" fmla="*/ 154 w 401"/>
                <a:gd name="T27" fmla="*/ 37 h 386"/>
                <a:gd name="T28" fmla="*/ 144 w 401"/>
                <a:gd name="T29" fmla="*/ 43 h 386"/>
                <a:gd name="T30" fmla="*/ 117 w 401"/>
                <a:gd name="T31" fmla="*/ 65 h 386"/>
                <a:gd name="T32" fmla="*/ 89 w 401"/>
                <a:gd name="T33" fmla="*/ 59 h 386"/>
                <a:gd name="T34" fmla="*/ 89 w 401"/>
                <a:gd name="T35" fmla="*/ 75 h 386"/>
                <a:gd name="T36" fmla="*/ 68 w 401"/>
                <a:gd name="T37" fmla="*/ 59 h 386"/>
                <a:gd name="T38" fmla="*/ 44 w 401"/>
                <a:gd name="T39" fmla="*/ 40 h 386"/>
                <a:gd name="T40" fmla="*/ 57 w 401"/>
                <a:gd name="T41" fmla="*/ 38 h 386"/>
                <a:gd name="T42" fmla="*/ 122 w 401"/>
                <a:gd name="T43" fmla="*/ 33 h 386"/>
                <a:gd name="T44" fmla="*/ 70 w 401"/>
                <a:gd name="T45" fmla="*/ 10 h 386"/>
                <a:gd name="T46" fmla="*/ 41 w 401"/>
                <a:gd name="T47" fmla="*/ 2 h 386"/>
                <a:gd name="T48" fmla="*/ 12 w 401"/>
                <a:gd name="T49" fmla="*/ 5 h 386"/>
                <a:gd name="T50" fmla="*/ 3 w 401"/>
                <a:gd name="T51" fmla="*/ 21 h 386"/>
                <a:gd name="T52" fmla="*/ 19 w 401"/>
                <a:gd name="T53" fmla="*/ 56 h 386"/>
                <a:gd name="T54" fmla="*/ 39 w 401"/>
                <a:gd name="T55" fmla="*/ 86 h 386"/>
                <a:gd name="T56" fmla="*/ 19 w 401"/>
                <a:gd name="T57" fmla="*/ 118 h 386"/>
                <a:gd name="T58" fmla="*/ 16 w 401"/>
                <a:gd name="T59" fmla="*/ 127 h 386"/>
                <a:gd name="T60" fmla="*/ 9 w 401"/>
                <a:gd name="T61" fmla="*/ 148 h 386"/>
                <a:gd name="T62" fmla="*/ 19 w 401"/>
                <a:gd name="T63" fmla="*/ 176 h 386"/>
                <a:gd name="T64" fmla="*/ 47 w 401"/>
                <a:gd name="T65" fmla="*/ 184 h 386"/>
                <a:gd name="T66" fmla="*/ 68 w 401"/>
                <a:gd name="T67" fmla="*/ 208 h 386"/>
                <a:gd name="T68" fmla="*/ 63 w 401"/>
                <a:gd name="T69" fmla="*/ 230 h 386"/>
                <a:gd name="T70" fmla="*/ 93 w 401"/>
                <a:gd name="T71" fmla="*/ 235 h 386"/>
                <a:gd name="T72" fmla="*/ 109 w 401"/>
                <a:gd name="T73" fmla="*/ 256 h 386"/>
                <a:gd name="T74" fmla="*/ 138 w 401"/>
                <a:gd name="T75" fmla="*/ 264 h 386"/>
                <a:gd name="T76" fmla="*/ 163 w 401"/>
                <a:gd name="T77" fmla="*/ 273 h 386"/>
                <a:gd name="T78" fmla="*/ 160 w 401"/>
                <a:gd name="T79" fmla="*/ 292 h 386"/>
                <a:gd name="T80" fmla="*/ 155 w 401"/>
                <a:gd name="T81" fmla="*/ 300 h 386"/>
                <a:gd name="T82" fmla="*/ 151 w 401"/>
                <a:gd name="T83" fmla="*/ 318 h 386"/>
                <a:gd name="T84" fmla="*/ 135 w 401"/>
                <a:gd name="T85" fmla="*/ 327 h 386"/>
                <a:gd name="T86" fmla="*/ 159 w 401"/>
                <a:gd name="T87" fmla="*/ 343 h 386"/>
                <a:gd name="T88" fmla="*/ 219 w 401"/>
                <a:gd name="T89" fmla="*/ 365 h 386"/>
                <a:gd name="T90" fmla="*/ 251 w 401"/>
                <a:gd name="T91" fmla="*/ 375 h 386"/>
                <a:gd name="T92" fmla="*/ 270 w 401"/>
                <a:gd name="T93" fmla="*/ 368 h 386"/>
                <a:gd name="T94" fmla="*/ 247 w 401"/>
                <a:gd name="T95" fmla="*/ 340 h 386"/>
                <a:gd name="T96" fmla="*/ 266 w 401"/>
                <a:gd name="T97" fmla="*/ 319 h 386"/>
                <a:gd name="T98" fmla="*/ 266 w 401"/>
                <a:gd name="T99" fmla="*/ 306 h 386"/>
                <a:gd name="T100" fmla="*/ 241 w 401"/>
                <a:gd name="T101" fmla="*/ 286 h 386"/>
                <a:gd name="T102" fmla="*/ 239 w 401"/>
                <a:gd name="T103" fmla="*/ 260 h 386"/>
                <a:gd name="T104" fmla="*/ 252 w 401"/>
                <a:gd name="T105" fmla="*/ 252 h 386"/>
                <a:gd name="T106" fmla="*/ 273 w 401"/>
                <a:gd name="T107" fmla="*/ 238 h 386"/>
                <a:gd name="T108" fmla="*/ 301 w 401"/>
                <a:gd name="T109" fmla="*/ 240 h 386"/>
                <a:gd name="T110" fmla="*/ 328 w 401"/>
                <a:gd name="T111" fmla="*/ 252 h 386"/>
                <a:gd name="T112" fmla="*/ 354 w 401"/>
                <a:gd name="T113" fmla="*/ 246 h 386"/>
                <a:gd name="T114" fmla="*/ 379 w 401"/>
                <a:gd name="T115" fmla="*/ 249 h 386"/>
                <a:gd name="T116" fmla="*/ 382 w 401"/>
                <a:gd name="T117" fmla="*/ 240 h 386"/>
                <a:gd name="T118" fmla="*/ 392 w 401"/>
                <a:gd name="T119" fmla="*/ 219 h 386"/>
                <a:gd name="T120" fmla="*/ 378 w 401"/>
                <a:gd name="T121" fmla="*/ 208 h 386"/>
                <a:gd name="T122" fmla="*/ 398 w 401"/>
                <a:gd name="T123" fmla="*/ 20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1" h="386">
                  <a:moveTo>
                    <a:pt x="401" y="200"/>
                  </a:moveTo>
                  <a:lnTo>
                    <a:pt x="401" y="200"/>
                  </a:lnTo>
                  <a:lnTo>
                    <a:pt x="400" y="200"/>
                  </a:lnTo>
                  <a:lnTo>
                    <a:pt x="400" y="200"/>
                  </a:lnTo>
                  <a:lnTo>
                    <a:pt x="397" y="202"/>
                  </a:lnTo>
                  <a:lnTo>
                    <a:pt x="397" y="202"/>
                  </a:lnTo>
                  <a:lnTo>
                    <a:pt x="395" y="200"/>
                  </a:lnTo>
                  <a:lnTo>
                    <a:pt x="395" y="200"/>
                  </a:lnTo>
                  <a:lnTo>
                    <a:pt x="397" y="200"/>
                  </a:lnTo>
                  <a:lnTo>
                    <a:pt x="397" y="200"/>
                  </a:lnTo>
                  <a:lnTo>
                    <a:pt x="397" y="199"/>
                  </a:lnTo>
                  <a:lnTo>
                    <a:pt x="397" y="199"/>
                  </a:lnTo>
                  <a:lnTo>
                    <a:pt x="398" y="199"/>
                  </a:lnTo>
                  <a:lnTo>
                    <a:pt x="398" y="199"/>
                  </a:lnTo>
                  <a:lnTo>
                    <a:pt x="398" y="199"/>
                  </a:lnTo>
                  <a:lnTo>
                    <a:pt x="398" y="199"/>
                  </a:lnTo>
                  <a:lnTo>
                    <a:pt x="397" y="199"/>
                  </a:lnTo>
                  <a:lnTo>
                    <a:pt x="397" y="199"/>
                  </a:lnTo>
                  <a:lnTo>
                    <a:pt x="395" y="199"/>
                  </a:lnTo>
                  <a:lnTo>
                    <a:pt x="395" y="199"/>
                  </a:lnTo>
                  <a:lnTo>
                    <a:pt x="395" y="199"/>
                  </a:lnTo>
                  <a:lnTo>
                    <a:pt x="395" y="199"/>
                  </a:lnTo>
                  <a:lnTo>
                    <a:pt x="395" y="197"/>
                  </a:lnTo>
                  <a:lnTo>
                    <a:pt x="395" y="197"/>
                  </a:lnTo>
                  <a:lnTo>
                    <a:pt x="394" y="195"/>
                  </a:lnTo>
                  <a:lnTo>
                    <a:pt x="394" y="195"/>
                  </a:lnTo>
                  <a:lnTo>
                    <a:pt x="395" y="194"/>
                  </a:lnTo>
                  <a:lnTo>
                    <a:pt x="395" y="194"/>
                  </a:lnTo>
                  <a:lnTo>
                    <a:pt x="395" y="194"/>
                  </a:lnTo>
                  <a:lnTo>
                    <a:pt x="390" y="192"/>
                  </a:lnTo>
                  <a:lnTo>
                    <a:pt x="390" y="192"/>
                  </a:lnTo>
                  <a:lnTo>
                    <a:pt x="389" y="187"/>
                  </a:lnTo>
                  <a:lnTo>
                    <a:pt x="389" y="187"/>
                  </a:lnTo>
                  <a:lnTo>
                    <a:pt x="390" y="181"/>
                  </a:lnTo>
                  <a:lnTo>
                    <a:pt x="390" y="181"/>
                  </a:lnTo>
                  <a:lnTo>
                    <a:pt x="398" y="175"/>
                  </a:lnTo>
                  <a:lnTo>
                    <a:pt x="398" y="175"/>
                  </a:lnTo>
                  <a:lnTo>
                    <a:pt x="395" y="168"/>
                  </a:lnTo>
                  <a:lnTo>
                    <a:pt x="395" y="168"/>
                  </a:lnTo>
                  <a:lnTo>
                    <a:pt x="389" y="172"/>
                  </a:lnTo>
                  <a:lnTo>
                    <a:pt x="389" y="172"/>
                  </a:lnTo>
                  <a:lnTo>
                    <a:pt x="386" y="173"/>
                  </a:lnTo>
                  <a:lnTo>
                    <a:pt x="386" y="173"/>
                  </a:lnTo>
                  <a:lnTo>
                    <a:pt x="379" y="175"/>
                  </a:lnTo>
                  <a:lnTo>
                    <a:pt x="379" y="175"/>
                  </a:lnTo>
                  <a:lnTo>
                    <a:pt x="376" y="175"/>
                  </a:lnTo>
                  <a:lnTo>
                    <a:pt x="376" y="175"/>
                  </a:lnTo>
                  <a:lnTo>
                    <a:pt x="371" y="175"/>
                  </a:lnTo>
                  <a:lnTo>
                    <a:pt x="371" y="175"/>
                  </a:lnTo>
                  <a:lnTo>
                    <a:pt x="370" y="168"/>
                  </a:lnTo>
                  <a:lnTo>
                    <a:pt x="370" y="168"/>
                  </a:lnTo>
                  <a:lnTo>
                    <a:pt x="373" y="164"/>
                  </a:lnTo>
                  <a:lnTo>
                    <a:pt x="373" y="164"/>
                  </a:lnTo>
                  <a:lnTo>
                    <a:pt x="373" y="162"/>
                  </a:lnTo>
                  <a:lnTo>
                    <a:pt x="373" y="162"/>
                  </a:lnTo>
                  <a:lnTo>
                    <a:pt x="374" y="159"/>
                  </a:lnTo>
                  <a:lnTo>
                    <a:pt x="374" y="159"/>
                  </a:lnTo>
                  <a:lnTo>
                    <a:pt x="379" y="157"/>
                  </a:lnTo>
                  <a:lnTo>
                    <a:pt x="379" y="157"/>
                  </a:lnTo>
                  <a:lnTo>
                    <a:pt x="381" y="157"/>
                  </a:lnTo>
                  <a:lnTo>
                    <a:pt x="382" y="157"/>
                  </a:lnTo>
                  <a:lnTo>
                    <a:pt x="382" y="157"/>
                  </a:lnTo>
                  <a:lnTo>
                    <a:pt x="386" y="159"/>
                  </a:lnTo>
                  <a:lnTo>
                    <a:pt x="386" y="159"/>
                  </a:lnTo>
                  <a:lnTo>
                    <a:pt x="392" y="154"/>
                  </a:lnTo>
                  <a:lnTo>
                    <a:pt x="392" y="154"/>
                  </a:lnTo>
                  <a:lnTo>
                    <a:pt x="394" y="154"/>
                  </a:lnTo>
                  <a:lnTo>
                    <a:pt x="394" y="154"/>
                  </a:lnTo>
                  <a:lnTo>
                    <a:pt x="390" y="152"/>
                  </a:lnTo>
                  <a:lnTo>
                    <a:pt x="390" y="152"/>
                  </a:lnTo>
                  <a:lnTo>
                    <a:pt x="384" y="151"/>
                  </a:lnTo>
                  <a:lnTo>
                    <a:pt x="384" y="151"/>
                  </a:lnTo>
                  <a:lnTo>
                    <a:pt x="381" y="149"/>
                  </a:lnTo>
                  <a:lnTo>
                    <a:pt x="381" y="149"/>
                  </a:lnTo>
                  <a:lnTo>
                    <a:pt x="384" y="149"/>
                  </a:lnTo>
                  <a:lnTo>
                    <a:pt x="384" y="148"/>
                  </a:lnTo>
                  <a:lnTo>
                    <a:pt x="382" y="146"/>
                  </a:lnTo>
                  <a:lnTo>
                    <a:pt x="382" y="146"/>
                  </a:lnTo>
                  <a:lnTo>
                    <a:pt x="381" y="143"/>
                  </a:lnTo>
                  <a:lnTo>
                    <a:pt x="381" y="138"/>
                  </a:lnTo>
                  <a:lnTo>
                    <a:pt x="381" y="133"/>
                  </a:lnTo>
                  <a:lnTo>
                    <a:pt x="381" y="133"/>
                  </a:lnTo>
                  <a:lnTo>
                    <a:pt x="386" y="135"/>
                  </a:lnTo>
                  <a:lnTo>
                    <a:pt x="386" y="135"/>
                  </a:lnTo>
                  <a:lnTo>
                    <a:pt x="384" y="133"/>
                  </a:lnTo>
                  <a:lnTo>
                    <a:pt x="384" y="133"/>
                  </a:lnTo>
                  <a:lnTo>
                    <a:pt x="381" y="124"/>
                  </a:lnTo>
                  <a:lnTo>
                    <a:pt x="381" y="124"/>
                  </a:lnTo>
                  <a:lnTo>
                    <a:pt x="379" y="121"/>
                  </a:lnTo>
                  <a:lnTo>
                    <a:pt x="379" y="121"/>
                  </a:lnTo>
                  <a:lnTo>
                    <a:pt x="378" y="121"/>
                  </a:lnTo>
                  <a:lnTo>
                    <a:pt x="376" y="119"/>
                  </a:lnTo>
                  <a:lnTo>
                    <a:pt x="376" y="114"/>
                  </a:lnTo>
                  <a:lnTo>
                    <a:pt x="376" y="114"/>
                  </a:lnTo>
                  <a:lnTo>
                    <a:pt x="376" y="111"/>
                  </a:lnTo>
                  <a:lnTo>
                    <a:pt x="376" y="111"/>
                  </a:lnTo>
                  <a:lnTo>
                    <a:pt x="378" y="106"/>
                  </a:lnTo>
                  <a:lnTo>
                    <a:pt x="378" y="106"/>
                  </a:lnTo>
                  <a:lnTo>
                    <a:pt x="378" y="103"/>
                  </a:lnTo>
                  <a:lnTo>
                    <a:pt x="379" y="102"/>
                  </a:lnTo>
                  <a:lnTo>
                    <a:pt x="379" y="102"/>
                  </a:lnTo>
                  <a:lnTo>
                    <a:pt x="378" y="97"/>
                  </a:lnTo>
                  <a:lnTo>
                    <a:pt x="378" y="97"/>
                  </a:lnTo>
                  <a:lnTo>
                    <a:pt x="376" y="92"/>
                  </a:lnTo>
                  <a:lnTo>
                    <a:pt x="376" y="92"/>
                  </a:lnTo>
                  <a:lnTo>
                    <a:pt x="373" y="86"/>
                  </a:lnTo>
                  <a:lnTo>
                    <a:pt x="373" y="86"/>
                  </a:lnTo>
                  <a:lnTo>
                    <a:pt x="373" y="83"/>
                  </a:lnTo>
                  <a:lnTo>
                    <a:pt x="373" y="83"/>
                  </a:lnTo>
                  <a:lnTo>
                    <a:pt x="373" y="78"/>
                  </a:lnTo>
                  <a:lnTo>
                    <a:pt x="373" y="78"/>
                  </a:lnTo>
                  <a:lnTo>
                    <a:pt x="370" y="75"/>
                  </a:lnTo>
                  <a:lnTo>
                    <a:pt x="370" y="72"/>
                  </a:lnTo>
                  <a:lnTo>
                    <a:pt x="370" y="68"/>
                  </a:lnTo>
                  <a:lnTo>
                    <a:pt x="370" y="68"/>
                  </a:lnTo>
                  <a:lnTo>
                    <a:pt x="370" y="64"/>
                  </a:lnTo>
                  <a:lnTo>
                    <a:pt x="373" y="59"/>
                  </a:lnTo>
                  <a:lnTo>
                    <a:pt x="373" y="59"/>
                  </a:lnTo>
                  <a:lnTo>
                    <a:pt x="374" y="54"/>
                  </a:lnTo>
                  <a:lnTo>
                    <a:pt x="376" y="51"/>
                  </a:lnTo>
                  <a:lnTo>
                    <a:pt x="376" y="51"/>
                  </a:lnTo>
                  <a:lnTo>
                    <a:pt x="376" y="49"/>
                  </a:lnTo>
                  <a:lnTo>
                    <a:pt x="376" y="49"/>
                  </a:lnTo>
                  <a:lnTo>
                    <a:pt x="379" y="40"/>
                  </a:lnTo>
                  <a:lnTo>
                    <a:pt x="379" y="40"/>
                  </a:lnTo>
                  <a:lnTo>
                    <a:pt x="376" y="27"/>
                  </a:lnTo>
                  <a:lnTo>
                    <a:pt x="376" y="27"/>
                  </a:lnTo>
                  <a:lnTo>
                    <a:pt x="374" y="24"/>
                  </a:lnTo>
                  <a:lnTo>
                    <a:pt x="374" y="24"/>
                  </a:lnTo>
                  <a:lnTo>
                    <a:pt x="373" y="24"/>
                  </a:lnTo>
                  <a:lnTo>
                    <a:pt x="373" y="24"/>
                  </a:lnTo>
                  <a:lnTo>
                    <a:pt x="373" y="22"/>
                  </a:lnTo>
                  <a:lnTo>
                    <a:pt x="373" y="22"/>
                  </a:lnTo>
                  <a:lnTo>
                    <a:pt x="371" y="21"/>
                  </a:lnTo>
                  <a:lnTo>
                    <a:pt x="371" y="21"/>
                  </a:lnTo>
                  <a:lnTo>
                    <a:pt x="368" y="19"/>
                  </a:lnTo>
                  <a:lnTo>
                    <a:pt x="368" y="19"/>
                  </a:lnTo>
                  <a:lnTo>
                    <a:pt x="360" y="16"/>
                  </a:lnTo>
                  <a:lnTo>
                    <a:pt x="360" y="16"/>
                  </a:lnTo>
                  <a:lnTo>
                    <a:pt x="354" y="13"/>
                  </a:lnTo>
                  <a:lnTo>
                    <a:pt x="354" y="13"/>
                  </a:lnTo>
                  <a:lnTo>
                    <a:pt x="347" y="11"/>
                  </a:lnTo>
                  <a:lnTo>
                    <a:pt x="347" y="11"/>
                  </a:lnTo>
                  <a:lnTo>
                    <a:pt x="344" y="11"/>
                  </a:lnTo>
                  <a:lnTo>
                    <a:pt x="344" y="11"/>
                  </a:lnTo>
                  <a:lnTo>
                    <a:pt x="343" y="10"/>
                  </a:lnTo>
                  <a:lnTo>
                    <a:pt x="343" y="10"/>
                  </a:lnTo>
                  <a:lnTo>
                    <a:pt x="340" y="8"/>
                  </a:lnTo>
                  <a:lnTo>
                    <a:pt x="340" y="8"/>
                  </a:lnTo>
                  <a:lnTo>
                    <a:pt x="336" y="8"/>
                  </a:lnTo>
                  <a:lnTo>
                    <a:pt x="336" y="8"/>
                  </a:lnTo>
                  <a:lnTo>
                    <a:pt x="335" y="10"/>
                  </a:lnTo>
                  <a:lnTo>
                    <a:pt x="335" y="10"/>
                  </a:lnTo>
                  <a:lnTo>
                    <a:pt x="333" y="10"/>
                  </a:lnTo>
                  <a:lnTo>
                    <a:pt x="333" y="10"/>
                  </a:lnTo>
                  <a:lnTo>
                    <a:pt x="333" y="8"/>
                  </a:lnTo>
                  <a:lnTo>
                    <a:pt x="333" y="8"/>
                  </a:lnTo>
                  <a:lnTo>
                    <a:pt x="335" y="8"/>
                  </a:lnTo>
                  <a:lnTo>
                    <a:pt x="335" y="8"/>
                  </a:lnTo>
                  <a:lnTo>
                    <a:pt x="320" y="3"/>
                  </a:lnTo>
                  <a:lnTo>
                    <a:pt x="320" y="3"/>
                  </a:lnTo>
                  <a:lnTo>
                    <a:pt x="306" y="2"/>
                  </a:lnTo>
                  <a:lnTo>
                    <a:pt x="306" y="2"/>
                  </a:lnTo>
                  <a:lnTo>
                    <a:pt x="298" y="2"/>
                  </a:lnTo>
                  <a:lnTo>
                    <a:pt x="298" y="2"/>
                  </a:lnTo>
                  <a:lnTo>
                    <a:pt x="295" y="0"/>
                  </a:lnTo>
                  <a:lnTo>
                    <a:pt x="295" y="0"/>
                  </a:lnTo>
                  <a:lnTo>
                    <a:pt x="292" y="2"/>
                  </a:lnTo>
                  <a:lnTo>
                    <a:pt x="292" y="2"/>
                  </a:lnTo>
                  <a:lnTo>
                    <a:pt x="292" y="3"/>
                  </a:lnTo>
                  <a:lnTo>
                    <a:pt x="292" y="3"/>
                  </a:lnTo>
                  <a:lnTo>
                    <a:pt x="292" y="3"/>
                  </a:lnTo>
                  <a:lnTo>
                    <a:pt x="292" y="3"/>
                  </a:lnTo>
                  <a:lnTo>
                    <a:pt x="290" y="3"/>
                  </a:lnTo>
                  <a:lnTo>
                    <a:pt x="290" y="3"/>
                  </a:lnTo>
                  <a:lnTo>
                    <a:pt x="289" y="5"/>
                  </a:lnTo>
                  <a:lnTo>
                    <a:pt x="289" y="5"/>
                  </a:lnTo>
                  <a:lnTo>
                    <a:pt x="292" y="6"/>
                  </a:lnTo>
                  <a:lnTo>
                    <a:pt x="292" y="6"/>
                  </a:lnTo>
                  <a:lnTo>
                    <a:pt x="295" y="8"/>
                  </a:lnTo>
                  <a:lnTo>
                    <a:pt x="295" y="8"/>
                  </a:lnTo>
                  <a:lnTo>
                    <a:pt x="298" y="10"/>
                  </a:lnTo>
                  <a:lnTo>
                    <a:pt x="298" y="10"/>
                  </a:lnTo>
                  <a:lnTo>
                    <a:pt x="298" y="11"/>
                  </a:lnTo>
                  <a:lnTo>
                    <a:pt x="298" y="11"/>
                  </a:lnTo>
                  <a:lnTo>
                    <a:pt x="298" y="13"/>
                  </a:lnTo>
                  <a:lnTo>
                    <a:pt x="298" y="13"/>
                  </a:lnTo>
                  <a:lnTo>
                    <a:pt x="298" y="14"/>
                  </a:lnTo>
                  <a:lnTo>
                    <a:pt x="298" y="14"/>
                  </a:lnTo>
                  <a:lnTo>
                    <a:pt x="295" y="14"/>
                  </a:lnTo>
                  <a:lnTo>
                    <a:pt x="295" y="14"/>
                  </a:lnTo>
                  <a:lnTo>
                    <a:pt x="292" y="16"/>
                  </a:lnTo>
                  <a:lnTo>
                    <a:pt x="292" y="16"/>
                  </a:lnTo>
                  <a:lnTo>
                    <a:pt x="290" y="16"/>
                  </a:lnTo>
                  <a:lnTo>
                    <a:pt x="290" y="16"/>
                  </a:lnTo>
                  <a:lnTo>
                    <a:pt x="292" y="18"/>
                  </a:lnTo>
                  <a:lnTo>
                    <a:pt x="292" y="18"/>
                  </a:lnTo>
                  <a:lnTo>
                    <a:pt x="292" y="19"/>
                  </a:lnTo>
                  <a:lnTo>
                    <a:pt x="292" y="19"/>
                  </a:lnTo>
                  <a:lnTo>
                    <a:pt x="292" y="21"/>
                  </a:lnTo>
                  <a:lnTo>
                    <a:pt x="292" y="21"/>
                  </a:lnTo>
                  <a:lnTo>
                    <a:pt x="289" y="19"/>
                  </a:lnTo>
                  <a:lnTo>
                    <a:pt x="289" y="19"/>
                  </a:lnTo>
                  <a:lnTo>
                    <a:pt x="287" y="19"/>
                  </a:lnTo>
                  <a:lnTo>
                    <a:pt x="287" y="19"/>
                  </a:lnTo>
                  <a:lnTo>
                    <a:pt x="286" y="18"/>
                  </a:lnTo>
                  <a:lnTo>
                    <a:pt x="286" y="18"/>
                  </a:lnTo>
                  <a:lnTo>
                    <a:pt x="286" y="16"/>
                  </a:lnTo>
                  <a:lnTo>
                    <a:pt x="286" y="16"/>
                  </a:lnTo>
                  <a:lnTo>
                    <a:pt x="287" y="14"/>
                  </a:lnTo>
                  <a:lnTo>
                    <a:pt x="287" y="14"/>
                  </a:lnTo>
                  <a:lnTo>
                    <a:pt x="284" y="13"/>
                  </a:lnTo>
                  <a:lnTo>
                    <a:pt x="284" y="13"/>
                  </a:lnTo>
                  <a:lnTo>
                    <a:pt x="282" y="13"/>
                  </a:lnTo>
                  <a:lnTo>
                    <a:pt x="282" y="13"/>
                  </a:lnTo>
                  <a:lnTo>
                    <a:pt x="284" y="11"/>
                  </a:lnTo>
                  <a:lnTo>
                    <a:pt x="284" y="11"/>
                  </a:lnTo>
                  <a:lnTo>
                    <a:pt x="279" y="11"/>
                  </a:lnTo>
                  <a:lnTo>
                    <a:pt x="279" y="11"/>
                  </a:lnTo>
                  <a:lnTo>
                    <a:pt x="274" y="13"/>
                  </a:lnTo>
                  <a:lnTo>
                    <a:pt x="274" y="13"/>
                  </a:lnTo>
                  <a:lnTo>
                    <a:pt x="276" y="14"/>
                  </a:lnTo>
                  <a:lnTo>
                    <a:pt x="276" y="14"/>
                  </a:lnTo>
                  <a:lnTo>
                    <a:pt x="274" y="14"/>
                  </a:lnTo>
                  <a:lnTo>
                    <a:pt x="274" y="14"/>
                  </a:lnTo>
                  <a:lnTo>
                    <a:pt x="273" y="13"/>
                  </a:lnTo>
                  <a:lnTo>
                    <a:pt x="273" y="13"/>
                  </a:lnTo>
                  <a:lnTo>
                    <a:pt x="273" y="14"/>
                  </a:lnTo>
                  <a:lnTo>
                    <a:pt x="273" y="14"/>
                  </a:lnTo>
                  <a:lnTo>
                    <a:pt x="271" y="14"/>
                  </a:lnTo>
                  <a:lnTo>
                    <a:pt x="271" y="14"/>
                  </a:lnTo>
                  <a:lnTo>
                    <a:pt x="270" y="16"/>
                  </a:lnTo>
                  <a:lnTo>
                    <a:pt x="270" y="16"/>
                  </a:lnTo>
                  <a:lnTo>
                    <a:pt x="270" y="16"/>
                  </a:lnTo>
                  <a:lnTo>
                    <a:pt x="270" y="16"/>
                  </a:lnTo>
                  <a:lnTo>
                    <a:pt x="266" y="18"/>
                  </a:lnTo>
                  <a:lnTo>
                    <a:pt x="266" y="18"/>
                  </a:lnTo>
                  <a:lnTo>
                    <a:pt x="263" y="16"/>
                  </a:lnTo>
                  <a:lnTo>
                    <a:pt x="263" y="16"/>
                  </a:lnTo>
                  <a:lnTo>
                    <a:pt x="260" y="16"/>
                  </a:lnTo>
                  <a:lnTo>
                    <a:pt x="260" y="16"/>
                  </a:lnTo>
                  <a:lnTo>
                    <a:pt x="254" y="16"/>
                  </a:lnTo>
                  <a:lnTo>
                    <a:pt x="254" y="16"/>
                  </a:lnTo>
                  <a:lnTo>
                    <a:pt x="249" y="18"/>
                  </a:lnTo>
                  <a:lnTo>
                    <a:pt x="249" y="18"/>
                  </a:lnTo>
                  <a:lnTo>
                    <a:pt x="247" y="19"/>
                  </a:lnTo>
                  <a:lnTo>
                    <a:pt x="247" y="19"/>
                  </a:lnTo>
                  <a:lnTo>
                    <a:pt x="247" y="22"/>
                  </a:lnTo>
                  <a:lnTo>
                    <a:pt x="247" y="22"/>
                  </a:lnTo>
                  <a:lnTo>
                    <a:pt x="244" y="21"/>
                  </a:lnTo>
                  <a:lnTo>
                    <a:pt x="244" y="21"/>
                  </a:lnTo>
                  <a:lnTo>
                    <a:pt x="243" y="21"/>
                  </a:lnTo>
                  <a:lnTo>
                    <a:pt x="243" y="21"/>
                  </a:lnTo>
                  <a:lnTo>
                    <a:pt x="241" y="22"/>
                  </a:lnTo>
                  <a:lnTo>
                    <a:pt x="241" y="22"/>
                  </a:lnTo>
                  <a:lnTo>
                    <a:pt x="239" y="21"/>
                  </a:lnTo>
                  <a:lnTo>
                    <a:pt x="239" y="21"/>
                  </a:lnTo>
                  <a:lnTo>
                    <a:pt x="238" y="22"/>
                  </a:lnTo>
                  <a:lnTo>
                    <a:pt x="238" y="22"/>
                  </a:lnTo>
                  <a:lnTo>
                    <a:pt x="236" y="22"/>
                  </a:lnTo>
                  <a:lnTo>
                    <a:pt x="236" y="22"/>
                  </a:lnTo>
                  <a:lnTo>
                    <a:pt x="232" y="21"/>
                  </a:lnTo>
                  <a:lnTo>
                    <a:pt x="232" y="21"/>
                  </a:lnTo>
                  <a:lnTo>
                    <a:pt x="232" y="19"/>
                  </a:lnTo>
                  <a:lnTo>
                    <a:pt x="232" y="19"/>
                  </a:lnTo>
                  <a:lnTo>
                    <a:pt x="235" y="19"/>
                  </a:lnTo>
                  <a:lnTo>
                    <a:pt x="235" y="19"/>
                  </a:lnTo>
                  <a:lnTo>
                    <a:pt x="236" y="19"/>
                  </a:lnTo>
                  <a:lnTo>
                    <a:pt x="236" y="19"/>
                  </a:lnTo>
                  <a:lnTo>
                    <a:pt x="235" y="16"/>
                  </a:lnTo>
                  <a:lnTo>
                    <a:pt x="235" y="16"/>
                  </a:lnTo>
                  <a:lnTo>
                    <a:pt x="235" y="14"/>
                  </a:lnTo>
                  <a:lnTo>
                    <a:pt x="235" y="14"/>
                  </a:lnTo>
                  <a:lnTo>
                    <a:pt x="232" y="13"/>
                  </a:lnTo>
                  <a:lnTo>
                    <a:pt x="232" y="13"/>
                  </a:lnTo>
                  <a:lnTo>
                    <a:pt x="235" y="13"/>
                  </a:lnTo>
                  <a:lnTo>
                    <a:pt x="235" y="13"/>
                  </a:lnTo>
                  <a:lnTo>
                    <a:pt x="239" y="11"/>
                  </a:lnTo>
                  <a:lnTo>
                    <a:pt x="239" y="11"/>
                  </a:lnTo>
                  <a:lnTo>
                    <a:pt x="232" y="13"/>
                  </a:lnTo>
                  <a:lnTo>
                    <a:pt x="232" y="13"/>
                  </a:lnTo>
                  <a:lnTo>
                    <a:pt x="225" y="14"/>
                  </a:lnTo>
                  <a:lnTo>
                    <a:pt x="225" y="14"/>
                  </a:lnTo>
                  <a:lnTo>
                    <a:pt x="222" y="18"/>
                  </a:lnTo>
                  <a:lnTo>
                    <a:pt x="222" y="18"/>
                  </a:lnTo>
                  <a:lnTo>
                    <a:pt x="224" y="18"/>
                  </a:lnTo>
                  <a:lnTo>
                    <a:pt x="224" y="18"/>
                  </a:lnTo>
                  <a:lnTo>
                    <a:pt x="225" y="19"/>
                  </a:lnTo>
                  <a:lnTo>
                    <a:pt x="225" y="19"/>
                  </a:lnTo>
                  <a:lnTo>
                    <a:pt x="224" y="21"/>
                  </a:lnTo>
                  <a:lnTo>
                    <a:pt x="224" y="21"/>
                  </a:lnTo>
                  <a:lnTo>
                    <a:pt x="222" y="21"/>
                  </a:lnTo>
                  <a:lnTo>
                    <a:pt x="222" y="21"/>
                  </a:lnTo>
                  <a:lnTo>
                    <a:pt x="222" y="19"/>
                  </a:lnTo>
                  <a:lnTo>
                    <a:pt x="222" y="19"/>
                  </a:lnTo>
                  <a:lnTo>
                    <a:pt x="220" y="18"/>
                  </a:lnTo>
                  <a:lnTo>
                    <a:pt x="220" y="18"/>
                  </a:lnTo>
                  <a:lnTo>
                    <a:pt x="217" y="18"/>
                  </a:lnTo>
                  <a:lnTo>
                    <a:pt x="217" y="18"/>
                  </a:lnTo>
                  <a:lnTo>
                    <a:pt x="216" y="19"/>
                  </a:lnTo>
                  <a:lnTo>
                    <a:pt x="216" y="19"/>
                  </a:lnTo>
                  <a:lnTo>
                    <a:pt x="214" y="19"/>
                  </a:lnTo>
                  <a:lnTo>
                    <a:pt x="214" y="19"/>
                  </a:lnTo>
                  <a:lnTo>
                    <a:pt x="211" y="19"/>
                  </a:lnTo>
                  <a:lnTo>
                    <a:pt x="211" y="19"/>
                  </a:lnTo>
                  <a:lnTo>
                    <a:pt x="205" y="21"/>
                  </a:lnTo>
                  <a:lnTo>
                    <a:pt x="205" y="21"/>
                  </a:lnTo>
                  <a:lnTo>
                    <a:pt x="201" y="24"/>
                  </a:lnTo>
                  <a:lnTo>
                    <a:pt x="201" y="24"/>
                  </a:lnTo>
                  <a:lnTo>
                    <a:pt x="197" y="24"/>
                  </a:lnTo>
                  <a:lnTo>
                    <a:pt x="197" y="24"/>
                  </a:lnTo>
                  <a:lnTo>
                    <a:pt x="190" y="24"/>
                  </a:lnTo>
                  <a:lnTo>
                    <a:pt x="190" y="24"/>
                  </a:lnTo>
                  <a:lnTo>
                    <a:pt x="197" y="27"/>
                  </a:lnTo>
                  <a:lnTo>
                    <a:pt x="197" y="27"/>
                  </a:lnTo>
                  <a:lnTo>
                    <a:pt x="192" y="27"/>
                  </a:lnTo>
                  <a:lnTo>
                    <a:pt x="192" y="27"/>
                  </a:lnTo>
                  <a:lnTo>
                    <a:pt x="187" y="27"/>
                  </a:lnTo>
                  <a:lnTo>
                    <a:pt x="187" y="27"/>
                  </a:lnTo>
                  <a:lnTo>
                    <a:pt x="186" y="30"/>
                  </a:lnTo>
                  <a:lnTo>
                    <a:pt x="186" y="30"/>
                  </a:lnTo>
                  <a:lnTo>
                    <a:pt x="184" y="30"/>
                  </a:lnTo>
                  <a:lnTo>
                    <a:pt x="184" y="30"/>
                  </a:lnTo>
                  <a:lnTo>
                    <a:pt x="186" y="30"/>
                  </a:lnTo>
                  <a:lnTo>
                    <a:pt x="186" y="30"/>
                  </a:lnTo>
                  <a:lnTo>
                    <a:pt x="184" y="33"/>
                  </a:lnTo>
                  <a:lnTo>
                    <a:pt x="184" y="33"/>
                  </a:lnTo>
                  <a:lnTo>
                    <a:pt x="184" y="35"/>
                  </a:lnTo>
                  <a:lnTo>
                    <a:pt x="184" y="35"/>
                  </a:lnTo>
                  <a:lnTo>
                    <a:pt x="186" y="37"/>
                  </a:lnTo>
                  <a:lnTo>
                    <a:pt x="186" y="37"/>
                  </a:lnTo>
                  <a:lnTo>
                    <a:pt x="184" y="37"/>
                  </a:lnTo>
                  <a:lnTo>
                    <a:pt x="184" y="37"/>
                  </a:lnTo>
                  <a:lnTo>
                    <a:pt x="179" y="38"/>
                  </a:lnTo>
                  <a:lnTo>
                    <a:pt x="179" y="38"/>
                  </a:lnTo>
                  <a:lnTo>
                    <a:pt x="176" y="38"/>
                  </a:lnTo>
                  <a:lnTo>
                    <a:pt x="176" y="38"/>
                  </a:lnTo>
                  <a:lnTo>
                    <a:pt x="173" y="40"/>
                  </a:lnTo>
                  <a:lnTo>
                    <a:pt x="173" y="40"/>
                  </a:lnTo>
                  <a:lnTo>
                    <a:pt x="176" y="38"/>
                  </a:lnTo>
                  <a:lnTo>
                    <a:pt x="176" y="38"/>
                  </a:lnTo>
                  <a:lnTo>
                    <a:pt x="170" y="38"/>
                  </a:lnTo>
                  <a:lnTo>
                    <a:pt x="170" y="38"/>
                  </a:lnTo>
                  <a:lnTo>
                    <a:pt x="168" y="37"/>
                  </a:lnTo>
                  <a:lnTo>
                    <a:pt x="168" y="37"/>
                  </a:lnTo>
                  <a:lnTo>
                    <a:pt x="163" y="33"/>
                  </a:lnTo>
                  <a:lnTo>
                    <a:pt x="163" y="33"/>
                  </a:lnTo>
                  <a:lnTo>
                    <a:pt x="160" y="33"/>
                  </a:lnTo>
                  <a:lnTo>
                    <a:pt x="160" y="33"/>
                  </a:lnTo>
                  <a:lnTo>
                    <a:pt x="159" y="33"/>
                  </a:lnTo>
                  <a:lnTo>
                    <a:pt x="159" y="33"/>
                  </a:lnTo>
                  <a:lnTo>
                    <a:pt x="157" y="30"/>
                  </a:lnTo>
                  <a:lnTo>
                    <a:pt x="157" y="30"/>
                  </a:lnTo>
                  <a:lnTo>
                    <a:pt x="159" y="30"/>
                  </a:lnTo>
                  <a:lnTo>
                    <a:pt x="159" y="30"/>
                  </a:lnTo>
                  <a:lnTo>
                    <a:pt x="160" y="30"/>
                  </a:lnTo>
                  <a:lnTo>
                    <a:pt x="160" y="30"/>
                  </a:lnTo>
                  <a:lnTo>
                    <a:pt x="160" y="27"/>
                  </a:lnTo>
                  <a:lnTo>
                    <a:pt x="160" y="27"/>
                  </a:lnTo>
                  <a:lnTo>
                    <a:pt x="166" y="27"/>
                  </a:lnTo>
                  <a:lnTo>
                    <a:pt x="166" y="27"/>
                  </a:lnTo>
                  <a:lnTo>
                    <a:pt x="173" y="27"/>
                  </a:lnTo>
                  <a:lnTo>
                    <a:pt x="173" y="27"/>
                  </a:lnTo>
                  <a:lnTo>
                    <a:pt x="170" y="24"/>
                  </a:lnTo>
                  <a:lnTo>
                    <a:pt x="170" y="24"/>
                  </a:lnTo>
                  <a:lnTo>
                    <a:pt x="165" y="21"/>
                  </a:lnTo>
                  <a:lnTo>
                    <a:pt x="165" y="21"/>
                  </a:lnTo>
                  <a:lnTo>
                    <a:pt x="162" y="19"/>
                  </a:lnTo>
                  <a:lnTo>
                    <a:pt x="162" y="19"/>
                  </a:lnTo>
                  <a:lnTo>
                    <a:pt x="157" y="18"/>
                  </a:lnTo>
                  <a:lnTo>
                    <a:pt x="157" y="18"/>
                  </a:lnTo>
                  <a:lnTo>
                    <a:pt x="151" y="18"/>
                  </a:lnTo>
                  <a:lnTo>
                    <a:pt x="151" y="18"/>
                  </a:lnTo>
                  <a:lnTo>
                    <a:pt x="144" y="18"/>
                  </a:lnTo>
                  <a:lnTo>
                    <a:pt x="144" y="18"/>
                  </a:lnTo>
                  <a:lnTo>
                    <a:pt x="141" y="16"/>
                  </a:lnTo>
                  <a:lnTo>
                    <a:pt x="141" y="16"/>
                  </a:lnTo>
                  <a:lnTo>
                    <a:pt x="138" y="16"/>
                  </a:lnTo>
                  <a:lnTo>
                    <a:pt x="138" y="16"/>
                  </a:lnTo>
                  <a:lnTo>
                    <a:pt x="138" y="16"/>
                  </a:lnTo>
                  <a:lnTo>
                    <a:pt x="138" y="16"/>
                  </a:lnTo>
                  <a:lnTo>
                    <a:pt x="146" y="21"/>
                  </a:lnTo>
                  <a:lnTo>
                    <a:pt x="146" y="21"/>
                  </a:lnTo>
                  <a:lnTo>
                    <a:pt x="147" y="22"/>
                  </a:lnTo>
                  <a:lnTo>
                    <a:pt x="147" y="22"/>
                  </a:lnTo>
                  <a:lnTo>
                    <a:pt x="147" y="24"/>
                  </a:lnTo>
                  <a:lnTo>
                    <a:pt x="147" y="24"/>
                  </a:lnTo>
                  <a:lnTo>
                    <a:pt x="149" y="24"/>
                  </a:lnTo>
                  <a:lnTo>
                    <a:pt x="149" y="24"/>
                  </a:lnTo>
                  <a:lnTo>
                    <a:pt x="147" y="24"/>
                  </a:lnTo>
                  <a:lnTo>
                    <a:pt x="147" y="24"/>
                  </a:lnTo>
                  <a:lnTo>
                    <a:pt x="149" y="24"/>
                  </a:lnTo>
                  <a:lnTo>
                    <a:pt x="149" y="24"/>
                  </a:lnTo>
                  <a:lnTo>
                    <a:pt x="147" y="27"/>
                  </a:lnTo>
                  <a:lnTo>
                    <a:pt x="147" y="27"/>
                  </a:lnTo>
                  <a:lnTo>
                    <a:pt x="147" y="27"/>
                  </a:lnTo>
                  <a:lnTo>
                    <a:pt x="147" y="27"/>
                  </a:lnTo>
                  <a:lnTo>
                    <a:pt x="147" y="30"/>
                  </a:lnTo>
                  <a:lnTo>
                    <a:pt x="147" y="30"/>
                  </a:lnTo>
                  <a:lnTo>
                    <a:pt x="146" y="33"/>
                  </a:lnTo>
                  <a:lnTo>
                    <a:pt x="146" y="33"/>
                  </a:lnTo>
                  <a:lnTo>
                    <a:pt x="147" y="33"/>
                  </a:lnTo>
                  <a:lnTo>
                    <a:pt x="147" y="33"/>
                  </a:lnTo>
                  <a:lnTo>
                    <a:pt x="151" y="35"/>
                  </a:lnTo>
                  <a:lnTo>
                    <a:pt x="151" y="35"/>
                  </a:lnTo>
                  <a:lnTo>
                    <a:pt x="154" y="37"/>
                  </a:lnTo>
                  <a:lnTo>
                    <a:pt x="154" y="37"/>
                  </a:lnTo>
                  <a:lnTo>
                    <a:pt x="155" y="38"/>
                  </a:lnTo>
                  <a:lnTo>
                    <a:pt x="155" y="38"/>
                  </a:lnTo>
                  <a:lnTo>
                    <a:pt x="157" y="40"/>
                  </a:lnTo>
                  <a:lnTo>
                    <a:pt x="157" y="40"/>
                  </a:lnTo>
                  <a:lnTo>
                    <a:pt x="154" y="43"/>
                  </a:lnTo>
                  <a:lnTo>
                    <a:pt x="154" y="43"/>
                  </a:lnTo>
                  <a:lnTo>
                    <a:pt x="154" y="45"/>
                  </a:lnTo>
                  <a:lnTo>
                    <a:pt x="154" y="45"/>
                  </a:lnTo>
                  <a:lnTo>
                    <a:pt x="155" y="51"/>
                  </a:lnTo>
                  <a:lnTo>
                    <a:pt x="155" y="51"/>
                  </a:lnTo>
                  <a:lnTo>
                    <a:pt x="154" y="48"/>
                  </a:lnTo>
                  <a:lnTo>
                    <a:pt x="154" y="48"/>
                  </a:lnTo>
                  <a:lnTo>
                    <a:pt x="151" y="46"/>
                  </a:lnTo>
                  <a:lnTo>
                    <a:pt x="151" y="46"/>
                  </a:lnTo>
                  <a:lnTo>
                    <a:pt x="149" y="48"/>
                  </a:lnTo>
                  <a:lnTo>
                    <a:pt x="149" y="48"/>
                  </a:lnTo>
                  <a:lnTo>
                    <a:pt x="147" y="49"/>
                  </a:lnTo>
                  <a:lnTo>
                    <a:pt x="147" y="49"/>
                  </a:lnTo>
                  <a:lnTo>
                    <a:pt x="146" y="48"/>
                  </a:lnTo>
                  <a:lnTo>
                    <a:pt x="146" y="48"/>
                  </a:lnTo>
                  <a:lnTo>
                    <a:pt x="149" y="46"/>
                  </a:lnTo>
                  <a:lnTo>
                    <a:pt x="149" y="46"/>
                  </a:lnTo>
                  <a:lnTo>
                    <a:pt x="147" y="45"/>
                  </a:lnTo>
                  <a:lnTo>
                    <a:pt x="147" y="45"/>
                  </a:lnTo>
                  <a:lnTo>
                    <a:pt x="146" y="45"/>
                  </a:lnTo>
                  <a:lnTo>
                    <a:pt x="146" y="45"/>
                  </a:lnTo>
                  <a:lnTo>
                    <a:pt x="144" y="43"/>
                  </a:lnTo>
                  <a:lnTo>
                    <a:pt x="144" y="43"/>
                  </a:lnTo>
                  <a:lnTo>
                    <a:pt x="138" y="43"/>
                  </a:lnTo>
                  <a:lnTo>
                    <a:pt x="138" y="43"/>
                  </a:lnTo>
                  <a:lnTo>
                    <a:pt x="135" y="43"/>
                  </a:lnTo>
                  <a:lnTo>
                    <a:pt x="135" y="43"/>
                  </a:lnTo>
                  <a:lnTo>
                    <a:pt x="132" y="45"/>
                  </a:lnTo>
                  <a:lnTo>
                    <a:pt x="132" y="45"/>
                  </a:lnTo>
                  <a:lnTo>
                    <a:pt x="128" y="48"/>
                  </a:lnTo>
                  <a:lnTo>
                    <a:pt x="128" y="48"/>
                  </a:lnTo>
                  <a:lnTo>
                    <a:pt x="125" y="49"/>
                  </a:lnTo>
                  <a:lnTo>
                    <a:pt x="125" y="49"/>
                  </a:lnTo>
                  <a:lnTo>
                    <a:pt x="122" y="51"/>
                  </a:lnTo>
                  <a:lnTo>
                    <a:pt x="122" y="51"/>
                  </a:lnTo>
                  <a:lnTo>
                    <a:pt x="119" y="52"/>
                  </a:lnTo>
                  <a:lnTo>
                    <a:pt x="119" y="52"/>
                  </a:lnTo>
                  <a:lnTo>
                    <a:pt x="116" y="54"/>
                  </a:lnTo>
                  <a:lnTo>
                    <a:pt x="116" y="54"/>
                  </a:lnTo>
                  <a:lnTo>
                    <a:pt x="114" y="56"/>
                  </a:lnTo>
                  <a:lnTo>
                    <a:pt x="114" y="56"/>
                  </a:lnTo>
                  <a:lnTo>
                    <a:pt x="116" y="59"/>
                  </a:lnTo>
                  <a:lnTo>
                    <a:pt x="116" y="59"/>
                  </a:lnTo>
                  <a:lnTo>
                    <a:pt x="120" y="62"/>
                  </a:lnTo>
                  <a:lnTo>
                    <a:pt x="120" y="62"/>
                  </a:lnTo>
                  <a:lnTo>
                    <a:pt x="122" y="65"/>
                  </a:lnTo>
                  <a:lnTo>
                    <a:pt x="122" y="65"/>
                  </a:lnTo>
                  <a:lnTo>
                    <a:pt x="125" y="68"/>
                  </a:lnTo>
                  <a:lnTo>
                    <a:pt x="125" y="68"/>
                  </a:lnTo>
                  <a:lnTo>
                    <a:pt x="122" y="65"/>
                  </a:lnTo>
                  <a:lnTo>
                    <a:pt x="122" y="65"/>
                  </a:lnTo>
                  <a:lnTo>
                    <a:pt x="117" y="65"/>
                  </a:lnTo>
                  <a:lnTo>
                    <a:pt x="117" y="65"/>
                  </a:lnTo>
                  <a:lnTo>
                    <a:pt x="114" y="68"/>
                  </a:lnTo>
                  <a:lnTo>
                    <a:pt x="114" y="68"/>
                  </a:lnTo>
                  <a:lnTo>
                    <a:pt x="112" y="65"/>
                  </a:lnTo>
                  <a:lnTo>
                    <a:pt x="112" y="65"/>
                  </a:lnTo>
                  <a:lnTo>
                    <a:pt x="109" y="65"/>
                  </a:lnTo>
                  <a:lnTo>
                    <a:pt x="109" y="65"/>
                  </a:lnTo>
                  <a:lnTo>
                    <a:pt x="105" y="65"/>
                  </a:lnTo>
                  <a:lnTo>
                    <a:pt x="105" y="65"/>
                  </a:lnTo>
                  <a:lnTo>
                    <a:pt x="103" y="65"/>
                  </a:lnTo>
                  <a:lnTo>
                    <a:pt x="103" y="65"/>
                  </a:lnTo>
                  <a:lnTo>
                    <a:pt x="101" y="65"/>
                  </a:lnTo>
                  <a:lnTo>
                    <a:pt x="101" y="65"/>
                  </a:lnTo>
                  <a:lnTo>
                    <a:pt x="101" y="65"/>
                  </a:lnTo>
                  <a:lnTo>
                    <a:pt x="101" y="65"/>
                  </a:lnTo>
                  <a:lnTo>
                    <a:pt x="103" y="62"/>
                  </a:lnTo>
                  <a:lnTo>
                    <a:pt x="103" y="62"/>
                  </a:lnTo>
                  <a:lnTo>
                    <a:pt x="100" y="62"/>
                  </a:lnTo>
                  <a:lnTo>
                    <a:pt x="100" y="62"/>
                  </a:lnTo>
                  <a:lnTo>
                    <a:pt x="98" y="62"/>
                  </a:lnTo>
                  <a:lnTo>
                    <a:pt x="98" y="62"/>
                  </a:lnTo>
                  <a:lnTo>
                    <a:pt x="93" y="59"/>
                  </a:lnTo>
                  <a:lnTo>
                    <a:pt x="93" y="59"/>
                  </a:lnTo>
                  <a:lnTo>
                    <a:pt x="90" y="59"/>
                  </a:lnTo>
                  <a:lnTo>
                    <a:pt x="90" y="59"/>
                  </a:lnTo>
                  <a:lnTo>
                    <a:pt x="89" y="59"/>
                  </a:lnTo>
                  <a:lnTo>
                    <a:pt x="89" y="59"/>
                  </a:lnTo>
                  <a:lnTo>
                    <a:pt x="89" y="59"/>
                  </a:lnTo>
                  <a:lnTo>
                    <a:pt x="89" y="59"/>
                  </a:lnTo>
                  <a:lnTo>
                    <a:pt x="85" y="62"/>
                  </a:lnTo>
                  <a:lnTo>
                    <a:pt x="85" y="62"/>
                  </a:lnTo>
                  <a:lnTo>
                    <a:pt x="85" y="62"/>
                  </a:lnTo>
                  <a:lnTo>
                    <a:pt x="85" y="62"/>
                  </a:lnTo>
                  <a:lnTo>
                    <a:pt x="89" y="65"/>
                  </a:lnTo>
                  <a:lnTo>
                    <a:pt x="89" y="65"/>
                  </a:lnTo>
                  <a:lnTo>
                    <a:pt x="92" y="68"/>
                  </a:lnTo>
                  <a:lnTo>
                    <a:pt x="92" y="68"/>
                  </a:lnTo>
                  <a:lnTo>
                    <a:pt x="95" y="70"/>
                  </a:lnTo>
                  <a:lnTo>
                    <a:pt x="95" y="70"/>
                  </a:lnTo>
                  <a:lnTo>
                    <a:pt x="97" y="68"/>
                  </a:lnTo>
                  <a:lnTo>
                    <a:pt x="97" y="68"/>
                  </a:lnTo>
                  <a:lnTo>
                    <a:pt x="100" y="68"/>
                  </a:lnTo>
                  <a:lnTo>
                    <a:pt x="100" y="68"/>
                  </a:lnTo>
                  <a:lnTo>
                    <a:pt x="101" y="70"/>
                  </a:lnTo>
                  <a:lnTo>
                    <a:pt x="101" y="70"/>
                  </a:lnTo>
                  <a:lnTo>
                    <a:pt x="101" y="72"/>
                  </a:lnTo>
                  <a:lnTo>
                    <a:pt x="101" y="72"/>
                  </a:lnTo>
                  <a:lnTo>
                    <a:pt x="103" y="73"/>
                  </a:lnTo>
                  <a:lnTo>
                    <a:pt x="103" y="73"/>
                  </a:lnTo>
                  <a:lnTo>
                    <a:pt x="101" y="75"/>
                  </a:lnTo>
                  <a:lnTo>
                    <a:pt x="101" y="75"/>
                  </a:lnTo>
                  <a:lnTo>
                    <a:pt x="100" y="75"/>
                  </a:lnTo>
                  <a:lnTo>
                    <a:pt x="100" y="75"/>
                  </a:lnTo>
                  <a:lnTo>
                    <a:pt x="97" y="76"/>
                  </a:lnTo>
                  <a:lnTo>
                    <a:pt x="97" y="76"/>
                  </a:lnTo>
                  <a:lnTo>
                    <a:pt x="95" y="76"/>
                  </a:lnTo>
                  <a:lnTo>
                    <a:pt x="95" y="76"/>
                  </a:lnTo>
                  <a:lnTo>
                    <a:pt x="89" y="75"/>
                  </a:lnTo>
                  <a:lnTo>
                    <a:pt x="89" y="75"/>
                  </a:lnTo>
                  <a:lnTo>
                    <a:pt x="85" y="73"/>
                  </a:lnTo>
                  <a:lnTo>
                    <a:pt x="85" y="73"/>
                  </a:lnTo>
                  <a:lnTo>
                    <a:pt x="82" y="72"/>
                  </a:lnTo>
                  <a:lnTo>
                    <a:pt x="82" y="72"/>
                  </a:lnTo>
                  <a:lnTo>
                    <a:pt x="82" y="72"/>
                  </a:lnTo>
                  <a:lnTo>
                    <a:pt x="82" y="72"/>
                  </a:lnTo>
                  <a:lnTo>
                    <a:pt x="82" y="70"/>
                  </a:lnTo>
                  <a:lnTo>
                    <a:pt x="82" y="70"/>
                  </a:lnTo>
                  <a:lnTo>
                    <a:pt x="79" y="70"/>
                  </a:lnTo>
                  <a:lnTo>
                    <a:pt x="79" y="70"/>
                  </a:lnTo>
                  <a:lnTo>
                    <a:pt x="78" y="70"/>
                  </a:lnTo>
                  <a:lnTo>
                    <a:pt x="78" y="70"/>
                  </a:lnTo>
                  <a:lnTo>
                    <a:pt x="74" y="70"/>
                  </a:lnTo>
                  <a:lnTo>
                    <a:pt x="74" y="70"/>
                  </a:lnTo>
                  <a:lnTo>
                    <a:pt x="70" y="68"/>
                  </a:lnTo>
                  <a:lnTo>
                    <a:pt x="70" y="68"/>
                  </a:lnTo>
                  <a:lnTo>
                    <a:pt x="71" y="65"/>
                  </a:lnTo>
                  <a:lnTo>
                    <a:pt x="71" y="65"/>
                  </a:lnTo>
                  <a:lnTo>
                    <a:pt x="70" y="65"/>
                  </a:lnTo>
                  <a:lnTo>
                    <a:pt x="70" y="65"/>
                  </a:lnTo>
                  <a:lnTo>
                    <a:pt x="71" y="65"/>
                  </a:lnTo>
                  <a:lnTo>
                    <a:pt x="71" y="65"/>
                  </a:lnTo>
                  <a:lnTo>
                    <a:pt x="70" y="62"/>
                  </a:lnTo>
                  <a:lnTo>
                    <a:pt x="70" y="62"/>
                  </a:lnTo>
                  <a:lnTo>
                    <a:pt x="68" y="62"/>
                  </a:lnTo>
                  <a:lnTo>
                    <a:pt x="68" y="62"/>
                  </a:lnTo>
                  <a:lnTo>
                    <a:pt x="68" y="59"/>
                  </a:lnTo>
                  <a:lnTo>
                    <a:pt x="68" y="59"/>
                  </a:lnTo>
                  <a:lnTo>
                    <a:pt x="66" y="59"/>
                  </a:lnTo>
                  <a:lnTo>
                    <a:pt x="66" y="59"/>
                  </a:lnTo>
                  <a:lnTo>
                    <a:pt x="63" y="57"/>
                  </a:lnTo>
                  <a:lnTo>
                    <a:pt x="63" y="57"/>
                  </a:lnTo>
                  <a:lnTo>
                    <a:pt x="65" y="56"/>
                  </a:lnTo>
                  <a:lnTo>
                    <a:pt x="65" y="56"/>
                  </a:lnTo>
                  <a:lnTo>
                    <a:pt x="66" y="54"/>
                  </a:lnTo>
                  <a:lnTo>
                    <a:pt x="66" y="54"/>
                  </a:lnTo>
                  <a:lnTo>
                    <a:pt x="66" y="52"/>
                  </a:lnTo>
                  <a:lnTo>
                    <a:pt x="66" y="52"/>
                  </a:lnTo>
                  <a:lnTo>
                    <a:pt x="66" y="51"/>
                  </a:lnTo>
                  <a:lnTo>
                    <a:pt x="66" y="51"/>
                  </a:lnTo>
                  <a:lnTo>
                    <a:pt x="63" y="48"/>
                  </a:lnTo>
                  <a:lnTo>
                    <a:pt x="63" y="48"/>
                  </a:lnTo>
                  <a:lnTo>
                    <a:pt x="57" y="46"/>
                  </a:lnTo>
                  <a:lnTo>
                    <a:pt x="57" y="46"/>
                  </a:lnTo>
                  <a:lnTo>
                    <a:pt x="51" y="45"/>
                  </a:lnTo>
                  <a:lnTo>
                    <a:pt x="51" y="45"/>
                  </a:lnTo>
                  <a:lnTo>
                    <a:pt x="54" y="45"/>
                  </a:lnTo>
                  <a:lnTo>
                    <a:pt x="54" y="45"/>
                  </a:lnTo>
                  <a:lnTo>
                    <a:pt x="54" y="43"/>
                  </a:lnTo>
                  <a:lnTo>
                    <a:pt x="54" y="43"/>
                  </a:lnTo>
                  <a:lnTo>
                    <a:pt x="47" y="43"/>
                  </a:lnTo>
                  <a:lnTo>
                    <a:pt x="47" y="43"/>
                  </a:lnTo>
                  <a:lnTo>
                    <a:pt x="51" y="41"/>
                  </a:lnTo>
                  <a:lnTo>
                    <a:pt x="51" y="41"/>
                  </a:lnTo>
                  <a:lnTo>
                    <a:pt x="47" y="40"/>
                  </a:lnTo>
                  <a:lnTo>
                    <a:pt x="47" y="40"/>
                  </a:lnTo>
                  <a:lnTo>
                    <a:pt x="44" y="40"/>
                  </a:lnTo>
                  <a:lnTo>
                    <a:pt x="44" y="40"/>
                  </a:lnTo>
                  <a:lnTo>
                    <a:pt x="44" y="38"/>
                  </a:lnTo>
                  <a:lnTo>
                    <a:pt x="44" y="38"/>
                  </a:lnTo>
                  <a:lnTo>
                    <a:pt x="41" y="38"/>
                  </a:lnTo>
                  <a:lnTo>
                    <a:pt x="41" y="38"/>
                  </a:lnTo>
                  <a:lnTo>
                    <a:pt x="43" y="37"/>
                  </a:lnTo>
                  <a:lnTo>
                    <a:pt x="43" y="37"/>
                  </a:lnTo>
                  <a:lnTo>
                    <a:pt x="39" y="35"/>
                  </a:lnTo>
                  <a:lnTo>
                    <a:pt x="39" y="35"/>
                  </a:lnTo>
                  <a:lnTo>
                    <a:pt x="35" y="33"/>
                  </a:lnTo>
                  <a:lnTo>
                    <a:pt x="35" y="33"/>
                  </a:lnTo>
                  <a:lnTo>
                    <a:pt x="38" y="33"/>
                  </a:lnTo>
                  <a:lnTo>
                    <a:pt x="38" y="33"/>
                  </a:lnTo>
                  <a:lnTo>
                    <a:pt x="41" y="33"/>
                  </a:lnTo>
                  <a:lnTo>
                    <a:pt x="41" y="33"/>
                  </a:lnTo>
                  <a:lnTo>
                    <a:pt x="44" y="35"/>
                  </a:lnTo>
                  <a:lnTo>
                    <a:pt x="44" y="35"/>
                  </a:lnTo>
                  <a:lnTo>
                    <a:pt x="47" y="37"/>
                  </a:lnTo>
                  <a:lnTo>
                    <a:pt x="47" y="37"/>
                  </a:lnTo>
                  <a:lnTo>
                    <a:pt x="51" y="40"/>
                  </a:lnTo>
                  <a:lnTo>
                    <a:pt x="51" y="40"/>
                  </a:lnTo>
                  <a:lnTo>
                    <a:pt x="54" y="40"/>
                  </a:lnTo>
                  <a:lnTo>
                    <a:pt x="54" y="40"/>
                  </a:lnTo>
                  <a:lnTo>
                    <a:pt x="54" y="40"/>
                  </a:lnTo>
                  <a:lnTo>
                    <a:pt x="54" y="40"/>
                  </a:lnTo>
                  <a:lnTo>
                    <a:pt x="55" y="40"/>
                  </a:lnTo>
                  <a:lnTo>
                    <a:pt x="55" y="40"/>
                  </a:lnTo>
                  <a:lnTo>
                    <a:pt x="57" y="38"/>
                  </a:lnTo>
                  <a:lnTo>
                    <a:pt x="57" y="38"/>
                  </a:lnTo>
                  <a:lnTo>
                    <a:pt x="57" y="40"/>
                  </a:lnTo>
                  <a:lnTo>
                    <a:pt x="57" y="40"/>
                  </a:lnTo>
                  <a:lnTo>
                    <a:pt x="59" y="40"/>
                  </a:lnTo>
                  <a:lnTo>
                    <a:pt x="59" y="40"/>
                  </a:lnTo>
                  <a:lnTo>
                    <a:pt x="62" y="41"/>
                  </a:lnTo>
                  <a:lnTo>
                    <a:pt x="62" y="41"/>
                  </a:lnTo>
                  <a:lnTo>
                    <a:pt x="66" y="41"/>
                  </a:lnTo>
                  <a:lnTo>
                    <a:pt x="66" y="41"/>
                  </a:lnTo>
                  <a:lnTo>
                    <a:pt x="73" y="45"/>
                  </a:lnTo>
                  <a:lnTo>
                    <a:pt x="73" y="45"/>
                  </a:lnTo>
                  <a:lnTo>
                    <a:pt x="79" y="45"/>
                  </a:lnTo>
                  <a:lnTo>
                    <a:pt x="79" y="45"/>
                  </a:lnTo>
                  <a:lnTo>
                    <a:pt x="89" y="46"/>
                  </a:lnTo>
                  <a:lnTo>
                    <a:pt x="89" y="46"/>
                  </a:lnTo>
                  <a:lnTo>
                    <a:pt x="97" y="48"/>
                  </a:lnTo>
                  <a:lnTo>
                    <a:pt x="97" y="48"/>
                  </a:lnTo>
                  <a:lnTo>
                    <a:pt x="105" y="48"/>
                  </a:lnTo>
                  <a:lnTo>
                    <a:pt x="105" y="48"/>
                  </a:lnTo>
                  <a:lnTo>
                    <a:pt x="111" y="46"/>
                  </a:lnTo>
                  <a:lnTo>
                    <a:pt x="111" y="46"/>
                  </a:lnTo>
                  <a:lnTo>
                    <a:pt x="116" y="45"/>
                  </a:lnTo>
                  <a:lnTo>
                    <a:pt x="116" y="45"/>
                  </a:lnTo>
                  <a:lnTo>
                    <a:pt x="122" y="40"/>
                  </a:lnTo>
                  <a:lnTo>
                    <a:pt x="122" y="40"/>
                  </a:lnTo>
                  <a:lnTo>
                    <a:pt x="125" y="37"/>
                  </a:lnTo>
                  <a:lnTo>
                    <a:pt x="125" y="37"/>
                  </a:lnTo>
                  <a:lnTo>
                    <a:pt x="124" y="35"/>
                  </a:lnTo>
                  <a:lnTo>
                    <a:pt x="124" y="35"/>
                  </a:lnTo>
                  <a:lnTo>
                    <a:pt x="122" y="33"/>
                  </a:lnTo>
                  <a:lnTo>
                    <a:pt x="122" y="33"/>
                  </a:lnTo>
                  <a:lnTo>
                    <a:pt x="120" y="33"/>
                  </a:lnTo>
                  <a:lnTo>
                    <a:pt x="120" y="33"/>
                  </a:lnTo>
                  <a:lnTo>
                    <a:pt x="120" y="30"/>
                  </a:lnTo>
                  <a:lnTo>
                    <a:pt x="120" y="30"/>
                  </a:lnTo>
                  <a:lnTo>
                    <a:pt x="119" y="27"/>
                  </a:lnTo>
                  <a:lnTo>
                    <a:pt x="119" y="27"/>
                  </a:lnTo>
                  <a:lnTo>
                    <a:pt x="117" y="27"/>
                  </a:lnTo>
                  <a:lnTo>
                    <a:pt x="117" y="27"/>
                  </a:lnTo>
                  <a:lnTo>
                    <a:pt x="114" y="27"/>
                  </a:lnTo>
                  <a:lnTo>
                    <a:pt x="114" y="27"/>
                  </a:lnTo>
                  <a:lnTo>
                    <a:pt x="111" y="24"/>
                  </a:lnTo>
                  <a:lnTo>
                    <a:pt x="111" y="24"/>
                  </a:lnTo>
                  <a:lnTo>
                    <a:pt x="106" y="22"/>
                  </a:lnTo>
                  <a:lnTo>
                    <a:pt x="106" y="22"/>
                  </a:lnTo>
                  <a:lnTo>
                    <a:pt x="106" y="24"/>
                  </a:lnTo>
                  <a:lnTo>
                    <a:pt x="106" y="24"/>
                  </a:lnTo>
                  <a:lnTo>
                    <a:pt x="101" y="22"/>
                  </a:lnTo>
                  <a:lnTo>
                    <a:pt x="101" y="22"/>
                  </a:lnTo>
                  <a:lnTo>
                    <a:pt x="95" y="19"/>
                  </a:lnTo>
                  <a:lnTo>
                    <a:pt x="95" y="19"/>
                  </a:lnTo>
                  <a:lnTo>
                    <a:pt x="97" y="21"/>
                  </a:lnTo>
                  <a:lnTo>
                    <a:pt x="97" y="21"/>
                  </a:lnTo>
                  <a:lnTo>
                    <a:pt x="90" y="18"/>
                  </a:lnTo>
                  <a:lnTo>
                    <a:pt x="90" y="18"/>
                  </a:lnTo>
                  <a:lnTo>
                    <a:pt x="85" y="14"/>
                  </a:lnTo>
                  <a:lnTo>
                    <a:pt x="85" y="14"/>
                  </a:lnTo>
                  <a:lnTo>
                    <a:pt x="70" y="10"/>
                  </a:lnTo>
                  <a:lnTo>
                    <a:pt x="70" y="10"/>
                  </a:lnTo>
                  <a:lnTo>
                    <a:pt x="63" y="10"/>
                  </a:lnTo>
                  <a:lnTo>
                    <a:pt x="63" y="10"/>
                  </a:lnTo>
                  <a:lnTo>
                    <a:pt x="57" y="8"/>
                  </a:lnTo>
                  <a:lnTo>
                    <a:pt x="57" y="8"/>
                  </a:lnTo>
                  <a:lnTo>
                    <a:pt x="51" y="8"/>
                  </a:lnTo>
                  <a:lnTo>
                    <a:pt x="51" y="8"/>
                  </a:lnTo>
                  <a:lnTo>
                    <a:pt x="47" y="8"/>
                  </a:lnTo>
                  <a:lnTo>
                    <a:pt x="47" y="8"/>
                  </a:lnTo>
                  <a:lnTo>
                    <a:pt x="44" y="10"/>
                  </a:lnTo>
                  <a:lnTo>
                    <a:pt x="44" y="10"/>
                  </a:lnTo>
                  <a:lnTo>
                    <a:pt x="44" y="10"/>
                  </a:lnTo>
                  <a:lnTo>
                    <a:pt x="44" y="10"/>
                  </a:lnTo>
                  <a:lnTo>
                    <a:pt x="44" y="8"/>
                  </a:lnTo>
                  <a:lnTo>
                    <a:pt x="44" y="8"/>
                  </a:lnTo>
                  <a:lnTo>
                    <a:pt x="44" y="8"/>
                  </a:lnTo>
                  <a:lnTo>
                    <a:pt x="44" y="8"/>
                  </a:lnTo>
                  <a:lnTo>
                    <a:pt x="44" y="6"/>
                  </a:lnTo>
                  <a:lnTo>
                    <a:pt x="44" y="6"/>
                  </a:lnTo>
                  <a:lnTo>
                    <a:pt x="43" y="6"/>
                  </a:lnTo>
                  <a:lnTo>
                    <a:pt x="43" y="6"/>
                  </a:lnTo>
                  <a:lnTo>
                    <a:pt x="39" y="8"/>
                  </a:lnTo>
                  <a:lnTo>
                    <a:pt x="39" y="8"/>
                  </a:lnTo>
                  <a:lnTo>
                    <a:pt x="41" y="6"/>
                  </a:lnTo>
                  <a:lnTo>
                    <a:pt x="41" y="6"/>
                  </a:lnTo>
                  <a:lnTo>
                    <a:pt x="36" y="5"/>
                  </a:lnTo>
                  <a:lnTo>
                    <a:pt x="36" y="5"/>
                  </a:lnTo>
                  <a:lnTo>
                    <a:pt x="39" y="5"/>
                  </a:lnTo>
                  <a:lnTo>
                    <a:pt x="39" y="5"/>
                  </a:lnTo>
                  <a:lnTo>
                    <a:pt x="41" y="2"/>
                  </a:lnTo>
                  <a:lnTo>
                    <a:pt x="41" y="2"/>
                  </a:lnTo>
                  <a:lnTo>
                    <a:pt x="35" y="2"/>
                  </a:lnTo>
                  <a:lnTo>
                    <a:pt x="35" y="2"/>
                  </a:lnTo>
                  <a:lnTo>
                    <a:pt x="32" y="0"/>
                  </a:lnTo>
                  <a:lnTo>
                    <a:pt x="32" y="0"/>
                  </a:lnTo>
                  <a:lnTo>
                    <a:pt x="30" y="0"/>
                  </a:lnTo>
                  <a:lnTo>
                    <a:pt x="30" y="0"/>
                  </a:lnTo>
                  <a:lnTo>
                    <a:pt x="28" y="0"/>
                  </a:lnTo>
                  <a:lnTo>
                    <a:pt x="28" y="0"/>
                  </a:lnTo>
                  <a:lnTo>
                    <a:pt x="27" y="2"/>
                  </a:lnTo>
                  <a:lnTo>
                    <a:pt x="27" y="2"/>
                  </a:lnTo>
                  <a:lnTo>
                    <a:pt x="25" y="3"/>
                  </a:lnTo>
                  <a:lnTo>
                    <a:pt x="25" y="3"/>
                  </a:lnTo>
                  <a:lnTo>
                    <a:pt x="19" y="2"/>
                  </a:lnTo>
                  <a:lnTo>
                    <a:pt x="19" y="2"/>
                  </a:lnTo>
                  <a:lnTo>
                    <a:pt x="20" y="3"/>
                  </a:lnTo>
                  <a:lnTo>
                    <a:pt x="20" y="3"/>
                  </a:lnTo>
                  <a:lnTo>
                    <a:pt x="19" y="2"/>
                  </a:lnTo>
                  <a:lnTo>
                    <a:pt x="19" y="2"/>
                  </a:lnTo>
                  <a:lnTo>
                    <a:pt x="16" y="3"/>
                  </a:lnTo>
                  <a:lnTo>
                    <a:pt x="16" y="3"/>
                  </a:lnTo>
                  <a:lnTo>
                    <a:pt x="16" y="2"/>
                  </a:lnTo>
                  <a:lnTo>
                    <a:pt x="16" y="2"/>
                  </a:lnTo>
                  <a:lnTo>
                    <a:pt x="12" y="0"/>
                  </a:lnTo>
                  <a:lnTo>
                    <a:pt x="12" y="0"/>
                  </a:lnTo>
                  <a:lnTo>
                    <a:pt x="12" y="3"/>
                  </a:lnTo>
                  <a:lnTo>
                    <a:pt x="12" y="3"/>
                  </a:lnTo>
                  <a:lnTo>
                    <a:pt x="12" y="5"/>
                  </a:lnTo>
                  <a:lnTo>
                    <a:pt x="12" y="5"/>
                  </a:lnTo>
                  <a:lnTo>
                    <a:pt x="12" y="6"/>
                  </a:lnTo>
                  <a:lnTo>
                    <a:pt x="12" y="6"/>
                  </a:lnTo>
                  <a:lnTo>
                    <a:pt x="11" y="8"/>
                  </a:lnTo>
                  <a:lnTo>
                    <a:pt x="11" y="8"/>
                  </a:lnTo>
                  <a:lnTo>
                    <a:pt x="9" y="8"/>
                  </a:lnTo>
                  <a:lnTo>
                    <a:pt x="9" y="8"/>
                  </a:lnTo>
                  <a:lnTo>
                    <a:pt x="8" y="8"/>
                  </a:lnTo>
                  <a:lnTo>
                    <a:pt x="8" y="8"/>
                  </a:lnTo>
                  <a:lnTo>
                    <a:pt x="6" y="11"/>
                  </a:lnTo>
                  <a:lnTo>
                    <a:pt x="6" y="11"/>
                  </a:lnTo>
                  <a:lnTo>
                    <a:pt x="3" y="13"/>
                  </a:lnTo>
                  <a:lnTo>
                    <a:pt x="3" y="13"/>
                  </a:lnTo>
                  <a:lnTo>
                    <a:pt x="0" y="13"/>
                  </a:lnTo>
                  <a:lnTo>
                    <a:pt x="0" y="13"/>
                  </a:lnTo>
                  <a:lnTo>
                    <a:pt x="1" y="14"/>
                  </a:lnTo>
                  <a:lnTo>
                    <a:pt x="1" y="14"/>
                  </a:lnTo>
                  <a:lnTo>
                    <a:pt x="3" y="14"/>
                  </a:lnTo>
                  <a:lnTo>
                    <a:pt x="3" y="14"/>
                  </a:lnTo>
                  <a:lnTo>
                    <a:pt x="1" y="16"/>
                  </a:lnTo>
                  <a:lnTo>
                    <a:pt x="1" y="16"/>
                  </a:lnTo>
                  <a:lnTo>
                    <a:pt x="0" y="18"/>
                  </a:lnTo>
                  <a:lnTo>
                    <a:pt x="0" y="18"/>
                  </a:lnTo>
                  <a:lnTo>
                    <a:pt x="0" y="18"/>
                  </a:lnTo>
                  <a:lnTo>
                    <a:pt x="0" y="18"/>
                  </a:lnTo>
                  <a:lnTo>
                    <a:pt x="0" y="19"/>
                  </a:lnTo>
                  <a:lnTo>
                    <a:pt x="0" y="19"/>
                  </a:lnTo>
                  <a:lnTo>
                    <a:pt x="0" y="19"/>
                  </a:lnTo>
                  <a:lnTo>
                    <a:pt x="0" y="19"/>
                  </a:lnTo>
                  <a:lnTo>
                    <a:pt x="3" y="21"/>
                  </a:lnTo>
                  <a:lnTo>
                    <a:pt x="3" y="21"/>
                  </a:lnTo>
                  <a:lnTo>
                    <a:pt x="6" y="22"/>
                  </a:lnTo>
                  <a:lnTo>
                    <a:pt x="6" y="22"/>
                  </a:lnTo>
                  <a:lnTo>
                    <a:pt x="9" y="24"/>
                  </a:lnTo>
                  <a:lnTo>
                    <a:pt x="9" y="24"/>
                  </a:lnTo>
                  <a:lnTo>
                    <a:pt x="16" y="27"/>
                  </a:lnTo>
                  <a:lnTo>
                    <a:pt x="16" y="27"/>
                  </a:lnTo>
                  <a:lnTo>
                    <a:pt x="16" y="30"/>
                  </a:lnTo>
                  <a:lnTo>
                    <a:pt x="16" y="30"/>
                  </a:lnTo>
                  <a:lnTo>
                    <a:pt x="16" y="30"/>
                  </a:lnTo>
                  <a:lnTo>
                    <a:pt x="16" y="30"/>
                  </a:lnTo>
                  <a:lnTo>
                    <a:pt x="12" y="33"/>
                  </a:lnTo>
                  <a:lnTo>
                    <a:pt x="12" y="33"/>
                  </a:lnTo>
                  <a:lnTo>
                    <a:pt x="9" y="35"/>
                  </a:lnTo>
                  <a:lnTo>
                    <a:pt x="9" y="35"/>
                  </a:lnTo>
                  <a:lnTo>
                    <a:pt x="9" y="37"/>
                  </a:lnTo>
                  <a:lnTo>
                    <a:pt x="9" y="37"/>
                  </a:lnTo>
                  <a:lnTo>
                    <a:pt x="9" y="38"/>
                  </a:lnTo>
                  <a:lnTo>
                    <a:pt x="9" y="38"/>
                  </a:lnTo>
                  <a:lnTo>
                    <a:pt x="16" y="45"/>
                  </a:lnTo>
                  <a:lnTo>
                    <a:pt x="16" y="45"/>
                  </a:lnTo>
                  <a:lnTo>
                    <a:pt x="19" y="49"/>
                  </a:lnTo>
                  <a:lnTo>
                    <a:pt x="19" y="49"/>
                  </a:lnTo>
                  <a:lnTo>
                    <a:pt x="20" y="52"/>
                  </a:lnTo>
                  <a:lnTo>
                    <a:pt x="20" y="52"/>
                  </a:lnTo>
                  <a:lnTo>
                    <a:pt x="19" y="54"/>
                  </a:lnTo>
                  <a:lnTo>
                    <a:pt x="19" y="54"/>
                  </a:lnTo>
                  <a:lnTo>
                    <a:pt x="19" y="56"/>
                  </a:lnTo>
                  <a:lnTo>
                    <a:pt x="19" y="56"/>
                  </a:lnTo>
                  <a:lnTo>
                    <a:pt x="19" y="57"/>
                  </a:lnTo>
                  <a:lnTo>
                    <a:pt x="19" y="57"/>
                  </a:lnTo>
                  <a:lnTo>
                    <a:pt x="19" y="59"/>
                  </a:lnTo>
                  <a:lnTo>
                    <a:pt x="19" y="59"/>
                  </a:lnTo>
                  <a:lnTo>
                    <a:pt x="19" y="59"/>
                  </a:lnTo>
                  <a:lnTo>
                    <a:pt x="19" y="59"/>
                  </a:lnTo>
                  <a:lnTo>
                    <a:pt x="19" y="62"/>
                  </a:lnTo>
                  <a:lnTo>
                    <a:pt x="19" y="62"/>
                  </a:lnTo>
                  <a:lnTo>
                    <a:pt x="19" y="62"/>
                  </a:lnTo>
                  <a:lnTo>
                    <a:pt x="19" y="62"/>
                  </a:lnTo>
                  <a:lnTo>
                    <a:pt x="20" y="65"/>
                  </a:lnTo>
                  <a:lnTo>
                    <a:pt x="20" y="65"/>
                  </a:lnTo>
                  <a:lnTo>
                    <a:pt x="22" y="65"/>
                  </a:lnTo>
                  <a:lnTo>
                    <a:pt x="22" y="65"/>
                  </a:lnTo>
                  <a:lnTo>
                    <a:pt x="24" y="65"/>
                  </a:lnTo>
                  <a:lnTo>
                    <a:pt x="24" y="65"/>
                  </a:lnTo>
                  <a:lnTo>
                    <a:pt x="22" y="68"/>
                  </a:lnTo>
                  <a:lnTo>
                    <a:pt x="22" y="68"/>
                  </a:lnTo>
                  <a:lnTo>
                    <a:pt x="24" y="68"/>
                  </a:lnTo>
                  <a:lnTo>
                    <a:pt x="24" y="68"/>
                  </a:lnTo>
                  <a:lnTo>
                    <a:pt x="28" y="70"/>
                  </a:lnTo>
                  <a:lnTo>
                    <a:pt x="28" y="70"/>
                  </a:lnTo>
                  <a:lnTo>
                    <a:pt x="30" y="72"/>
                  </a:lnTo>
                  <a:lnTo>
                    <a:pt x="30" y="72"/>
                  </a:lnTo>
                  <a:lnTo>
                    <a:pt x="28" y="75"/>
                  </a:lnTo>
                  <a:lnTo>
                    <a:pt x="28" y="75"/>
                  </a:lnTo>
                  <a:lnTo>
                    <a:pt x="24" y="78"/>
                  </a:lnTo>
                  <a:lnTo>
                    <a:pt x="24" y="78"/>
                  </a:lnTo>
                  <a:lnTo>
                    <a:pt x="39" y="86"/>
                  </a:lnTo>
                  <a:lnTo>
                    <a:pt x="39" y="86"/>
                  </a:lnTo>
                  <a:lnTo>
                    <a:pt x="41" y="86"/>
                  </a:lnTo>
                  <a:lnTo>
                    <a:pt x="41" y="86"/>
                  </a:lnTo>
                  <a:lnTo>
                    <a:pt x="41" y="89"/>
                  </a:lnTo>
                  <a:lnTo>
                    <a:pt x="41" y="89"/>
                  </a:lnTo>
                  <a:lnTo>
                    <a:pt x="41" y="89"/>
                  </a:lnTo>
                  <a:lnTo>
                    <a:pt x="41" y="89"/>
                  </a:lnTo>
                  <a:lnTo>
                    <a:pt x="39" y="92"/>
                  </a:lnTo>
                  <a:lnTo>
                    <a:pt x="39" y="92"/>
                  </a:lnTo>
                  <a:lnTo>
                    <a:pt x="38" y="94"/>
                  </a:lnTo>
                  <a:lnTo>
                    <a:pt x="38" y="94"/>
                  </a:lnTo>
                  <a:lnTo>
                    <a:pt x="36" y="95"/>
                  </a:lnTo>
                  <a:lnTo>
                    <a:pt x="36" y="95"/>
                  </a:lnTo>
                  <a:lnTo>
                    <a:pt x="22" y="108"/>
                  </a:lnTo>
                  <a:lnTo>
                    <a:pt x="22" y="108"/>
                  </a:lnTo>
                  <a:lnTo>
                    <a:pt x="16" y="114"/>
                  </a:lnTo>
                  <a:lnTo>
                    <a:pt x="16" y="114"/>
                  </a:lnTo>
                  <a:lnTo>
                    <a:pt x="9" y="118"/>
                  </a:lnTo>
                  <a:lnTo>
                    <a:pt x="9" y="118"/>
                  </a:lnTo>
                  <a:lnTo>
                    <a:pt x="11" y="118"/>
                  </a:lnTo>
                  <a:lnTo>
                    <a:pt x="11" y="118"/>
                  </a:lnTo>
                  <a:lnTo>
                    <a:pt x="12" y="118"/>
                  </a:lnTo>
                  <a:lnTo>
                    <a:pt x="12" y="118"/>
                  </a:lnTo>
                  <a:lnTo>
                    <a:pt x="12" y="118"/>
                  </a:lnTo>
                  <a:lnTo>
                    <a:pt x="12" y="118"/>
                  </a:lnTo>
                  <a:lnTo>
                    <a:pt x="16" y="118"/>
                  </a:lnTo>
                  <a:lnTo>
                    <a:pt x="16" y="118"/>
                  </a:lnTo>
                  <a:lnTo>
                    <a:pt x="19" y="118"/>
                  </a:lnTo>
                  <a:lnTo>
                    <a:pt x="19" y="118"/>
                  </a:lnTo>
                  <a:lnTo>
                    <a:pt x="16" y="118"/>
                  </a:lnTo>
                  <a:lnTo>
                    <a:pt x="16" y="118"/>
                  </a:lnTo>
                  <a:lnTo>
                    <a:pt x="19" y="121"/>
                  </a:lnTo>
                  <a:lnTo>
                    <a:pt x="19" y="121"/>
                  </a:lnTo>
                  <a:lnTo>
                    <a:pt x="22" y="124"/>
                  </a:lnTo>
                  <a:lnTo>
                    <a:pt x="22" y="124"/>
                  </a:lnTo>
                  <a:lnTo>
                    <a:pt x="25" y="124"/>
                  </a:lnTo>
                  <a:lnTo>
                    <a:pt x="25" y="124"/>
                  </a:lnTo>
                  <a:lnTo>
                    <a:pt x="28" y="124"/>
                  </a:lnTo>
                  <a:lnTo>
                    <a:pt x="28" y="124"/>
                  </a:lnTo>
                  <a:lnTo>
                    <a:pt x="30" y="124"/>
                  </a:lnTo>
                  <a:lnTo>
                    <a:pt x="30" y="124"/>
                  </a:lnTo>
                  <a:lnTo>
                    <a:pt x="33" y="125"/>
                  </a:lnTo>
                  <a:lnTo>
                    <a:pt x="33" y="125"/>
                  </a:lnTo>
                  <a:lnTo>
                    <a:pt x="33" y="127"/>
                  </a:lnTo>
                  <a:lnTo>
                    <a:pt x="33" y="127"/>
                  </a:lnTo>
                  <a:lnTo>
                    <a:pt x="28" y="125"/>
                  </a:lnTo>
                  <a:lnTo>
                    <a:pt x="28" y="125"/>
                  </a:lnTo>
                  <a:lnTo>
                    <a:pt x="25" y="125"/>
                  </a:lnTo>
                  <a:lnTo>
                    <a:pt x="25" y="125"/>
                  </a:lnTo>
                  <a:lnTo>
                    <a:pt x="24" y="125"/>
                  </a:lnTo>
                  <a:lnTo>
                    <a:pt x="24" y="125"/>
                  </a:lnTo>
                  <a:lnTo>
                    <a:pt x="22" y="127"/>
                  </a:lnTo>
                  <a:lnTo>
                    <a:pt x="22" y="127"/>
                  </a:lnTo>
                  <a:lnTo>
                    <a:pt x="19" y="129"/>
                  </a:lnTo>
                  <a:lnTo>
                    <a:pt x="19" y="129"/>
                  </a:lnTo>
                  <a:lnTo>
                    <a:pt x="19" y="127"/>
                  </a:lnTo>
                  <a:lnTo>
                    <a:pt x="19" y="127"/>
                  </a:lnTo>
                  <a:lnTo>
                    <a:pt x="16" y="127"/>
                  </a:lnTo>
                  <a:lnTo>
                    <a:pt x="16" y="127"/>
                  </a:lnTo>
                  <a:lnTo>
                    <a:pt x="16" y="129"/>
                  </a:lnTo>
                  <a:lnTo>
                    <a:pt x="16" y="129"/>
                  </a:lnTo>
                  <a:lnTo>
                    <a:pt x="16" y="130"/>
                  </a:lnTo>
                  <a:lnTo>
                    <a:pt x="16" y="130"/>
                  </a:lnTo>
                  <a:lnTo>
                    <a:pt x="12" y="129"/>
                  </a:lnTo>
                  <a:lnTo>
                    <a:pt x="12" y="129"/>
                  </a:lnTo>
                  <a:lnTo>
                    <a:pt x="12" y="129"/>
                  </a:lnTo>
                  <a:lnTo>
                    <a:pt x="12" y="129"/>
                  </a:lnTo>
                  <a:lnTo>
                    <a:pt x="12" y="130"/>
                  </a:lnTo>
                  <a:lnTo>
                    <a:pt x="12" y="130"/>
                  </a:lnTo>
                  <a:lnTo>
                    <a:pt x="12" y="132"/>
                  </a:lnTo>
                  <a:lnTo>
                    <a:pt x="12" y="132"/>
                  </a:lnTo>
                  <a:lnTo>
                    <a:pt x="16" y="135"/>
                  </a:lnTo>
                  <a:lnTo>
                    <a:pt x="16" y="135"/>
                  </a:lnTo>
                  <a:lnTo>
                    <a:pt x="12" y="135"/>
                  </a:lnTo>
                  <a:lnTo>
                    <a:pt x="12" y="135"/>
                  </a:lnTo>
                  <a:lnTo>
                    <a:pt x="12" y="135"/>
                  </a:lnTo>
                  <a:lnTo>
                    <a:pt x="12" y="135"/>
                  </a:lnTo>
                  <a:lnTo>
                    <a:pt x="9" y="138"/>
                  </a:lnTo>
                  <a:lnTo>
                    <a:pt x="9" y="138"/>
                  </a:lnTo>
                  <a:lnTo>
                    <a:pt x="9" y="140"/>
                  </a:lnTo>
                  <a:lnTo>
                    <a:pt x="9" y="140"/>
                  </a:lnTo>
                  <a:lnTo>
                    <a:pt x="8" y="143"/>
                  </a:lnTo>
                  <a:lnTo>
                    <a:pt x="8" y="143"/>
                  </a:lnTo>
                  <a:lnTo>
                    <a:pt x="9" y="145"/>
                  </a:lnTo>
                  <a:lnTo>
                    <a:pt x="9" y="145"/>
                  </a:lnTo>
                  <a:lnTo>
                    <a:pt x="9" y="148"/>
                  </a:lnTo>
                  <a:lnTo>
                    <a:pt x="9" y="148"/>
                  </a:lnTo>
                  <a:lnTo>
                    <a:pt x="9" y="149"/>
                  </a:lnTo>
                  <a:lnTo>
                    <a:pt x="9" y="149"/>
                  </a:lnTo>
                  <a:lnTo>
                    <a:pt x="9" y="149"/>
                  </a:lnTo>
                  <a:lnTo>
                    <a:pt x="9" y="149"/>
                  </a:lnTo>
                  <a:lnTo>
                    <a:pt x="9" y="152"/>
                  </a:lnTo>
                  <a:lnTo>
                    <a:pt x="9" y="152"/>
                  </a:lnTo>
                  <a:lnTo>
                    <a:pt x="12" y="156"/>
                  </a:lnTo>
                  <a:lnTo>
                    <a:pt x="12" y="156"/>
                  </a:lnTo>
                  <a:lnTo>
                    <a:pt x="9" y="159"/>
                  </a:lnTo>
                  <a:lnTo>
                    <a:pt x="9" y="159"/>
                  </a:lnTo>
                  <a:lnTo>
                    <a:pt x="9" y="159"/>
                  </a:lnTo>
                  <a:lnTo>
                    <a:pt x="9" y="159"/>
                  </a:lnTo>
                  <a:lnTo>
                    <a:pt x="12" y="160"/>
                  </a:lnTo>
                  <a:lnTo>
                    <a:pt x="12" y="160"/>
                  </a:lnTo>
                  <a:lnTo>
                    <a:pt x="12" y="162"/>
                  </a:lnTo>
                  <a:lnTo>
                    <a:pt x="12" y="162"/>
                  </a:lnTo>
                  <a:lnTo>
                    <a:pt x="12" y="164"/>
                  </a:lnTo>
                  <a:lnTo>
                    <a:pt x="12" y="164"/>
                  </a:lnTo>
                  <a:lnTo>
                    <a:pt x="12" y="167"/>
                  </a:lnTo>
                  <a:lnTo>
                    <a:pt x="12" y="167"/>
                  </a:lnTo>
                  <a:lnTo>
                    <a:pt x="12" y="168"/>
                  </a:lnTo>
                  <a:lnTo>
                    <a:pt x="12" y="168"/>
                  </a:lnTo>
                  <a:lnTo>
                    <a:pt x="16" y="168"/>
                  </a:lnTo>
                  <a:lnTo>
                    <a:pt x="16" y="168"/>
                  </a:lnTo>
                  <a:lnTo>
                    <a:pt x="16" y="170"/>
                  </a:lnTo>
                  <a:lnTo>
                    <a:pt x="16" y="170"/>
                  </a:lnTo>
                  <a:lnTo>
                    <a:pt x="19" y="173"/>
                  </a:lnTo>
                  <a:lnTo>
                    <a:pt x="19" y="173"/>
                  </a:lnTo>
                  <a:lnTo>
                    <a:pt x="19" y="176"/>
                  </a:lnTo>
                  <a:lnTo>
                    <a:pt x="19" y="176"/>
                  </a:lnTo>
                  <a:lnTo>
                    <a:pt x="20" y="178"/>
                  </a:lnTo>
                  <a:lnTo>
                    <a:pt x="20" y="178"/>
                  </a:lnTo>
                  <a:lnTo>
                    <a:pt x="20" y="178"/>
                  </a:lnTo>
                  <a:lnTo>
                    <a:pt x="20" y="178"/>
                  </a:lnTo>
                  <a:lnTo>
                    <a:pt x="20" y="179"/>
                  </a:lnTo>
                  <a:lnTo>
                    <a:pt x="20" y="179"/>
                  </a:lnTo>
                  <a:lnTo>
                    <a:pt x="22" y="179"/>
                  </a:lnTo>
                  <a:lnTo>
                    <a:pt x="22" y="179"/>
                  </a:lnTo>
                  <a:lnTo>
                    <a:pt x="24" y="179"/>
                  </a:lnTo>
                  <a:lnTo>
                    <a:pt x="24" y="179"/>
                  </a:lnTo>
                  <a:lnTo>
                    <a:pt x="27" y="179"/>
                  </a:lnTo>
                  <a:lnTo>
                    <a:pt x="27" y="179"/>
                  </a:lnTo>
                  <a:lnTo>
                    <a:pt x="28" y="179"/>
                  </a:lnTo>
                  <a:lnTo>
                    <a:pt x="28" y="179"/>
                  </a:lnTo>
                  <a:lnTo>
                    <a:pt x="32" y="179"/>
                  </a:lnTo>
                  <a:lnTo>
                    <a:pt x="32" y="179"/>
                  </a:lnTo>
                  <a:lnTo>
                    <a:pt x="33" y="181"/>
                  </a:lnTo>
                  <a:lnTo>
                    <a:pt x="33" y="181"/>
                  </a:lnTo>
                  <a:lnTo>
                    <a:pt x="33" y="183"/>
                  </a:lnTo>
                  <a:lnTo>
                    <a:pt x="33" y="183"/>
                  </a:lnTo>
                  <a:lnTo>
                    <a:pt x="35" y="184"/>
                  </a:lnTo>
                  <a:lnTo>
                    <a:pt x="35" y="184"/>
                  </a:lnTo>
                  <a:lnTo>
                    <a:pt x="38" y="183"/>
                  </a:lnTo>
                  <a:lnTo>
                    <a:pt x="38" y="183"/>
                  </a:lnTo>
                  <a:lnTo>
                    <a:pt x="43" y="183"/>
                  </a:lnTo>
                  <a:lnTo>
                    <a:pt x="43" y="183"/>
                  </a:lnTo>
                  <a:lnTo>
                    <a:pt x="47" y="184"/>
                  </a:lnTo>
                  <a:lnTo>
                    <a:pt x="47" y="184"/>
                  </a:lnTo>
                  <a:lnTo>
                    <a:pt x="51" y="184"/>
                  </a:lnTo>
                  <a:lnTo>
                    <a:pt x="51" y="184"/>
                  </a:lnTo>
                  <a:lnTo>
                    <a:pt x="51" y="187"/>
                  </a:lnTo>
                  <a:lnTo>
                    <a:pt x="51" y="187"/>
                  </a:lnTo>
                  <a:lnTo>
                    <a:pt x="51" y="191"/>
                  </a:lnTo>
                  <a:lnTo>
                    <a:pt x="51" y="191"/>
                  </a:lnTo>
                  <a:lnTo>
                    <a:pt x="51" y="191"/>
                  </a:lnTo>
                  <a:lnTo>
                    <a:pt x="51" y="191"/>
                  </a:lnTo>
                  <a:lnTo>
                    <a:pt x="51" y="194"/>
                  </a:lnTo>
                  <a:lnTo>
                    <a:pt x="51" y="194"/>
                  </a:lnTo>
                  <a:lnTo>
                    <a:pt x="51" y="195"/>
                  </a:lnTo>
                  <a:lnTo>
                    <a:pt x="51" y="195"/>
                  </a:lnTo>
                  <a:lnTo>
                    <a:pt x="51" y="197"/>
                  </a:lnTo>
                  <a:lnTo>
                    <a:pt x="51" y="197"/>
                  </a:lnTo>
                  <a:lnTo>
                    <a:pt x="54" y="200"/>
                  </a:lnTo>
                  <a:lnTo>
                    <a:pt x="54" y="200"/>
                  </a:lnTo>
                  <a:lnTo>
                    <a:pt x="55" y="203"/>
                  </a:lnTo>
                  <a:lnTo>
                    <a:pt x="55" y="203"/>
                  </a:lnTo>
                  <a:lnTo>
                    <a:pt x="59" y="205"/>
                  </a:lnTo>
                  <a:lnTo>
                    <a:pt x="59" y="205"/>
                  </a:lnTo>
                  <a:lnTo>
                    <a:pt x="60" y="205"/>
                  </a:lnTo>
                  <a:lnTo>
                    <a:pt x="60" y="205"/>
                  </a:lnTo>
                  <a:lnTo>
                    <a:pt x="62" y="205"/>
                  </a:lnTo>
                  <a:lnTo>
                    <a:pt x="62" y="205"/>
                  </a:lnTo>
                  <a:lnTo>
                    <a:pt x="62" y="208"/>
                  </a:lnTo>
                  <a:lnTo>
                    <a:pt x="62" y="208"/>
                  </a:lnTo>
                  <a:lnTo>
                    <a:pt x="63" y="208"/>
                  </a:lnTo>
                  <a:lnTo>
                    <a:pt x="63" y="208"/>
                  </a:lnTo>
                  <a:lnTo>
                    <a:pt x="68" y="208"/>
                  </a:lnTo>
                  <a:lnTo>
                    <a:pt x="68" y="208"/>
                  </a:lnTo>
                  <a:lnTo>
                    <a:pt x="70" y="211"/>
                  </a:lnTo>
                  <a:lnTo>
                    <a:pt x="70" y="211"/>
                  </a:lnTo>
                  <a:lnTo>
                    <a:pt x="70" y="211"/>
                  </a:lnTo>
                  <a:lnTo>
                    <a:pt x="70" y="211"/>
                  </a:lnTo>
                  <a:lnTo>
                    <a:pt x="73" y="214"/>
                  </a:lnTo>
                  <a:lnTo>
                    <a:pt x="73" y="214"/>
                  </a:lnTo>
                  <a:lnTo>
                    <a:pt x="74" y="214"/>
                  </a:lnTo>
                  <a:lnTo>
                    <a:pt x="74" y="214"/>
                  </a:lnTo>
                  <a:lnTo>
                    <a:pt x="71" y="216"/>
                  </a:lnTo>
                  <a:lnTo>
                    <a:pt x="71" y="216"/>
                  </a:lnTo>
                  <a:lnTo>
                    <a:pt x="68" y="218"/>
                  </a:lnTo>
                  <a:lnTo>
                    <a:pt x="68" y="218"/>
                  </a:lnTo>
                  <a:lnTo>
                    <a:pt x="63" y="218"/>
                  </a:lnTo>
                  <a:lnTo>
                    <a:pt x="63" y="218"/>
                  </a:lnTo>
                  <a:lnTo>
                    <a:pt x="60" y="218"/>
                  </a:lnTo>
                  <a:lnTo>
                    <a:pt x="60" y="218"/>
                  </a:lnTo>
                  <a:lnTo>
                    <a:pt x="59" y="218"/>
                  </a:lnTo>
                  <a:lnTo>
                    <a:pt x="59" y="218"/>
                  </a:lnTo>
                  <a:lnTo>
                    <a:pt x="59" y="219"/>
                  </a:lnTo>
                  <a:lnTo>
                    <a:pt x="59" y="219"/>
                  </a:lnTo>
                  <a:lnTo>
                    <a:pt x="60" y="222"/>
                  </a:lnTo>
                  <a:lnTo>
                    <a:pt x="60" y="222"/>
                  </a:lnTo>
                  <a:lnTo>
                    <a:pt x="62" y="224"/>
                  </a:lnTo>
                  <a:lnTo>
                    <a:pt x="62" y="224"/>
                  </a:lnTo>
                  <a:lnTo>
                    <a:pt x="62" y="225"/>
                  </a:lnTo>
                  <a:lnTo>
                    <a:pt x="62" y="225"/>
                  </a:lnTo>
                  <a:lnTo>
                    <a:pt x="63" y="230"/>
                  </a:lnTo>
                  <a:lnTo>
                    <a:pt x="63" y="230"/>
                  </a:lnTo>
                  <a:lnTo>
                    <a:pt x="65" y="232"/>
                  </a:lnTo>
                  <a:lnTo>
                    <a:pt x="65" y="232"/>
                  </a:lnTo>
                  <a:lnTo>
                    <a:pt x="66" y="233"/>
                  </a:lnTo>
                  <a:lnTo>
                    <a:pt x="66" y="233"/>
                  </a:lnTo>
                  <a:lnTo>
                    <a:pt x="70" y="233"/>
                  </a:lnTo>
                  <a:lnTo>
                    <a:pt x="70" y="233"/>
                  </a:lnTo>
                  <a:lnTo>
                    <a:pt x="71" y="232"/>
                  </a:lnTo>
                  <a:lnTo>
                    <a:pt x="71" y="232"/>
                  </a:lnTo>
                  <a:lnTo>
                    <a:pt x="71" y="229"/>
                  </a:lnTo>
                  <a:lnTo>
                    <a:pt x="71" y="229"/>
                  </a:lnTo>
                  <a:lnTo>
                    <a:pt x="73" y="229"/>
                  </a:lnTo>
                  <a:lnTo>
                    <a:pt x="73" y="229"/>
                  </a:lnTo>
                  <a:lnTo>
                    <a:pt x="76" y="230"/>
                  </a:lnTo>
                  <a:lnTo>
                    <a:pt x="76" y="230"/>
                  </a:lnTo>
                  <a:lnTo>
                    <a:pt x="79" y="230"/>
                  </a:lnTo>
                  <a:lnTo>
                    <a:pt x="79" y="230"/>
                  </a:lnTo>
                  <a:lnTo>
                    <a:pt x="82" y="230"/>
                  </a:lnTo>
                  <a:lnTo>
                    <a:pt x="82" y="230"/>
                  </a:lnTo>
                  <a:lnTo>
                    <a:pt x="85" y="229"/>
                  </a:lnTo>
                  <a:lnTo>
                    <a:pt x="85" y="229"/>
                  </a:lnTo>
                  <a:lnTo>
                    <a:pt x="89" y="229"/>
                  </a:lnTo>
                  <a:lnTo>
                    <a:pt x="89" y="229"/>
                  </a:lnTo>
                  <a:lnTo>
                    <a:pt x="89" y="230"/>
                  </a:lnTo>
                  <a:lnTo>
                    <a:pt x="89" y="230"/>
                  </a:lnTo>
                  <a:lnTo>
                    <a:pt x="90" y="233"/>
                  </a:lnTo>
                  <a:lnTo>
                    <a:pt x="90" y="233"/>
                  </a:lnTo>
                  <a:lnTo>
                    <a:pt x="92" y="233"/>
                  </a:lnTo>
                  <a:lnTo>
                    <a:pt x="92" y="233"/>
                  </a:lnTo>
                  <a:lnTo>
                    <a:pt x="93" y="235"/>
                  </a:lnTo>
                  <a:lnTo>
                    <a:pt x="93" y="235"/>
                  </a:lnTo>
                  <a:lnTo>
                    <a:pt x="95" y="238"/>
                  </a:lnTo>
                  <a:lnTo>
                    <a:pt x="95" y="238"/>
                  </a:lnTo>
                  <a:lnTo>
                    <a:pt x="93" y="238"/>
                  </a:lnTo>
                  <a:lnTo>
                    <a:pt x="93" y="238"/>
                  </a:lnTo>
                  <a:lnTo>
                    <a:pt x="92" y="240"/>
                  </a:lnTo>
                  <a:lnTo>
                    <a:pt x="92" y="240"/>
                  </a:lnTo>
                  <a:lnTo>
                    <a:pt x="93" y="240"/>
                  </a:lnTo>
                  <a:lnTo>
                    <a:pt x="93" y="240"/>
                  </a:lnTo>
                  <a:lnTo>
                    <a:pt x="93" y="243"/>
                  </a:lnTo>
                  <a:lnTo>
                    <a:pt x="93" y="243"/>
                  </a:lnTo>
                  <a:lnTo>
                    <a:pt x="93" y="243"/>
                  </a:lnTo>
                  <a:lnTo>
                    <a:pt x="93" y="243"/>
                  </a:lnTo>
                  <a:lnTo>
                    <a:pt x="97" y="246"/>
                  </a:lnTo>
                  <a:lnTo>
                    <a:pt x="97" y="246"/>
                  </a:lnTo>
                  <a:lnTo>
                    <a:pt x="101" y="246"/>
                  </a:lnTo>
                  <a:lnTo>
                    <a:pt x="101" y="246"/>
                  </a:lnTo>
                  <a:lnTo>
                    <a:pt x="103" y="246"/>
                  </a:lnTo>
                  <a:lnTo>
                    <a:pt x="103" y="246"/>
                  </a:lnTo>
                  <a:lnTo>
                    <a:pt x="105" y="246"/>
                  </a:lnTo>
                  <a:lnTo>
                    <a:pt x="105" y="246"/>
                  </a:lnTo>
                  <a:lnTo>
                    <a:pt x="106" y="246"/>
                  </a:lnTo>
                  <a:lnTo>
                    <a:pt x="106" y="246"/>
                  </a:lnTo>
                  <a:lnTo>
                    <a:pt x="106" y="249"/>
                  </a:lnTo>
                  <a:lnTo>
                    <a:pt x="106" y="249"/>
                  </a:lnTo>
                  <a:lnTo>
                    <a:pt x="109" y="254"/>
                  </a:lnTo>
                  <a:lnTo>
                    <a:pt x="109" y="254"/>
                  </a:lnTo>
                  <a:lnTo>
                    <a:pt x="109" y="256"/>
                  </a:lnTo>
                  <a:lnTo>
                    <a:pt x="109" y="256"/>
                  </a:lnTo>
                  <a:lnTo>
                    <a:pt x="111" y="256"/>
                  </a:lnTo>
                  <a:lnTo>
                    <a:pt x="111" y="256"/>
                  </a:lnTo>
                  <a:lnTo>
                    <a:pt x="112" y="256"/>
                  </a:lnTo>
                  <a:lnTo>
                    <a:pt x="112" y="256"/>
                  </a:lnTo>
                  <a:lnTo>
                    <a:pt x="114" y="256"/>
                  </a:lnTo>
                  <a:lnTo>
                    <a:pt x="114" y="256"/>
                  </a:lnTo>
                  <a:lnTo>
                    <a:pt x="116" y="256"/>
                  </a:lnTo>
                  <a:lnTo>
                    <a:pt x="116" y="256"/>
                  </a:lnTo>
                  <a:lnTo>
                    <a:pt x="117" y="257"/>
                  </a:lnTo>
                  <a:lnTo>
                    <a:pt x="117" y="257"/>
                  </a:lnTo>
                  <a:lnTo>
                    <a:pt x="120" y="259"/>
                  </a:lnTo>
                  <a:lnTo>
                    <a:pt x="120" y="259"/>
                  </a:lnTo>
                  <a:lnTo>
                    <a:pt x="125" y="257"/>
                  </a:lnTo>
                  <a:lnTo>
                    <a:pt x="125" y="257"/>
                  </a:lnTo>
                  <a:lnTo>
                    <a:pt x="128" y="256"/>
                  </a:lnTo>
                  <a:lnTo>
                    <a:pt x="128" y="256"/>
                  </a:lnTo>
                  <a:lnTo>
                    <a:pt x="130" y="256"/>
                  </a:lnTo>
                  <a:lnTo>
                    <a:pt x="130" y="256"/>
                  </a:lnTo>
                  <a:lnTo>
                    <a:pt x="132" y="257"/>
                  </a:lnTo>
                  <a:lnTo>
                    <a:pt x="132" y="257"/>
                  </a:lnTo>
                  <a:lnTo>
                    <a:pt x="133" y="257"/>
                  </a:lnTo>
                  <a:lnTo>
                    <a:pt x="133" y="257"/>
                  </a:lnTo>
                  <a:lnTo>
                    <a:pt x="135" y="259"/>
                  </a:lnTo>
                  <a:lnTo>
                    <a:pt x="135" y="259"/>
                  </a:lnTo>
                  <a:lnTo>
                    <a:pt x="135" y="260"/>
                  </a:lnTo>
                  <a:lnTo>
                    <a:pt x="135" y="260"/>
                  </a:lnTo>
                  <a:lnTo>
                    <a:pt x="135" y="262"/>
                  </a:lnTo>
                  <a:lnTo>
                    <a:pt x="135" y="262"/>
                  </a:lnTo>
                  <a:lnTo>
                    <a:pt x="138" y="264"/>
                  </a:lnTo>
                  <a:lnTo>
                    <a:pt x="138" y="264"/>
                  </a:lnTo>
                  <a:lnTo>
                    <a:pt x="141" y="262"/>
                  </a:lnTo>
                  <a:lnTo>
                    <a:pt x="141" y="262"/>
                  </a:lnTo>
                  <a:lnTo>
                    <a:pt x="144" y="262"/>
                  </a:lnTo>
                  <a:lnTo>
                    <a:pt x="144" y="262"/>
                  </a:lnTo>
                  <a:lnTo>
                    <a:pt x="146" y="264"/>
                  </a:lnTo>
                  <a:lnTo>
                    <a:pt x="146" y="264"/>
                  </a:lnTo>
                  <a:lnTo>
                    <a:pt x="149" y="264"/>
                  </a:lnTo>
                  <a:lnTo>
                    <a:pt x="149" y="264"/>
                  </a:lnTo>
                  <a:lnTo>
                    <a:pt x="151" y="264"/>
                  </a:lnTo>
                  <a:lnTo>
                    <a:pt x="151" y="264"/>
                  </a:lnTo>
                  <a:lnTo>
                    <a:pt x="152" y="265"/>
                  </a:lnTo>
                  <a:lnTo>
                    <a:pt x="152" y="265"/>
                  </a:lnTo>
                  <a:lnTo>
                    <a:pt x="155" y="267"/>
                  </a:lnTo>
                  <a:lnTo>
                    <a:pt x="155" y="267"/>
                  </a:lnTo>
                  <a:lnTo>
                    <a:pt x="157" y="268"/>
                  </a:lnTo>
                  <a:lnTo>
                    <a:pt x="157" y="268"/>
                  </a:lnTo>
                  <a:lnTo>
                    <a:pt x="159" y="268"/>
                  </a:lnTo>
                  <a:lnTo>
                    <a:pt x="159" y="268"/>
                  </a:lnTo>
                  <a:lnTo>
                    <a:pt x="160" y="268"/>
                  </a:lnTo>
                  <a:lnTo>
                    <a:pt x="160" y="268"/>
                  </a:lnTo>
                  <a:lnTo>
                    <a:pt x="162" y="268"/>
                  </a:lnTo>
                  <a:lnTo>
                    <a:pt x="162" y="268"/>
                  </a:lnTo>
                  <a:lnTo>
                    <a:pt x="162" y="270"/>
                  </a:lnTo>
                  <a:lnTo>
                    <a:pt x="162" y="270"/>
                  </a:lnTo>
                  <a:lnTo>
                    <a:pt x="162" y="272"/>
                  </a:lnTo>
                  <a:lnTo>
                    <a:pt x="162" y="272"/>
                  </a:lnTo>
                  <a:lnTo>
                    <a:pt x="163" y="273"/>
                  </a:lnTo>
                  <a:lnTo>
                    <a:pt x="163" y="273"/>
                  </a:lnTo>
                  <a:lnTo>
                    <a:pt x="160" y="275"/>
                  </a:lnTo>
                  <a:lnTo>
                    <a:pt x="160" y="275"/>
                  </a:lnTo>
                  <a:lnTo>
                    <a:pt x="159" y="275"/>
                  </a:lnTo>
                  <a:lnTo>
                    <a:pt x="159" y="275"/>
                  </a:lnTo>
                  <a:lnTo>
                    <a:pt x="160" y="278"/>
                  </a:lnTo>
                  <a:lnTo>
                    <a:pt x="160" y="278"/>
                  </a:lnTo>
                  <a:lnTo>
                    <a:pt x="162" y="278"/>
                  </a:lnTo>
                  <a:lnTo>
                    <a:pt x="162" y="278"/>
                  </a:lnTo>
                  <a:lnTo>
                    <a:pt x="163" y="278"/>
                  </a:lnTo>
                  <a:lnTo>
                    <a:pt x="163" y="278"/>
                  </a:lnTo>
                  <a:lnTo>
                    <a:pt x="160" y="278"/>
                  </a:lnTo>
                  <a:lnTo>
                    <a:pt x="160" y="278"/>
                  </a:lnTo>
                  <a:lnTo>
                    <a:pt x="159" y="281"/>
                  </a:lnTo>
                  <a:lnTo>
                    <a:pt x="159" y="281"/>
                  </a:lnTo>
                  <a:lnTo>
                    <a:pt x="159" y="281"/>
                  </a:lnTo>
                  <a:lnTo>
                    <a:pt x="159" y="281"/>
                  </a:lnTo>
                  <a:lnTo>
                    <a:pt x="162" y="284"/>
                  </a:lnTo>
                  <a:lnTo>
                    <a:pt x="162" y="284"/>
                  </a:lnTo>
                  <a:lnTo>
                    <a:pt x="163" y="284"/>
                  </a:lnTo>
                  <a:lnTo>
                    <a:pt x="163" y="284"/>
                  </a:lnTo>
                  <a:lnTo>
                    <a:pt x="162" y="284"/>
                  </a:lnTo>
                  <a:lnTo>
                    <a:pt x="162" y="284"/>
                  </a:lnTo>
                  <a:lnTo>
                    <a:pt x="163" y="286"/>
                  </a:lnTo>
                  <a:lnTo>
                    <a:pt x="163" y="286"/>
                  </a:lnTo>
                  <a:lnTo>
                    <a:pt x="163" y="289"/>
                  </a:lnTo>
                  <a:lnTo>
                    <a:pt x="163" y="289"/>
                  </a:lnTo>
                  <a:lnTo>
                    <a:pt x="162" y="291"/>
                  </a:lnTo>
                  <a:lnTo>
                    <a:pt x="162" y="291"/>
                  </a:lnTo>
                  <a:lnTo>
                    <a:pt x="160" y="292"/>
                  </a:lnTo>
                  <a:lnTo>
                    <a:pt x="160" y="292"/>
                  </a:lnTo>
                  <a:lnTo>
                    <a:pt x="159" y="292"/>
                  </a:lnTo>
                  <a:lnTo>
                    <a:pt x="159" y="292"/>
                  </a:lnTo>
                  <a:lnTo>
                    <a:pt x="155" y="292"/>
                  </a:lnTo>
                  <a:lnTo>
                    <a:pt x="155" y="292"/>
                  </a:lnTo>
                  <a:lnTo>
                    <a:pt x="154" y="292"/>
                  </a:lnTo>
                  <a:lnTo>
                    <a:pt x="154" y="292"/>
                  </a:lnTo>
                  <a:lnTo>
                    <a:pt x="152" y="292"/>
                  </a:lnTo>
                  <a:lnTo>
                    <a:pt x="152" y="292"/>
                  </a:lnTo>
                  <a:lnTo>
                    <a:pt x="151" y="292"/>
                  </a:lnTo>
                  <a:lnTo>
                    <a:pt x="151" y="292"/>
                  </a:lnTo>
                  <a:lnTo>
                    <a:pt x="147" y="295"/>
                  </a:lnTo>
                  <a:lnTo>
                    <a:pt x="147" y="295"/>
                  </a:lnTo>
                  <a:lnTo>
                    <a:pt x="146" y="297"/>
                  </a:lnTo>
                  <a:lnTo>
                    <a:pt x="146" y="297"/>
                  </a:lnTo>
                  <a:lnTo>
                    <a:pt x="144" y="299"/>
                  </a:lnTo>
                  <a:lnTo>
                    <a:pt x="144" y="299"/>
                  </a:lnTo>
                  <a:lnTo>
                    <a:pt x="146" y="300"/>
                  </a:lnTo>
                  <a:lnTo>
                    <a:pt x="146" y="300"/>
                  </a:lnTo>
                  <a:lnTo>
                    <a:pt x="146" y="302"/>
                  </a:lnTo>
                  <a:lnTo>
                    <a:pt x="146" y="302"/>
                  </a:lnTo>
                  <a:lnTo>
                    <a:pt x="147" y="302"/>
                  </a:lnTo>
                  <a:lnTo>
                    <a:pt x="147" y="302"/>
                  </a:lnTo>
                  <a:lnTo>
                    <a:pt x="149" y="302"/>
                  </a:lnTo>
                  <a:lnTo>
                    <a:pt x="149" y="302"/>
                  </a:lnTo>
                  <a:lnTo>
                    <a:pt x="152" y="302"/>
                  </a:lnTo>
                  <a:lnTo>
                    <a:pt x="152" y="302"/>
                  </a:lnTo>
                  <a:lnTo>
                    <a:pt x="155" y="300"/>
                  </a:lnTo>
                  <a:lnTo>
                    <a:pt x="155" y="300"/>
                  </a:lnTo>
                  <a:lnTo>
                    <a:pt x="157" y="300"/>
                  </a:lnTo>
                  <a:lnTo>
                    <a:pt x="157" y="300"/>
                  </a:lnTo>
                  <a:lnTo>
                    <a:pt x="157" y="302"/>
                  </a:lnTo>
                  <a:lnTo>
                    <a:pt x="157" y="302"/>
                  </a:lnTo>
                  <a:lnTo>
                    <a:pt x="159" y="303"/>
                  </a:lnTo>
                  <a:lnTo>
                    <a:pt x="159" y="303"/>
                  </a:lnTo>
                  <a:lnTo>
                    <a:pt x="155" y="305"/>
                  </a:lnTo>
                  <a:lnTo>
                    <a:pt x="155" y="305"/>
                  </a:lnTo>
                  <a:lnTo>
                    <a:pt x="152" y="306"/>
                  </a:lnTo>
                  <a:lnTo>
                    <a:pt x="152" y="306"/>
                  </a:lnTo>
                  <a:lnTo>
                    <a:pt x="149" y="306"/>
                  </a:lnTo>
                  <a:lnTo>
                    <a:pt x="149" y="306"/>
                  </a:lnTo>
                  <a:lnTo>
                    <a:pt x="149" y="308"/>
                  </a:lnTo>
                  <a:lnTo>
                    <a:pt x="149" y="308"/>
                  </a:lnTo>
                  <a:lnTo>
                    <a:pt x="146" y="308"/>
                  </a:lnTo>
                  <a:lnTo>
                    <a:pt x="146" y="308"/>
                  </a:lnTo>
                  <a:lnTo>
                    <a:pt x="144" y="308"/>
                  </a:lnTo>
                  <a:lnTo>
                    <a:pt x="144" y="308"/>
                  </a:lnTo>
                  <a:lnTo>
                    <a:pt x="141" y="308"/>
                  </a:lnTo>
                  <a:lnTo>
                    <a:pt x="141" y="308"/>
                  </a:lnTo>
                  <a:lnTo>
                    <a:pt x="144" y="310"/>
                  </a:lnTo>
                  <a:lnTo>
                    <a:pt x="144" y="310"/>
                  </a:lnTo>
                  <a:lnTo>
                    <a:pt x="144" y="311"/>
                  </a:lnTo>
                  <a:lnTo>
                    <a:pt x="144" y="311"/>
                  </a:lnTo>
                  <a:lnTo>
                    <a:pt x="147" y="313"/>
                  </a:lnTo>
                  <a:lnTo>
                    <a:pt x="147" y="313"/>
                  </a:lnTo>
                  <a:lnTo>
                    <a:pt x="149" y="314"/>
                  </a:lnTo>
                  <a:lnTo>
                    <a:pt x="149" y="314"/>
                  </a:lnTo>
                  <a:lnTo>
                    <a:pt x="151" y="318"/>
                  </a:lnTo>
                  <a:lnTo>
                    <a:pt x="151" y="318"/>
                  </a:lnTo>
                  <a:lnTo>
                    <a:pt x="149" y="316"/>
                  </a:lnTo>
                  <a:lnTo>
                    <a:pt x="149" y="316"/>
                  </a:lnTo>
                  <a:lnTo>
                    <a:pt x="147" y="316"/>
                  </a:lnTo>
                  <a:lnTo>
                    <a:pt x="147" y="316"/>
                  </a:lnTo>
                  <a:lnTo>
                    <a:pt x="146" y="318"/>
                  </a:lnTo>
                  <a:lnTo>
                    <a:pt x="146" y="318"/>
                  </a:lnTo>
                  <a:lnTo>
                    <a:pt x="144" y="321"/>
                  </a:lnTo>
                  <a:lnTo>
                    <a:pt x="144" y="321"/>
                  </a:lnTo>
                  <a:lnTo>
                    <a:pt x="144" y="322"/>
                  </a:lnTo>
                  <a:lnTo>
                    <a:pt x="144" y="322"/>
                  </a:lnTo>
                  <a:lnTo>
                    <a:pt x="141" y="322"/>
                  </a:lnTo>
                  <a:lnTo>
                    <a:pt x="141" y="322"/>
                  </a:lnTo>
                  <a:lnTo>
                    <a:pt x="141" y="326"/>
                  </a:lnTo>
                  <a:lnTo>
                    <a:pt x="141" y="326"/>
                  </a:lnTo>
                  <a:lnTo>
                    <a:pt x="144" y="324"/>
                  </a:lnTo>
                  <a:lnTo>
                    <a:pt x="144" y="324"/>
                  </a:lnTo>
                  <a:lnTo>
                    <a:pt x="144" y="326"/>
                  </a:lnTo>
                  <a:lnTo>
                    <a:pt x="144" y="326"/>
                  </a:lnTo>
                  <a:lnTo>
                    <a:pt x="144" y="329"/>
                  </a:lnTo>
                  <a:lnTo>
                    <a:pt x="144" y="329"/>
                  </a:lnTo>
                  <a:lnTo>
                    <a:pt x="138" y="327"/>
                  </a:lnTo>
                  <a:lnTo>
                    <a:pt x="138" y="327"/>
                  </a:lnTo>
                  <a:lnTo>
                    <a:pt x="138" y="327"/>
                  </a:lnTo>
                  <a:lnTo>
                    <a:pt x="138" y="327"/>
                  </a:lnTo>
                  <a:lnTo>
                    <a:pt x="138" y="329"/>
                  </a:lnTo>
                  <a:lnTo>
                    <a:pt x="138" y="329"/>
                  </a:lnTo>
                  <a:lnTo>
                    <a:pt x="135" y="327"/>
                  </a:lnTo>
                  <a:lnTo>
                    <a:pt x="135" y="327"/>
                  </a:lnTo>
                  <a:lnTo>
                    <a:pt x="133" y="326"/>
                  </a:lnTo>
                  <a:lnTo>
                    <a:pt x="133" y="326"/>
                  </a:lnTo>
                  <a:lnTo>
                    <a:pt x="132" y="327"/>
                  </a:lnTo>
                  <a:lnTo>
                    <a:pt x="132" y="327"/>
                  </a:lnTo>
                  <a:lnTo>
                    <a:pt x="133" y="327"/>
                  </a:lnTo>
                  <a:lnTo>
                    <a:pt x="133" y="327"/>
                  </a:lnTo>
                  <a:lnTo>
                    <a:pt x="135" y="329"/>
                  </a:lnTo>
                  <a:lnTo>
                    <a:pt x="135" y="329"/>
                  </a:lnTo>
                  <a:lnTo>
                    <a:pt x="133" y="329"/>
                  </a:lnTo>
                  <a:lnTo>
                    <a:pt x="133" y="329"/>
                  </a:lnTo>
                  <a:lnTo>
                    <a:pt x="132" y="330"/>
                  </a:lnTo>
                  <a:lnTo>
                    <a:pt x="132" y="330"/>
                  </a:lnTo>
                  <a:lnTo>
                    <a:pt x="138" y="330"/>
                  </a:lnTo>
                  <a:lnTo>
                    <a:pt x="138" y="330"/>
                  </a:lnTo>
                  <a:lnTo>
                    <a:pt x="138" y="333"/>
                  </a:lnTo>
                  <a:lnTo>
                    <a:pt x="138" y="333"/>
                  </a:lnTo>
                  <a:lnTo>
                    <a:pt x="141" y="333"/>
                  </a:lnTo>
                  <a:lnTo>
                    <a:pt x="141" y="333"/>
                  </a:lnTo>
                  <a:lnTo>
                    <a:pt x="144" y="337"/>
                  </a:lnTo>
                  <a:lnTo>
                    <a:pt x="144" y="337"/>
                  </a:lnTo>
                  <a:lnTo>
                    <a:pt x="146" y="337"/>
                  </a:lnTo>
                  <a:lnTo>
                    <a:pt x="146" y="337"/>
                  </a:lnTo>
                  <a:lnTo>
                    <a:pt x="146" y="337"/>
                  </a:lnTo>
                  <a:lnTo>
                    <a:pt x="146" y="337"/>
                  </a:lnTo>
                  <a:lnTo>
                    <a:pt x="149" y="337"/>
                  </a:lnTo>
                  <a:lnTo>
                    <a:pt x="149" y="337"/>
                  </a:lnTo>
                  <a:lnTo>
                    <a:pt x="151" y="340"/>
                  </a:lnTo>
                  <a:lnTo>
                    <a:pt x="151" y="340"/>
                  </a:lnTo>
                  <a:lnTo>
                    <a:pt x="159" y="343"/>
                  </a:lnTo>
                  <a:lnTo>
                    <a:pt x="159" y="343"/>
                  </a:lnTo>
                  <a:lnTo>
                    <a:pt x="166" y="349"/>
                  </a:lnTo>
                  <a:lnTo>
                    <a:pt x="166" y="349"/>
                  </a:lnTo>
                  <a:lnTo>
                    <a:pt x="173" y="356"/>
                  </a:lnTo>
                  <a:lnTo>
                    <a:pt x="173" y="356"/>
                  </a:lnTo>
                  <a:lnTo>
                    <a:pt x="173" y="356"/>
                  </a:lnTo>
                  <a:lnTo>
                    <a:pt x="173" y="356"/>
                  </a:lnTo>
                  <a:lnTo>
                    <a:pt x="173" y="353"/>
                  </a:lnTo>
                  <a:lnTo>
                    <a:pt x="173" y="353"/>
                  </a:lnTo>
                  <a:lnTo>
                    <a:pt x="176" y="353"/>
                  </a:lnTo>
                  <a:lnTo>
                    <a:pt x="176" y="353"/>
                  </a:lnTo>
                  <a:lnTo>
                    <a:pt x="179" y="353"/>
                  </a:lnTo>
                  <a:lnTo>
                    <a:pt x="179" y="353"/>
                  </a:lnTo>
                  <a:lnTo>
                    <a:pt x="189" y="356"/>
                  </a:lnTo>
                  <a:lnTo>
                    <a:pt x="189" y="356"/>
                  </a:lnTo>
                  <a:lnTo>
                    <a:pt x="195" y="357"/>
                  </a:lnTo>
                  <a:lnTo>
                    <a:pt x="195" y="357"/>
                  </a:lnTo>
                  <a:lnTo>
                    <a:pt x="201" y="357"/>
                  </a:lnTo>
                  <a:lnTo>
                    <a:pt x="201" y="357"/>
                  </a:lnTo>
                  <a:lnTo>
                    <a:pt x="205" y="359"/>
                  </a:lnTo>
                  <a:lnTo>
                    <a:pt x="205" y="359"/>
                  </a:lnTo>
                  <a:lnTo>
                    <a:pt x="208" y="359"/>
                  </a:lnTo>
                  <a:lnTo>
                    <a:pt x="208" y="359"/>
                  </a:lnTo>
                  <a:lnTo>
                    <a:pt x="214" y="362"/>
                  </a:lnTo>
                  <a:lnTo>
                    <a:pt x="214" y="362"/>
                  </a:lnTo>
                  <a:lnTo>
                    <a:pt x="217" y="364"/>
                  </a:lnTo>
                  <a:lnTo>
                    <a:pt x="217" y="364"/>
                  </a:lnTo>
                  <a:lnTo>
                    <a:pt x="219" y="365"/>
                  </a:lnTo>
                  <a:lnTo>
                    <a:pt x="219" y="365"/>
                  </a:lnTo>
                  <a:lnTo>
                    <a:pt x="222" y="365"/>
                  </a:lnTo>
                  <a:lnTo>
                    <a:pt x="222" y="365"/>
                  </a:lnTo>
                  <a:lnTo>
                    <a:pt x="225" y="365"/>
                  </a:lnTo>
                  <a:lnTo>
                    <a:pt x="225" y="365"/>
                  </a:lnTo>
                  <a:lnTo>
                    <a:pt x="228" y="365"/>
                  </a:lnTo>
                  <a:lnTo>
                    <a:pt x="228" y="365"/>
                  </a:lnTo>
                  <a:lnTo>
                    <a:pt x="228" y="365"/>
                  </a:lnTo>
                  <a:lnTo>
                    <a:pt x="228" y="365"/>
                  </a:lnTo>
                  <a:lnTo>
                    <a:pt x="232" y="365"/>
                  </a:lnTo>
                  <a:lnTo>
                    <a:pt x="232" y="365"/>
                  </a:lnTo>
                  <a:lnTo>
                    <a:pt x="232" y="365"/>
                  </a:lnTo>
                  <a:lnTo>
                    <a:pt x="232" y="365"/>
                  </a:lnTo>
                  <a:lnTo>
                    <a:pt x="232" y="365"/>
                  </a:lnTo>
                  <a:lnTo>
                    <a:pt x="232" y="365"/>
                  </a:lnTo>
                  <a:lnTo>
                    <a:pt x="235" y="365"/>
                  </a:lnTo>
                  <a:lnTo>
                    <a:pt x="235" y="365"/>
                  </a:lnTo>
                  <a:lnTo>
                    <a:pt x="238" y="365"/>
                  </a:lnTo>
                  <a:lnTo>
                    <a:pt x="238" y="365"/>
                  </a:lnTo>
                  <a:lnTo>
                    <a:pt x="241" y="368"/>
                  </a:lnTo>
                  <a:lnTo>
                    <a:pt x="241" y="368"/>
                  </a:lnTo>
                  <a:lnTo>
                    <a:pt x="241" y="368"/>
                  </a:lnTo>
                  <a:lnTo>
                    <a:pt x="241" y="368"/>
                  </a:lnTo>
                  <a:lnTo>
                    <a:pt x="241" y="372"/>
                  </a:lnTo>
                  <a:lnTo>
                    <a:pt x="241" y="372"/>
                  </a:lnTo>
                  <a:lnTo>
                    <a:pt x="243" y="372"/>
                  </a:lnTo>
                  <a:lnTo>
                    <a:pt x="243" y="372"/>
                  </a:lnTo>
                  <a:lnTo>
                    <a:pt x="246" y="375"/>
                  </a:lnTo>
                  <a:lnTo>
                    <a:pt x="246" y="375"/>
                  </a:lnTo>
                  <a:lnTo>
                    <a:pt x="251" y="375"/>
                  </a:lnTo>
                  <a:lnTo>
                    <a:pt x="251" y="375"/>
                  </a:lnTo>
                  <a:lnTo>
                    <a:pt x="254" y="376"/>
                  </a:lnTo>
                  <a:lnTo>
                    <a:pt x="254" y="376"/>
                  </a:lnTo>
                  <a:lnTo>
                    <a:pt x="259" y="379"/>
                  </a:lnTo>
                  <a:lnTo>
                    <a:pt x="259" y="379"/>
                  </a:lnTo>
                  <a:lnTo>
                    <a:pt x="260" y="381"/>
                  </a:lnTo>
                  <a:lnTo>
                    <a:pt x="260" y="381"/>
                  </a:lnTo>
                  <a:lnTo>
                    <a:pt x="262" y="384"/>
                  </a:lnTo>
                  <a:lnTo>
                    <a:pt x="262" y="384"/>
                  </a:lnTo>
                  <a:lnTo>
                    <a:pt x="263" y="384"/>
                  </a:lnTo>
                  <a:lnTo>
                    <a:pt x="263" y="384"/>
                  </a:lnTo>
                  <a:lnTo>
                    <a:pt x="263" y="384"/>
                  </a:lnTo>
                  <a:lnTo>
                    <a:pt x="263" y="384"/>
                  </a:lnTo>
                  <a:lnTo>
                    <a:pt x="270" y="386"/>
                  </a:lnTo>
                  <a:lnTo>
                    <a:pt x="270" y="386"/>
                  </a:lnTo>
                  <a:lnTo>
                    <a:pt x="270" y="384"/>
                  </a:lnTo>
                  <a:lnTo>
                    <a:pt x="270" y="384"/>
                  </a:lnTo>
                  <a:lnTo>
                    <a:pt x="271" y="383"/>
                  </a:lnTo>
                  <a:lnTo>
                    <a:pt x="271" y="383"/>
                  </a:lnTo>
                  <a:lnTo>
                    <a:pt x="273" y="379"/>
                  </a:lnTo>
                  <a:lnTo>
                    <a:pt x="273" y="379"/>
                  </a:lnTo>
                  <a:lnTo>
                    <a:pt x="274" y="378"/>
                  </a:lnTo>
                  <a:lnTo>
                    <a:pt x="274" y="378"/>
                  </a:lnTo>
                  <a:lnTo>
                    <a:pt x="274" y="376"/>
                  </a:lnTo>
                  <a:lnTo>
                    <a:pt x="274" y="376"/>
                  </a:lnTo>
                  <a:lnTo>
                    <a:pt x="273" y="375"/>
                  </a:lnTo>
                  <a:lnTo>
                    <a:pt x="273" y="375"/>
                  </a:lnTo>
                  <a:lnTo>
                    <a:pt x="270" y="368"/>
                  </a:lnTo>
                  <a:lnTo>
                    <a:pt x="270" y="368"/>
                  </a:lnTo>
                  <a:lnTo>
                    <a:pt x="263" y="365"/>
                  </a:lnTo>
                  <a:lnTo>
                    <a:pt x="263" y="365"/>
                  </a:lnTo>
                  <a:lnTo>
                    <a:pt x="263" y="364"/>
                  </a:lnTo>
                  <a:lnTo>
                    <a:pt x="263" y="364"/>
                  </a:lnTo>
                  <a:lnTo>
                    <a:pt x="260" y="360"/>
                  </a:lnTo>
                  <a:lnTo>
                    <a:pt x="260" y="360"/>
                  </a:lnTo>
                  <a:lnTo>
                    <a:pt x="260" y="359"/>
                  </a:lnTo>
                  <a:lnTo>
                    <a:pt x="260" y="359"/>
                  </a:lnTo>
                  <a:lnTo>
                    <a:pt x="260" y="356"/>
                  </a:lnTo>
                  <a:lnTo>
                    <a:pt x="260" y="356"/>
                  </a:lnTo>
                  <a:lnTo>
                    <a:pt x="260" y="354"/>
                  </a:lnTo>
                  <a:lnTo>
                    <a:pt x="260" y="354"/>
                  </a:lnTo>
                  <a:lnTo>
                    <a:pt x="260" y="353"/>
                  </a:lnTo>
                  <a:lnTo>
                    <a:pt x="260" y="353"/>
                  </a:lnTo>
                  <a:lnTo>
                    <a:pt x="259" y="353"/>
                  </a:lnTo>
                  <a:lnTo>
                    <a:pt x="259" y="353"/>
                  </a:lnTo>
                  <a:lnTo>
                    <a:pt x="259" y="351"/>
                  </a:lnTo>
                  <a:lnTo>
                    <a:pt x="259" y="351"/>
                  </a:lnTo>
                  <a:lnTo>
                    <a:pt x="259" y="349"/>
                  </a:lnTo>
                  <a:lnTo>
                    <a:pt x="259" y="349"/>
                  </a:lnTo>
                  <a:lnTo>
                    <a:pt x="259" y="348"/>
                  </a:lnTo>
                  <a:lnTo>
                    <a:pt x="259" y="348"/>
                  </a:lnTo>
                  <a:lnTo>
                    <a:pt x="257" y="345"/>
                  </a:lnTo>
                  <a:lnTo>
                    <a:pt x="257" y="345"/>
                  </a:lnTo>
                  <a:lnTo>
                    <a:pt x="252" y="341"/>
                  </a:lnTo>
                  <a:lnTo>
                    <a:pt x="252" y="341"/>
                  </a:lnTo>
                  <a:lnTo>
                    <a:pt x="249" y="340"/>
                  </a:lnTo>
                  <a:lnTo>
                    <a:pt x="249" y="340"/>
                  </a:lnTo>
                  <a:lnTo>
                    <a:pt x="247" y="340"/>
                  </a:lnTo>
                  <a:lnTo>
                    <a:pt x="247" y="340"/>
                  </a:lnTo>
                  <a:lnTo>
                    <a:pt x="247" y="337"/>
                  </a:lnTo>
                  <a:lnTo>
                    <a:pt x="247" y="337"/>
                  </a:lnTo>
                  <a:lnTo>
                    <a:pt x="249" y="337"/>
                  </a:lnTo>
                  <a:lnTo>
                    <a:pt x="249" y="337"/>
                  </a:lnTo>
                  <a:lnTo>
                    <a:pt x="251" y="333"/>
                  </a:lnTo>
                  <a:lnTo>
                    <a:pt x="251" y="333"/>
                  </a:lnTo>
                  <a:lnTo>
                    <a:pt x="254" y="329"/>
                  </a:lnTo>
                  <a:lnTo>
                    <a:pt x="254" y="329"/>
                  </a:lnTo>
                  <a:lnTo>
                    <a:pt x="254" y="326"/>
                  </a:lnTo>
                  <a:lnTo>
                    <a:pt x="254" y="326"/>
                  </a:lnTo>
                  <a:lnTo>
                    <a:pt x="252" y="321"/>
                  </a:lnTo>
                  <a:lnTo>
                    <a:pt x="252" y="321"/>
                  </a:lnTo>
                  <a:lnTo>
                    <a:pt x="255" y="322"/>
                  </a:lnTo>
                  <a:lnTo>
                    <a:pt x="255" y="322"/>
                  </a:lnTo>
                  <a:lnTo>
                    <a:pt x="255" y="321"/>
                  </a:lnTo>
                  <a:lnTo>
                    <a:pt x="255" y="321"/>
                  </a:lnTo>
                  <a:lnTo>
                    <a:pt x="259" y="322"/>
                  </a:lnTo>
                  <a:lnTo>
                    <a:pt x="259" y="322"/>
                  </a:lnTo>
                  <a:lnTo>
                    <a:pt x="260" y="321"/>
                  </a:lnTo>
                  <a:lnTo>
                    <a:pt x="260" y="321"/>
                  </a:lnTo>
                  <a:lnTo>
                    <a:pt x="260" y="321"/>
                  </a:lnTo>
                  <a:lnTo>
                    <a:pt x="260" y="321"/>
                  </a:lnTo>
                  <a:lnTo>
                    <a:pt x="263" y="321"/>
                  </a:lnTo>
                  <a:lnTo>
                    <a:pt x="263" y="321"/>
                  </a:lnTo>
                  <a:lnTo>
                    <a:pt x="263" y="319"/>
                  </a:lnTo>
                  <a:lnTo>
                    <a:pt x="263" y="319"/>
                  </a:lnTo>
                  <a:lnTo>
                    <a:pt x="266" y="319"/>
                  </a:lnTo>
                  <a:lnTo>
                    <a:pt x="266" y="319"/>
                  </a:lnTo>
                  <a:lnTo>
                    <a:pt x="266" y="318"/>
                  </a:lnTo>
                  <a:lnTo>
                    <a:pt x="266" y="318"/>
                  </a:lnTo>
                  <a:lnTo>
                    <a:pt x="266" y="318"/>
                  </a:lnTo>
                  <a:lnTo>
                    <a:pt x="266" y="318"/>
                  </a:lnTo>
                  <a:lnTo>
                    <a:pt x="266" y="316"/>
                  </a:lnTo>
                  <a:lnTo>
                    <a:pt x="266" y="316"/>
                  </a:lnTo>
                  <a:lnTo>
                    <a:pt x="270" y="316"/>
                  </a:lnTo>
                  <a:lnTo>
                    <a:pt x="270" y="316"/>
                  </a:lnTo>
                  <a:lnTo>
                    <a:pt x="270" y="314"/>
                  </a:lnTo>
                  <a:lnTo>
                    <a:pt x="270" y="314"/>
                  </a:lnTo>
                  <a:lnTo>
                    <a:pt x="271" y="316"/>
                  </a:lnTo>
                  <a:lnTo>
                    <a:pt x="271" y="316"/>
                  </a:lnTo>
                  <a:lnTo>
                    <a:pt x="270" y="313"/>
                  </a:lnTo>
                  <a:lnTo>
                    <a:pt x="270" y="313"/>
                  </a:lnTo>
                  <a:lnTo>
                    <a:pt x="271" y="313"/>
                  </a:lnTo>
                  <a:lnTo>
                    <a:pt x="271" y="313"/>
                  </a:lnTo>
                  <a:lnTo>
                    <a:pt x="270" y="311"/>
                  </a:lnTo>
                  <a:lnTo>
                    <a:pt x="270" y="311"/>
                  </a:lnTo>
                  <a:lnTo>
                    <a:pt x="266" y="310"/>
                  </a:lnTo>
                  <a:lnTo>
                    <a:pt x="266" y="310"/>
                  </a:lnTo>
                  <a:lnTo>
                    <a:pt x="263" y="308"/>
                  </a:lnTo>
                  <a:lnTo>
                    <a:pt x="263" y="308"/>
                  </a:lnTo>
                  <a:lnTo>
                    <a:pt x="263" y="308"/>
                  </a:lnTo>
                  <a:lnTo>
                    <a:pt x="263" y="308"/>
                  </a:lnTo>
                  <a:lnTo>
                    <a:pt x="263" y="306"/>
                  </a:lnTo>
                  <a:lnTo>
                    <a:pt x="263" y="306"/>
                  </a:lnTo>
                  <a:lnTo>
                    <a:pt x="263" y="306"/>
                  </a:lnTo>
                  <a:lnTo>
                    <a:pt x="263" y="306"/>
                  </a:lnTo>
                  <a:lnTo>
                    <a:pt x="266" y="306"/>
                  </a:lnTo>
                  <a:lnTo>
                    <a:pt x="266" y="306"/>
                  </a:lnTo>
                  <a:lnTo>
                    <a:pt x="266" y="306"/>
                  </a:lnTo>
                  <a:lnTo>
                    <a:pt x="266" y="306"/>
                  </a:lnTo>
                  <a:lnTo>
                    <a:pt x="266" y="305"/>
                  </a:lnTo>
                  <a:lnTo>
                    <a:pt x="266" y="305"/>
                  </a:lnTo>
                  <a:lnTo>
                    <a:pt x="263" y="303"/>
                  </a:lnTo>
                  <a:lnTo>
                    <a:pt x="263" y="303"/>
                  </a:lnTo>
                  <a:lnTo>
                    <a:pt x="260" y="299"/>
                  </a:lnTo>
                  <a:lnTo>
                    <a:pt x="260" y="299"/>
                  </a:lnTo>
                  <a:lnTo>
                    <a:pt x="259" y="295"/>
                  </a:lnTo>
                  <a:lnTo>
                    <a:pt x="259" y="295"/>
                  </a:lnTo>
                  <a:lnTo>
                    <a:pt x="254" y="294"/>
                  </a:lnTo>
                  <a:lnTo>
                    <a:pt x="254" y="294"/>
                  </a:lnTo>
                  <a:lnTo>
                    <a:pt x="251" y="292"/>
                  </a:lnTo>
                  <a:lnTo>
                    <a:pt x="251" y="292"/>
                  </a:lnTo>
                  <a:lnTo>
                    <a:pt x="249" y="292"/>
                  </a:lnTo>
                  <a:lnTo>
                    <a:pt x="249" y="292"/>
                  </a:lnTo>
                  <a:lnTo>
                    <a:pt x="247" y="294"/>
                  </a:lnTo>
                  <a:lnTo>
                    <a:pt x="247" y="294"/>
                  </a:lnTo>
                  <a:lnTo>
                    <a:pt x="246" y="294"/>
                  </a:lnTo>
                  <a:lnTo>
                    <a:pt x="246" y="294"/>
                  </a:lnTo>
                  <a:lnTo>
                    <a:pt x="244" y="292"/>
                  </a:lnTo>
                  <a:lnTo>
                    <a:pt x="244" y="292"/>
                  </a:lnTo>
                  <a:lnTo>
                    <a:pt x="243" y="289"/>
                  </a:lnTo>
                  <a:lnTo>
                    <a:pt x="243" y="289"/>
                  </a:lnTo>
                  <a:lnTo>
                    <a:pt x="244" y="289"/>
                  </a:lnTo>
                  <a:lnTo>
                    <a:pt x="244" y="289"/>
                  </a:lnTo>
                  <a:lnTo>
                    <a:pt x="241" y="286"/>
                  </a:lnTo>
                  <a:lnTo>
                    <a:pt x="241" y="286"/>
                  </a:lnTo>
                  <a:lnTo>
                    <a:pt x="239" y="284"/>
                  </a:lnTo>
                  <a:lnTo>
                    <a:pt x="239" y="284"/>
                  </a:lnTo>
                  <a:lnTo>
                    <a:pt x="238" y="284"/>
                  </a:lnTo>
                  <a:lnTo>
                    <a:pt x="238" y="284"/>
                  </a:lnTo>
                  <a:lnTo>
                    <a:pt x="236" y="284"/>
                  </a:lnTo>
                  <a:lnTo>
                    <a:pt x="236" y="284"/>
                  </a:lnTo>
                  <a:lnTo>
                    <a:pt x="235" y="281"/>
                  </a:lnTo>
                  <a:lnTo>
                    <a:pt x="235" y="281"/>
                  </a:lnTo>
                  <a:lnTo>
                    <a:pt x="235" y="281"/>
                  </a:lnTo>
                  <a:lnTo>
                    <a:pt x="235" y="281"/>
                  </a:lnTo>
                  <a:lnTo>
                    <a:pt x="236" y="278"/>
                  </a:lnTo>
                  <a:lnTo>
                    <a:pt x="236" y="278"/>
                  </a:lnTo>
                  <a:lnTo>
                    <a:pt x="238" y="275"/>
                  </a:lnTo>
                  <a:lnTo>
                    <a:pt x="238" y="275"/>
                  </a:lnTo>
                  <a:lnTo>
                    <a:pt x="239" y="275"/>
                  </a:lnTo>
                  <a:lnTo>
                    <a:pt x="239" y="275"/>
                  </a:lnTo>
                  <a:lnTo>
                    <a:pt x="238" y="273"/>
                  </a:lnTo>
                  <a:lnTo>
                    <a:pt x="238" y="273"/>
                  </a:lnTo>
                  <a:lnTo>
                    <a:pt x="238" y="272"/>
                  </a:lnTo>
                  <a:lnTo>
                    <a:pt x="238" y="272"/>
                  </a:lnTo>
                  <a:lnTo>
                    <a:pt x="236" y="272"/>
                  </a:lnTo>
                  <a:lnTo>
                    <a:pt x="236" y="272"/>
                  </a:lnTo>
                  <a:lnTo>
                    <a:pt x="235" y="268"/>
                  </a:lnTo>
                  <a:lnTo>
                    <a:pt x="235" y="268"/>
                  </a:lnTo>
                  <a:lnTo>
                    <a:pt x="236" y="265"/>
                  </a:lnTo>
                  <a:lnTo>
                    <a:pt x="236" y="265"/>
                  </a:lnTo>
                  <a:lnTo>
                    <a:pt x="239" y="262"/>
                  </a:lnTo>
                  <a:lnTo>
                    <a:pt x="239" y="262"/>
                  </a:lnTo>
                  <a:lnTo>
                    <a:pt x="239" y="260"/>
                  </a:lnTo>
                  <a:lnTo>
                    <a:pt x="239" y="260"/>
                  </a:lnTo>
                  <a:lnTo>
                    <a:pt x="239" y="259"/>
                  </a:lnTo>
                  <a:lnTo>
                    <a:pt x="239" y="259"/>
                  </a:lnTo>
                  <a:lnTo>
                    <a:pt x="239" y="257"/>
                  </a:lnTo>
                  <a:lnTo>
                    <a:pt x="239" y="257"/>
                  </a:lnTo>
                  <a:lnTo>
                    <a:pt x="239" y="256"/>
                  </a:lnTo>
                  <a:lnTo>
                    <a:pt x="239" y="256"/>
                  </a:lnTo>
                  <a:lnTo>
                    <a:pt x="241" y="256"/>
                  </a:lnTo>
                  <a:lnTo>
                    <a:pt x="241" y="256"/>
                  </a:lnTo>
                  <a:lnTo>
                    <a:pt x="243" y="256"/>
                  </a:lnTo>
                  <a:lnTo>
                    <a:pt x="243" y="256"/>
                  </a:lnTo>
                  <a:lnTo>
                    <a:pt x="244" y="257"/>
                  </a:lnTo>
                  <a:lnTo>
                    <a:pt x="244" y="257"/>
                  </a:lnTo>
                  <a:lnTo>
                    <a:pt x="247" y="259"/>
                  </a:lnTo>
                  <a:lnTo>
                    <a:pt x="247" y="259"/>
                  </a:lnTo>
                  <a:lnTo>
                    <a:pt x="252" y="264"/>
                  </a:lnTo>
                  <a:lnTo>
                    <a:pt x="252" y="264"/>
                  </a:lnTo>
                  <a:lnTo>
                    <a:pt x="255" y="264"/>
                  </a:lnTo>
                  <a:lnTo>
                    <a:pt x="255" y="264"/>
                  </a:lnTo>
                  <a:lnTo>
                    <a:pt x="257" y="262"/>
                  </a:lnTo>
                  <a:lnTo>
                    <a:pt x="257" y="262"/>
                  </a:lnTo>
                  <a:lnTo>
                    <a:pt x="257" y="260"/>
                  </a:lnTo>
                  <a:lnTo>
                    <a:pt x="257" y="260"/>
                  </a:lnTo>
                  <a:lnTo>
                    <a:pt x="255" y="256"/>
                  </a:lnTo>
                  <a:lnTo>
                    <a:pt x="255" y="256"/>
                  </a:lnTo>
                  <a:lnTo>
                    <a:pt x="254" y="254"/>
                  </a:lnTo>
                  <a:lnTo>
                    <a:pt x="254" y="254"/>
                  </a:lnTo>
                  <a:lnTo>
                    <a:pt x="252" y="252"/>
                  </a:lnTo>
                  <a:lnTo>
                    <a:pt x="252" y="252"/>
                  </a:lnTo>
                  <a:lnTo>
                    <a:pt x="257" y="252"/>
                  </a:lnTo>
                  <a:lnTo>
                    <a:pt x="257" y="252"/>
                  </a:lnTo>
                  <a:lnTo>
                    <a:pt x="260" y="249"/>
                  </a:lnTo>
                  <a:lnTo>
                    <a:pt x="260" y="249"/>
                  </a:lnTo>
                  <a:lnTo>
                    <a:pt x="260" y="249"/>
                  </a:lnTo>
                  <a:lnTo>
                    <a:pt x="260" y="249"/>
                  </a:lnTo>
                  <a:lnTo>
                    <a:pt x="260" y="249"/>
                  </a:lnTo>
                  <a:lnTo>
                    <a:pt x="260" y="249"/>
                  </a:lnTo>
                  <a:lnTo>
                    <a:pt x="260" y="246"/>
                  </a:lnTo>
                  <a:lnTo>
                    <a:pt x="260" y="246"/>
                  </a:lnTo>
                  <a:lnTo>
                    <a:pt x="260" y="246"/>
                  </a:lnTo>
                  <a:lnTo>
                    <a:pt x="260" y="246"/>
                  </a:lnTo>
                  <a:lnTo>
                    <a:pt x="263" y="246"/>
                  </a:lnTo>
                  <a:lnTo>
                    <a:pt x="263" y="246"/>
                  </a:lnTo>
                  <a:lnTo>
                    <a:pt x="266" y="243"/>
                  </a:lnTo>
                  <a:lnTo>
                    <a:pt x="266" y="243"/>
                  </a:lnTo>
                  <a:lnTo>
                    <a:pt x="266" y="243"/>
                  </a:lnTo>
                  <a:lnTo>
                    <a:pt x="266" y="243"/>
                  </a:lnTo>
                  <a:lnTo>
                    <a:pt x="270" y="243"/>
                  </a:lnTo>
                  <a:lnTo>
                    <a:pt x="270" y="243"/>
                  </a:lnTo>
                  <a:lnTo>
                    <a:pt x="270" y="243"/>
                  </a:lnTo>
                  <a:lnTo>
                    <a:pt x="270" y="243"/>
                  </a:lnTo>
                  <a:lnTo>
                    <a:pt x="270" y="240"/>
                  </a:lnTo>
                  <a:lnTo>
                    <a:pt x="270" y="240"/>
                  </a:lnTo>
                  <a:lnTo>
                    <a:pt x="271" y="240"/>
                  </a:lnTo>
                  <a:lnTo>
                    <a:pt x="271" y="240"/>
                  </a:lnTo>
                  <a:lnTo>
                    <a:pt x="273" y="240"/>
                  </a:lnTo>
                  <a:lnTo>
                    <a:pt x="273" y="240"/>
                  </a:lnTo>
                  <a:lnTo>
                    <a:pt x="273" y="238"/>
                  </a:lnTo>
                  <a:lnTo>
                    <a:pt x="273" y="238"/>
                  </a:lnTo>
                  <a:lnTo>
                    <a:pt x="276" y="238"/>
                  </a:lnTo>
                  <a:lnTo>
                    <a:pt x="276" y="238"/>
                  </a:lnTo>
                  <a:lnTo>
                    <a:pt x="279" y="240"/>
                  </a:lnTo>
                  <a:lnTo>
                    <a:pt x="279" y="240"/>
                  </a:lnTo>
                  <a:lnTo>
                    <a:pt x="281" y="240"/>
                  </a:lnTo>
                  <a:lnTo>
                    <a:pt x="281" y="240"/>
                  </a:lnTo>
                  <a:lnTo>
                    <a:pt x="282" y="240"/>
                  </a:lnTo>
                  <a:lnTo>
                    <a:pt x="282" y="240"/>
                  </a:lnTo>
                  <a:lnTo>
                    <a:pt x="284" y="240"/>
                  </a:lnTo>
                  <a:lnTo>
                    <a:pt x="284" y="240"/>
                  </a:lnTo>
                  <a:lnTo>
                    <a:pt x="284" y="240"/>
                  </a:lnTo>
                  <a:lnTo>
                    <a:pt x="284" y="240"/>
                  </a:lnTo>
                  <a:lnTo>
                    <a:pt x="286" y="238"/>
                  </a:lnTo>
                  <a:lnTo>
                    <a:pt x="286" y="238"/>
                  </a:lnTo>
                  <a:lnTo>
                    <a:pt x="290" y="237"/>
                  </a:lnTo>
                  <a:lnTo>
                    <a:pt x="290" y="237"/>
                  </a:lnTo>
                  <a:lnTo>
                    <a:pt x="292" y="240"/>
                  </a:lnTo>
                  <a:lnTo>
                    <a:pt x="292" y="240"/>
                  </a:lnTo>
                  <a:lnTo>
                    <a:pt x="292" y="240"/>
                  </a:lnTo>
                  <a:lnTo>
                    <a:pt x="292" y="240"/>
                  </a:lnTo>
                  <a:lnTo>
                    <a:pt x="295" y="240"/>
                  </a:lnTo>
                  <a:lnTo>
                    <a:pt x="295" y="240"/>
                  </a:lnTo>
                  <a:lnTo>
                    <a:pt x="295" y="240"/>
                  </a:lnTo>
                  <a:lnTo>
                    <a:pt x="295" y="240"/>
                  </a:lnTo>
                  <a:lnTo>
                    <a:pt x="301" y="240"/>
                  </a:lnTo>
                  <a:lnTo>
                    <a:pt x="301" y="240"/>
                  </a:lnTo>
                  <a:lnTo>
                    <a:pt x="301" y="240"/>
                  </a:lnTo>
                  <a:lnTo>
                    <a:pt x="301" y="240"/>
                  </a:lnTo>
                  <a:lnTo>
                    <a:pt x="305" y="243"/>
                  </a:lnTo>
                  <a:lnTo>
                    <a:pt x="305" y="243"/>
                  </a:lnTo>
                  <a:lnTo>
                    <a:pt x="306" y="243"/>
                  </a:lnTo>
                  <a:lnTo>
                    <a:pt x="306" y="243"/>
                  </a:lnTo>
                  <a:lnTo>
                    <a:pt x="311" y="246"/>
                  </a:lnTo>
                  <a:lnTo>
                    <a:pt x="311" y="246"/>
                  </a:lnTo>
                  <a:lnTo>
                    <a:pt x="317" y="249"/>
                  </a:lnTo>
                  <a:lnTo>
                    <a:pt x="317" y="249"/>
                  </a:lnTo>
                  <a:lnTo>
                    <a:pt x="317" y="252"/>
                  </a:lnTo>
                  <a:lnTo>
                    <a:pt x="317" y="252"/>
                  </a:lnTo>
                  <a:lnTo>
                    <a:pt x="317" y="254"/>
                  </a:lnTo>
                  <a:lnTo>
                    <a:pt x="317" y="254"/>
                  </a:lnTo>
                  <a:lnTo>
                    <a:pt x="319" y="254"/>
                  </a:lnTo>
                  <a:lnTo>
                    <a:pt x="319" y="254"/>
                  </a:lnTo>
                  <a:lnTo>
                    <a:pt x="319" y="252"/>
                  </a:lnTo>
                  <a:lnTo>
                    <a:pt x="319" y="252"/>
                  </a:lnTo>
                  <a:lnTo>
                    <a:pt x="319" y="251"/>
                  </a:lnTo>
                  <a:lnTo>
                    <a:pt x="319" y="251"/>
                  </a:lnTo>
                  <a:lnTo>
                    <a:pt x="317" y="249"/>
                  </a:lnTo>
                  <a:lnTo>
                    <a:pt x="317" y="249"/>
                  </a:lnTo>
                  <a:lnTo>
                    <a:pt x="319" y="246"/>
                  </a:lnTo>
                  <a:lnTo>
                    <a:pt x="319" y="246"/>
                  </a:lnTo>
                  <a:lnTo>
                    <a:pt x="320" y="249"/>
                  </a:lnTo>
                  <a:lnTo>
                    <a:pt x="320" y="249"/>
                  </a:lnTo>
                  <a:lnTo>
                    <a:pt x="322" y="249"/>
                  </a:lnTo>
                  <a:lnTo>
                    <a:pt x="322" y="249"/>
                  </a:lnTo>
                  <a:lnTo>
                    <a:pt x="325" y="251"/>
                  </a:lnTo>
                  <a:lnTo>
                    <a:pt x="325" y="251"/>
                  </a:lnTo>
                  <a:lnTo>
                    <a:pt x="328" y="252"/>
                  </a:lnTo>
                  <a:lnTo>
                    <a:pt x="328" y="252"/>
                  </a:lnTo>
                  <a:lnTo>
                    <a:pt x="332" y="252"/>
                  </a:lnTo>
                  <a:lnTo>
                    <a:pt x="332" y="252"/>
                  </a:lnTo>
                  <a:lnTo>
                    <a:pt x="333" y="251"/>
                  </a:lnTo>
                  <a:lnTo>
                    <a:pt x="333" y="251"/>
                  </a:lnTo>
                  <a:lnTo>
                    <a:pt x="335" y="249"/>
                  </a:lnTo>
                  <a:lnTo>
                    <a:pt x="335" y="249"/>
                  </a:lnTo>
                  <a:lnTo>
                    <a:pt x="336" y="249"/>
                  </a:lnTo>
                  <a:lnTo>
                    <a:pt x="336" y="249"/>
                  </a:lnTo>
                  <a:lnTo>
                    <a:pt x="336" y="246"/>
                  </a:lnTo>
                  <a:lnTo>
                    <a:pt x="336" y="246"/>
                  </a:lnTo>
                  <a:lnTo>
                    <a:pt x="340" y="249"/>
                  </a:lnTo>
                  <a:lnTo>
                    <a:pt x="340" y="249"/>
                  </a:lnTo>
                  <a:lnTo>
                    <a:pt x="341" y="246"/>
                  </a:lnTo>
                  <a:lnTo>
                    <a:pt x="341" y="246"/>
                  </a:lnTo>
                  <a:lnTo>
                    <a:pt x="343" y="246"/>
                  </a:lnTo>
                  <a:lnTo>
                    <a:pt x="343" y="246"/>
                  </a:lnTo>
                  <a:lnTo>
                    <a:pt x="346" y="246"/>
                  </a:lnTo>
                  <a:lnTo>
                    <a:pt x="346" y="246"/>
                  </a:lnTo>
                  <a:lnTo>
                    <a:pt x="349" y="249"/>
                  </a:lnTo>
                  <a:lnTo>
                    <a:pt x="349" y="249"/>
                  </a:lnTo>
                  <a:lnTo>
                    <a:pt x="351" y="249"/>
                  </a:lnTo>
                  <a:lnTo>
                    <a:pt x="351" y="249"/>
                  </a:lnTo>
                  <a:lnTo>
                    <a:pt x="351" y="249"/>
                  </a:lnTo>
                  <a:lnTo>
                    <a:pt x="351" y="249"/>
                  </a:lnTo>
                  <a:lnTo>
                    <a:pt x="351" y="246"/>
                  </a:lnTo>
                  <a:lnTo>
                    <a:pt x="351" y="246"/>
                  </a:lnTo>
                  <a:lnTo>
                    <a:pt x="354" y="246"/>
                  </a:lnTo>
                  <a:lnTo>
                    <a:pt x="354" y="246"/>
                  </a:lnTo>
                  <a:lnTo>
                    <a:pt x="354" y="246"/>
                  </a:lnTo>
                  <a:lnTo>
                    <a:pt x="354" y="246"/>
                  </a:lnTo>
                  <a:lnTo>
                    <a:pt x="357" y="246"/>
                  </a:lnTo>
                  <a:lnTo>
                    <a:pt x="357" y="246"/>
                  </a:lnTo>
                  <a:lnTo>
                    <a:pt x="357" y="246"/>
                  </a:lnTo>
                  <a:lnTo>
                    <a:pt x="357" y="246"/>
                  </a:lnTo>
                  <a:lnTo>
                    <a:pt x="360" y="246"/>
                  </a:lnTo>
                  <a:lnTo>
                    <a:pt x="360" y="246"/>
                  </a:lnTo>
                  <a:lnTo>
                    <a:pt x="362" y="249"/>
                  </a:lnTo>
                  <a:lnTo>
                    <a:pt x="362" y="249"/>
                  </a:lnTo>
                  <a:lnTo>
                    <a:pt x="365" y="251"/>
                  </a:lnTo>
                  <a:lnTo>
                    <a:pt x="365" y="251"/>
                  </a:lnTo>
                  <a:lnTo>
                    <a:pt x="368" y="252"/>
                  </a:lnTo>
                  <a:lnTo>
                    <a:pt x="368" y="252"/>
                  </a:lnTo>
                  <a:lnTo>
                    <a:pt x="371" y="252"/>
                  </a:lnTo>
                  <a:lnTo>
                    <a:pt x="371" y="252"/>
                  </a:lnTo>
                  <a:lnTo>
                    <a:pt x="373" y="252"/>
                  </a:lnTo>
                  <a:lnTo>
                    <a:pt x="373" y="252"/>
                  </a:lnTo>
                  <a:lnTo>
                    <a:pt x="373" y="254"/>
                  </a:lnTo>
                  <a:lnTo>
                    <a:pt x="373" y="254"/>
                  </a:lnTo>
                  <a:lnTo>
                    <a:pt x="374" y="254"/>
                  </a:lnTo>
                  <a:lnTo>
                    <a:pt x="374" y="254"/>
                  </a:lnTo>
                  <a:lnTo>
                    <a:pt x="376" y="252"/>
                  </a:lnTo>
                  <a:lnTo>
                    <a:pt x="376" y="252"/>
                  </a:lnTo>
                  <a:lnTo>
                    <a:pt x="376" y="251"/>
                  </a:lnTo>
                  <a:lnTo>
                    <a:pt x="376" y="251"/>
                  </a:lnTo>
                  <a:lnTo>
                    <a:pt x="378" y="249"/>
                  </a:lnTo>
                  <a:lnTo>
                    <a:pt x="378" y="249"/>
                  </a:lnTo>
                  <a:lnTo>
                    <a:pt x="379" y="249"/>
                  </a:lnTo>
                  <a:lnTo>
                    <a:pt x="379" y="249"/>
                  </a:lnTo>
                  <a:lnTo>
                    <a:pt x="381" y="251"/>
                  </a:lnTo>
                  <a:lnTo>
                    <a:pt x="381" y="251"/>
                  </a:lnTo>
                  <a:lnTo>
                    <a:pt x="386" y="252"/>
                  </a:lnTo>
                  <a:lnTo>
                    <a:pt x="386" y="252"/>
                  </a:lnTo>
                  <a:lnTo>
                    <a:pt x="389" y="251"/>
                  </a:lnTo>
                  <a:lnTo>
                    <a:pt x="389" y="251"/>
                  </a:lnTo>
                  <a:lnTo>
                    <a:pt x="392" y="251"/>
                  </a:lnTo>
                  <a:lnTo>
                    <a:pt x="392" y="251"/>
                  </a:lnTo>
                  <a:lnTo>
                    <a:pt x="392" y="249"/>
                  </a:lnTo>
                  <a:lnTo>
                    <a:pt x="392" y="249"/>
                  </a:lnTo>
                  <a:lnTo>
                    <a:pt x="392" y="246"/>
                  </a:lnTo>
                  <a:lnTo>
                    <a:pt x="392" y="246"/>
                  </a:lnTo>
                  <a:lnTo>
                    <a:pt x="392" y="246"/>
                  </a:lnTo>
                  <a:lnTo>
                    <a:pt x="392" y="246"/>
                  </a:lnTo>
                  <a:lnTo>
                    <a:pt x="395" y="243"/>
                  </a:lnTo>
                  <a:lnTo>
                    <a:pt x="395" y="243"/>
                  </a:lnTo>
                  <a:lnTo>
                    <a:pt x="392" y="243"/>
                  </a:lnTo>
                  <a:lnTo>
                    <a:pt x="392" y="243"/>
                  </a:lnTo>
                  <a:lnTo>
                    <a:pt x="389" y="243"/>
                  </a:lnTo>
                  <a:lnTo>
                    <a:pt x="389" y="243"/>
                  </a:lnTo>
                  <a:lnTo>
                    <a:pt x="386" y="243"/>
                  </a:lnTo>
                  <a:lnTo>
                    <a:pt x="386" y="243"/>
                  </a:lnTo>
                  <a:lnTo>
                    <a:pt x="386" y="240"/>
                  </a:lnTo>
                  <a:lnTo>
                    <a:pt x="386" y="240"/>
                  </a:lnTo>
                  <a:lnTo>
                    <a:pt x="384" y="240"/>
                  </a:lnTo>
                  <a:lnTo>
                    <a:pt x="384" y="240"/>
                  </a:lnTo>
                  <a:lnTo>
                    <a:pt x="382" y="240"/>
                  </a:lnTo>
                  <a:lnTo>
                    <a:pt x="382" y="240"/>
                  </a:lnTo>
                  <a:lnTo>
                    <a:pt x="381" y="240"/>
                  </a:lnTo>
                  <a:lnTo>
                    <a:pt x="381" y="240"/>
                  </a:lnTo>
                  <a:lnTo>
                    <a:pt x="378" y="238"/>
                  </a:lnTo>
                  <a:lnTo>
                    <a:pt x="378" y="238"/>
                  </a:lnTo>
                  <a:lnTo>
                    <a:pt x="374" y="237"/>
                  </a:lnTo>
                  <a:lnTo>
                    <a:pt x="374" y="237"/>
                  </a:lnTo>
                  <a:lnTo>
                    <a:pt x="373" y="237"/>
                  </a:lnTo>
                  <a:lnTo>
                    <a:pt x="373" y="237"/>
                  </a:lnTo>
                  <a:lnTo>
                    <a:pt x="373" y="235"/>
                  </a:lnTo>
                  <a:lnTo>
                    <a:pt x="373" y="235"/>
                  </a:lnTo>
                  <a:lnTo>
                    <a:pt x="378" y="232"/>
                  </a:lnTo>
                  <a:lnTo>
                    <a:pt x="378" y="232"/>
                  </a:lnTo>
                  <a:lnTo>
                    <a:pt x="379" y="232"/>
                  </a:lnTo>
                  <a:lnTo>
                    <a:pt x="379" y="232"/>
                  </a:lnTo>
                  <a:lnTo>
                    <a:pt x="382" y="229"/>
                  </a:lnTo>
                  <a:lnTo>
                    <a:pt x="382" y="229"/>
                  </a:lnTo>
                  <a:lnTo>
                    <a:pt x="378" y="224"/>
                  </a:lnTo>
                  <a:lnTo>
                    <a:pt x="378" y="224"/>
                  </a:lnTo>
                  <a:lnTo>
                    <a:pt x="379" y="222"/>
                  </a:lnTo>
                  <a:lnTo>
                    <a:pt x="379" y="222"/>
                  </a:lnTo>
                  <a:lnTo>
                    <a:pt x="379" y="221"/>
                  </a:lnTo>
                  <a:lnTo>
                    <a:pt x="379" y="221"/>
                  </a:lnTo>
                  <a:lnTo>
                    <a:pt x="379" y="219"/>
                  </a:lnTo>
                  <a:lnTo>
                    <a:pt x="379" y="219"/>
                  </a:lnTo>
                  <a:lnTo>
                    <a:pt x="384" y="219"/>
                  </a:lnTo>
                  <a:lnTo>
                    <a:pt x="384" y="219"/>
                  </a:lnTo>
                  <a:lnTo>
                    <a:pt x="386" y="221"/>
                  </a:lnTo>
                  <a:lnTo>
                    <a:pt x="386" y="221"/>
                  </a:lnTo>
                  <a:lnTo>
                    <a:pt x="392" y="219"/>
                  </a:lnTo>
                  <a:lnTo>
                    <a:pt x="392" y="219"/>
                  </a:lnTo>
                  <a:lnTo>
                    <a:pt x="389" y="218"/>
                  </a:lnTo>
                  <a:lnTo>
                    <a:pt x="389" y="218"/>
                  </a:lnTo>
                  <a:lnTo>
                    <a:pt x="389" y="218"/>
                  </a:lnTo>
                  <a:lnTo>
                    <a:pt x="389" y="218"/>
                  </a:lnTo>
                  <a:lnTo>
                    <a:pt x="379" y="216"/>
                  </a:lnTo>
                  <a:lnTo>
                    <a:pt x="379" y="216"/>
                  </a:lnTo>
                  <a:lnTo>
                    <a:pt x="379" y="214"/>
                  </a:lnTo>
                  <a:lnTo>
                    <a:pt x="379" y="214"/>
                  </a:lnTo>
                  <a:lnTo>
                    <a:pt x="381" y="214"/>
                  </a:lnTo>
                  <a:lnTo>
                    <a:pt x="381" y="214"/>
                  </a:lnTo>
                  <a:lnTo>
                    <a:pt x="384" y="214"/>
                  </a:lnTo>
                  <a:lnTo>
                    <a:pt x="384" y="214"/>
                  </a:lnTo>
                  <a:lnTo>
                    <a:pt x="382" y="213"/>
                  </a:lnTo>
                  <a:lnTo>
                    <a:pt x="382" y="213"/>
                  </a:lnTo>
                  <a:lnTo>
                    <a:pt x="382" y="211"/>
                  </a:lnTo>
                  <a:lnTo>
                    <a:pt x="382" y="211"/>
                  </a:lnTo>
                  <a:lnTo>
                    <a:pt x="381" y="211"/>
                  </a:lnTo>
                  <a:lnTo>
                    <a:pt x="381" y="211"/>
                  </a:lnTo>
                  <a:lnTo>
                    <a:pt x="379" y="211"/>
                  </a:lnTo>
                  <a:lnTo>
                    <a:pt x="379" y="211"/>
                  </a:lnTo>
                  <a:lnTo>
                    <a:pt x="378" y="211"/>
                  </a:lnTo>
                  <a:lnTo>
                    <a:pt x="378" y="211"/>
                  </a:lnTo>
                  <a:lnTo>
                    <a:pt x="376" y="211"/>
                  </a:lnTo>
                  <a:lnTo>
                    <a:pt x="376" y="211"/>
                  </a:lnTo>
                  <a:lnTo>
                    <a:pt x="378" y="211"/>
                  </a:lnTo>
                  <a:lnTo>
                    <a:pt x="378" y="211"/>
                  </a:lnTo>
                  <a:lnTo>
                    <a:pt x="378" y="208"/>
                  </a:lnTo>
                  <a:lnTo>
                    <a:pt x="378" y="208"/>
                  </a:lnTo>
                  <a:lnTo>
                    <a:pt x="374" y="208"/>
                  </a:lnTo>
                  <a:lnTo>
                    <a:pt x="374" y="208"/>
                  </a:lnTo>
                  <a:lnTo>
                    <a:pt x="378" y="208"/>
                  </a:lnTo>
                  <a:lnTo>
                    <a:pt x="378" y="208"/>
                  </a:lnTo>
                  <a:lnTo>
                    <a:pt x="378" y="205"/>
                  </a:lnTo>
                  <a:lnTo>
                    <a:pt x="378" y="205"/>
                  </a:lnTo>
                  <a:lnTo>
                    <a:pt x="379" y="205"/>
                  </a:lnTo>
                  <a:lnTo>
                    <a:pt x="379" y="205"/>
                  </a:lnTo>
                  <a:lnTo>
                    <a:pt x="381" y="205"/>
                  </a:lnTo>
                  <a:lnTo>
                    <a:pt x="381" y="205"/>
                  </a:lnTo>
                  <a:lnTo>
                    <a:pt x="384" y="208"/>
                  </a:lnTo>
                  <a:lnTo>
                    <a:pt x="384" y="208"/>
                  </a:lnTo>
                  <a:lnTo>
                    <a:pt x="384" y="208"/>
                  </a:lnTo>
                  <a:lnTo>
                    <a:pt x="386" y="205"/>
                  </a:lnTo>
                  <a:lnTo>
                    <a:pt x="386" y="205"/>
                  </a:lnTo>
                  <a:lnTo>
                    <a:pt x="389" y="205"/>
                  </a:lnTo>
                  <a:lnTo>
                    <a:pt x="389" y="205"/>
                  </a:lnTo>
                  <a:lnTo>
                    <a:pt x="389" y="205"/>
                  </a:lnTo>
                  <a:lnTo>
                    <a:pt x="389" y="205"/>
                  </a:lnTo>
                  <a:lnTo>
                    <a:pt x="392" y="208"/>
                  </a:lnTo>
                  <a:lnTo>
                    <a:pt x="392" y="208"/>
                  </a:lnTo>
                  <a:lnTo>
                    <a:pt x="392" y="205"/>
                  </a:lnTo>
                  <a:lnTo>
                    <a:pt x="392" y="205"/>
                  </a:lnTo>
                  <a:lnTo>
                    <a:pt x="392" y="205"/>
                  </a:lnTo>
                  <a:lnTo>
                    <a:pt x="394" y="205"/>
                  </a:lnTo>
                  <a:lnTo>
                    <a:pt x="394" y="205"/>
                  </a:lnTo>
                  <a:lnTo>
                    <a:pt x="397" y="205"/>
                  </a:lnTo>
                  <a:lnTo>
                    <a:pt x="397" y="205"/>
                  </a:lnTo>
                  <a:lnTo>
                    <a:pt x="398" y="203"/>
                  </a:lnTo>
                  <a:lnTo>
                    <a:pt x="398" y="203"/>
                  </a:lnTo>
                  <a:lnTo>
                    <a:pt x="400" y="203"/>
                  </a:lnTo>
                  <a:lnTo>
                    <a:pt x="400" y="203"/>
                  </a:lnTo>
                  <a:lnTo>
                    <a:pt x="400" y="203"/>
                  </a:lnTo>
                  <a:lnTo>
                    <a:pt x="401" y="203"/>
                  </a:lnTo>
                  <a:lnTo>
                    <a:pt x="401" y="203"/>
                  </a:lnTo>
                  <a:lnTo>
                    <a:pt x="401" y="202"/>
                  </a:lnTo>
                  <a:lnTo>
                    <a:pt x="401" y="202"/>
                  </a:lnTo>
                  <a:lnTo>
                    <a:pt x="401" y="202"/>
                  </a:lnTo>
                  <a:lnTo>
                    <a:pt x="401" y="202"/>
                  </a:lnTo>
                  <a:lnTo>
                    <a:pt x="401" y="200"/>
                  </a:lnTo>
                  <a:lnTo>
                    <a:pt x="401" y="200"/>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sp>
          <p:nvSpPr>
            <p:cNvPr id="1177" name="Freeform 383">
              <a:extLst>
                <a:ext uri="{FF2B5EF4-FFF2-40B4-BE49-F238E27FC236}">
                  <a16:creationId xmlns:a16="http://schemas.microsoft.com/office/drawing/2014/main" id="{814E0270-AAED-2216-0670-7CDB1FF54D17}"/>
                </a:ext>
              </a:extLst>
            </p:cNvPr>
            <p:cNvSpPr>
              <a:spLocks/>
            </p:cNvSpPr>
            <p:nvPr/>
          </p:nvSpPr>
          <p:spPr bwMode="auto">
            <a:xfrm>
              <a:off x="6969215" y="2250839"/>
              <a:ext cx="1011626" cy="468802"/>
            </a:xfrm>
            <a:custGeom>
              <a:avLst/>
              <a:gdLst>
                <a:gd name="T0" fmla="*/ 439 w 451"/>
                <a:gd name="T1" fmla="*/ 78 h 209"/>
                <a:gd name="T2" fmla="*/ 419 w 451"/>
                <a:gd name="T3" fmla="*/ 74 h 209"/>
                <a:gd name="T4" fmla="*/ 391 w 451"/>
                <a:gd name="T5" fmla="*/ 62 h 209"/>
                <a:gd name="T6" fmla="*/ 375 w 451"/>
                <a:gd name="T7" fmla="*/ 63 h 209"/>
                <a:gd name="T8" fmla="*/ 364 w 451"/>
                <a:gd name="T9" fmla="*/ 59 h 209"/>
                <a:gd name="T10" fmla="*/ 335 w 451"/>
                <a:gd name="T11" fmla="*/ 39 h 209"/>
                <a:gd name="T12" fmla="*/ 304 w 451"/>
                <a:gd name="T13" fmla="*/ 14 h 209"/>
                <a:gd name="T14" fmla="*/ 285 w 451"/>
                <a:gd name="T15" fmla="*/ 27 h 209"/>
                <a:gd name="T16" fmla="*/ 275 w 451"/>
                <a:gd name="T17" fmla="*/ 17 h 209"/>
                <a:gd name="T18" fmla="*/ 261 w 451"/>
                <a:gd name="T19" fmla="*/ 19 h 209"/>
                <a:gd name="T20" fmla="*/ 246 w 451"/>
                <a:gd name="T21" fmla="*/ 17 h 209"/>
                <a:gd name="T22" fmla="*/ 237 w 451"/>
                <a:gd name="T23" fmla="*/ 3 h 209"/>
                <a:gd name="T24" fmla="*/ 215 w 451"/>
                <a:gd name="T25" fmla="*/ 1 h 209"/>
                <a:gd name="T26" fmla="*/ 188 w 451"/>
                <a:gd name="T27" fmla="*/ 11 h 209"/>
                <a:gd name="T28" fmla="*/ 165 w 451"/>
                <a:gd name="T29" fmla="*/ 17 h 209"/>
                <a:gd name="T30" fmla="*/ 153 w 451"/>
                <a:gd name="T31" fmla="*/ 19 h 209"/>
                <a:gd name="T32" fmla="*/ 142 w 451"/>
                <a:gd name="T33" fmla="*/ 22 h 209"/>
                <a:gd name="T34" fmla="*/ 143 w 451"/>
                <a:gd name="T35" fmla="*/ 28 h 209"/>
                <a:gd name="T36" fmla="*/ 143 w 451"/>
                <a:gd name="T37" fmla="*/ 36 h 209"/>
                <a:gd name="T38" fmla="*/ 146 w 451"/>
                <a:gd name="T39" fmla="*/ 52 h 209"/>
                <a:gd name="T40" fmla="*/ 156 w 451"/>
                <a:gd name="T41" fmla="*/ 63 h 209"/>
                <a:gd name="T42" fmla="*/ 137 w 451"/>
                <a:gd name="T43" fmla="*/ 68 h 209"/>
                <a:gd name="T44" fmla="*/ 119 w 451"/>
                <a:gd name="T45" fmla="*/ 60 h 209"/>
                <a:gd name="T46" fmla="*/ 100 w 451"/>
                <a:gd name="T47" fmla="*/ 60 h 209"/>
                <a:gd name="T48" fmla="*/ 83 w 451"/>
                <a:gd name="T49" fmla="*/ 60 h 209"/>
                <a:gd name="T50" fmla="*/ 69 w 451"/>
                <a:gd name="T51" fmla="*/ 55 h 209"/>
                <a:gd name="T52" fmla="*/ 48 w 451"/>
                <a:gd name="T53" fmla="*/ 52 h 209"/>
                <a:gd name="T54" fmla="*/ 35 w 451"/>
                <a:gd name="T55" fmla="*/ 55 h 209"/>
                <a:gd name="T56" fmla="*/ 24 w 451"/>
                <a:gd name="T57" fmla="*/ 63 h 209"/>
                <a:gd name="T58" fmla="*/ 10 w 451"/>
                <a:gd name="T59" fmla="*/ 71 h 209"/>
                <a:gd name="T60" fmla="*/ 0 w 451"/>
                <a:gd name="T61" fmla="*/ 81 h 209"/>
                <a:gd name="T62" fmla="*/ 3 w 451"/>
                <a:gd name="T63" fmla="*/ 98 h 209"/>
                <a:gd name="T64" fmla="*/ 15 w 451"/>
                <a:gd name="T65" fmla="*/ 106 h 209"/>
                <a:gd name="T66" fmla="*/ 29 w 451"/>
                <a:gd name="T67" fmla="*/ 122 h 209"/>
                <a:gd name="T68" fmla="*/ 40 w 451"/>
                <a:gd name="T69" fmla="*/ 124 h 209"/>
                <a:gd name="T70" fmla="*/ 69 w 451"/>
                <a:gd name="T71" fmla="*/ 119 h 209"/>
                <a:gd name="T72" fmla="*/ 78 w 451"/>
                <a:gd name="T73" fmla="*/ 138 h 209"/>
                <a:gd name="T74" fmla="*/ 59 w 451"/>
                <a:gd name="T75" fmla="*/ 147 h 209"/>
                <a:gd name="T76" fmla="*/ 53 w 451"/>
                <a:gd name="T77" fmla="*/ 154 h 209"/>
                <a:gd name="T78" fmla="*/ 72 w 451"/>
                <a:gd name="T79" fmla="*/ 171 h 209"/>
                <a:gd name="T80" fmla="*/ 84 w 451"/>
                <a:gd name="T81" fmla="*/ 186 h 209"/>
                <a:gd name="T82" fmla="*/ 104 w 451"/>
                <a:gd name="T83" fmla="*/ 184 h 209"/>
                <a:gd name="T84" fmla="*/ 118 w 451"/>
                <a:gd name="T85" fmla="*/ 144 h 209"/>
                <a:gd name="T86" fmla="*/ 153 w 451"/>
                <a:gd name="T87" fmla="*/ 135 h 209"/>
                <a:gd name="T88" fmla="*/ 161 w 451"/>
                <a:gd name="T89" fmla="*/ 130 h 209"/>
                <a:gd name="T90" fmla="*/ 162 w 451"/>
                <a:gd name="T91" fmla="*/ 138 h 209"/>
                <a:gd name="T92" fmla="*/ 172 w 451"/>
                <a:gd name="T93" fmla="*/ 152 h 209"/>
                <a:gd name="T94" fmla="*/ 215 w 451"/>
                <a:gd name="T95" fmla="*/ 165 h 209"/>
                <a:gd name="T96" fmla="*/ 237 w 451"/>
                <a:gd name="T97" fmla="*/ 174 h 209"/>
                <a:gd name="T98" fmla="*/ 258 w 451"/>
                <a:gd name="T99" fmla="*/ 200 h 209"/>
                <a:gd name="T100" fmla="*/ 275 w 451"/>
                <a:gd name="T101" fmla="*/ 203 h 209"/>
                <a:gd name="T102" fmla="*/ 294 w 451"/>
                <a:gd name="T103" fmla="*/ 187 h 209"/>
                <a:gd name="T104" fmla="*/ 310 w 451"/>
                <a:gd name="T105" fmla="*/ 178 h 209"/>
                <a:gd name="T106" fmla="*/ 327 w 451"/>
                <a:gd name="T107" fmla="*/ 171 h 209"/>
                <a:gd name="T108" fmla="*/ 356 w 451"/>
                <a:gd name="T109" fmla="*/ 174 h 209"/>
                <a:gd name="T110" fmla="*/ 388 w 451"/>
                <a:gd name="T111" fmla="*/ 178 h 209"/>
                <a:gd name="T112" fmla="*/ 407 w 451"/>
                <a:gd name="T113" fmla="*/ 182 h 209"/>
                <a:gd name="T114" fmla="*/ 407 w 451"/>
                <a:gd name="T115" fmla="*/ 168 h 209"/>
                <a:gd name="T116" fmla="*/ 391 w 451"/>
                <a:gd name="T117" fmla="*/ 147 h 209"/>
                <a:gd name="T118" fmla="*/ 419 w 451"/>
                <a:gd name="T119" fmla="*/ 143 h 209"/>
                <a:gd name="T120" fmla="*/ 415 w 451"/>
                <a:gd name="T121" fmla="*/ 116 h 209"/>
                <a:gd name="T122" fmla="*/ 442 w 451"/>
                <a:gd name="T123" fmla="*/ 113 h 209"/>
                <a:gd name="T124" fmla="*/ 445 w 451"/>
                <a:gd name="T125" fmla="*/ 8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1" h="209">
                  <a:moveTo>
                    <a:pt x="451" y="87"/>
                  </a:moveTo>
                  <a:lnTo>
                    <a:pt x="451" y="87"/>
                  </a:lnTo>
                  <a:lnTo>
                    <a:pt x="450" y="87"/>
                  </a:lnTo>
                  <a:lnTo>
                    <a:pt x="450" y="87"/>
                  </a:lnTo>
                  <a:lnTo>
                    <a:pt x="448" y="87"/>
                  </a:lnTo>
                  <a:lnTo>
                    <a:pt x="448" y="87"/>
                  </a:lnTo>
                  <a:lnTo>
                    <a:pt x="448" y="86"/>
                  </a:lnTo>
                  <a:lnTo>
                    <a:pt x="448" y="86"/>
                  </a:lnTo>
                  <a:lnTo>
                    <a:pt x="445" y="84"/>
                  </a:lnTo>
                  <a:lnTo>
                    <a:pt x="445" y="84"/>
                  </a:lnTo>
                  <a:lnTo>
                    <a:pt x="443" y="81"/>
                  </a:lnTo>
                  <a:lnTo>
                    <a:pt x="443" y="81"/>
                  </a:lnTo>
                  <a:lnTo>
                    <a:pt x="442" y="81"/>
                  </a:lnTo>
                  <a:lnTo>
                    <a:pt x="442" y="81"/>
                  </a:lnTo>
                  <a:lnTo>
                    <a:pt x="442" y="81"/>
                  </a:lnTo>
                  <a:lnTo>
                    <a:pt x="442" y="81"/>
                  </a:lnTo>
                  <a:lnTo>
                    <a:pt x="442" y="78"/>
                  </a:lnTo>
                  <a:lnTo>
                    <a:pt x="442" y="78"/>
                  </a:lnTo>
                  <a:lnTo>
                    <a:pt x="439" y="78"/>
                  </a:lnTo>
                  <a:lnTo>
                    <a:pt x="439" y="78"/>
                  </a:lnTo>
                  <a:lnTo>
                    <a:pt x="439" y="81"/>
                  </a:lnTo>
                  <a:lnTo>
                    <a:pt x="439" y="81"/>
                  </a:lnTo>
                  <a:lnTo>
                    <a:pt x="435" y="81"/>
                  </a:lnTo>
                  <a:lnTo>
                    <a:pt x="435" y="81"/>
                  </a:lnTo>
                  <a:lnTo>
                    <a:pt x="435" y="81"/>
                  </a:lnTo>
                  <a:lnTo>
                    <a:pt x="435" y="81"/>
                  </a:lnTo>
                  <a:lnTo>
                    <a:pt x="432" y="81"/>
                  </a:lnTo>
                  <a:lnTo>
                    <a:pt x="432" y="81"/>
                  </a:lnTo>
                  <a:lnTo>
                    <a:pt x="431" y="81"/>
                  </a:lnTo>
                  <a:lnTo>
                    <a:pt x="431" y="81"/>
                  </a:lnTo>
                  <a:lnTo>
                    <a:pt x="424" y="81"/>
                  </a:lnTo>
                  <a:lnTo>
                    <a:pt x="424" y="81"/>
                  </a:lnTo>
                  <a:lnTo>
                    <a:pt x="423" y="78"/>
                  </a:lnTo>
                  <a:lnTo>
                    <a:pt x="423" y="78"/>
                  </a:lnTo>
                  <a:lnTo>
                    <a:pt x="421" y="74"/>
                  </a:lnTo>
                  <a:lnTo>
                    <a:pt x="421" y="74"/>
                  </a:lnTo>
                  <a:lnTo>
                    <a:pt x="419" y="74"/>
                  </a:lnTo>
                  <a:lnTo>
                    <a:pt x="419" y="74"/>
                  </a:lnTo>
                  <a:lnTo>
                    <a:pt x="418" y="73"/>
                  </a:lnTo>
                  <a:lnTo>
                    <a:pt x="418" y="73"/>
                  </a:lnTo>
                  <a:lnTo>
                    <a:pt x="415" y="73"/>
                  </a:lnTo>
                  <a:lnTo>
                    <a:pt x="415" y="73"/>
                  </a:lnTo>
                  <a:lnTo>
                    <a:pt x="412" y="71"/>
                  </a:lnTo>
                  <a:lnTo>
                    <a:pt x="412" y="71"/>
                  </a:lnTo>
                  <a:lnTo>
                    <a:pt x="410" y="70"/>
                  </a:lnTo>
                  <a:lnTo>
                    <a:pt x="410" y="70"/>
                  </a:lnTo>
                  <a:lnTo>
                    <a:pt x="407" y="68"/>
                  </a:lnTo>
                  <a:lnTo>
                    <a:pt x="407" y="68"/>
                  </a:lnTo>
                  <a:lnTo>
                    <a:pt x="404" y="63"/>
                  </a:lnTo>
                  <a:lnTo>
                    <a:pt x="404" y="63"/>
                  </a:lnTo>
                  <a:lnTo>
                    <a:pt x="397" y="62"/>
                  </a:lnTo>
                  <a:lnTo>
                    <a:pt x="397" y="62"/>
                  </a:lnTo>
                  <a:lnTo>
                    <a:pt x="394" y="60"/>
                  </a:lnTo>
                  <a:lnTo>
                    <a:pt x="394" y="60"/>
                  </a:lnTo>
                  <a:lnTo>
                    <a:pt x="392" y="62"/>
                  </a:lnTo>
                  <a:lnTo>
                    <a:pt x="392" y="62"/>
                  </a:lnTo>
                  <a:lnTo>
                    <a:pt x="391" y="62"/>
                  </a:lnTo>
                  <a:lnTo>
                    <a:pt x="391" y="62"/>
                  </a:lnTo>
                  <a:lnTo>
                    <a:pt x="389" y="63"/>
                  </a:lnTo>
                  <a:lnTo>
                    <a:pt x="389" y="63"/>
                  </a:lnTo>
                  <a:lnTo>
                    <a:pt x="388" y="65"/>
                  </a:lnTo>
                  <a:lnTo>
                    <a:pt x="388" y="65"/>
                  </a:lnTo>
                  <a:lnTo>
                    <a:pt x="386" y="65"/>
                  </a:lnTo>
                  <a:lnTo>
                    <a:pt x="386" y="65"/>
                  </a:lnTo>
                  <a:lnTo>
                    <a:pt x="385" y="65"/>
                  </a:lnTo>
                  <a:lnTo>
                    <a:pt x="385" y="65"/>
                  </a:lnTo>
                  <a:lnTo>
                    <a:pt x="383" y="65"/>
                  </a:lnTo>
                  <a:lnTo>
                    <a:pt x="383" y="65"/>
                  </a:lnTo>
                  <a:lnTo>
                    <a:pt x="381" y="65"/>
                  </a:lnTo>
                  <a:lnTo>
                    <a:pt x="381" y="65"/>
                  </a:lnTo>
                  <a:lnTo>
                    <a:pt x="380" y="65"/>
                  </a:lnTo>
                  <a:lnTo>
                    <a:pt x="380" y="65"/>
                  </a:lnTo>
                  <a:lnTo>
                    <a:pt x="378" y="65"/>
                  </a:lnTo>
                  <a:lnTo>
                    <a:pt x="378" y="65"/>
                  </a:lnTo>
                  <a:lnTo>
                    <a:pt x="375" y="63"/>
                  </a:lnTo>
                  <a:lnTo>
                    <a:pt x="375" y="63"/>
                  </a:lnTo>
                  <a:lnTo>
                    <a:pt x="375" y="62"/>
                  </a:lnTo>
                  <a:lnTo>
                    <a:pt x="375" y="62"/>
                  </a:lnTo>
                  <a:lnTo>
                    <a:pt x="375" y="62"/>
                  </a:lnTo>
                  <a:lnTo>
                    <a:pt x="375" y="62"/>
                  </a:lnTo>
                  <a:lnTo>
                    <a:pt x="372" y="62"/>
                  </a:lnTo>
                  <a:lnTo>
                    <a:pt x="372" y="62"/>
                  </a:lnTo>
                  <a:lnTo>
                    <a:pt x="372" y="62"/>
                  </a:lnTo>
                  <a:lnTo>
                    <a:pt x="372" y="62"/>
                  </a:lnTo>
                  <a:lnTo>
                    <a:pt x="372" y="59"/>
                  </a:lnTo>
                  <a:lnTo>
                    <a:pt x="372" y="59"/>
                  </a:lnTo>
                  <a:lnTo>
                    <a:pt x="370" y="59"/>
                  </a:lnTo>
                  <a:lnTo>
                    <a:pt x="370" y="59"/>
                  </a:lnTo>
                  <a:lnTo>
                    <a:pt x="369" y="57"/>
                  </a:lnTo>
                  <a:lnTo>
                    <a:pt x="369" y="57"/>
                  </a:lnTo>
                  <a:lnTo>
                    <a:pt x="365" y="57"/>
                  </a:lnTo>
                  <a:lnTo>
                    <a:pt x="365" y="57"/>
                  </a:lnTo>
                  <a:lnTo>
                    <a:pt x="364" y="57"/>
                  </a:lnTo>
                  <a:lnTo>
                    <a:pt x="364" y="57"/>
                  </a:lnTo>
                  <a:lnTo>
                    <a:pt x="364" y="59"/>
                  </a:lnTo>
                  <a:lnTo>
                    <a:pt x="364" y="59"/>
                  </a:lnTo>
                  <a:lnTo>
                    <a:pt x="364" y="60"/>
                  </a:lnTo>
                  <a:lnTo>
                    <a:pt x="364" y="60"/>
                  </a:lnTo>
                  <a:lnTo>
                    <a:pt x="364" y="62"/>
                  </a:lnTo>
                  <a:lnTo>
                    <a:pt x="364" y="62"/>
                  </a:lnTo>
                  <a:lnTo>
                    <a:pt x="362" y="63"/>
                  </a:lnTo>
                  <a:lnTo>
                    <a:pt x="362" y="63"/>
                  </a:lnTo>
                  <a:lnTo>
                    <a:pt x="362" y="65"/>
                  </a:lnTo>
                  <a:lnTo>
                    <a:pt x="362" y="65"/>
                  </a:lnTo>
                  <a:lnTo>
                    <a:pt x="359" y="63"/>
                  </a:lnTo>
                  <a:lnTo>
                    <a:pt x="359" y="63"/>
                  </a:lnTo>
                  <a:lnTo>
                    <a:pt x="356" y="60"/>
                  </a:lnTo>
                  <a:lnTo>
                    <a:pt x="356" y="60"/>
                  </a:lnTo>
                  <a:lnTo>
                    <a:pt x="351" y="54"/>
                  </a:lnTo>
                  <a:lnTo>
                    <a:pt x="351" y="54"/>
                  </a:lnTo>
                  <a:lnTo>
                    <a:pt x="337" y="41"/>
                  </a:lnTo>
                  <a:lnTo>
                    <a:pt x="337" y="41"/>
                  </a:lnTo>
                  <a:lnTo>
                    <a:pt x="335" y="39"/>
                  </a:lnTo>
                  <a:lnTo>
                    <a:pt x="335" y="39"/>
                  </a:lnTo>
                  <a:lnTo>
                    <a:pt x="327" y="33"/>
                  </a:lnTo>
                  <a:lnTo>
                    <a:pt x="327" y="33"/>
                  </a:lnTo>
                  <a:lnTo>
                    <a:pt x="319" y="27"/>
                  </a:lnTo>
                  <a:lnTo>
                    <a:pt x="319" y="27"/>
                  </a:lnTo>
                  <a:lnTo>
                    <a:pt x="310" y="22"/>
                  </a:lnTo>
                  <a:lnTo>
                    <a:pt x="310" y="22"/>
                  </a:lnTo>
                  <a:lnTo>
                    <a:pt x="304" y="17"/>
                  </a:lnTo>
                  <a:lnTo>
                    <a:pt x="304" y="17"/>
                  </a:lnTo>
                  <a:lnTo>
                    <a:pt x="305" y="17"/>
                  </a:lnTo>
                  <a:lnTo>
                    <a:pt x="305" y="17"/>
                  </a:lnTo>
                  <a:lnTo>
                    <a:pt x="307" y="17"/>
                  </a:lnTo>
                  <a:lnTo>
                    <a:pt x="307" y="17"/>
                  </a:lnTo>
                  <a:lnTo>
                    <a:pt x="307" y="17"/>
                  </a:lnTo>
                  <a:lnTo>
                    <a:pt x="307" y="17"/>
                  </a:lnTo>
                  <a:lnTo>
                    <a:pt x="305" y="14"/>
                  </a:lnTo>
                  <a:lnTo>
                    <a:pt x="305" y="14"/>
                  </a:lnTo>
                  <a:lnTo>
                    <a:pt x="307" y="14"/>
                  </a:lnTo>
                  <a:lnTo>
                    <a:pt x="307" y="14"/>
                  </a:lnTo>
                  <a:lnTo>
                    <a:pt x="304" y="14"/>
                  </a:lnTo>
                  <a:lnTo>
                    <a:pt x="304" y="14"/>
                  </a:lnTo>
                  <a:lnTo>
                    <a:pt x="300" y="14"/>
                  </a:lnTo>
                  <a:lnTo>
                    <a:pt x="300" y="14"/>
                  </a:lnTo>
                  <a:lnTo>
                    <a:pt x="299" y="17"/>
                  </a:lnTo>
                  <a:lnTo>
                    <a:pt x="299" y="17"/>
                  </a:lnTo>
                  <a:lnTo>
                    <a:pt x="292" y="17"/>
                  </a:lnTo>
                  <a:lnTo>
                    <a:pt x="292" y="17"/>
                  </a:lnTo>
                  <a:lnTo>
                    <a:pt x="292" y="19"/>
                  </a:lnTo>
                  <a:lnTo>
                    <a:pt x="292" y="19"/>
                  </a:lnTo>
                  <a:lnTo>
                    <a:pt x="292" y="20"/>
                  </a:lnTo>
                  <a:lnTo>
                    <a:pt x="292" y="20"/>
                  </a:lnTo>
                  <a:lnTo>
                    <a:pt x="289" y="22"/>
                  </a:lnTo>
                  <a:lnTo>
                    <a:pt x="289" y="22"/>
                  </a:lnTo>
                  <a:lnTo>
                    <a:pt x="286" y="24"/>
                  </a:lnTo>
                  <a:lnTo>
                    <a:pt x="286" y="24"/>
                  </a:lnTo>
                  <a:lnTo>
                    <a:pt x="285" y="25"/>
                  </a:lnTo>
                  <a:lnTo>
                    <a:pt x="285" y="25"/>
                  </a:lnTo>
                  <a:lnTo>
                    <a:pt x="285" y="27"/>
                  </a:lnTo>
                  <a:lnTo>
                    <a:pt x="285" y="27"/>
                  </a:lnTo>
                  <a:lnTo>
                    <a:pt x="285" y="25"/>
                  </a:lnTo>
                  <a:lnTo>
                    <a:pt x="285" y="25"/>
                  </a:lnTo>
                  <a:lnTo>
                    <a:pt x="281" y="25"/>
                  </a:lnTo>
                  <a:lnTo>
                    <a:pt x="281" y="25"/>
                  </a:lnTo>
                  <a:lnTo>
                    <a:pt x="281" y="24"/>
                  </a:lnTo>
                  <a:lnTo>
                    <a:pt x="281" y="24"/>
                  </a:lnTo>
                  <a:lnTo>
                    <a:pt x="278" y="25"/>
                  </a:lnTo>
                  <a:lnTo>
                    <a:pt x="278" y="25"/>
                  </a:lnTo>
                  <a:lnTo>
                    <a:pt x="275" y="27"/>
                  </a:lnTo>
                  <a:lnTo>
                    <a:pt x="275" y="27"/>
                  </a:lnTo>
                  <a:lnTo>
                    <a:pt x="272" y="25"/>
                  </a:lnTo>
                  <a:lnTo>
                    <a:pt x="272" y="25"/>
                  </a:lnTo>
                  <a:lnTo>
                    <a:pt x="272" y="24"/>
                  </a:lnTo>
                  <a:lnTo>
                    <a:pt x="272" y="24"/>
                  </a:lnTo>
                  <a:lnTo>
                    <a:pt x="272" y="22"/>
                  </a:lnTo>
                  <a:lnTo>
                    <a:pt x="272" y="22"/>
                  </a:lnTo>
                  <a:lnTo>
                    <a:pt x="275" y="20"/>
                  </a:lnTo>
                  <a:lnTo>
                    <a:pt x="275" y="20"/>
                  </a:lnTo>
                  <a:lnTo>
                    <a:pt x="275" y="17"/>
                  </a:lnTo>
                  <a:lnTo>
                    <a:pt x="275" y="17"/>
                  </a:lnTo>
                  <a:lnTo>
                    <a:pt x="272" y="19"/>
                  </a:lnTo>
                  <a:lnTo>
                    <a:pt x="272" y="19"/>
                  </a:lnTo>
                  <a:lnTo>
                    <a:pt x="272" y="20"/>
                  </a:lnTo>
                  <a:lnTo>
                    <a:pt x="272" y="20"/>
                  </a:lnTo>
                  <a:lnTo>
                    <a:pt x="267" y="19"/>
                  </a:lnTo>
                  <a:lnTo>
                    <a:pt x="267" y="19"/>
                  </a:lnTo>
                  <a:lnTo>
                    <a:pt x="264" y="17"/>
                  </a:lnTo>
                  <a:lnTo>
                    <a:pt x="264" y="17"/>
                  </a:lnTo>
                  <a:lnTo>
                    <a:pt x="262" y="17"/>
                  </a:lnTo>
                  <a:lnTo>
                    <a:pt x="262" y="17"/>
                  </a:lnTo>
                  <a:lnTo>
                    <a:pt x="262" y="19"/>
                  </a:lnTo>
                  <a:lnTo>
                    <a:pt x="262" y="19"/>
                  </a:lnTo>
                  <a:lnTo>
                    <a:pt x="264" y="19"/>
                  </a:lnTo>
                  <a:lnTo>
                    <a:pt x="264" y="19"/>
                  </a:lnTo>
                  <a:lnTo>
                    <a:pt x="261" y="20"/>
                  </a:lnTo>
                  <a:lnTo>
                    <a:pt x="261" y="20"/>
                  </a:lnTo>
                  <a:lnTo>
                    <a:pt x="261" y="19"/>
                  </a:lnTo>
                  <a:lnTo>
                    <a:pt x="261" y="19"/>
                  </a:lnTo>
                  <a:lnTo>
                    <a:pt x="261" y="17"/>
                  </a:lnTo>
                  <a:lnTo>
                    <a:pt x="261" y="17"/>
                  </a:lnTo>
                  <a:lnTo>
                    <a:pt x="258" y="17"/>
                  </a:lnTo>
                  <a:lnTo>
                    <a:pt x="258" y="17"/>
                  </a:lnTo>
                  <a:lnTo>
                    <a:pt x="258" y="14"/>
                  </a:lnTo>
                  <a:lnTo>
                    <a:pt x="258" y="14"/>
                  </a:lnTo>
                  <a:lnTo>
                    <a:pt x="258" y="17"/>
                  </a:lnTo>
                  <a:lnTo>
                    <a:pt x="258" y="17"/>
                  </a:lnTo>
                  <a:lnTo>
                    <a:pt x="254" y="17"/>
                  </a:lnTo>
                  <a:lnTo>
                    <a:pt x="254" y="17"/>
                  </a:lnTo>
                  <a:lnTo>
                    <a:pt x="254" y="17"/>
                  </a:lnTo>
                  <a:lnTo>
                    <a:pt x="254" y="17"/>
                  </a:lnTo>
                  <a:lnTo>
                    <a:pt x="251" y="17"/>
                  </a:lnTo>
                  <a:lnTo>
                    <a:pt x="251" y="17"/>
                  </a:lnTo>
                  <a:lnTo>
                    <a:pt x="251" y="17"/>
                  </a:lnTo>
                  <a:lnTo>
                    <a:pt x="251" y="17"/>
                  </a:lnTo>
                  <a:lnTo>
                    <a:pt x="248" y="17"/>
                  </a:lnTo>
                  <a:lnTo>
                    <a:pt x="248" y="17"/>
                  </a:lnTo>
                  <a:lnTo>
                    <a:pt x="246" y="17"/>
                  </a:lnTo>
                  <a:lnTo>
                    <a:pt x="246" y="17"/>
                  </a:lnTo>
                  <a:lnTo>
                    <a:pt x="245" y="17"/>
                  </a:lnTo>
                  <a:lnTo>
                    <a:pt x="245" y="17"/>
                  </a:lnTo>
                  <a:lnTo>
                    <a:pt x="246" y="14"/>
                  </a:lnTo>
                  <a:lnTo>
                    <a:pt x="246" y="14"/>
                  </a:lnTo>
                  <a:lnTo>
                    <a:pt x="246" y="14"/>
                  </a:lnTo>
                  <a:lnTo>
                    <a:pt x="246" y="14"/>
                  </a:lnTo>
                  <a:lnTo>
                    <a:pt x="245" y="11"/>
                  </a:lnTo>
                  <a:lnTo>
                    <a:pt x="245" y="11"/>
                  </a:lnTo>
                  <a:lnTo>
                    <a:pt x="245" y="11"/>
                  </a:lnTo>
                  <a:lnTo>
                    <a:pt x="245" y="11"/>
                  </a:lnTo>
                  <a:lnTo>
                    <a:pt x="243" y="8"/>
                  </a:lnTo>
                  <a:lnTo>
                    <a:pt x="243" y="8"/>
                  </a:lnTo>
                  <a:lnTo>
                    <a:pt x="242" y="8"/>
                  </a:lnTo>
                  <a:lnTo>
                    <a:pt x="242" y="8"/>
                  </a:lnTo>
                  <a:lnTo>
                    <a:pt x="240" y="5"/>
                  </a:lnTo>
                  <a:lnTo>
                    <a:pt x="240" y="5"/>
                  </a:lnTo>
                  <a:lnTo>
                    <a:pt x="237" y="3"/>
                  </a:lnTo>
                  <a:lnTo>
                    <a:pt x="237" y="3"/>
                  </a:lnTo>
                  <a:lnTo>
                    <a:pt x="235" y="1"/>
                  </a:lnTo>
                  <a:lnTo>
                    <a:pt x="235" y="1"/>
                  </a:lnTo>
                  <a:lnTo>
                    <a:pt x="232" y="3"/>
                  </a:lnTo>
                  <a:lnTo>
                    <a:pt x="232" y="3"/>
                  </a:lnTo>
                  <a:lnTo>
                    <a:pt x="231" y="5"/>
                  </a:lnTo>
                  <a:lnTo>
                    <a:pt x="231" y="5"/>
                  </a:lnTo>
                  <a:lnTo>
                    <a:pt x="227" y="3"/>
                  </a:lnTo>
                  <a:lnTo>
                    <a:pt x="227" y="3"/>
                  </a:lnTo>
                  <a:lnTo>
                    <a:pt x="226" y="1"/>
                  </a:lnTo>
                  <a:lnTo>
                    <a:pt x="226" y="1"/>
                  </a:lnTo>
                  <a:lnTo>
                    <a:pt x="219" y="1"/>
                  </a:lnTo>
                  <a:lnTo>
                    <a:pt x="219" y="1"/>
                  </a:lnTo>
                  <a:lnTo>
                    <a:pt x="219" y="1"/>
                  </a:lnTo>
                  <a:lnTo>
                    <a:pt x="219" y="1"/>
                  </a:lnTo>
                  <a:lnTo>
                    <a:pt x="216" y="0"/>
                  </a:lnTo>
                  <a:lnTo>
                    <a:pt x="216" y="0"/>
                  </a:lnTo>
                  <a:lnTo>
                    <a:pt x="216" y="1"/>
                  </a:lnTo>
                  <a:lnTo>
                    <a:pt x="216" y="1"/>
                  </a:lnTo>
                  <a:lnTo>
                    <a:pt x="215" y="1"/>
                  </a:lnTo>
                  <a:lnTo>
                    <a:pt x="215" y="1"/>
                  </a:lnTo>
                  <a:lnTo>
                    <a:pt x="215" y="3"/>
                  </a:lnTo>
                  <a:lnTo>
                    <a:pt x="215" y="3"/>
                  </a:lnTo>
                  <a:lnTo>
                    <a:pt x="213" y="3"/>
                  </a:lnTo>
                  <a:lnTo>
                    <a:pt x="213" y="3"/>
                  </a:lnTo>
                  <a:lnTo>
                    <a:pt x="211" y="5"/>
                  </a:lnTo>
                  <a:lnTo>
                    <a:pt x="211" y="5"/>
                  </a:lnTo>
                  <a:lnTo>
                    <a:pt x="210" y="5"/>
                  </a:lnTo>
                  <a:lnTo>
                    <a:pt x="210" y="5"/>
                  </a:lnTo>
                  <a:lnTo>
                    <a:pt x="211" y="6"/>
                  </a:lnTo>
                  <a:lnTo>
                    <a:pt x="211" y="6"/>
                  </a:lnTo>
                  <a:lnTo>
                    <a:pt x="207" y="8"/>
                  </a:lnTo>
                  <a:lnTo>
                    <a:pt x="207" y="8"/>
                  </a:lnTo>
                  <a:lnTo>
                    <a:pt x="202" y="8"/>
                  </a:lnTo>
                  <a:lnTo>
                    <a:pt x="202" y="8"/>
                  </a:lnTo>
                  <a:lnTo>
                    <a:pt x="194" y="11"/>
                  </a:lnTo>
                  <a:lnTo>
                    <a:pt x="194" y="11"/>
                  </a:lnTo>
                  <a:lnTo>
                    <a:pt x="188" y="11"/>
                  </a:lnTo>
                  <a:lnTo>
                    <a:pt x="188" y="11"/>
                  </a:lnTo>
                  <a:lnTo>
                    <a:pt x="181" y="11"/>
                  </a:lnTo>
                  <a:lnTo>
                    <a:pt x="181" y="11"/>
                  </a:lnTo>
                  <a:lnTo>
                    <a:pt x="181" y="14"/>
                  </a:lnTo>
                  <a:lnTo>
                    <a:pt x="181" y="14"/>
                  </a:lnTo>
                  <a:lnTo>
                    <a:pt x="181" y="14"/>
                  </a:lnTo>
                  <a:lnTo>
                    <a:pt x="181" y="14"/>
                  </a:lnTo>
                  <a:lnTo>
                    <a:pt x="180" y="14"/>
                  </a:lnTo>
                  <a:lnTo>
                    <a:pt x="180" y="14"/>
                  </a:lnTo>
                  <a:lnTo>
                    <a:pt x="178" y="14"/>
                  </a:lnTo>
                  <a:lnTo>
                    <a:pt x="178" y="14"/>
                  </a:lnTo>
                  <a:lnTo>
                    <a:pt x="177" y="14"/>
                  </a:lnTo>
                  <a:lnTo>
                    <a:pt x="177" y="14"/>
                  </a:lnTo>
                  <a:lnTo>
                    <a:pt x="172" y="14"/>
                  </a:lnTo>
                  <a:lnTo>
                    <a:pt x="172" y="14"/>
                  </a:lnTo>
                  <a:lnTo>
                    <a:pt x="170" y="14"/>
                  </a:lnTo>
                  <a:lnTo>
                    <a:pt x="170" y="14"/>
                  </a:lnTo>
                  <a:lnTo>
                    <a:pt x="170" y="17"/>
                  </a:lnTo>
                  <a:lnTo>
                    <a:pt x="170" y="17"/>
                  </a:lnTo>
                  <a:lnTo>
                    <a:pt x="165" y="17"/>
                  </a:lnTo>
                  <a:lnTo>
                    <a:pt x="165" y="17"/>
                  </a:lnTo>
                  <a:lnTo>
                    <a:pt x="165" y="17"/>
                  </a:lnTo>
                  <a:lnTo>
                    <a:pt x="165" y="17"/>
                  </a:lnTo>
                  <a:lnTo>
                    <a:pt x="164" y="17"/>
                  </a:lnTo>
                  <a:lnTo>
                    <a:pt x="164" y="17"/>
                  </a:lnTo>
                  <a:lnTo>
                    <a:pt x="164" y="17"/>
                  </a:lnTo>
                  <a:lnTo>
                    <a:pt x="162" y="17"/>
                  </a:lnTo>
                  <a:lnTo>
                    <a:pt x="162" y="17"/>
                  </a:lnTo>
                  <a:lnTo>
                    <a:pt x="161" y="17"/>
                  </a:lnTo>
                  <a:lnTo>
                    <a:pt x="161" y="17"/>
                  </a:lnTo>
                  <a:lnTo>
                    <a:pt x="158" y="17"/>
                  </a:lnTo>
                  <a:lnTo>
                    <a:pt x="156" y="17"/>
                  </a:lnTo>
                  <a:lnTo>
                    <a:pt x="156" y="17"/>
                  </a:lnTo>
                  <a:lnTo>
                    <a:pt x="156" y="19"/>
                  </a:lnTo>
                  <a:lnTo>
                    <a:pt x="156" y="19"/>
                  </a:lnTo>
                  <a:lnTo>
                    <a:pt x="156" y="20"/>
                  </a:lnTo>
                  <a:lnTo>
                    <a:pt x="156" y="20"/>
                  </a:lnTo>
                  <a:lnTo>
                    <a:pt x="153" y="19"/>
                  </a:lnTo>
                  <a:lnTo>
                    <a:pt x="153" y="19"/>
                  </a:lnTo>
                  <a:lnTo>
                    <a:pt x="153" y="19"/>
                  </a:lnTo>
                  <a:lnTo>
                    <a:pt x="153" y="19"/>
                  </a:lnTo>
                  <a:lnTo>
                    <a:pt x="150" y="19"/>
                  </a:lnTo>
                  <a:lnTo>
                    <a:pt x="150" y="19"/>
                  </a:lnTo>
                  <a:lnTo>
                    <a:pt x="148" y="20"/>
                  </a:lnTo>
                  <a:lnTo>
                    <a:pt x="148" y="20"/>
                  </a:lnTo>
                  <a:lnTo>
                    <a:pt x="148" y="20"/>
                  </a:lnTo>
                  <a:lnTo>
                    <a:pt x="145" y="19"/>
                  </a:lnTo>
                  <a:lnTo>
                    <a:pt x="145" y="19"/>
                  </a:lnTo>
                  <a:lnTo>
                    <a:pt x="145" y="19"/>
                  </a:lnTo>
                  <a:lnTo>
                    <a:pt x="145" y="19"/>
                  </a:lnTo>
                  <a:lnTo>
                    <a:pt x="142" y="19"/>
                  </a:lnTo>
                  <a:lnTo>
                    <a:pt x="142" y="19"/>
                  </a:lnTo>
                  <a:lnTo>
                    <a:pt x="142" y="20"/>
                  </a:lnTo>
                  <a:lnTo>
                    <a:pt x="142" y="20"/>
                  </a:lnTo>
                  <a:lnTo>
                    <a:pt x="138" y="20"/>
                  </a:lnTo>
                  <a:lnTo>
                    <a:pt x="138" y="20"/>
                  </a:lnTo>
                  <a:lnTo>
                    <a:pt x="142" y="22"/>
                  </a:lnTo>
                  <a:lnTo>
                    <a:pt x="142" y="22"/>
                  </a:lnTo>
                  <a:lnTo>
                    <a:pt x="142" y="24"/>
                  </a:lnTo>
                  <a:lnTo>
                    <a:pt x="142" y="24"/>
                  </a:lnTo>
                  <a:lnTo>
                    <a:pt x="142" y="24"/>
                  </a:lnTo>
                  <a:lnTo>
                    <a:pt x="142" y="24"/>
                  </a:lnTo>
                  <a:lnTo>
                    <a:pt x="142" y="25"/>
                  </a:lnTo>
                  <a:lnTo>
                    <a:pt x="142" y="25"/>
                  </a:lnTo>
                  <a:lnTo>
                    <a:pt x="143" y="25"/>
                  </a:lnTo>
                  <a:lnTo>
                    <a:pt x="143" y="25"/>
                  </a:lnTo>
                  <a:lnTo>
                    <a:pt x="145" y="25"/>
                  </a:lnTo>
                  <a:lnTo>
                    <a:pt x="145" y="25"/>
                  </a:lnTo>
                  <a:lnTo>
                    <a:pt x="146" y="25"/>
                  </a:lnTo>
                  <a:lnTo>
                    <a:pt x="146" y="25"/>
                  </a:lnTo>
                  <a:lnTo>
                    <a:pt x="148" y="27"/>
                  </a:lnTo>
                  <a:lnTo>
                    <a:pt x="148" y="27"/>
                  </a:lnTo>
                  <a:lnTo>
                    <a:pt x="148" y="27"/>
                  </a:lnTo>
                  <a:lnTo>
                    <a:pt x="148" y="27"/>
                  </a:lnTo>
                  <a:lnTo>
                    <a:pt x="145" y="27"/>
                  </a:lnTo>
                  <a:lnTo>
                    <a:pt x="145" y="27"/>
                  </a:lnTo>
                  <a:lnTo>
                    <a:pt x="143" y="28"/>
                  </a:lnTo>
                  <a:lnTo>
                    <a:pt x="143" y="28"/>
                  </a:lnTo>
                  <a:lnTo>
                    <a:pt x="143" y="30"/>
                  </a:lnTo>
                  <a:lnTo>
                    <a:pt x="143" y="30"/>
                  </a:lnTo>
                  <a:lnTo>
                    <a:pt x="153" y="32"/>
                  </a:lnTo>
                  <a:lnTo>
                    <a:pt x="153" y="32"/>
                  </a:lnTo>
                  <a:lnTo>
                    <a:pt x="153" y="32"/>
                  </a:lnTo>
                  <a:lnTo>
                    <a:pt x="153" y="32"/>
                  </a:lnTo>
                  <a:lnTo>
                    <a:pt x="156" y="33"/>
                  </a:lnTo>
                  <a:lnTo>
                    <a:pt x="156" y="33"/>
                  </a:lnTo>
                  <a:lnTo>
                    <a:pt x="150" y="35"/>
                  </a:lnTo>
                  <a:lnTo>
                    <a:pt x="150" y="35"/>
                  </a:lnTo>
                  <a:lnTo>
                    <a:pt x="148" y="33"/>
                  </a:lnTo>
                  <a:lnTo>
                    <a:pt x="148" y="33"/>
                  </a:lnTo>
                  <a:lnTo>
                    <a:pt x="143" y="33"/>
                  </a:lnTo>
                  <a:lnTo>
                    <a:pt x="143" y="33"/>
                  </a:lnTo>
                  <a:lnTo>
                    <a:pt x="143" y="35"/>
                  </a:lnTo>
                  <a:lnTo>
                    <a:pt x="143" y="35"/>
                  </a:lnTo>
                  <a:lnTo>
                    <a:pt x="143" y="36"/>
                  </a:lnTo>
                  <a:lnTo>
                    <a:pt x="143" y="36"/>
                  </a:lnTo>
                  <a:lnTo>
                    <a:pt x="142" y="38"/>
                  </a:lnTo>
                  <a:lnTo>
                    <a:pt x="142" y="38"/>
                  </a:lnTo>
                  <a:lnTo>
                    <a:pt x="146" y="43"/>
                  </a:lnTo>
                  <a:lnTo>
                    <a:pt x="146" y="43"/>
                  </a:lnTo>
                  <a:lnTo>
                    <a:pt x="143" y="46"/>
                  </a:lnTo>
                  <a:lnTo>
                    <a:pt x="143" y="46"/>
                  </a:lnTo>
                  <a:lnTo>
                    <a:pt x="142" y="46"/>
                  </a:lnTo>
                  <a:lnTo>
                    <a:pt x="142" y="46"/>
                  </a:lnTo>
                  <a:lnTo>
                    <a:pt x="137" y="49"/>
                  </a:lnTo>
                  <a:lnTo>
                    <a:pt x="137" y="49"/>
                  </a:lnTo>
                  <a:lnTo>
                    <a:pt x="137" y="49"/>
                  </a:lnTo>
                  <a:lnTo>
                    <a:pt x="137" y="49"/>
                  </a:lnTo>
                  <a:lnTo>
                    <a:pt x="138" y="49"/>
                  </a:lnTo>
                  <a:lnTo>
                    <a:pt x="138" y="49"/>
                  </a:lnTo>
                  <a:lnTo>
                    <a:pt x="142" y="52"/>
                  </a:lnTo>
                  <a:lnTo>
                    <a:pt x="142" y="52"/>
                  </a:lnTo>
                  <a:lnTo>
                    <a:pt x="145" y="52"/>
                  </a:lnTo>
                  <a:lnTo>
                    <a:pt x="145" y="52"/>
                  </a:lnTo>
                  <a:lnTo>
                    <a:pt x="146" y="52"/>
                  </a:lnTo>
                  <a:lnTo>
                    <a:pt x="146" y="52"/>
                  </a:lnTo>
                  <a:lnTo>
                    <a:pt x="148" y="52"/>
                  </a:lnTo>
                  <a:lnTo>
                    <a:pt x="148" y="52"/>
                  </a:lnTo>
                  <a:lnTo>
                    <a:pt x="150" y="54"/>
                  </a:lnTo>
                  <a:lnTo>
                    <a:pt x="150" y="54"/>
                  </a:lnTo>
                  <a:lnTo>
                    <a:pt x="150" y="55"/>
                  </a:lnTo>
                  <a:lnTo>
                    <a:pt x="150" y="55"/>
                  </a:lnTo>
                  <a:lnTo>
                    <a:pt x="153" y="55"/>
                  </a:lnTo>
                  <a:lnTo>
                    <a:pt x="153" y="55"/>
                  </a:lnTo>
                  <a:lnTo>
                    <a:pt x="156" y="55"/>
                  </a:lnTo>
                  <a:lnTo>
                    <a:pt x="156" y="55"/>
                  </a:lnTo>
                  <a:lnTo>
                    <a:pt x="159" y="57"/>
                  </a:lnTo>
                  <a:lnTo>
                    <a:pt x="159" y="57"/>
                  </a:lnTo>
                  <a:lnTo>
                    <a:pt x="156" y="59"/>
                  </a:lnTo>
                  <a:lnTo>
                    <a:pt x="156" y="59"/>
                  </a:lnTo>
                  <a:lnTo>
                    <a:pt x="156" y="60"/>
                  </a:lnTo>
                  <a:lnTo>
                    <a:pt x="156" y="60"/>
                  </a:lnTo>
                  <a:lnTo>
                    <a:pt x="156" y="63"/>
                  </a:lnTo>
                  <a:lnTo>
                    <a:pt x="156" y="63"/>
                  </a:lnTo>
                  <a:lnTo>
                    <a:pt x="156" y="65"/>
                  </a:lnTo>
                  <a:lnTo>
                    <a:pt x="156" y="65"/>
                  </a:lnTo>
                  <a:lnTo>
                    <a:pt x="153" y="65"/>
                  </a:lnTo>
                  <a:lnTo>
                    <a:pt x="153" y="65"/>
                  </a:lnTo>
                  <a:lnTo>
                    <a:pt x="150" y="66"/>
                  </a:lnTo>
                  <a:lnTo>
                    <a:pt x="150" y="66"/>
                  </a:lnTo>
                  <a:lnTo>
                    <a:pt x="145" y="65"/>
                  </a:lnTo>
                  <a:lnTo>
                    <a:pt x="145" y="65"/>
                  </a:lnTo>
                  <a:lnTo>
                    <a:pt x="143" y="63"/>
                  </a:lnTo>
                  <a:lnTo>
                    <a:pt x="143" y="63"/>
                  </a:lnTo>
                  <a:lnTo>
                    <a:pt x="142" y="63"/>
                  </a:lnTo>
                  <a:lnTo>
                    <a:pt x="142" y="63"/>
                  </a:lnTo>
                  <a:lnTo>
                    <a:pt x="140" y="65"/>
                  </a:lnTo>
                  <a:lnTo>
                    <a:pt x="140" y="65"/>
                  </a:lnTo>
                  <a:lnTo>
                    <a:pt x="140" y="66"/>
                  </a:lnTo>
                  <a:lnTo>
                    <a:pt x="140" y="66"/>
                  </a:lnTo>
                  <a:lnTo>
                    <a:pt x="138" y="68"/>
                  </a:lnTo>
                  <a:lnTo>
                    <a:pt x="138" y="68"/>
                  </a:lnTo>
                  <a:lnTo>
                    <a:pt x="137" y="68"/>
                  </a:lnTo>
                  <a:lnTo>
                    <a:pt x="137" y="68"/>
                  </a:lnTo>
                  <a:lnTo>
                    <a:pt x="137" y="66"/>
                  </a:lnTo>
                  <a:lnTo>
                    <a:pt x="137" y="66"/>
                  </a:lnTo>
                  <a:lnTo>
                    <a:pt x="135" y="66"/>
                  </a:lnTo>
                  <a:lnTo>
                    <a:pt x="135" y="66"/>
                  </a:lnTo>
                  <a:lnTo>
                    <a:pt x="132" y="66"/>
                  </a:lnTo>
                  <a:lnTo>
                    <a:pt x="132" y="66"/>
                  </a:lnTo>
                  <a:lnTo>
                    <a:pt x="129" y="65"/>
                  </a:lnTo>
                  <a:lnTo>
                    <a:pt x="129" y="65"/>
                  </a:lnTo>
                  <a:lnTo>
                    <a:pt x="126" y="63"/>
                  </a:lnTo>
                  <a:lnTo>
                    <a:pt x="126" y="63"/>
                  </a:lnTo>
                  <a:lnTo>
                    <a:pt x="124" y="59"/>
                  </a:lnTo>
                  <a:lnTo>
                    <a:pt x="124" y="59"/>
                  </a:lnTo>
                  <a:lnTo>
                    <a:pt x="123" y="59"/>
                  </a:lnTo>
                  <a:lnTo>
                    <a:pt x="123" y="59"/>
                  </a:lnTo>
                  <a:lnTo>
                    <a:pt x="121" y="59"/>
                  </a:lnTo>
                  <a:lnTo>
                    <a:pt x="121" y="59"/>
                  </a:lnTo>
                  <a:lnTo>
                    <a:pt x="119" y="60"/>
                  </a:lnTo>
                  <a:lnTo>
                    <a:pt x="119" y="60"/>
                  </a:lnTo>
                  <a:lnTo>
                    <a:pt x="118" y="60"/>
                  </a:lnTo>
                  <a:lnTo>
                    <a:pt x="118" y="60"/>
                  </a:lnTo>
                  <a:lnTo>
                    <a:pt x="116" y="60"/>
                  </a:lnTo>
                  <a:lnTo>
                    <a:pt x="116" y="60"/>
                  </a:lnTo>
                  <a:lnTo>
                    <a:pt x="116" y="62"/>
                  </a:lnTo>
                  <a:lnTo>
                    <a:pt x="116" y="62"/>
                  </a:lnTo>
                  <a:lnTo>
                    <a:pt x="115" y="63"/>
                  </a:lnTo>
                  <a:lnTo>
                    <a:pt x="115" y="63"/>
                  </a:lnTo>
                  <a:lnTo>
                    <a:pt x="113" y="63"/>
                  </a:lnTo>
                  <a:lnTo>
                    <a:pt x="113" y="63"/>
                  </a:lnTo>
                  <a:lnTo>
                    <a:pt x="110" y="60"/>
                  </a:lnTo>
                  <a:lnTo>
                    <a:pt x="110" y="60"/>
                  </a:lnTo>
                  <a:lnTo>
                    <a:pt x="107" y="60"/>
                  </a:lnTo>
                  <a:lnTo>
                    <a:pt x="107" y="60"/>
                  </a:lnTo>
                  <a:lnTo>
                    <a:pt x="105" y="60"/>
                  </a:lnTo>
                  <a:lnTo>
                    <a:pt x="105" y="60"/>
                  </a:lnTo>
                  <a:lnTo>
                    <a:pt x="104" y="62"/>
                  </a:lnTo>
                  <a:lnTo>
                    <a:pt x="104" y="62"/>
                  </a:lnTo>
                  <a:lnTo>
                    <a:pt x="100" y="60"/>
                  </a:lnTo>
                  <a:lnTo>
                    <a:pt x="100" y="60"/>
                  </a:lnTo>
                  <a:lnTo>
                    <a:pt x="100" y="62"/>
                  </a:lnTo>
                  <a:lnTo>
                    <a:pt x="100" y="62"/>
                  </a:lnTo>
                  <a:lnTo>
                    <a:pt x="100" y="63"/>
                  </a:lnTo>
                  <a:lnTo>
                    <a:pt x="100" y="63"/>
                  </a:lnTo>
                  <a:lnTo>
                    <a:pt x="97" y="65"/>
                  </a:lnTo>
                  <a:lnTo>
                    <a:pt x="97" y="65"/>
                  </a:lnTo>
                  <a:lnTo>
                    <a:pt x="97" y="66"/>
                  </a:lnTo>
                  <a:lnTo>
                    <a:pt x="97" y="66"/>
                  </a:lnTo>
                  <a:lnTo>
                    <a:pt x="94" y="66"/>
                  </a:lnTo>
                  <a:lnTo>
                    <a:pt x="94" y="66"/>
                  </a:lnTo>
                  <a:lnTo>
                    <a:pt x="91" y="65"/>
                  </a:lnTo>
                  <a:lnTo>
                    <a:pt x="91" y="65"/>
                  </a:lnTo>
                  <a:lnTo>
                    <a:pt x="88" y="63"/>
                  </a:lnTo>
                  <a:lnTo>
                    <a:pt x="88" y="63"/>
                  </a:lnTo>
                  <a:lnTo>
                    <a:pt x="84" y="62"/>
                  </a:lnTo>
                  <a:lnTo>
                    <a:pt x="84" y="62"/>
                  </a:lnTo>
                  <a:lnTo>
                    <a:pt x="83" y="60"/>
                  </a:lnTo>
                  <a:lnTo>
                    <a:pt x="83" y="60"/>
                  </a:lnTo>
                  <a:lnTo>
                    <a:pt x="81" y="62"/>
                  </a:lnTo>
                  <a:lnTo>
                    <a:pt x="81" y="62"/>
                  </a:lnTo>
                  <a:lnTo>
                    <a:pt x="83" y="65"/>
                  </a:lnTo>
                  <a:lnTo>
                    <a:pt x="83" y="65"/>
                  </a:lnTo>
                  <a:lnTo>
                    <a:pt x="83" y="66"/>
                  </a:lnTo>
                  <a:lnTo>
                    <a:pt x="83" y="66"/>
                  </a:lnTo>
                  <a:lnTo>
                    <a:pt x="83" y="68"/>
                  </a:lnTo>
                  <a:lnTo>
                    <a:pt x="83" y="68"/>
                  </a:lnTo>
                  <a:lnTo>
                    <a:pt x="81" y="68"/>
                  </a:lnTo>
                  <a:lnTo>
                    <a:pt x="81" y="68"/>
                  </a:lnTo>
                  <a:lnTo>
                    <a:pt x="81" y="66"/>
                  </a:lnTo>
                  <a:lnTo>
                    <a:pt x="81" y="66"/>
                  </a:lnTo>
                  <a:lnTo>
                    <a:pt x="81" y="63"/>
                  </a:lnTo>
                  <a:lnTo>
                    <a:pt x="81" y="63"/>
                  </a:lnTo>
                  <a:lnTo>
                    <a:pt x="75" y="59"/>
                  </a:lnTo>
                  <a:lnTo>
                    <a:pt x="75" y="59"/>
                  </a:lnTo>
                  <a:lnTo>
                    <a:pt x="70" y="57"/>
                  </a:lnTo>
                  <a:lnTo>
                    <a:pt x="70" y="57"/>
                  </a:lnTo>
                  <a:lnTo>
                    <a:pt x="69" y="55"/>
                  </a:lnTo>
                  <a:lnTo>
                    <a:pt x="69" y="55"/>
                  </a:lnTo>
                  <a:lnTo>
                    <a:pt x="65" y="54"/>
                  </a:lnTo>
                  <a:lnTo>
                    <a:pt x="65" y="54"/>
                  </a:lnTo>
                  <a:lnTo>
                    <a:pt x="65" y="54"/>
                  </a:lnTo>
                  <a:lnTo>
                    <a:pt x="65" y="54"/>
                  </a:lnTo>
                  <a:lnTo>
                    <a:pt x="59" y="54"/>
                  </a:lnTo>
                  <a:lnTo>
                    <a:pt x="59" y="54"/>
                  </a:lnTo>
                  <a:lnTo>
                    <a:pt x="59" y="54"/>
                  </a:lnTo>
                  <a:lnTo>
                    <a:pt x="59" y="54"/>
                  </a:lnTo>
                  <a:lnTo>
                    <a:pt x="56" y="54"/>
                  </a:lnTo>
                  <a:lnTo>
                    <a:pt x="56" y="54"/>
                  </a:lnTo>
                  <a:lnTo>
                    <a:pt x="56" y="52"/>
                  </a:lnTo>
                  <a:lnTo>
                    <a:pt x="56" y="52"/>
                  </a:lnTo>
                  <a:lnTo>
                    <a:pt x="54" y="49"/>
                  </a:lnTo>
                  <a:lnTo>
                    <a:pt x="54" y="49"/>
                  </a:lnTo>
                  <a:lnTo>
                    <a:pt x="50" y="52"/>
                  </a:lnTo>
                  <a:lnTo>
                    <a:pt x="50" y="52"/>
                  </a:lnTo>
                  <a:lnTo>
                    <a:pt x="48" y="52"/>
                  </a:lnTo>
                  <a:lnTo>
                    <a:pt x="48" y="52"/>
                  </a:lnTo>
                  <a:lnTo>
                    <a:pt x="48" y="54"/>
                  </a:lnTo>
                  <a:lnTo>
                    <a:pt x="48" y="54"/>
                  </a:lnTo>
                  <a:lnTo>
                    <a:pt x="46" y="54"/>
                  </a:lnTo>
                  <a:lnTo>
                    <a:pt x="46" y="54"/>
                  </a:lnTo>
                  <a:lnTo>
                    <a:pt x="45" y="54"/>
                  </a:lnTo>
                  <a:lnTo>
                    <a:pt x="45" y="54"/>
                  </a:lnTo>
                  <a:lnTo>
                    <a:pt x="43" y="52"/>
                  </a:lnTo>
                  <a:lnTo>
                    <a:pt x="43" y="52"/>
                  </a:lnTo>
                  <a:lnTo>
                    <a:pt x="40" y="52"/>
                  </a:lnTo>
                  <a:lnTo>
                    <a:pt x="40" y="52"/>
                  </a:lnTo>
                  <a:lnTo>
                    <a:pt x="38" y="52"/>
                  </a:lnTo>
                  <a:lnTo>
                    <a:pt x="38" y="52"/>
                  </a:lnTo>
                  <a:lnTo>
                    <a:pt x="38" y="52"/>
                  </a:lnTo>
                  <a:lnTo>
                    <a:pt x="38" y="52"/>
                  </a:lnTo>
                  <a:lnTo>
                    <a:pt x="35" y="52"/>
                  </a:lnTo>
                  <a:lnTo>
                    <a:pt x="35" y="52"/>
                  </a:lnTo>
                  <a:lnTo>
                    <a:pt x="35" y="54"/>
                  </a:lnTo>
                  <a:lnTo>
                    <a:pt x="35" y="54"/>
                  </a:lnTo>
                  <a:lnTo>
                    <a:pt x="35" y="55"/>
                  </a:lnTo>
                  <a:lnTo>
                    <a:pt x="35" y="55"/>
                  </a:lnTo>
                  <a:lnTo>
                    <a:pt x="34" y="57"/>
                  </a:lnTo>
                  <a:lnTo>
                    <a:pt x="34" y="57"/>
                  </a:lnTo>
                  <a:lnTo>
                    <a:pt x="32" y="57"/>
                  </a:lnTo>
                  <a:lnTo>
                    <a:pt x="32" y="57"/>
                  </a:lnTo>
                  <a:lnTo>
                    <a:pt x="30" y="57"/>
                  </a:lnTo>
                  <a:lnTo>
                    <a:pt x="30" y="57"/>
                  </a:lnTo>
                  <a:lnTo>
                    <a:pt x="29" y="59"/>
                  </a:lnTo>
                  <a:lnTo>
                    <a:pt x="29" y="59"/>
                  </a:lnTo>
                  <a:lnTo>
                    <a:pt x="26" y="60"/>
                  </a:lnTo>
                  <a:lnTo>
                    <a:pt x="26" y="60"/>
                  </a:lnTo>
                  <a:lnTo>
                    <a:pt x="24" y="60"/>
                  </a:lnTo>
                  <a:lnTo>
                    <a:pt x="24" y="60"/>
                  </a:lnTo>
                  <a:lnTo>
                    <a:pt x="24" y="62"/>
                  </a:lnTo>
                  <a:lnTo>
                    <a:pt x="24" y="62"/>
                  </a:lnTo>
                  <a:lnTo>
                    <a:pt x="26" y="62"/>
                  </a:lnTo>
                  <a:lnTo>
                    <a:pt x="26" y="62"/>
                  </a:lnTo>
                  <a:lnTo>
                    <a:pt x="24" y="63"/>
                  </a:lnTo>
                  <a:lnTo>
                    <a:pt x="24" y="63"/>
                  </a:lnTo>
                  <a:lnTo>
                    <a:pt x="21" y="66"/>
                  </a:lnTo>
                  <a:lnTo>
                    <a:pt x="21" y="66"/>
                  </a:lnTo>
                  <a:lnTo>
                    <a:pt x="16" y="66"/>
                  </a:lnTo>
                  <a:lnTo>
                    <a:pt x="16" y="66"/>
                  </a:lnTo>
                  <a:lnTo>
                    <a:pt x="18" y="68"/>
                  </a:lnTo>
                  <a:lnTo>
                    <a:pt x="18" y="68"/>
                  </a:lnTo>
                  <a:lnTo>
                    <a:pt x="19" y="70"/>
                  </a:lnTo>
                  <a:lnTo>
                    <a:pt x="19" y="70"/>
                  </a:lnTo>
                  <a:lnTo>
                    <a:pt x="21" y="74"/>
                  </a:lnTo>
                  <a:lnTo>
                    <a:pt x="21" y="74"/>
                  </a:lnTo>
                  <a:lnTo>
                    <a:pt x="21" y="74"/>
                  </a:lnTo>
                  <a:lnTo>
                    <a:pt x="21" y="74"/>
                  </a:lnTo>
                  <a:lnTo>
                    <a:pt x="19" y="78"/>
                  </a:lnTo>
                  <a:lnTo>
                    <a:pt x="19" y="78"/>
                  </a:lnTo>
                  <a:lnTo>
                    <a:pt x="16" y="78"/>
                  </a:lnTo>
                  <a:lnTo>
                    <a:pt x="16" y="78"/>
                  </a:lnTo>
                  <a:lnTo>
                    <a:pt x="11" y="73"/>
                  </a:lnTo>
                  <a:lnTo>
                    <a:pt x="11" y="73"/>
                  </a:lnTo>
                  <a:lnTo>
                    <a:pt x="10" y="71"/>
                  </a:lnTo>
                  <a:lnTo>
                    <a:pt x="10" y="71"/>
                  </a:lnTo>
                  <a:lnTo>
                    <a:pt x="7" y="70"/>
                  </a:lnTo>
                  <a:lnTo>
                    <a:pt x="7" y="70"/>
                  </a:lnTo>
                  <a:lnTo>
                    <a:pt x="7" y="70"/>
                  </a:lnTo>
                  <a:lnTo>
                    <a:pt x="7" y="70"/>
                  </a:lnTo>
                  <a:lnTo>
                    <a:pt x="3" y="70"/>
                  </a:lnTo>
                  <a:lnTo>
                    <a:pt x="3" y="70"/>
                  </a:lnTo>
                  <a:lnTo>
                    <a:pt x="3" y="71"/>
                  </a:lnTo>
                  <a:lnTo>
                    <a:pt x="3" y="71"/>
                  </a:lnTo>
                  <a:lnTo>
                    <a:pt x="3" y="73"/>
                  </a:lnTo>
                  <a:lnTo>
                    <a:pt x="3" y="73"/>
                  </a:lnTo>
                  <a:lnTo>
                    <a:pt x="3" y="74"/>
                  </a:lnTo>
                  <a:lnTo>
                    <a:pt x="3" y="74"/>
                  </a:lnTo>
                  <a:lnTo>
                    <a:pt x="3" y="74"/>
                  </a:lnTo>
                  <a:lnTo>
                    <a:pt x="3" y="74"/>
                  </a:lnTo>
                  <a:lnTo>
                    <a:pt x="0" y="78"/>
                  </a:lnTo>
                  <a:lnTo>
                    <a:pt x="0" y="78"/>
                  </a:lnTo>
                  <a:lnTo>
                    <a:pt x="0" y="81"/>
                  </a:lnTo>
                  <a:lnTo>
                    <a:pt x="0" y="81"/>
                  </a:lnTo>
                  <a:lnTo>
                    <a:pt x="0" y="84"/>
                  </a:lnTo>
                  <a:lnTo>
                    <a:pt x="0" y="84"/>
                  </a:lnTo>
                  <a:lnTo>
                    <a:pt x="2" y="86"/>
                  </a:lnTo>
                  <a:lnTo>
                    <a:pt x="2" y="86"/>
                  </a:lnTo>
                  <a:lnTo>
                    <a:pt x="3" y="87"/>
                  </a:lnTo>
                  <a:lnTo>
                    <a:pt x="3" y="87"/>
                  </a:lnTo>
                  <a:lnTo>
                    <a:pt x="3" y="87"/>
                  </a:lnTo>
                  <a:lnTo>
                    <a:pt x="3" y="87"/>
                  </a:lnTo>
                  <a:lnTo>
                    <a:pt x="3" y="89"/>
                  </a:lnTo>
                  <a:lnTo>
                    <a:pt x="3" y="89"/>
                  </a:lnTo>
                  <a:lnTo>
                    <a:pt x="0" y="90"/>
                  </a:lnTo>
                  <a:lnTo>
                    <a:pt x="0" y="90"/>
                  </a:lnTo>
                  <a:lnTo>
                    <a:pt x="0" y="93"/>
                  </a:lnTo>
                  <a:lnTo>
                    <a:pt x="0" y="93"/>
                  </a:lnTo>
                  <a:lnTo>
                    <a:pt x="0" y="95"/>
                  </a:lnTo>
                  <a:lnTo>
                    <a:pt x="0" y="95"/>
                  </a:lnTo>
                  <a:lnTo>
                    <a:pt x="0" y="97"/>
                  </a:lnTo>
                  <a:lnTo>
                    <a:pt x="0" y="97"/>
                  </a:lnTo>
                  <a:lnTo>
                    <a:pt x="3" y="98"/>
                  </a:lnTo>
                  <a:lnTo>
                    <a:pt x="3" y="98"/>
                  </a:lnTo>
                  <a:lnTo>
                    <a:pt x="3" y="98"/>
                  </a:lnTo>
                  <a:lnTo>
                    <a:pt x="3" y="98"/>
                  </a:lnTo>
                  <a:lnTo>
                    <a:pt x="7" y="100"/>
                  </a:lnTo>
                  <a:lnTo>
                    <a:pt x="7" y="100"/>
                  </a:lnTo>
                  <a:lnTo>
                    <a:pt x="10" y="103"/>
                  </a:lnTo>
                  <a:lnTo>
                    <a:pt x="10" y="103"/>
                  </a:lnTo>
                  <a:lnTo>
                    <a:pt x="7" y="103"/>
                  </a:lnTo>
                  <a:lnTo>
                    <a:pt x="7" y="103"/>
                  </a:lnTo>
                  <a:lnTo>
                    <a:pt x="10" y="106"/>
                  </a:lnTo>
                  <a:lnTo>
                    <a:pt x="10" y="106"/>
                  </a:lnTo>
                  <a:lnTo>
                    <a:pt x="10" y="108"/>
                  </a:lnTo>
                  <a:lnTo>
                    <a:pt x="10" y="108"/>
                  </a:lnTo>
                  <a:lnTo>
                    <a:pt x="11" y="108"/>
                  </a:lnTo>
                  <a:lnTo>
                    <a:pt x="11" y="108"/>
                  </a:lnTo>
                  <a:lnTo>
                    <a:pt x="13" y="106"/>
                  </a:lnTo>
                  <a:lnTo>
                    <a:pt x="13" y="106"/>
                  </a:lnTo>
                  <a:lnTo>
                    <a:pt x="15" y="106"/>
                  </a:lnTo>
                  <a:lnTo>
                    <a:pt x="15" y="106"/>
                  </a:lnTo>
                  <a:lnTo>
                    <a:pt x="18" y="108"/>
                  </a:lnTo>
                  <a:lnTo>
                    <a:pt x="18" y="108"/>
                  </a:lnTo>
                  <a:lnTo>
                    <a:pt x="23" y="109"/>
                  </a:lnTo>
                  <a:lnTo>
                    <a:pt x="23" y="109"/>
                  </a:lnTo>
                  <a:lnTo>
                    <a:pt x="24" y="113"/>
                  </a:lnTo>
                  <a:lnTo>
                    <a:pt x="24" y="113"/>
                  </a:lnTo>
                  <a:lnTo>
                    <a:pt x="29" y="116"/>
                  </a:lnTo>
                  <a:lnTo>
                    <a:pt x="29" y="116"/>
                  </a:lnTo>
                  <a:lnTo>
                    <a:pt x="30" y="119"/>
                  </a:lnTo>
                  <a:lnTo>
                    <a:pt x="30" y="119"/>
                  </a:lnTo>
                  <a:lnTo>
                    <a:pt x="32" y="120"/>
                  </a:lnTo>
                  <a:lnTo>
                    <a:pt x="32" y="120"/>
                  </a:lnTo>
                  <a:lnTo>
                    <a:pt x="30" y="120"/>
                  </a:lnTo>
                  <a:lnTo>
                    <a:pt x="30" y="120"/>
                  </a:lnTo>
                  <a:lnTo>
                    <a:pt x="29" y="120"/>
                  </a:lnTo>
                  <a:lnTo>
                    <a:pt x="29" y="120"/>
                  </a:lnTo>
                  <a:lnTo>
                    <a:pt x="27" y="120"/>
                  </a:lnTo>
                  <a:lnTo>
                    <a:pt x="27" y="120"/>
                  </a:lnTo>
                  <a:lnTo>
                    <a:pt x="29" y="122"/>
                  </a:lnTo>
                  <a:lnTo>
                    <a:pt x="29" y="122"/>
                  </a:lnTo>
                  <a:lnTo>
                    <a:pt x="27" y="122"/>
                  </a:lnTo>
                  <a:lnTo>
                    <a:pt x="27" y="122"/>
                  </a:lnTo>
                  <a:lnTo>
                    <a:pt x="32" y="124"/>
                  </a:lnTo>
                  <a:lnTo>
                    <a:pt x="32" y="124"/>
                  </a:lnTo>
                  <a:lnTo>
                    <a:pt x="34" y="125"/>
                  </a:lnTo>
                  <a:lnTo>
                    <a:pt x="34" y="125"/>
                  </a:lnTo>
                  <a:lnTo>
                    <a:pt x="35" y="127"/>
                  </a:lnTo>
                  <a:lnTo>
                    <a:pt x="35" y="127"/>
                  </a:lnTo>
                  <a:lnTo>
                    <a:pt x="35" y="125"/>
                  </a:lnTo>
                  <a:lnTo>
                    <a:pt x="35" y="125"/>
                  </a:lnTo>
                  <a:lnTo>
                    <a:pt x="38" y="125"/>
                  </a:lnTo>
                  <a:lnTo>
                    <a:pt x="38" y="125"/>
                  </a:lnTo>
                  <a:lnTo>
                    <a:pt x="35" y="124"/>
                  </a:lnTo>
                  <a:lnTo>
                    <a:pt x="35" y="124"/>
                  </a:lnTo>
                  <a:lnTo>
                    <a:pt x="38" y="124"/>
                  </a:lnTo>
                  <a:lnTo>
                    <a:pt x="38" y="124"/>
                  </a:lnTo>
                  <a:lnTo>
                    <a:pt x="40" y="124"/>
                  </a:lnTo>
                  <a:lnTo>
                    <a:pt x="40" y="124"/>
                  </a:lnTo>
                  <a:lnTo>
                    <a:pt x="42" y="124"/>
                  </a:lnTo>
                  <a:lnTo>
                    <a:pt x="42" y="124"/>
                  </a:lnTo>
                  <a:lnTo>
                    <a:pt x="46" y="120"/>
                  </a:lnTo>
                  <a:lnTo>
                    <a:pt x="46" y="120"/>
                  </a:lnTo>
                  <a:lnTo>
                    <a:pt x="48" y="119"/>
                  </a:lnTo>
                  <a:lnTo>
                    <a:pt x="48" y="119"/>
                  </a:lnTo>
                  <a:lnTo>
                    <a:pt x="50" y="119"/>
                  </a:lnTo>
                  <a:lnTo>
                    <a:pt x="50" y="119"/>
                  </a:lnTo>
                  <a:lnTo>
                    <a:pt x="53" y="119"/>
                  </a:lnTo>
                  <a:lnTo>
                    <a:pt x="53" y="119"/>
                  </a:lnTo>
                  <a:lnTo>
                    <a:pt x="54" y="116"/>
                  </a:lnTo>
                  <a:lnTo>
                    <a:pt x="54" y="116"/>
                  </a:lnTo>
                  <a:lnTo>
                    <a:pt x="56" y="116"/>
                  </a:lnTo>
                  <a:lnTo>
                    <a:pt x="56" y="116"/>
                  </a:lnTo>
                  <a:lnTo>
                    <a:pt x="59" y="119"/>
                  </a:lnTo>
                  <a:lnTo>
                    <a:pt x="59" y="119"/>
                  </a:lnTo>
                  <a:lnTo>
                    <a:pt x="65" y="119"/>
                  </a:lnTo>
                  <a:lnTo>
                    <a:pt x="65" y="119"/>
                  </a:lnTo>
                  <a:lnTo>
                    <a:pt x="69" y="119"/>
                  </a:lnTo>
                  <a:lnTo>
                    <a:pt x="69" y="119"/>
                  </a:lnTo>
                  <a:lnTo>
                    <a:pt x="70" y="119"/>
                  </a:lnTo>
                  <a:lnTo>
                    <a:pt x="70" y="119"/>
                  </a:lnTo>
                  <a:lnTo>
                    <a:pt x="73" y="119"/>
                  </a:lnTo>
                  <a:lnTo>
                    <a:pt x="73" y="119"/>
                  </a:lnTo>
                  <a:lnTo>
                    <a:pt x="77" y="119"/>
                  </a:lnTo>
                  <a:lnTo>
                    <a:pt x="77" y="119"/>
                  </a:lnTo>
                  <a:lnTo>
                    <a:pt x="78" y="122"/>
                  </a:lnTo>
                  <a:lnTo>
                    <a:pt x="78" y="122"/>
                  </a:lnTo>
                  <a:lnTo>
                    <a:pt x="81" y="127"/>
                  </a:lnTo>
                  <a:lnTo>
                    <a:pt x="81" y="127"/>
                  </a:lnTo>
                  <a:lnTo>
                    <a:pt x="81" y="130"/>
                  </a:lnTo>
                  <a:lnTo>
                    <a:pt x="81" y="130"/>
                  </a:lnTo>
                  <a:lnTo>
                    <a:pt x="80" y="133"/>
                  </a:lnTo>
                  <a:lnTo>
                    <a:pt x="80" y="133"/>
                  </a:lnTo>
                  <a:lnTo>
                    <a:pt x="78" y="135"/>
                  </a:lnTo>
                  <a:lnTo>
                    <a:pt x="78" y="135"/>
                  </a:lnTo>
                  <a:lnTo>
                    <a:pt x="78" y="138"/>
                  </a:lnTo>
                  <a:lnTo>
                    <a:pt x="78" y="138"/>
                  </a:lnTo>
                  <a:lnTo>
                    <a:pt x="81" y="140"/>
                  </a:lnTo>
                  <a:lnTo>
                    <a:pt x="81" y="140"/>
                  </a:lnTo>
                  <a:lnTo>
                    <a:pt x="84" y="141"/>
                  </a:lnTo>
                  <a:lnTo>
                    <a:pt x="84" y="141"/>
                  </a:lnTo>
                  <a:lnTo>
                    <a:pt x="81" y="143"/>
                  </a:lnTo>
                  <a:lnTo>
                    <a:pt x="81" y="143"/>
                  </a:lnTo>
                  <a:lnTo>
                    <a:pt x="78" y="141"/>
                  </a:lnTo>
                  <a:lnTo>
                    <a:pt x="78" y="141"/>
                  </a:lnTo>
                  <a:lnTo>
                    <a:pt x="72" y="141"/>
                  </a:lnTo>
                  <a:lnTo>
                    <a:pt x="72" y="141"/>
                  </a:lnTo>
                  <a:lnTo>
                    <a:pt x="69" y="141"/>
                  </a:lnTo>
                  <a:lnTo>
                    <a:pt x="69" y="141"/>
                  </a:lnTo>
                  <a:lnTo>
                    <a:pt x="69" y="140"/>
                  </a:lnTo>
                  <a:lnTo>
                    <a:pt x="69" y="140"/>
                  </a:lnTo>
                  <a:lnTo>
                    <a:pt x="65" y="141"/>
                  </a:lnTo>
                  <a:lnTo>
                    <a:pt x="65" y="141"/>
                  </a:lnTo>
                  <a:lnTo>
                    <a:pt x="62" y="144"/>
                  </a:lnTo>
                  <a:lnTo>
                    <a:pt x="62" y="144"/>
                  </a:lnTo>
                  <a:lnTo>
                    <a:pt x="59" y="147"/>
                  </a:lnTo>
                  <a:lnTo>
                    <a:pt x="59" y="147"/>
                  </a:lnTo>
                  <a:lnTo>
                    <a:pt x="62" y="147"/>
                  </a:lnTo>
                  <a:lnTo>
                    <a:pt x="62" y="147"/>
                  </a:lnTo>
                  <a:lnTo>
                    <a:pt x="65" y="151"/>
                  </a:lnTo>
                  <a:lnTo>
                    <a:pt x="65" y="151"/>
                  </a:lnTo>
                  <a:lnTo>
                    <a:pt x="69" y="152"/>
                  </a:lnTo>
                  <a:lnTo>
                    <a:pt x="69" y="152"/>
                  </a:lnTo>
                  <a:lnTo>
                    <a:pt x="62" y="152"/>
                  </a:lnTo>
                  <a:lnTo>
                    <a:pt x="62" y="152"/>
                  </a:lnTo>
                  <a:lnTo>
                    <a:pt x="59" y="151"/>
                  </a:lnTo>
                  <a:lnTo>
                    <a:pt x="59" y="151"/>
                  </a:lnTo>
                  <a:lnTo>
                    <a:pt x="56" y="151"/>
                  </a:lnTo>
                  <a:lnTo>
                    <a:pt x="56" y="151"/>
                  </a:lnTo>
                  <a:lnTo>
                    <a:pt x="53" y="151"/>
                  </a:lnTo>
                  <a:lnTo>
                    <a:pt x="53" y="151"/>
                  </a:lnTo>
                  <a:lnTo>
                    <a:pt x="53" y="152"/>
                  </a:lnTo>
                  <a:lnTo>
                    <a:pt x="53" y="152"/>
                  </a:lnTo>
                  <a:lnTo>
                    <a:pt x="53" y="154"/>
                  </a:lnTo>
                  <a:lnTo>
                    <a:pt x="53" y="154"/>
                  </a:lnTo>
                  <a:lnTo>
                    <a:pt x="56" y="155"/>
                  </a:lnTo>
                  <a:lnTo>
                    <a:pt x="56" y="155"/>
                  </a:lnTo>
                  <a:lnTo>
                    <a:pt x="59" y="157"/>
                  </a:lnTo>
                  <a:lnTo>
                    <a:pt x="59" y="157"/>
                  </a:lnTo>
                  <a:lnTo>
                    <a:pt x="62" y="160"/>
                  </a:lnTo>
                  <a:lnTo>
                    <a:pt x="62" y="160"/>
                  </a:lnTo>
                  <a:lnTo>
                    <a:pt x="65" y="163"/>
                  </a:lnTo>
                  <a:lnTo>
                    <a:pt x="65" y="163"/>
                  </a:lnTo>
                  <a:lnTo>
                    <a:pt x="65" y="165"/>
                  </a:lnTo>
                  <a:lnTo>
                    <a:pt x="65" y="165"/>
                  </a:lnTo>
                  <a:lnTo>
                    <a:pt x="69" y="168"/>
                  </a:lnTo>
                  <a:lnTo>
                    <a:pt x="69" y="168"/>
                  </a:lnTo>
                  <a:lnTo>
                    <a:pt x="69" y="168"/>
                  </a:lnTo>
                  <a:lnTo>
                    <a:pt x="69" y="168"/>
                  </a:lnTo>
                  <a:lnTo>
                    <a:pt x="69" y="171"/>
                  </a:lnTo>
                  <a:lnTo>
                    <a:pt x="69" y="171"/>
                  </a:lnTo>
                  <a:lnTo>
                    <a:pt x="70" y="171"/>
                  </a:lnTo>
                  <a:lnTo>
                    <a:pt x="70" y="171"/>
                  </a:lnTo>
                  <a:lnTo>
                    <a:pt x="72" y="171"/>
                  </a:lnTo>
                  <a:lnTo>
                    <a:pt x="72" y="171"/>
                  </a:lnTo>
                  <a:lnTo>
                    <a:pt x="72" y="171"/>
                  </a:lnTo>
                  <a:lnTo>
                    <a:pt x="72" y="171"/>
                  </a:lnTo>
                  <a:lnTo>
                    <a:pt x="75" y="174"/>
                  </a:lnTo>
                  <a:lnTo>
                    <a:pt x="75" y="174"/>
                  </a:lnTo>
                  <a:lnTo>
                    <a:pt x="77" y="174"/>
                  </a:lnTo>
                  <a:lnTo>
                    <a:pt x="77" y="174"/>
                  </a:lnTo>
                  <a:lnTo>
                    <a:pt x="80" y="174"/>
                  </a:lnTo>
                  <a:lnTo>
                    <a:pt x="80" y="174"/>
                  </a:lnTo>
                  <a:lnTo>
                    <a:pt x="84" y="178"/>
                  </a:lnTo>
                  <a:lnTo>
                    <a:pt x="84" y="178"/>
                  </a:lnTo>
                  <a:lnTo>
                    <a:pt x="86" y="178"/>
                  </a:lnTo>
                  <a:lnTo>
                    <a:pt x="86" y="178"/>
                  </a:lnTo>
                  <a:lnTo>
                    <a:pt x="86" y="179"/>
                  </a:lnTo>
                  <a:lnTo>
                    <a:pt x="86" y="179"/>
                  </a:lnTo>
                  <a:lnTo>
                    <a:pt x="86" y="181"/>
                  </a:lnTo>
                  <a:lnTo>
                    <a:pt x="86" y="181"/>
                  </a:lnTo>
                  <a:lnTo>
                    <a:pt x="84" y="186"/>
                  </a:lnTo>
                  <a:lnTo>
                    <a:pt x="84" y="186"/>
                  </a:lnTo>
                  <a:lnTo>
                    <a:pt x="84" y="189"/>
                  </a:lnTo>
                  <a:lnTo>
                    <a:pt x="84" y="189"/>
                  </a:lnTo>
                  <a:lnTo>
                    <a:pt x="86" y="192"/>
                  </a:lnTo>
                  <a:lnTo>
                    <a:pt x="86" y="192"/>
                  </a:lnTo>
                  <a:lnTo>
                    <a:pt x="89" y="189"/>
                  </a:lnTo>
                  <a:lnTo>
                    <a:pt x="89" y="189"/>
                  </a:lnTo>
                  <a:lnTo>
                    <a:pt x="91" y="187"/>
                  </a:lnTo>
                  <a:lnTo>
                    <a:pt x="91" y="187"/>
                  </a:lnTo>
                  <a:lnTo>
                    <a:pt x="91" y="186"/>
                  </a:lnTo>
                  <a:lnTo>
                    <a:pt x="91" y="186"/>
                  </a:lnTo>
                  <a:lnTo>
                    <a:pt x="94" y="184"/>
                  </a:lnTo>
                  <a:lnTo>
                    <a:pt x="94" y="184"/>
                  </a:lnTo>
                  <a:lnTo>
                    <a:pt x="94" y="184"/>
                  </a:lnTo>
                  <a:lnTo>
                    <a:pt x="94" y="184"/>
                  </a:lnTo>
                  <a:lnTo>
                    <a:pt x="97" y="184"/>
                  </a:lnTo>
                  <a:lnTo>
                    <a:pt x="97" y="184"/>
                  </a:lnTo>
                  <a:lnTo>
                    <a:pt x="100" y="184"/>
                  </a:lnTo>
                  <a:lnTo>
                    <a:pt x="100" y="184"/>
                  </a:lnTo>
                  <a:lnTo>
                    <a:pt x="104" y="184"/>
                  </a:lnTo>
                  <a:lnTo>
                    <a:pt x="104" y="184"/>
                  </a:lnTo>
                  <a:lnTo>
                    <a:pt x="108" y="186"/>
                  </a:lnTo>
                  <a:lnTo>
                    <a:pt x="108" y="186"/>
                  </a:lnTo>
                  <a:lnTo>
                    <a:pt x="115" y="190"/>
                  </a:lnTo>
                  <a:lnTo>
                    <a:pt x="115" y="190"/>
                  </a:lnTo>
                  <a:lnTo>
                    <a:pt x="119" y="195"/>
                  </a:lnTo>
                  <a:lnTo>
                    <a:pt x="119" y="195"/>
                  </a:lnTo>
                  <a:lnTo>
                    <a:pt x="119" y="195"/>
                  </a:lnTo>
                  <a:lnTo>
                    <a:pt x="119" y="195"/>
                  </a:lnTo>
                  <a:lnTo>
                    <a:pt x="121" y="197"/>
                  </a:lnTo>
                  <a:lnTo>
                    <a:pt x="121" y="197"/>
                  </a:lnTo>
                  <a:lnTo>
                    <a:pt x="124" y="198"/>
                  </a:lnTo>
                  <a:lnTo>
                    <a:pt x="124" y="198"/>
                  </a:lnTo>
                  <a:lnTo>
                    <a:pt x="126" y="198"/>
                  </a:lnTo>
                  <a:lnTo>
                    <a:pt x="126" y="198"/>
                  </a:lnTo>
                  <a:lnTo>
                    <a:pt x="129" y="198"/>
                  </a:lnTo>
                  <a:lnTo>
                    <a:pt x="129" y="198"/>
                  </a:lnTo>
                  <a:lnTo>
                    <a:pt x="118" y="144"/>
                  </a:lnTo>
                  <a:lnTo>
                    <a:pt x="118" y="144"/>
                  </a:lnTo>
                  <a:lnTo>
                    <a:pt x="143" y="138"/>
                  </a:lnTo>
                  <a:lnTo>
                    <a:pt x="143" y="138"/>
                  </a:lnTo>
                  <a:lnTo>
                    <a:pt x="145" y="136"/>
                  </a:lnTo>
                  <a:lnTo>
                    <a:pt x="145" y="136"/>
                  </a:lnTo>
                  <a:lnTo>
                    <a:pt x="145" y="135"/>
                  </a:lnTo>
                  <a:lnTo>
                    <a:pt x="145" y="135"/>
                  </a:lnTo>
                  <a:lnTo>
                    <a:pt x="146" y="133"/>
                  </a:lnTo>
                  <a:lnTo>
                    <a:pt x="146" y="133"/>
                  </a:lnTo>
                  <a:lnTo>
                    <a:pt x="148" y="133"/>
                  </a:lnTo>
                  <a:lnTo>
                    <a:pt x="148" y="133"/>
                  </a:lnTo>
                  <a:lnTo>
                    <a:pt x="153" y="132"/>
                  </a:lnTo>
                  <a:lnTo>
                    <a:pt x="153" y="132"/>
                  </a:lnTo>
                  <a:lnTo>
                    <a:pt x="153" y="133"/>
                  </a:lnTo>
                  <a:lnTo>
                    <a:pt x="153" y="133"/>
                  </a:lnTo>
                  <a:lnTo>
                    <a:pt x="150" y="133"/>
                  </a:lnTo>
                  <a:lnTo>
                    <a:pt x="150" y="133"/>
                  </a:lnTo>
                  <a:lnTo>
                    <a:pt x="150" y="135"/>
                  </a:lnTo>
                  <a:lnTo>
                    <a:pt x="150" y="135"/>
                  </a:lnTo>
                  <a:lnTo>
                    <a:pt x="153" y="135"/>
                  </a:lnTo>
                  <a:lnTo>
                    <a:pt x="153" y="135"/>
                  </a:lnTo>
                  <a:lnTo>
                    <a:pt x="156" y="136"/>
                  </a:lnTo>
                  <a:lnTo>
                    <a:pt x="156" y="136"/>
                  </a:lnTo>
                  <a:lnTo>
                    <a:pt x="156" y="135"/>
                  </a:lnTo>
                  <a:lnTo>
                    <a:pt x="156" y="135"/>
                  </a:lnTo>
                  <a:lnTo>
                    <a:pt x="156" y="132"/>
                  </a:lnTo>
                  <a:lnTo>
                    <a:pt x="156" y="132"/>
                  </a:lnTo>
                  <a:lnTo>
                    <a:pt x="153" y="128"/>
                  </a:lnTo>
                  <a:lnTo>
                    <a:pt x="153" y="128"/>
                  </a:lnTo>
                  <a:lnTo>
                    <a:pt x="153" y="127"/>
                  </a:lnTo>
                  <a:lnTo>
                    <a:pt x="153" y="127"/>
                  </a:lnTo>
                  <a:lnTo>
                    <a:pt x="156" y="128"/>
                  </a:lnTo>
                  <a:lnTo>
                    <a:pt x="156" y="128"/>
                  </a:lnTo>
                  <a:lnTo>
                    <a:pt x="156" y="128"/>
                  </a:lnTo>
                  <a:lnTo>
                    <a:pt x="156" y="128"/>
                  </a:lnTo>
                  <a:lnTo>
                    <a:pt x="156" y="130"/>
                  </a:lnTo>
                  <a:lnTo>
                    <a:pt x="156" y="130"/>
                  </a:lnTo>
                  <a:lnTo>
                    <a:pt x="161" y="130"/>
                  </a:lnTo>
                  <a:lnTo>
                    <a:pt x="161" y="130"/>
                  </a:lnTo>
                  <a:lnTo>
                    <a:pt x="162" y="132"/>
                  </a:lnTo>
                  <a:lnTo>
                    <a:pt x="162" y="132"/>
                  </a:lnTo>
                  <a:lnTo>
                    <a:pt x="161" y="132"/>
                  </a:lnTo>
                  <a:lnTo>
                    <a:pt x="161" y="132"/>
                  </a:lnTo>
                  <a:lnTo>
                    <a:pt x="159" y="132"/>
                  </a:lnTo>
                  <a:lnTo>
                    <a:pt x="159" y="132"/>
                  </a:lnTo>
                  <a:lnTo>
                    <a:pt x="161" y="133"/>
                  </a:lnTo>
                  <a:lnTo>
                    <a:pt x="161" y="133"/>
                  </a:lnTo>
                  <a:lnTo>
                    <a:pt x="164" y="136"/>
                  </a:lnTo>
                  <a:lnTo>
                    <a:pt x="164" y="136"/>
                  </a:lnTo>
                  <a:lnTo>
                    <a:pt x="161" y="136"/>
                  </a:lnTo>
                  <a:lnTo>
                    <a:pt x="161" y="136"/>
                  </a:lnTo>
                  <a:lnTo>
                    <a:pt x="159" y="136"/>
                  </a:lnTo>
                  <a:lnTo>
                    <a:pt x="159" y="136"/>
                  </a:lnTo>
                  <a:lnTo>
                    <a:pt x="156" y="136"/>
                  </a:lnTo>
                  <a:lnTo>
                    <a:pt x="156" y="136"/>
                  </a:lnTo>
                  <a:lnTo>
                    <a:pt x="159" y="138"/>
                  </a:lnTo>
                  <a:lnTo>
                    <a:pt x="159" y="138"/>
                  </a:lnTo>
                  <a:lnTo>
                    <a:pt x="162" y="138"/>
                  </a:lnTo>
                  <a:lnTo>
                    <a:pt x="162" y="138"/>
                  </a:lnTo>
                  <a:lnTo>
                    <a:pt x="165" y="138"/>
                  </a:lnTo>
                  <a:lnTo>
                    <a:pt x="165" y="138"/>
                  </a:lnTo>
                  <a:lnTo>
                    <a:pt x="165" y="141"/>
                  </a:lnTo>
                  <a:lnTo>
                    <a:pt x="165" y="141"/>
                  </a:lnTo>
                  <a:lnTo>
                    <a:pt x="165" y="143"/>
                  </a:lnTo>
                  <a:lnTo>
                    <a:pt x="165" y="143"/>
                  </a:lnTo>
                  <a:lnTo>
                    <a:pt x="165" y="144"/>
                  </a:lnTo>
                  <a:lnTo>
                    <a:pt x="165" y="144"/>
                  </a:lnTo>
                  <a:lnTo>
                    <a:pt x="167" y="144"/>
                  </a:lnTo>
                  <a:lnTo>
                    <a:pt x="167" y="144"/>
                  </a:lnTo>
                  <a:lnTo>
                    <a:pt x="170" y="151"/>
                  </a:lnTo>
                  <a:lnTo>
                    <a:pt x="170" y="151"/>
                  </a:lnTo>
                  <a:lnTo>
                    <a:pt x="172" y="151"/>
                  </a:lnTo>
                  <a:lnTo>
                    <a:pt x="172" y="151"/>
                  </a:lnTo>
                  <a:lnTo>
                    <a:pt x="170" y="151"/>
                  </a:lnTo>
                  <a:lnTo>
                    <a:pt x="170" y="151"/>
                  </a:lnTo>
                  <a:lnTo>
                    <a:pt x="172" y="152"/>
                  </a:lnTo>
                  <a:lnTo>
                    <a:pt x="172" y="152"/>
                  </a:lnTo>
                  <a:lnTo>
                    <a:pt x="177" y="154"/>
                  </a:lnTo>
                  <a:lnTo>
                    <a:pt x="177" y="154"/>
                  </a:lnTo>
                  <a:lnTo>
                    <a:pt x="184" y="163"/>
                  </a:lnTo>
                  <a:lnTo>
                    <a:pt x="184" y="163"/>
                  </a:lnTo>
                  <a:lnTo>
                    <a:pt x="188" y="163"/>
                  </a:lnTo>
                  <a:lnTo>
                    <a:pt x="188" y="163"/>
                  </a:lnTo>
                  <a:lnTo>
                    <a:pt x="188" y="165"/>
                  </a:lnTo>
                  <a:lnTo>
                    <a:pt x="188" y="165"/>
                  </a:lnTo>
                  <a:lnTo>
                    <a:pt x="191" y="165"/>
                  </a:lnTo>
                  <a:lnTo>
                    <a:pt x="191" y="165"/>
                  </a:lnTo>
                  <a:lnTo>
                    <a:pt x="194" y="165"/>
                  </a:lnTo>
                  <a:lnTo>
                    <a:pt x="194" y="165"/>
                  </a:lnTo>
                  <a:lnTo>
                    <a:pt x="197" y="165"/>
                  </a:lnTo>
                  <a:lnTo>
                    <a:pt x="197" y="165"/>
                  </a:lnTo>
                  <a:lnTo>
                    <a:pt x="202" y="165"/>
                  </a:lnTo>
                  <a:lnTo>
                    <a:pt x="202" y="165"/>
                  </a:lnTo>
                  <a:lnTo>
                    <a:pt x="210" y="165"/>
                  </a:lnTo>
                  <a:lnTo>
                    <a:pt x="210" y="165"/>
                  </a:lnTo>
                  <a:lnTo>
                    <a:pt x="215" y="165"/>
                  </a:lnTo>
                  <a:lnTo>
                    <a:pt x="215" y="165"/>
                  </a:lnTo>
                  <a:lnTo>
                    <a:pt x="219" y="165"/>
                  </a:lnTo>
                  <a:lnTo>
                    <a:pt x="219" y="165"/>
                  </a:lnTo>
                  <a:lnTo>
                    <a:pt x="223" y="165"/>
                  </a:lnTo>
                  <a:lnTo>
                    <a:pt x="223" y="165"/>
                  </a:lnTo>
                  <a:lnTo>
                    <a:pt x="223" y="163"/>
                  </a:lnTo>
                  <a:lnTo>
                    <a:pt x="223" y="163"/>
                  </a:lnTo>
                  <a:lnTo>
                    <a:pt x="226" y="165"/>
                  </a:lnTo>
                  <a:lnTo>
                    <a:pt x="226" y="165"/>
                  </a:lnTo>
                  <a:lnTo>
                    <a:pt x="229" y="167"/>
                  </a:lnTo>
                  <a:lnTo>
                    <a:pt x="229" y="167"/>
                  </a:lnTo>
                  <a:lnTo>
                    <a:pt x="231" y="168"/>
                  </a:lnTo>
                  <a:lnTo>
                    <a:pt x="231" y="168"/>
                  </a:lnTo>
                  <a:lnTo>
                    <a:pt x="232" y="171"/>
                  </a:lnTo>
                  <a:lnTo>
                    <a:pt x="232" y="171"/>
                  </a:lnTo>
                  <a:lnTo>
                    <a:pt x="235" y="174"/>
                  </a:lnTo>
                  <a:lnTo>
                    <a:pt x="235" y="174"/>
                  </a:lnTo>
                  <a:lnTo>
                    <a:pt x="237" y="174"/>
                  </a:lnTo>
                  <a:lnTo>
                    <a:pt x="237" y="174"/>
                  </a:lnTo>
                  <a:lnTo>
                    <a:pt x="240" y="174"/>
                  </a:lnTo>
                  <a:lnTo>
                    <a:pt x="240" y="174"/>
                  </a:lnTo>
                  <a:lnTo>
                    <a:pt x="240" y="181"/>
                  </a:lnTo>
                  <a:lnTo>
                    <a:pt x="240" y="181"/>
                  </a:lnTo>
                  <a:lnTo>
                    <a:pt x="242" y="186"/>
                  </a:lnTo>
                  <a:lnTo>
                    <a:pt x="242" y="186"/>
                  </a:lnTo>
                  <a:lnTo>
                    <a:pt x="243" y="187"/>
                  </a:lnTo>
                  <a:lnTo>
                    <a:pt x="243" y="187"/>
                  </a:lnTo>
                  <a:lnTo>
                    <a:pt x="246" y="189"/>
                  </a:lnTo>
                  <a:lnTo>
                    <a:pt x="246" y="189"/>
                  </a:lnTo>
                  <a:lnTo>
                    <a:pt x="248" y="189"/>
                  </a:lnTo>
                  <a:lnTo>
                    <a:pt x="248" y="189"/>
                  </a:lnTo>
                  <a:lnTo>
                    <a:pt x="250" y="190"/>
                  </a:lnTo>
                  <a:lnTo>
                    <a:pt x="250" y="190"/>
                  </a:lnTo>
                  <a:lnTo>
                    <a:pt x="251" y="200"/>
                  </a:lnTo>
                  <a:lnTo>
                    <a:pt x="251" y="200"/>
                  </a:lnTo>
                  <a:lnTo>
                    <a:pt x="254" y="200"/>
                  </a:lnTo>
                  <a:lnTo>
                    <a:pt x="254" y="200"/>
                  </a:lnTo>
                  <a:lnTo>
                    <a:pt x="258" y="200"/>
                  </a:lnTo>
                  <a:lnTo>
                    <a:pt x="258" y="200"/>
                  </a:lnTo>
                  <a:lnTo>
                    <a:pt x="261" y="200"/>
                  </a:lnTo>
                  <a:lnTo>
                    <a:pt x="261" y="200"/>
                  </a:lnTo>
                  <a:lnTo>
                    <a:pt x="267" y="200"/>
                  </a:lnTo>
                  <a:lnTo>
                    <a:pt x="267" y="200"/>
                  </a:lnTo>
                  <a:lnTo>
                    <a:pt x="270" y="200"/>
                  </a:lnTo>
                  <a:lnTo>
                    <a:pt x="270" y="200"/>
                  </a:lnTo>
                  <a:lnTo>
                    <a:pt x="270" y="203"/>
                  </a:lnTo>
                  <a:lnTo>
                    <a:pt x="270" y="203"/>
                  </a:lnTo>
                  <a:lnTo>
                    <a:pt x="272" y="206"/>
                  </a:lnTo>
                  <a:lnTo>
                    <a:pt x="272" y="206"/>
                  </a:lnTo>
                  <a:lnTo>
                    <a:pt x="272" y="206"/>
                  </a:lnTo>
                  <a:lnTo>
                    <a:pt x="272" y="206"/>
                  </a:lnTo>
                  <a:lnTo>
                    <a:pt x="278" y="209"/>
                  </a:lnTo>
                  <a:lnTo>
                    <a:pt x="278" y="209"/>
                  </a:lnTo>
                  <a:lnTo>
                    <a:pt x="275" y="206"/>
                  </a:lnTo>
                  <a:lnTo>
                    <a:pt x="275" y="206"/>
                  </a:lnTo>
                  <a:lnTo>
                    <a:pt x="275" y="203"/>
                  </a:lnTo>
                  <a:lnTo>
                    <a:pt x="275" y="203"/>
                  </a:lnTo>
                  <a:lnTo>
                    <a:pt x="278" y="200"/>
                  </a:lnTo>
                  <a:lnTo>
                    <a:pt x="278" y="200"/>
                  </a:lnTo>
                  <a:lnTo>
                    <a:pt x="281" y="200"/>
                  </a:lnTo>
                  <a:lnTo>
                    <a:pt x="281" y="200"/>
                  </a:lnTo>
                  <a:lnTo>
                    <a:pt x="281" y="198"/>
                  </a:lnTo>
                  <a:lnTo>
                    <a:pt x="281" y="198"/>
                  </a:lnTo>
                  <a:lnTo>
                    <a:pt x="281" y="197"/>
                  </a:lnTo>
                  <a:lnTo>
                    <a:pt x="281" y="197"/>
                  </a:lnTo>
                  <a:lnTo>
                    <a:pt x="285" y="195"/>
                  </a:lnTo>
                  <a:lnTo>
                    <a:pt x="285" y="195"/>
                  </a:lnTo>
                  <a:lnTo>
                    <a:pt x="288" y="192"/>
                  </a:lnTo>
                  <a:lnTo>
                    <a:pt x="288" y="192"/>
                  </a:lnTo>
                  <a:lnTo>
                    <a:pt x="291" y="190"/>
                  </a:lnTo>
                  <a:lnTo>
                    <a:pt x="291" y="190"/>
                  </a:lnTo>
                  <a:lnTo>
                    <a:pt x="291" y="189"/>
                  </a:lnTo>
                  <a:lnTo>
                    <a:pt x="291" y="189"/>
                  </a:lnTo>
                  <a:lnTo>
                    <a:pt x="292" y="187"/>
                  </a:lnTo>
                  <a:lnTo>
                    <a:pt x="292" y="187"/>
                  </a:lnTo>
                  <a:lnTo>
                    <a:pt x="294" y="187"/>
                  </a:lnTo>
                  <a:lnTo>
                    <a:pt x="294" y="187"/>
                  </a:lnTo>
                  <a:lnTo>
                    <a:pt x="296" y="187"/>
                  </a:lnTo>
                  <a:lnTo>
                    <a:pt x="296" y="187"/>
                  </a:lnTo>
                  <a:lnTo>
                    <a:pt x="297" y="186"/>
                  </a:lnTo>
                  <a:lnTo>
                    <a:pt x="297" y="186"/>
                  </a:lnTo>
                  <a:lnTo>
                    <a:pt x="300" y="184"/>
                  </a:lnTo>
                  <a:lnTo>
                    <a:pt x="300" y="184"/>
                  </a:lnTo>
                  <a:lnTo>
                    <a:pt x="297" y="182"/>
                  </a:lnTo>
                  <a:lnTo>
                    <a:pt x="297" y="182"/>
                  </a:lnTo>
                  <a:lnTo>
                    <a:pt x="299" y="181"/>
                  </a:lnTo>
                  <a:lnTo>
                    <a:pt x="299" y="181"/>
                  </a:lnTo>
                  <a:lnTo>
                    <a:pt x="300" y="178"/>
                  </a:lnTo>
                  <a:lnTo>
                    <a:pt x="300" y="178"/>
                  </a:lnTo>
                  <a:lnTo>
                    <a:pt x="307" y="178"/>
                  </a:lnTo>
                  <a:lnTo>
                    <a:pt x="307" y="178"/>
                  </a:lnTo>
                  <a:lnTo>
                    <a:pt x="307" y="178"/>
                  </a:lnTo>
                  <a:lnTo>
                    <a:pt x="307" y="178"/>
                  </a:lnTo>
                  <a:lnTo>
                    <a:pt x="310" y="178"/>
                  </a:lnTo>
                  <a:lnTo>
                    <a:pt x="310" y="178"/>
                  </a:lnTo>
                  <a:lnTo>
                    <a:pt x="313" y="178"/>
                  </a:lnTo>
                  <a:lnTo>
                    <a:pt x="313" y="178"/>
                  </a:lnTo>
                  <a:lnTo>
                    <a:pt x="316" y="178"/>
                  </a:lnTo>
                  <a:lnTo>
                    <a:pt x="316" y="178"/>
                  </a:lnTo>
                  <a:lnTo>
                    <a:pt x="319" y="179"/>
                  </a:lnTo>
                  <a:lnTo>
                    <a:pt x="319" y="179"/>
                  </a:lnTo>
                  <a:lnTo>
                    <a:pt x="323" y="181"/>
                  </a:lnTo>
                  <a:lnTo>
                    <a:pt x="323" y="181"/>
                  </a:lnTo>
                  <a:lnTo>
                    <a:pt x="324" y="181"/>
                  </a:lnTo>
                  <a:lnTo>
                    <a:pt x="324" y="181"/>
                  </a:lnTo>
                  <a:lnTo>
                    <a:pt x="326" y="181"/>
                  </a:lnTo>
                  <a:lnTo>
                    <a:pt x="326" y="181"/>
                  </a:lnTo>
                  <a:lnTo>
                    <a:pt x="327" y="181"/>
                  </a:lnTo>
                  <a:lnTo>
                    <a:pt x="327" y="181"/>
                  </a:lnTo>
                  <a:lnTo>
                    <a:pt x="326" y="178"/>
                  </a:lnTo>
                  <a:lnTo>
                    <a:pt x="326" y="178"/>
                  </a:lnTo>
                  <a:lnTo>
                    <a:pt x="326" y="174"/>
                  </a:lnTo>
                  <a:lnTo>
                    <a:pt x="326" y="174"/>
                  </a:lnTo>
                  <a:lnTo>
                    <a:pt x="327" y="171"/>
                  </a:lnTo>
                  <a:lnTo>
                    <a:pt x="327" y="171"/>
                  </a:lnTo>
                  <a:lnTo>
                    <a:pt x="331" y="171"/>
                  </a:lnTo>
                  <a:lnTo>
                    <a:pt x="331" y="171"/>
                  </a:lnTo>
                  <a:lnTo>
                    <a:pt x="332" y="171"/>
                  </a:lnTo>
                  <a:lnTo>
                    <a:pt x="332" y="171"/>
                  </a:lnTo>
                  <a:lnTo>
                    <a:pt x="342" y="174"/>
                  </a:lnTo>
                  <a:lnTo>
                    <a:pt x="342" y="174"/>
                  </a:lnTo>
                  <a:lnTo>
                    <a:pt x="348" y="178"/>
                  </a:lnTo>
                  <a:lnTo>
                    <a:pt x="348" y="178"/>
                  </a:lnTo>
                  <a:lnTo>
                    <a:pt x="351" y="178"/>
                  </a:lnTo>
                  <a:lnTo>
                    <a:pt x="351" y="178"/>
                  </a:lnTo>
                  <a:lnTo>
                    <a:pt x="351" y="178"/>
                  </a:lnTo>
                  <a:lnTo>
                    <a:pt x="351" y="178"/>
                  </a:lnTo>
                  <a:lnTo>
                    <a:pt x="351" y="174"/>
                  </a:lnTo>
                  <a:lnTo>
                    <a:pt x="351" y="174"/>
                  </a:lnTo>
                  <a:lnTo>
                    <a:pt x="353" y="174"/>
                  </a:lnTo>
                  <a:lnTo>
                    <a:pt x="353" y="174"/>
                  </a:lnTo>
                  <a:lnTo>
                    <a:pt x="356" y="174"/>
                  </a:lnTo>
                  <a:lnTo>
                    <a:pt x="356" y="174"/>
                  </a:lnTo>
                  <a:lnTo>
                    <a:pt x="359" y="174"/>
                  </a:lnTo>
                  <a:lnTo>
                    <a:pt x="359" y="174"/>
                  </a:lnTo>
                  <a:lnTo>
                    <a:pt x="361" y="174"/>
                  </a:lnTo>
                  <a:lnTo>
                    <a:pt x="361" y="174"/>
                  </a:lnTo>
                  <a:lnTo>
                    <a:pt x="367" y="174"/>
                  </a:lnTo>
                  <a:lnTo>
                    <a:pt x="367" y="174"/>
                  </a:lnTo>
                  <a:lnTo>
                    <a:pt x="369" y="174"/>
                  </a:lnTo>
                  <a:lnTo>
                    <a:pt x="369" y="174"/>
                  </a:lnTo>
                  <a:lnTo>
                    <a:pt x="370" y="174"/>
                  </a:lnTo>
                  <a:lnTo>
                    <a:pt x="370" y="174"/>
                  </a:lnTo>
                  <a:lnTo>
                    <a:pt x="372" y="174"/>
                  </a:lnTo>
                  <a:lnTo>
                    <a:pt x="372" y="174"/>
                  </a:lnTo>
                  <a:lnTo>
                    <a:pt x="375" y="174"/>
                  </a:lnTo>
                  <a:lnTo>
                    <a:pt x="375" y="174"/>
                  </a:lnTo>
                  <a:lnTo>
                    <a:pt x="375" y="174"/>
                  </a:lnTo>
                  <a:lnTo>
                    <a:pt x="375" y="174"/>
                  </a:lnTo>
                  <a:lnTo>
                    <a:pt x="381" y="174"/>
                  </a:lnTo>
                  <a:lnTo>
                    <a:pt x="381" y="174"/>
                  </a:lnTo>
                  <a:lnTo>
                    <a:pt x="388" y="178"/>
                  </a:lnTo>
                  <a:lnTo>
                    <a:pt x="388" y="178"/>
                  </a:lnTo>
                  <a:lnTo>
                    <a:pt x="392" y="178"/>
                  </a:lnTo>
                  <a:lnTo>
                    <a:pt x="392" y="178"/>
                  </a:lnTo>
                  <a:lnTo>
                    <a:pt x="394" y="179"/>
                  </a:lnTo>
                  <a:lnTo>
                    <a:pt x="394" y="179"/>
                  </a:lnTo>
                  <a:lnTo>
                    <a:pt x="396" y="181"/>
                  </a:lnTo>
                  <a:lnTo>
                    <a:pt x="396" y="181"/>
                  </a:lnTo>
                  <a:lnTo>
                    <a:pt x="397" y="181"/>
                  </a:lnTo>
                  <a:lnTo>
                    <a:pt x="397" y="181"/>
                  </a:lnTo>
                  <a:lnTo>
                    <a:pt x="397" y="181"/>
                  </a:lnTo>
                  <a:lnTo>
                    <a:pt x="397" y="181"/>
                  </a:lnTo>
                  <a:lnTo>
                    <a:pt x="404" y="182"/>
                  </a:lnTo>
                  <a:lnTo>
                    <a:pt x="404" y="182"/>
                  </a:lnTo>
                  <a:lnTo>
                    <a:pt x="404" y="184"/>
                  </a:lnTo>
                  <a:lnTo>
                    <a:pt x="404" y="184"/>
                  </a:lnTo>
                  <a:lnTo>
                    <a:pt x="407" y="187"/>
                  </a:lnTo>
                  <a:lnTo>
                    <a:pt x="407" y="187"/>
                  </a:lnTo>
                  <a:lnTo>
                    <a:pt x="407" y="182"/>
                  </a:lnTo>
                  <a:lnTo>
                    <a:pt x="407" y="182"/>
                  </a:lnTo>
                  <a:lnTo>
                    <a:pt x="404" y="179"/>
                  </a:lnTo>
                  <a:lnTo>
                    <a:pt x="404" y="179"/>
                  </a:lnTo>
                  <a:lnTo>
                    <a:pt x="404" y="178"/>
                  </a:lnTo>
                  <a:lnTo>
                    <a:pt x="404" y="178"/>
                  </a:lnTo>
                  <a:lnTo>
                    <a:pt x="404" y="178"/>
                  </a:lnTo>
                  <a:lnTo>
                    <a:pt x="404" y="178"/>
                  </a:lnTo>
                  <a:lnTo>
                    <a:pt x="407" y="174"/>
                  </a:lnTo>
                  <a:lnTo>
                    <a:pt x="407" y="174"/>
                  </a:lnTo>
                  <a:lnTo>
                    <a:pt x="404" y="174"/>
                  </a:lnTo>
                  <a:lnTo>
                    <a:pt x="404" y="174"/>
                  </a:lnTo>
                  <a:lnTo>
                    <a:pt x="407" y="171"/>
                  </a:lnTo>
                  <a:lnTo>
                    <a:pt x="407" y="171"/>
                  </a:lnTo>
                  <a:lnTo>
                    <a:pt x="407" y="171"/>
                  </a:lnTo>
                  <a:lnTo>
                    <a:pt x="407" y="171"/>
                  </a:lnTo>
                  <a:lnTo>
                    <a:pt x="410" y="171"/>
                  </a:lnTo>
                  <a:lnTo>
                    <a:pt x="410" y="171"/>
                  </a:lnTo>
                  <a:lnTo>
                    <a:pt x="407" y="171"/>
                  </a:lnTo>
                  <a:lnTo>
                    <a:pt x="407" y="171"/>
                  </a:lnTo>
                  <a:lnTo>
                    <a:pt x="407" y="168"/>
                  </a:lnTo>
                  <a:lnTo>
                    <a:pt x="407" y="168"/>
                  </a:lnTo>
                  <a:lnTo>
                    <a:pt x="404" y="165"/>
                  </a:lnTo>
                  <a:lnTo>
                    <a:pt x="404" y="165"/>
                  </a:lnTo>
                  <a:lnTo>
                    <a:pt x="404" y="162"/>
                  </a:lnTo>
                  <a:lnTo>
                    <a:pt x="404" y="162"/>
                  </a:lnTo>
                  <a:lnTo>
                    <a:pt x="400" y="157"/>
                  </a:lnTo>
                  <a:lnTo>
                    <a:pt x="400" y="157"/>
                  </a:lnTo>
                  <a:lnTo>
                    <a:pt x="397" y="154"/>
                  </a:lnTo>
                  <a:lnTo>
                    <a:pt x="397" y="154"/>
                  </a:lnTo>
                  <a:lnTo>
                    <a:pt x="397" y="151"/>
                  </a:lnTo>
                  <a:lnTo>
                    <a:pt x="397" y="151"/>
                  </a:lnTo>
                  <a:lnTo>
                    <a:pt x="397" y="147"/>
                  </a:lnTo>
                  <a:lnTo>
                    <a:pt x="397" y="147"/>
                  </a:lnTo>
                  <a:lnTo>
                    <a:pt x="394" y="147"/>
                  </a:lnTo>
                  <a:lnTo>
                    <a:pt x="394" y="147"/>
                  </a:lnTo>
                  <a:lnTo>
                    <a:pt x="391" y="147"/>
                  </a:lnTo>
                  <a:lnTo>
                    <a:pt x="391" y="147"/>
                  </a:lnTo>
                  <a:lnTo>
                    <a:pt x="391" y="147"/>
                  </a:lnTo>
                  <a:lnTo>
                    <a:pt x="391" y="147"/>
                  </a:lnTo>
                  <a:lnTo>
                    <a:pt x="392" y="144"/>
                  </a:lnTo>
                  <a:lnTo>
                    <a:pt x="392" y="144"/>
                  </a:lnTo>
                  <a:lnTo>
                    <a:pt x="394" y="144"/>
                  </a:lnTo>
                  <a:lnTo>
                    <a:pt x="394" y="144"/>
                  </a:lnTo>
                  <a:lnTo>
                    <a:pt x="400" y="144"/>
                  </a:lnTo>
                  <a:lnTo>
                    <a:pt x="400" y="144"/>
                  </a:lnTo>
                  <a:lnTo>
                    <a:pt x="407" y="143"/>
                  </a:lnTo>
                  <a:lnTo>
                    <a:pt x="407" y="143"/>
                  </a:lnTo>
                  <a:lnTo>
                    <a:pt x="410" y="143"/>
                  </a:lnTo>
                  <a:lnTo>
                    <a:pt x="410" y="143"/>
                  </a:lnTo>
                  <a:lnTo>
                    <a:pt x="412" y="144"/>
                  </a:lnTo>
                  <a:lnTo>
                    <a:pt x="412" y="144"/>
                  </a:lnTo>
                  <a:lnTo>
                    <a:pt x="413" y="144"/>
                  </a:lnTo>
                  <a:lnTo>
                    <a:pt x="413" y="144"/>
                  </a:lnTo>
                  <a:lnTo>
                    <a:pt x="416" y="144"/>
                  </a:lnTo>
                  <a:lnTo>
                    <a:pt x="416" y="144"/>
                  </a:lnTo>
                  <a:lnTo>
                    <a:pt x="418" y="144"/>
                  </a:lnTo>
                  <a:lnTo>
                    <a:pt x="418" y="144"/>
                  </a:lnTo>
                  <a:lnTo>
                    <a:pt x="419" y="143"/>
                  </a:lnTo>
                  <a:lnTo>
                    <a:pt x="419" y="143"/>
                  </a:lnTo>
                  <a:lnTo>
                    <a:pt x="418" y="141"/>
                  </a:lnTo>
                  <a:lnTo>
                    <a:pt x="418" y="141"/>
                  </a:lnTo>
                  <a:lnTo>
                    <a:pt x="416" y="140"/>
                  </a:lnTo>
                  <a:lnTo>
                    <a:pt x="416" y="140"/>
                  </a:lnTo>
                  <a:lnTo>
                    <a:pt x="415" y="138"/>
                  </a:lnTo>
                  <a:lnTo>
                    <a:pt x="415" y="138"/>
                  </a:lnTo>
                  <a:lnTo>
                    <a:pt x="413" y="136"/>
                  </a:lnTo>
                  <a:lnTo>
                    <a:pt x="413" y="136"/>
                  </a:lnTo>
                  <a:lnTo>
                    <a:pt x="413" y="130"/>
                  </a:lnTo>
                  <a:lnTo>
                    <a:pt x="413" y="130"/>
                  </a:lnTo>
                  <a:lnTo>
                    <a:pt x="413" y="124"/>
                  </a:lnTo>
                  <a:lnTo>
                    <a:pt x="413" y="124"/>
                  </a:lnTo>
                  <a:lnTo>
                    <a:pt x="415" y="120"/>
                  </a:lnTo>
                  <a:lnTo>
                    <a:pt x="415" y="120"/>
                  </a:lnTo>
                  <a:lnTo>
                    <a:pt x="415" y="119"/>
                  </a:lnTo>
                  <a:lnTo>
                    <a:pt x="415" y="119"/>
                  </a:lnTo>
                  <a:lnTo>
                    <a:pt x="415" y="116"/>
                  </a:lnTo>
                  <a:lnTo>
                    <a:pt x="415" y="116"/>
                  </a:lnTo>
                  <a:lnTo>
                    <a:pt x="416" y="116"/>
                  </a:lnTo>
                  <a:lnTo>
                    <a:pt x="416" y="116"/>
                  </a:lnTo>
                  <a:lnTo>
                    <a:pt x="421" y="116"/>
                  </a:lnTo>
                  <a:lnTo>
                    <a:pt x="421" y="116"/>
                  </a:lnTo>
                  <a:lnTo>
                    <a:pt x="427" y="119"/>
                  </a:lnTo>
                  <a:lnTo>
                    <a:pt x="427" y="119"/>
                  </a:lnTo>
                  <a:lnTo>
                    <a:pt x="432" y="119"/>
                  </a:lnTo>
                  <a:lnTo>
                    <a:pt x="432" y="119"/>
                  </a:lnTo>
                  <a:lnTo>
                    <a:pt x="435" y="119"/>
                  </a:lnTo>
                  <a:lnTo>
                    <a:pt x="435" y="119"/>
                  </a:lnTo>
                  <a:lnTo>
                    <a:pt x="435" y="119"/>
                  </a:lnTo>
                  <a:lnTo>
                    <a:pt x="435" y="119"/>
                  </a:lnTo>
                  <a:lnTo>
                    <a:pt x="439" y="119"/>
                  </a:lnTo>
                  <a:lnTo>
                    <a:pt x="439" y="119"/>
                  </a:lnTo>
                  <a:lnTo>
                    <a:pt x="442" y="116"/>
                  </a:lnTo>
                  <a:lnTo>
                    <a:pt x="442" y="116"/>
                  </a:lnTo>
                  <a:lnTo>
                    <a:pt x="443" y="116"/>
                  </a:lnTo>
                  <a:lnTo>
                    <a:pt x="443" y="116"/>
                  </a:lnTo>
                  <a:lnTo>
                    <a:pt x="442" y="113"/>
                  </a:lnTo>
                  <a:lnTo>
                    <a:pt x="442" y="113"/>
                  </a:lnTo>
                  <a:lnTo>
                    <a:pt x="439" y="106"/>
                  </a:lnTo>
                  <a:lnTo>
                    <a:pt x="439" y="106"/>
                  </a:lnTo>
                  <a:lnTo>
                    <a:pt x="439" y="103"/>
                  </a:lnTo>
                  <a:lnTo>
                    <a:pt x="439" y="103"/>
                  </a:lnTo>
                  <a:lnTo>
                    <a:pt x="439" y="100"/>
                  </a:lnTo>
                  <a:lnTo>
                    <a:pt x="439" y="100"/>
                  </a:lnTo>
                  <a:lnTo>
                    <a:pt x="439" y="98"/>
                  </a:lnTo>
                  <a:lnTo>
                    <a:pt x="439" y="98"/>
                  </a:lnTo>
                  <a:lnTo>
                    <a:pt x="442" y="97"/>
                  </a:lnTo>
                  <a:lnTo>
                    <a:pt x="442" y="97"/>
                  </a:lnTo>
                  <a:lnTo>
                    <a:pt x="443" y="97"/>
                  </a:lnTo>
                  <a:lnTo>
                    <a:pt x="443" y="97"/>
                  </a:lnTo>
                  <a:lnTo>
                    <a:pt x="446" y="93"/>
                  </a:lnTo>
                  <a:lnTo>
                    <a:pt x="446" y="93"/>
                  </a:lnTo>
                  <a:lnTo>
                    <a:pt x="446" y="90"/>
                  </a:lnTo>
                  <a:lnTo>
                    <a:pt x="446" y="90"/>
                  </a:lnTo>
                  <a:lnTo>
                    <a:pt x="445" y="89"/>
                  </a:lnTo>
                  <a:lnTo>
                    <a:pt x="445" y="89"/>
                  </a:lnTo>
                  <a:lnTo>
                    <a:pt x="446" y="87"/>
                  </a:lnTo>
                  <a:lnTo>
                    <a:pt x="451" y="87"/>
                  </a:lnTo>
                  <a:lnTo>
                    <a:pt x="451" y="87"/>
                  </a:lnTo>
                  <a:lnTo>
                    <a:pt x="451" y="87"/>
                  </a:lnTo>
                  <a:close/>
                </a:path>
              </a:pathLst>
            </a:custGeom>
            <a:grpFill/>
            <a:ln w="3175">
              <a:solidFill>
                <a:srgbClr val="FFFFFF">
                  <a:alpha val="81000"/>
                </a:srgbClr>
              </a:solidFill>
              <a:round/>
              <a:headEnd/>
              <a:tailEnd/>
            </a:ln>
          </p:spPr>
          <p:txBody>
            <a:bodyPr vert="horz" wrap="square" lIns="91416" tIns="45708" rIns="91416" bIns="45708"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86">
                <a:lnSpc>
                  <a:spcPct val="105000"/>
                </a:lnSpc>
                <a:defRPr/>
              </a:pPr>
              <a:endParaRPr lang="en-US" sz="1799" spc="-20">
                <a:solidFill>
                  <a:prstClr val="black"/>
                </a:solidFill>
                <a:latin typeface="Verdana"/>
              </a:endParaRPr>
            </a:p>
          </p:txBody>
        </p:sp>
      </p:grpSp>
      <p:sp>
        <p:nvSpPr>
          <p:cNvPr id="5" name="Text Placeholder 4">
            <a:extLst>
              <a:ext uri="{FF2B5EF4-FFF2-40B4-BE49-F238E27FC236}">
                <a16:creationId xmlns:a16="http://schemas.microsoft.com/office/drawing/2014/main" id="{95C7BCE7-CE72-A779-EBDE-6E716440DF81}"/>
              </a:ext>
            </a:extLst>
          </p:cNvPr>
          <p:cNvSpPr>
            <a:spLocks noGrp="1"/>
          </p:cNvSpPr>
          <p:nvPr>
            <p:ph type="body" sz="quarter" idx="16"/>
          </p:nvPr>
        </p:nvSpPr>
        <p:spPr>
          <a:xfrm>
            <a:off x="449582" y="6268778"/>
            <a:ext cx="11045797" cy="296034"/>
          </a:xfrm>
        </p:spPr>
        <p:txBody>
          <a:bodyPr>
            <a:normAutofit fontScale="70000" lnSpcReduction="20000"/>
          </a:bodyPr>
          <a:lstStyle/>
          <a:p>
            <a:pPr algn="l"/>
            <a:r>
              <a:rPr lang="en-US" sz="1050" dirty="0">
                <a:solidFill>
                  <a:srgbClr val="212121"/>
                </a:solidFill>
                <a:highlight>
                  <a:srgbClr val="FFFFFF"/>
                </a:highlight>
              </a:rPr>
              <a:t>ICU=intensive care unit; RTI=respiratory tract infection.</a:t>
            </a:r>
          </a:p>
          <a:p>
            <a:pPr algn="l"/>
            <a:r>
              <a:rPr lang="en-US" sz="1050" dirty="0">
                <a:solidFill>
                  <a:srgbClr val="212121"/>
                </a:solidFill>
                <a:highlight>
                  <a:srgbClr val="FFFFFF"/>
                </a:highlight>
              </a:rPr>
              <a:t>*Older adults (≥60 years or ≥65 years).</a:t>
            </a:r>
          </a:p>
          <a:p>
            <a:pPr algn="l"/>
            <a:r>
              <a:rPr lang="en-US" sz="1050" dirty="0" err="1">
                <a:solidFill>
                  <a:srgbClr val="212121"/>
                </a:solidFill>
                <a:highlight>
                  <a:srgbClr val="FFFFFF"/>
                </a:highlight>
              </a:rPr>
              <a:t>Wildenbeest</a:t>
            </a:r>
            <a:r>
              <a:rPr lang="en-US" sz="1050" dirty="0">
                <a:solidFill>
                  <a:srgbClr val="212121"/>
                </a:solidFill>
                <a:highlight>
                  <a:srgbClr val="FFFFFF"/>
                </a:highlight>
              </a:rPr>
              <a:t> JG, et al. </a:t>
            </a:r>
            <a:r>
              <a:rPr lang="en-US" sz="1050" i="1" dirty="0">
                <a:solidFill>
                  <a:srgbClr val="212121"/>
                </a:solidFill>
                <a:highlight>
                  <a:srgbClr val="FFFFFF"/>
                </a:highlight>
              </a:rPr>
              <a:t>Lancet</a:t>
            </a:r>
            <a:r>
              <a:rPr lang="en-US" sz="1050" dirty="0">
                <a:solidFill>
                  <a:srgbClr val="212121"/>
                </a:solidFill>
                <a:highlight>
                  <a:srgbClr val="FFFFFF"/>
                </a:highlight>
              </a:rPr>
              <a:t> </a:t>
            </a:r>
            <a:r>
              <a:rPr lang="en-US" sz="1050" i="1" dirty="0">
                <a:solidFill>
                  <a:srgbClr val="212121"/>
                </a:solidFill>
                <a:highlight>
                  <a:srgbClr val="FFFFFF"/>
                </a:highlight>
              </a:rPr>
              <a:t>Respir Med</a:t>
            </a:r>
            <a:r>
              <a:rPr lang="en-US" sz="1050" dirty="0">
                <a:solidFill>
                  <a:srgbClr val="212121"/>
                </a:solidFill>
                <a:highlight>
                  <a:srgbClr val="FFFFFF"/>
                </a:highlight>
              </a:rPr>
              <a:t>. 2024;12(10):822-836.</a:t>
            </a:r>
          </a:p>
        </p:txBody>
      </p:sp>
      <p:grpSp>
        <p:nvGrpSpPr>
          <p:cNvPr id="1179" name="Group 1178">
            <a:extLst>
              <a:ext uri="{FF2B5EF4-FFF2-40B4-BE49-F238E27FC236}">
                <a16:creationId xmlns:a16="http://schemas.microsoft.com/office/drawing/2014/main" id="{309B74D7-06C2-9C8A-6246-7B3013A0D8CF}"/>
              </a:ext>
            </a:extLst>
          </p:cNvPr>
          <p:cNvGrpSpPr/>
          <p:nvPr/>
        </p:nvGrpSpPr>
        <p:grpSpPr>
          <a:xfrm>
            <a:off x="816228" y="1177580"/>
            <a:ext cx="10597827" cy="4644359"/>
            <a:chOff x="1142108" y="1176991"/>
            <a:chExt cx="10600588" cy="4645569"/>
          </a:xfrm>
        </p:grpSpPr>
        <p:sp>
          <p:nvSpPr>
            <p:cNvPr id="14" name="Rectangle 13">
              <a:extLst>
                <a:ext uri="{FF2B5EF4-FFF2-40B4-BE49-F238E27FC236}">
                  <a16:creationId xmlns:a16="http://schemas.microsoft.com/office/drawing/2014/main" id="{670FEEC1-CB32-DD6C-CD43-17518EDE909A}"/>
                </a:ext>
              </a:extLst>
            </p:cNvPr>
            <p:cNvSpPr/>
            <p:nvPr/>
          </p:nvSpPr>
          <p:spPr bwMode="gray">
            <a:xfrm>
              <a:off x="3267660" y="1304225"/>
              <a:ext cx="6488988" cy="732358"/>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461847" defTabSz="914172" fontAlgn="base">
                <a:lnSpc>
                  <a:spcPct val="90000"/>
                </a:lnSpc>
                <a:spcAft>
                  <a:spcPct val="0"/>
                </a:spcAft>
                <a:buClr>
                  <a:srgbClr val="0095FF"/>
                </a:buClr>
                <a:buSzPct val="90000"/>
                <a:defRPr/>
              </a:pPr>
              <a:r>
                <a:rPr lang="en-US" sz="1600" b="1" dirty="0">
                  <a:solidFill>
                    <a:srgbClr val="0000C9">
                      <a:lumMod val="50000"/>
                    </a:srgbClr>
                  </a:solidFill>
                  <a:latin typeface="Aptos" panose="02110004020202020204"/>
                </a:rPr>
                <a:t>TỬ VONG DO RSV</a:t>
              </a:r>
            </a:p>
            <a:p>
              <a:pPr marL="461847" defTabSz="914172" fontAlgn="base">
                <a:lnSpc>
                  <a:spcPct val="90000"/>
                </a:lnSpc>
                <a:spcAft>
                  <a:spcPct val="0"/>
                </a:spcAft>
                <a:buClr>
                  <a:srgbClr val="0095FF"/>
                </a:buClr>
                <a:buSzPct val="90000"/>
                <a:defRPr/>
              </a:pPr>
              <a:r>
                <a:rPr lang="vi-VN" sz="1600" dirty="0">
                  <a:solidFill>
                    <a:srgbClr val="000000"/>
                  </a:solidFill>
                  <a:latin typeface="Arial" panose="020B0604020202020204"/>
                </a:rPr>
                <a:t>Trong số những người cao tuổi nhập viện với</a:t>
              </a:r>
              <a:r>
                <a:rPr lang="en-US" sz="1600" dirty="0">
                  <a:solidFill>
                    <a:srgbClr val="000000"/>
                  </a:solidFill>
                  <a:latin typeface="Arial" panose="020B0604020202020204"/>
                </a:rPr>
                <a:t> RSV RTI: </a:t>
              </a:r>
              <a:r>
                <a:rPr lang="en-US" b="1" dirty="0">
                  <a:solidFill>
                    <a:srgbClr val="FF0000"/>
                  </a:solidFill>
                  <a:latin typeface="Arial" panose="020B0604020202020204"/>
                </a:rPr>
                <a:t>6–9%</a:t>
              </a:r>
              <a:endParaRPr lang="en-US" sz="1600" b="1" dirty="0">
                <a:solidFill>
                  <a:srgbClr val="FF0000"/>
                </a:solidFill>
                <a:latin typeface="Arial" panose="020B0604020202020204"/>
              </a:endParaRPr>
            </a:p>
            <a:p>
              <a:pPr algn="ctr" defTabSz="914172" fontAlgn="base">
                <a:lnSpc>
                  <a:spcPct val="90000"/>
                </a:lnSpc>
                <a:spcAft>
                  <a:spcPct val="0"/>
                </a:spcAft>
                <a:buClr>
                  <a:srgbClr val="0095FF"/>
                </a:buClr>
                <a:buSzPct val="90000"/>
                <a:defRPr/>
              </a:pPr>
              <a:endParaRPr lang="en-US" sz="1600" b="1" dirty="0">
                <a:solidFill>
                  <a:srgbClr val="0000C9"/>
                </a:solidFill>
                <a:latin typeface="Arial" panose="020B0604020202020204"/>
              </a:endParaRPr>
            </a:p>
          </p:txBody>
        </p:sp>
        <p:sp>
          <p:nvSpPr>
            <p:cNvPr id="21" name="Rectangle 20">
              <a:extLst>
                <a:ext uri="{FF2B5EF4-FFF2-40B4-BE49-F238E27FC236}">
                  <a16:creationId xmlns:a16="http://schemas.microsoft.com/office/drawing/2014/main" id="{DDD27C02-335B-5CB9-75FA-1EB2935A67F5}"/>
                </a:ext>
              </a:extLst>
            </p:cNvPr>
            <p:cNvSpPr/>
            <p:nvPr/>
          </p:nvSpPr>
          <p:spPr bwMode="gray">
            <a:xfrm>
              <a:off x="3684759" y="2207798"/>
              <a:ext cx="6595313" cy="732358"/>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461847" defTabSz="914172" fontAlgn="base">
                <a:lnSpc>
                  <a:spcPct val="90000"/>
                </a:lnSpc>
                <a:spcAft>
                  <a:spcPct val="0"/>
                </a:spcAft>
                <a:buClr>
                  <a:srgbClr val="0095FF"/>
                </a:buClr>
                <a:buSzPct val="90000"/>
                <a:defRPr/>
              </a:pPr>
              <a:r>
                <a:rPr lang="en-US" sz="1600" b="1" dirty="0">
                  <a:solidFill>
                    <a:srgbClr val="0000C9">
                      <a:lumMod val="75000"/>
                    </a:srgbClr>
                  </a:solidFill>
                  <a:latin typeface="Arial" panose="020B0604020202020204"/>
                </a:rPr>
                <a:t>VÀO ICU DO NHIỄM RSV</a:t>
              </a:r>
            </a:p>
            <a:p>
              <a:pPr marL="461847" defTabSz="914172" fontAlgn="base">
                <a:lnSpc>
                  <a:spcPct val="90000"/>
                </a:lnSpc>
                <a:spcAft>
                  <a:spcPct val="0"/>
                </a:spcAft>
                <a:buClr>
                  <a:srgbClr val="0095FF"/>
                </a:buClr>
                <a:buSzPct val="90000"/>
                <a:defRPr/>
              </a:pPr>
              <a:r>
                <a:rPr lang="vi-VN" sz="1600" dirty="0">
                  <a:solidFill>
                    <a:srgbClr val="000000"/>
                  </a:solidFill>
                  <a:latin typeface="Arial" panose="020B0604020202020204"/>
                </a:rPr>
                <a:t>Trong số những người cao tuổi nhập viện với</a:t>
              </a:r>
              <a:r>
                <a:rPr lang="en-US" sz="1600" dirty="0">
                  <a:solidFill>
                    <a:srgbClr val="000000"/>
                  </a:solidFill>
                  <a:latin typeface="Arial" panose="020B0604020202020204"/>
                </a:rPr>
                <a:t> RSV RTI: </a:t>
              </a:r>
              <a:r>
                <a:rPr lang="en-US" b="1" dirty="0">
                  <a:solidFill>
                    <a:srgbClr val="FF0000"/>
                  </a:solidFill>
                  <a:latin typeface="Arial" panose="020B0604020202020204"/>
                </a:rPr>
                <a:t>11–18%</a:t>
              </a:r>
            </a:p>
            <a:p>
              <a:pPr algn="ctr" defTabSz="914172" fontAlgn="base">
                <a:lnSpc>
                  <a:spcPct val="90000"/>
                </a:lnSpc>
                <a:spcAft>
                  <a:spcPct val="0"/>
                </a:spcAft>
                <a:buClr>
                  <a:srgbClr val="0095FF"/>
                </a:buClr>
                <a:buSzPct val="90000"/>
                <a:defRPr/>
              </a:pPr>
              <a:endParaRPr lang="en-US" sz="1600" b="1" dirty="0">
                <a:solidFill>
                  <a:srgbClr val="0000C9"/>
                </a:solidFill>
                <a:latin typeface="Arial" panose="020B0604020202020204"/>
              </a:endParaRPr>
            </a:p>
          </p:txBody>
        </p:sp>
        <p:sp>
          <p:nvSpPr>
            <p:cNvPr id="22" name="Rectangle 21">
              <a:extLst>
                <a:ext uri="{FF2B5EF4-FFF2-40B4-BE49-F238E27FC236}">
                  <a16:creationId xmlns:a16="http://schemas.microsoft.com/office/drawing/2014/main" id="{009F28D1-93E8-7DCC-7FCF-F05671219A69}"/>
                </a:ext>
              </a:extLst>
            </p:cNvPr>
            <p:cNvSpPr/>
            <p:nvPr/>
          </p:nvSpPr>
          <p:spPr bwMode="gray">
            <a:xfrm>
              <a:off x="4162806" y="3083788"/>
              <a:ext cx="7333975" cy="732358"/>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461847" defTabSz="914172" fontAlgn="base">
                <a:lnSpc>
                  <a:spcPct val="90000"/>
                </a:lnSpc>
                <a:spcAft>
                  <a:spcPct val="0"/>
                </a:spcAft>
                <a:buClr>
                  <a:srgbClr val="0095FF"/>
                </a:buClr>
                <a:buSzPct val="90000"/>
                <a:defRPr/>
              </a:pPr>
              <a:r>
                <a:rPr lang="en-US" sz="1600" b="1" dirty="0">
                  <a:solidFill>
                    <a:srgbClr val="0000C9"/>
                  </a:solidFill>
                  <a:latin typeface="Aptos" panose="02110004020202020204"/>
                </a:rPr>
                <a:t>NHẬP VIỆN DO RSV</a:t>
              </a:r>
            </a:p>
            <a:p>
              <a:pPr marL="461847" defTabSz="914172" fontAlgn="base">
                <a:lnSpc>
                  <a:spcPct val="90000"/>
                </a:lnSpc>
                <a:spcAft>
                  <a:spcPct val="0"/>
                </a:spcAft>
                <a:buClr>
                  <a:srgbClr val="0095FF"/>
                </a:buClr>
                <a:buSzPct val="90000"/>
                <a:defRPr/>
              </a:pPr>
              <a:r>
                <a:rPr lang="vi-VN" sz="1600" dirty="0">
                  <a:solidFill>
                    <a:srgbClr val="000000"/>
                  </a:solidFill>
                  <a:latin typeface="Arial" panose="020B0604020202020204"/>
                </a:rPr>
                <a:t>Trong số tất cả những người lớn tuổi có</a:t>
              </a:r>
              <a:r>
                <a:rPr lang="en-US" sz="1600" dirty="0">
                  <a:solidFill>
                    <a:srgbClr val="000000"/>
                  </a:solidFill>
                  <a:latin typeface="Arial" panose="020B0604020202020204"/>
                </a:rPr>
                <a:t> RTI: </a:t>
              </a:r>
              <a:r>
                <a:rPr lang="en-US" sz="1600" b="1" dirty="0">
                  <a:solidFill>
                    <a:srgbClr val="000000"/>
                  </a:solidFill>
                  <a:latin typeface="Arial" panose="020B0604020202020204"/>
                </a:rPr>
                <a:t>2.6–6.7%</a:t>
              </a:r>
              <a:endParaRPr lang="en-US" sz="1600" dirty="0">
                <a:solidFill>
                  <a:srgbClr val="000000"/>
                </a:solidFill>
                <a:latin typeface="Arial" panose="020B0604020202020204"/>
              </a:endParaRPr>
            </a:p>
            <a:p>
              <a:pPr marL="461847" defTabSz="914172" fontAlgn="base">
                <a:lnSpc>
                  <a:spcPct val="90000"/>
                </a:lnSpc>
                <a:spcAft>
                  <a:spcPct val="0"/>
                </a:spcAft>
                <a:buClr>
                  <a:srgbClr val="0095FF"/>
                </a:buClr>
                <a:buSzPct val="90000"/>
                <a:defRPr/>
              </a:pPr>
              <a:r>
                <a:rPr lang="en-US" sz="1600" dirty="0">
                  <a:solidFill>
                    <a:srgbClr val="000000"/>
                  </a:solidFill>
                  <a:latin typeface="Arial" panose="020B0604020202020204"/>
                </a:rPr>
                <a:t>Trong </a:t>
              </a:r>
              <a:r>
                <a:rPr lang="en-US" sz="1600" dirty="0" err="1">
                  <a:solidFill>
                    <a:srgbClr val="000000"/>
                  </a:solidFill>
                  <a:latin typeface="Arial" panose="020B0604020202020204"/>
                </a:rPr>
                <a:t>số</a:t>
              </a:r>
              <a:r>
                <a:rPr lang="en-US" sz="1600" dirty="0">
                  <a:solidFill>
                    <a:srgbClr val="000000"/>
                  </a:solidFill>
                  <a:latin typeface="Arial" panose="020B0604020202020204"/>
                </a:rPr>
                <a:t> </a:t>
              </a:r>
              <a:r>
                <a:rPr lang="en-US" sz="1600" dirty="0" err="1">
                  <a:solidFill>
                    <a:srgbClr val="000000"/>
                  </a:solidFill>
                  <a:latin typeface="Arial" panose="020B0604020202020204"/>
                </a:rPr>
                <a:t>những</a:t>
              </a:r>
              <a:r>
                <a:rPr lang="en-US" sz="1600" dirty="0">
                  <a:solidFill>
                    <a:srgbClr val="000000"/>
                  </a:solidFill>
                  <a:latin typeface="Arial" panose="020B0604020202020204"/>
                </a:rPr>
                <a:t> n</a:t>
              </a:r>
              <a:r>
                <a:rPr lang="vi-VN" sz="1600" dirty="0">
                  <a:solidFill>
                    <a:srgbClr val="000000"/>
                  </a:solidFill>
                  <a:latin typeface="Arial" panose="020B0604020202020204"/>
                </a:rPr>
                <a:t>gười lớn tuổi nhiễm RSV </a:t>
              </a:r>
              <a:r>
                <a:rPr lang="en-US" sz="1600" dirty="0" err="1">
                  <a:solidFill>
                    <a:srgbClr val="000000"/>
                  </a:solidFill>
                  <a:latin typeface="Arial" panose="020B0604020202020204"/>
                </a:rPr>
                <a:t>cần</a:t>
              </a:r>
              <a:r>
                <a:rPr lang="vi-VN" sz="1600" dirty="0">
                  <a:solidFill>
                    <a:srgbClr val="000000"/>
                  </a:solidFill>
                  <a:latin typeface="Arial" panose="020B0604020202020204"/>
                </a:rPr>
                <a:t> chăm sóc y tế</a:t>
              </a:r>
              <a:r>
                <a:rPr lang="en-US" sz="1600" dirty="0">
                  <a:solidFill>
                    <a:srgbClr val="000000"/>
                  </a:solidFill>
                  <a:latin typeface="Arial" panose="020B0604020202020204"/>
                </a:rPr>
                <a:t>: </a:t>
              </a:r>
              <a:r>
                <a:rPr lang="en-US" sz="1600" b="1" dirty="0">
                  <a:solidFill>
                    <a:srgbClr val="000000"/>
                  </a:solidFill>
                  <a:latin typeface="Arial" panose="020B0604020202020204"/>
                </a:rPr>
                <a:t>12%</a:t>
              </a:r>
            </a:p>
          </p:txBody>
        </p:sp>
        <p:sp>
          <p:nvSpPr>
            <p:cNvPr id="23" name="Rectangle 22">
              <a:extLst>
                <a:ext uri="{FF2B5EF4-FFF2-40B4-BE49-F238E27FC236}">
                  <a16:creationId xmlns:a16="http://schemas.microsoft.com/office/drawing/2014/main" id="{02C044BC-CAD0-87A3-22EB-F62291316166}"/>
                </a:ext>
              </a:extLst>
            </p:cNvPr>
            <p:cNvSpPr/>
            <p:nvPr/>
          </p:nvSpPr>
          <p:spPr bwMode="gray">
            <a:xfrm>
              <a:off x="4562946" y="4070610"/>
              <a:ext cx="7179750" cy="732358"/>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461847" defTabSz="914172" fontAlgn="base">
                <a:lnSpc>
                  <a:spcPct val="90000"/>
                </a:lnSpc>
                <a:spcAft>
                  <a:spcPct val="0"/>
                </a:spcAft>
                <a:buClr>
                  <a:srgbClr val="0095FF"/>
                </a:buClr>
                <a:buSzPct val="90000"/>
                <a:defRPr/>
              </a:pPr>
              <a:r>
                <a:rPr lang="en-US" sz="1600" b="1" dirty="0">
                  <a:solidFill>
                    <a:srgbClr val="0000C9">
                      <a:lumMod val="60000"/>
                      <a:lumOff val="40000"/>
                    </a:srgbClr>
                  </a:solidFill>
                  <a:latin typeface="Aptos" panose="02110004020202020204"/>
                </a:rPr>
                <a:t>NHIỄM RSV CẦN THEO DÕI Y TẾ</a:t>
              </a:r>
            </a:p>
            <a:p>
              <a:pPr marL="461847" defTabSz="914172" fontAlgn="base">
                <a:lnSpc>
                  <a:spcPct val="90000"/>
                </a:lnSpc>
                <a:spcAft>
                  <a:spcPct val="0"/>
                </a:spcAft>
                <a:buClr>
                  <a:srgbClr val="0095FF"/>
                </a:buClr>
                <a:buSzPct val="90000"/>
                <a:defRPr/>
              </a:pPr>
              <a:r>
                <a:rPr lang="vi-VN" sz="1600" dirty="0">
                  <a:solidFill>
                    <a:srgbClr val="000000"/>
                  </a:solidFill>
                  <a:latin typeface="Arial" panose="020B0604020202020204"/>
                </a:rPr>
                <a:t>Ở những người lớn tuổi nhiễm RSV</a:t>
              </a:r>
              <a:r>
                <a:rPr lang="en-US" sz="1600" dirty="0">
                  <a:solidFill>
                    <a:srgbClr val="000000"/>
                  </a:solidFill>
                  <a:latin typeface="Arial" panose="020B0604020202020204"/>
                </a:rPr>
                <a:t>: </a:t>
              </a:r>
              <a:r>
                <a:rPr lang="en-US" sz="1600" b="1" dirty="0">
                  <a:solidFill>
                    <a:srgbClr val="000000"/>
                  </a:solidFill>
                  <a:latin typeface="Arial" panose="020B0604020202020204"/>
                </a:rPr>
                <a:t>17–28%</a:t>
              </a:r>
            </a:p>
            <a:p>
              <a:pPr algn="ctr" defTabSz="914172" fontAlgn="base">
                <a:lnSpc>
                  <a:spcPct val="90000"/>
                </a:lnSpc>
                <a:spcAft>
                  <a:spcPct val="0"/>
                </a:spcAft>
                <a:buClr>
                  <a:srgbClr val="0095FF"/>
                </a:buClr>
                <a:buSzPct val="90000"/>
                <a:defRPr/>
              </a:pPr>
              <a:endParaRPr lang="en-US" sz="1600" b="1" dirty="0">
                <a:solidFill>
                  <a:srgbClr val="0000C9"/>
                </a:solidFill>
                <a:latin typeface="Arial" panose="020B0604020202020204"/>
              </a:endParaRPr>
            </a:p>
          </p:txBody>
        </p:sp>
        <p:sp>
          <p:nvSpPr>
            <p:cNvPr id="24" name="Rectangle 23">
              <a:extLst>
                <a:ext uri="{FF2B5EF4-FFF2-40B4-BE49-F238E27FC236}">
                  <a16:creationId xmlns:a16="http://schemas.microsoft.com/office/drawing/2014/main" id="{708AD63A-F26B-E421-0A10-1F9C538F1BFD}"/>
                </a:ext>
              </a:extLst>
            </p:cNvPr>
            <p:cNvSpPr/>
            <p:nvPr/>
          </p:nvSpPr>
          <p:spPr bwMode="gray">
            <a:xfrm>
              <a:off x="4952245" y="4965062"/>
              <a:ext cx="6400791" cy="732358"/>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461847" defTabSz="914172" fontAlgn="base">
                <a:lnSpc>
                  <a:spcPct val="90000"/>
                </a:lnSpc>
                <a:spcAft>
                  <a:spcPct val="0"/>
                </a:spcAft>
                <a:buClr>
                  <a:srgbClr val="0095FF"/>
                </a:buClr>
                <a:buSzPct val="90000"/>
                <a:defRPr/>
              </a:pPr>
              <a:r>
                <a:rPr lang="en-US" sz="1600" b="1" dirty="0">
                  <a:solidFill>
                    <a:srgbClr val="0095FF">
                      <a:lumMod val="60000"/>
                      <a:lumOff val="40000"/>
                    </a:srgbClr>
                  </a:solidFill>
                  <a:latin typeface="Aptos" panose="02110004020202020204"/>
                </a:rPr>
                <a:t>NHIỄM RSV CÓ TRIỆU CHỨNG (CỘNG ĐỒNG)</a:t>
              </a:r>
            </a:p>
            <a:p>
              <a:pPr marL="461847" defTabSz="914172" fontAlgn="base">
                <a:lnSpc>
                  <a:spcPct val="90000"/>
                </a:lnSpc>
                <a:spcAft>
                  <a:spcPct val="0"/>
                </a:spcAft>
                <a:buClr>
                  <a:srgbClr val="0095FF"/>
                </a:buClr>
                <a:buSzPct val="90000"/>
                <a:defRPr/>
              </a:pPr>
              <a:r>
                <a:rPr lang="vi-VN" sz="1600" dirty="0">
                  <a:solidFill>
                    <a:srgbClr val="000000"/>
                  </a:solidFill>
                  <a:latin typeface="Arial" panose="020B0604020202020204"/>
                </a:rPr>
                <a:t>Ở người lớn tuổi</a:t>
              </a:r>
              <a:r>
                <a:rPr lang="en-US" sz="1600" dirty="0">
                  <a:solidFill>
                    <a:srgbClr val="000000"/>
                  </a:solidFill>
                  <a:latin typeface="Arial" panose="020B0604020202020204"/>
                </a:rPr>
                <a:t>: </a:t>
              </a:r>
              <a:r>
                <a:rPr lang="en-US" sz="1600" b="1" dirty="0">
                  <a:solidFill>
                    <a:srgbClr val="000000"/>
                  </a:solidFill>
                  <a:latin typeface="Arial" panose="020B0604020202020204"/>
                </a:rPr>
                <a:t>3–7%</a:t>
              </a:r>
            </a:p>
            <a:p>
              <a:pPr algn="ctr" defTabSz="914172" fontAlgn="base">
                <a:lnSpc>
                  <a:spcPct val="90000"/>
                </a:lnSpc>
                <a:spcAft>
                  <a:spcPct val="0"/>
                </a:spcAft>
                <a:buClr>
                  <a:srgbClr val="0095FF"/>
                </a:buClr>
                <a:buSzPct val="90000"/>
                <a:defRPr/>
              </a:pPr>
              <a:endParaRPr lang="en-US" sz="1600" b="1" dirty="0">
                <a:solidFill>
                  <a:srgbClr val="0000C9"/>
                </a:solidFill>
                <a:latin typeface="Arial" panose="020B0604020202020204"/>
              </a:endParaRPr>
            </a:p>
          </p:txBody>
        </p:sp>
        <p:graphicFrame>
          <p:nvGraphicFramePr>
            <p:cNvPr id="13" name="Diagram 12">
              <a:extLst>
                <a:ext uri="{FF2B5EF4-FFF2-40B4-BE49-F238E27FC236}">
                  <a16:creationId xmlns:a16="http://schemas.microsoft.com/office/drawing/2014/main" id="{5BEF324F-487F-C575-4B3C-A7B356D3D5D8}"/>
                </a:ext>
              </a:extLst>
            </p:cNvPr>
            <p:cNvGraphicFramePr/>
            <p:nvPr/>
          </p:nvGraphicFramePr>
          <p:xfrm>
            <a:off x="1142108" y="1176991"/>
            <a:ext cx="4251105" cy="46455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78" name="Group 1177">
              <a:extLst>
                <a:ext uri="{FF2B5EF4-FFF2-40B4-BE49-F238E27FC236}">
                  <a16:creationId xmlns:a16="http://schemas.microsoft.com/office/drawing/2014/main" id="{74F66E2E-677B-E931-96DD-D6EEC67EBE55}"/>
                </a:ext>
              </a:extLst>
            </p:cNvPr>
            <p:cNvGrpSpPr/>
            <p:nvPr/>
          </p:nvGrpSpPr>
          <p:grpSpPr>
            <a:xfrm>
              <a:off x="1511373" y="2027976"/>
              <a:ext cx="3517142" cy="2964249"/>
              <a:chOff x="1241834" y="2027976"/>
              <a:chExt cx="8896641" cy="2964249"/>
            </a:xfrm>
          </p:grpSpPr>
          <p:sp>
            <p:nvSpPr>
              <p:cNvPr id="15" name="Trapezoid 14">
                <a:extLst>
                  <a:ext uri="{FF2B5EF4-FFF2-40B4-BE49-F238E27FC236}">
                    <a16:creationId xmlns:a16="http://schemas.microsoft.com/office/drawing/2014/main" id="{21BA9776-2F69-AEB8-4663-D04B1D92572E}"/>
                  </a:ext>
                </a:extLst>
              </p:cNvPr>
              <p:cNvSpPr/>
              <p:nvPr/>
            </p:nvSpPr>
            <p:spPr bwMode="gray">
              <a:xfrm>
                <a:off x="4463335" y="2027976"/>
                <a:ext cx="2679949" cy="228221"/>
              </a:xfrm>
              <a:prstGeom prst="trapezoid">
                <a:avLst>
                  <a:gd name="adj" fmla="val 48802"/>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72" fontAlgn="base">
                  <a:lnSpc>
                    <a:spcPct val="90000"/>
                  </a:lnSpc>
                  <a:spcAft>
                    <a:spcPct val="0"/>
                  </a:spcAft>
                  <a:buClr>
                    <a:srgbClr val="0095FF"/>
                  </a:buClr>
                  <a:buSzPct val="90000"/>
                  <a:defRPr/>
                </a:pPr>
                <a:endParaRPr lang="en-US" sz="1799" b="1">
                  <a:solidFill>
                    <a:srgbClr val="0000C9"/>
                  </a:solidFill>
                  <a:latin typeface="Arial" panose="020B0604020202020204"/>
                </a:endParaRPr>
              </a:p>
            </p:txBody>
          </p:sp>
          <p:sp>
            <p:nvSpPr>
              <p:cNvPr id="18" name="Rectangle 17">
                <a:extLst>
                  <a:ext uri="{FF2B5EF4-FFF2-40B4-BE49-F238E27FC236}">
                    <a16:creationId xmlns:a16="http://schemas.microsoft.com/office/drawing/2014/main" id="{361C3D5E-1EEC-1B56-4722-F68031101397}"/>
                  </a:ext>
                </a:extLst>
              </p:cNvPr>
              <p:cNvSpPr/>
              <p:nvPr/>
            </p:nvSpPr>
            <p:spPr bwMode="gray">
              <a:xfrm>
                <a:off x="3394127" y="2936256"/>
                <a:ext cx="4707271"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72" fontAlgn="base">
                  <a:lnSpc>
                    <a:spcPct val="90000"/>
                  </a:lnSpc>
                  <a:spcAft>
                    <a:spcPct val="0"/>
                  </a:spcAft>
                  <a:buClr>
                    <a:srgbClr val="0095FF"/>
                  </a:buClr>
                  <a:buSzPct val="90000"/>
                  <a:defRPr/>
                </a:pPr>
                <a:endParaRPr lang="en-US" sz="1799" b="1">
                  <a:solidFill>
                    <a:srgbClr val="0000C9"/>
                  </a:solidFill>
                  <a:latin typeface="Arial" panose="020B0604020202020204"/>
                </a:endParaRPr>
              </a:p>
            </p:txBody>
          </p:sp>
          <p:sp>
            <p:nvSpPr>
              <p:cNvPr id="19" name="Rectangle 18">
                <a:extLst>
                  <a:ext uri="{FF2B5EF4-FFF2-40B4-BE49-F238E27FC236}">
                    <a16:creationId xmlns:a16="http://schemas.microsoft.com/office/drawing/2014/main" id="{7D49E7EF-333C-2356-A153-F3CE91172A22}"/>
                  </a:ext>
                </a:extLst>
              </p:cNvPr>
              <p:cNvSpPr/>
              <p:nvPr/>
            </p:nvSpPr>
            <p:spPr bwMode="gray">
              <a:xfrm>
                <a:off x="1241834" y="3850130"/>
                <a:ext cx="8019025"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72" fontAlgn="base">
                  <a:lnSpc>
                    <a:spcPct val="90000"/>
                  </a:lnSpc>
                  <a:spcAft>
                    <a:spcPct val="0"/>
                  </a:spcAft>
                  <a:buClr>
                    <a:srgbClr val="0095FF"/>
                  </a:buClr>
                  <a:buSzPct val="90000"/>
                  <a:defRPr/>
                </a:pPr>
                <a:endParaRPr lang="en-US" sz="1799" b="1">
                  <a:solidFill>
                    <a:srgbClr val="0000C9"/>
                  </a:solidFill>
                  <a:latin typeface="Arial" panose="020B0604020202020204"/>
                </a:endParaRPr>
              </a:p>
            </p:txBody>
          </p:sp>
          <p:sp>
            <p:nvSpPr>
              <p:cNvPr id="20" name="Rectangle 19">
                <a:extLst>
                  <a:ext uri="{FF2B5EF4-FFF2-40B4-BE49-F238E27FC236}">
                    <a16:creationId xmlns:a16="http://schemas.microsoft.com/office/drawing/2014/main" id="{3EB38831-840A-CAE2-0FEA-59A3DC59DF82}"/>
                  </a:ext>
                </a:extLst>
              </p:cNvPr>
              <p:cNvSpPr/>
              <p:nvPr/>
            </p:nvSpPr>
            <p:spPr bwMode="gray">
              <a:xfrm>
                <a:off x="1241834" y="4764004"/>
                <a:ext cx="8896641"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72" fontAlgn="base">
                  <a:lnSpc>
                    <a:spcPct val="90000"/>
                  </a:lnSpc>
                  <a:spcAft>
                    <a:spcPct val="0"/>
                  </a:spcAft>
                  <a:buClr>
                    <a:srgbClr val="0095FF"/>
                  </a:buClr>
                  <a:buSzPct val="90000"/>
                  <a:defRPr/>
                </a:pPr>
                <a:endParaRPr lang="en-US" sz="1799" b="1">
                  <a:solidFill>
                    <a:srgbClr val="0000C9"/>
                  </a:solidFill>
                  <a:latin typeface="Arial" panose="020B0604020202020204"/>
                </a:endParaRPr>
              </a:p>
            </p:txBody>
          </p:sp>
        </p:grpSp>
      </p:grpSp>
      <p:sp>
        <p:nvSpPr>
          <p:cNvPr id="4" name="TextBox 3">
            <a:extLst>
              <a:ext uri="{FF2B5EF4-FFF2-40B4-BE49-F238E27FC236}">
                <a16:creationId xmlns:a16="http://schemas.microsoft.com/office/drawing/2014/main" id="{4C58CC08-F451-5EC1-EB0E-49A62DE65746}"/>
              </a:ext>
            </a:extLst>
          </p:cNvPr>
          <p:cNvSpPr txBox="1"/>
          <p:nvPr/>
        </p:nvSpPr>
        <p:spPr bwMode="gray">
          <a:xfrm>
            <a:off x="5431056" y="5562422"/>
            <a:ext cx="6379944" cy="1200329"/>
          </a:xfrm>
          <a:prstGeom prst="rect">
            <a:avLst/>
          </a:prstGeom>
          <a:solidFill>
            <a:srgbClr val="FCFBFF"/>
          </a:solidFill>
          <a:ln>
            <a:solidFill>
              <a:schemeClr val="accent5"/>
            </a:solidFill>
          </a:ln>
        </p:spPr>
        <p:txBody>
          <a:bodyPr wrap="square">
            <a:spAutoFit/>
          </a:bodyPr>
          <a:lstStyle/>
          <a:p>
            <a:pPr marL="172995" indent="-172995" defTabSz="914172">
              <a:buFont typeface="Arial" panose="020B0604020202020204" pitchFamily="34" charset="0"/>
              <a:buChar char="•"/>
              <a:defRPr/>
            </a:pPr>
            <a:r>
              <a:rPr lang="vi-VN" dirty="0">
                <a:solidFill>
                  <a:srgbClr val="000000"/>
                </a:solidFill>
                <a:latin typeface="Arial" panose="020B0604020202020204"/>
              </a:rPr>
              <a:t>Tỷ lệ mắc RSV toàn cầu ở người cao tuổi là đáng kể và có khả năng bị đánh giá thấp 
Hiện vẫn còn thiếu dữ liệu ở các quốc gia có thu nhập thấp và trung bình</a:t>
            </a:r>
          </a:p>
        </p:txBody>
      </p:sp>
      <p:pic>
        <p:nvPicPr>
          <p:cNvPr id="7" name="Graphic 6" descr="Earth globe: Americas with solid fill">
            <a:extLst>
              <a:ext uri="{FF2B5EF4-FFF2-40B4-BE49-F238E27FC236}">
                <a16:creationId xmlns:a16="http://schemas.microsoft.com/office/drawing/2014/main" id="{1311408E-195C-9600-C636-458D517D21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0866" y="999772"/>
            <a:ext cx="914162" cy="914162"/>
          </a:xfrm>
          <a:prstGeom prst="rect">
            <a:avLst/>
          </a:prstGeom>
        </p:spPr>
      </p:pic>
      <p:sp>
        <p:nvSpPr>
          <p:cNvPr id="9" name="TextBox 8">
            <a:extLst>
              <a:ext uri="{FF2B5EF4-FFF2-40B4-BE49-F238E27FC236}">
                <a16:creationId xmlns:a16="http://schemas.microsoft.com/office/drawing/2014/main" id="{A27855F8-6604-1435-FEA8-AFEC8FA2EBE5}"/>
              </a:ext>
            </a:extLst>
          </p:cNvPr>
          <p:cNvSpPr txBox="1"/>
          <p:nvPr/>
        </p:nvSpPr>
        <p:spPr bwMode="gray">
          <a:xfrm>
            <a:off x="1135606" y="1156306"/>
            <a:ext cx="1574931" cy="589432"/>
          </a:xfrm>
          <a:prstGeom prst="rect">
            <a:avLst/>
          </a:prstGeom>
        </p:spPr>
        <p:txBody>
          <a:bodyPr wrap="square" lIns="45708" tIns="45708" rIns="45708" bIns="45708" rtlCol="0">
            <a:noAutofit/>
          </a:bodyPr>
          <a:lstStyle/>
          <a:p>
            <a:pPr defTabSz="914172">
              <a:lnSpc>
                <a:spcPct val="90000"/>
              </a:lnSpc>
              <a:spcBef>
                <a:spcPts val="1000"/>
              </a:spcBef>
              <a:defRPr/>
            </a:pPr>
            <a:r>
              <a:rPr lang="en-US" sz="1200">
                <a:solidFill>
                  <a:srgbClr val="0000C9"/>
                </a:solidFill>
                <a:latin typeface="Arial" panose="020B0604020202020204"/>
              </a:rPr>
              <a:t>GLOBAL RSV </a:t>
            </a:r>
            <a:br>
              <a:rPr lang="en-US" sz="1200">
                <a:solidFill>
                  <a:srgbClr val="0000C9"/>
                </a:solidFill>
                <a:latin typeface="Arial" panose="020B0604020202020204"/>
              </a:rPr>
            </a:br>
            <a:r>
              <a:rPr lang="en-US" sz="1200">
                <a:solidFill>
                  <a:srgbClr val="0000C9"/>
                </a:solidFill>
                <a:latin typeface="Arial" panose="020B0604020202020204"/>
              </a:rPr>
              <a:t>INCIDENCE IN </a:t>
            </a:r>
            <a:br>
              <a:rPr lang="en-US" sz="1200">
                <a:solidFill>
                  <a:srgbClr val="0000C9"/>
                </a:solidFill>
                <a:latin typeface="Arial" panose="020B0604020202020204"/>
              </a:rPr>
            </a:br>
            <a:r>
              <a:rPr lang="en-US" sz="1200">
                <a:solidFill>
                  <a:srgbClr val="0000C9"/>
                </a:solidFill>
                <a:latin typeface="Arial" panose="020B0604020202020204"/>
              </a:rPr>
              <a:t>OLDER ADULTS*</a:t>
            </a:r>
          </a:p>
        </p:txBody>
      </p:sp>
      <p:sp>
        <p:nvSpPr>
          <p:cNvPr id="8" name="Title 1">
            <a:extLst>
              <a:ext uri="{FF2B5EF4-FFF2-40B4-BE49-F238E27FC236}">
                <a16:creationId xmlns:a16="http://schemas.microsoft.com/office/drawing/2014/main" id="{0B5501B3-F3D4-DA86-3070-CACA8FB8874A}"/>
              </a:ext>
            </a:extLst>
          </p:cNvPr>
          <p:cNvSpPr txBox="1">
            <a:spLocks/>
          </p:cNvSpPr>
          <p:nvPr/>
        </p:nvSpPr>
        <p:spPr>
          <a:xfrm>
            <a:off x="1016669" y="105892"/>
            <a:ext cx="9911621" cy="774209"/>
          </a:xfrm>
          <a:prstGeom prst="rect">
            <a:avLst/>
          </a:prstGeom>
          <a:solidFill>
            <a:schemeClr val="accent3">
              <a:lumMod val="40000"/>
              <a:lumOff val="60000"/>
            </a:schemeClr>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4446">
              <a:defRPr/>
            </a:pPr>
            <a:r>
              <a:rPr lang="vi-VN" sz="2800" b="1" dirty="0">
                <a:solidFill>
                  <a:srgbClr val="002060"/>
                </a:solidFill>
                <a:latin typeface="Aptos" panose="020B0004020202020204" pitchFamily="34" charset="0"/>
              </a:rPr>
              <a:t>RSV ngày càng được công nhận là một tác nhân gây bệnh</a:t>
            </a:r>
          </a:p>
          <a:p>
            <a:pPr algn="ctr" defTabSz="914446">
              <a:defRPr/>
            </a:pPr>
            <a:r>
              <a:rPr lang="vi-VN" sz="2800" b="1" dirty="0">
                <a:solidFill>
                  <a:srgbClr val="002060"/>
                </a:solidFill>
                <a:latin typeface="Aptos" panose="020B0004020202020204" pitchFamily="34" charset="0"/>
              </a:rPr>
              <a:t> quan trọng ở người lớn trên toàn cầu</a:t>
            </a:r>
            <a:endParaRPr lang="en-US" sz="2800" b="1" dirty="0">
              <a:solidFill>
                <a:srgbClr val="002060"/>
              </a:solidFill>
              <a:latin typeface="Aptos" panose="020B0004020202020204" pitchFamily="34" charset="0"/>
            </a:endParaRPr>
          </a:p>
        </p:txBody>
      </p:sp>
      <p:sp>
        <p:nvSpPr>
          <p:cNvPr id="2" name="Rectangle 1">
            <a:extLst>
              <a:ext uri="{FF2B5EF4-FFF2-40B4-BE49-F238E27FC236}">
                <a16:creationId xmlns:a16="http://schemas.microsoft.com/office/drawing/2014/main" id="{D3453F48-EF9D-BC23-86B7-AFCEB41C8FB2}"/>
              </a:ext>
            </a:extLst>
          </p:cNvPr>
          <p:cNvSpPr/>
          <p:nvPr/>
        </p:nvSpPr>
        <p:spPr>
          <a:xfrm>
            <a:off x="3352800" y="958368"/>
            <a:ext cx="7264400" cy="1764694"/>
          </a:xfrm>
          <a:prstGeom prst="rect">
            <a:avLst/>
          </a:prstGeom>
          <a:noFill/>
          <a:ln>
            <a:solidFill>
              <a:srgbClr val="C00000"/>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09630"/>
            <a:endParaRPr lang="en-US" sz="1200">
              <a:solidFill>
                <a:prstClr val="black"/>
              </a:solidFill>
              <a:latin typeface="Aptos" panose="02110004020202020204"/>
            </a:endParaRPr>
          </a:p>
        </p:txBody>
      </p:sp>
    </p:spTree>
    <p:extLst>
      <p:ext uri="{BB962C8B-B14F-4D97-AF65-F5344CB8AC3E}">
        <p14:creationId xmlns:p14="http://schemas.microsoft.com/office/powerpoint/2010/main" val="2610398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35C05-299C-8D50-2E8D-4ADD4640B114}"/>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AB8FCB25-1D1D-3BF5-57CA-94A2C052297C}"/>
              </a:ext>
            </a:extLst>
          </p:cNvPr>
          <p:cNvGrpSpPr/>
          <p:nvPr/>
        </p:nvGrpSpPr>
        <p:grpSpPr>
          <a:xfrm>
            <a:off x="1590" y="887384"/>
            <a:ext cx="12188825" cy="5275293"/>
            <a:chOff x="0" y="0"/>
            <a:chExt cx="4816593" cy="2159531"/>
          </a:xfrm>
        </p:grpSpPr>
        <p:sp>
          <p:nvSpPr>
            <p:cNvPr id="6" name="Freeform 5">
              <a:extLst>
                <a:ext uri="{FF2B5EF4-FFF2-40B4-BE49-F238E27FC236}">
                  <a16:creationId xmlns:a16="http://schemas.microsoft.com/office/drawing/2014/main" id="{1E9838F2-2881-1FE3-257A-BC45AA58C07F}"/>
                </a:ext>
              </a:extLst>
            </p:cNvPr>
            <p:cNvSpPr/>
            <p:nvPr/>
          </p:nvSpPr>
          <p:spPr>
            <a:xfrm>
              <a:off x="0" y="0"/>
              <a:ext cx="4816592" cy="2159531"/>
            </a:xfrm>
            <a:custGeom>
              <a:avLst/>
              <a:gdLst/>
              <a:ahLst/>
              <a:cxnLst/>
              <a:rect l="l" t="t" r="r" b="b"/>
              <a:pathLst>
                <a:path w="4816592" h="2159531">
                  <a:moveTo>
                    <a:pt x="0" y="0"/>
                  </a:moveTo>
                  <a:lnTo>
                    <a:pt x="4816592" y="0"/>
                  </a:lnTo>
                  <a:lnTo>
                    <a:pt x="4816592" y="2159531"/>
                  </a:lnTo>
                  <a:lnTo>
                    <a:pt x="0" y="2159531"/>
                  </a:lnTo>
                  <a:close/>
                </a:path>
              </a:pathLst>
            </a:custGeom>
            <a:solidFill>
              <a:srgbClr val="FFFFFF"/>
            </a:solidFill>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3"/>
                </a:solidFill>
                <a:effectLst/>
                <a:uLnTx/>
                <a:uFillTx/>
                <a:latin typeface="Roboto"/>
                <a:ea typeface="+mn-ea"/>
                <a:cs typeface="+mn-cs"/>
              </a:endParaRPr>
            </a:p>
          </p:txBody>
        </p:sp>
        <p:sp>
          <p:nvSpPr>
            <p:cNvPr id="7" name="TextBox 6">
              <a:extLst>
                <a:ext uri="{FF2B5EF4-FFF2-40B4-BE49-F238E27FC236}">
                  <a16:creationId xmlns:a16="http://schemas.microsoft.com/office/drawing/2014/main" id="{78213E93-EBF1-7B26-9C55-B0BB737C4F4C}"/>
                </a:ext>
              </a:extLst>
            </p:cNvPr>
            <p:cNvSpPr txBox="1"/>
            <p:nvPr/>
          </p:nvSpPr>
          <p:spPr>
            <a:xfrm>
              <a:off x="0" y="38100"/>
              <a:ext cx="4816593" cy="2121431"/>
            </a:xfrm>
            <a:prstGeom prst="rect">
              <a:avLst/>
            </a:prstGeom>
          </p:spPr>
          <p:txBody>
            <a:bodyPr lIns="50800" tIns="50800" rIns="50800" bIns="50800" rtlCol="0" anchor="ctr"/>
            <a:lstStyle/>
            <a:p>
              <a:pPr marL="0" marR="0" lvl="0" indent="0" algn="ctr" defTabSz="914446" rtl="0" eaLnBrk="1" fontAlgn="auto" latinLnBrk="0" hangingPunct="1">
                <a:lnSpc>
                  <a:spcPts val="2199"/>
                </a:lnSpc>
                <a:spcBef>
                  <a:spcPts val="0"/>
                </a:spcBef>
                <a:spcAft>
                  <a:spcPts val="0"/>
                </a:spcAft>
                <a:buClrTx/>
                <a:buSzTx/>
                <a:buFontTx/>
                <a:buNone/>
                <a:tabLst/>
                <a:defRPr/>
              </a:pPr>
              <a:endParaRPr kumimoji="0" sz="1800" b="0" i="0" u="none" strike="noStrike" kern="1200" cap="none" spc="0" normalizeH="0" baseline="0" noProof="0">
                <a:ln>
                  <a:noFill/>
                </a:ln>
                <a:solidFill>
                  <a:srgbClr val="415363"/>
                </a:solidFill>
                <a:effectLst/>
                <a:uLnTx/>
                <a:uFillTx/>
                <a:latin typeface="Roboto"/>
                <a:ea typeface="+mn-ea"/>
                <a:cs typeface="+mn-cs"/>
              </a:endParaRPr>
            </a:p>
          </p:txBody>
        </p:sp>
      </p:grpSp>
      <p:sp>
        <p:nvSpPr>
          <p:cNvPr id="8" name="Title 4">
            <a:extLst>
              <a:ext uri="{FF2B5EF4-FFF2-40B4-BE49-F238E27FC236}">
                <a16:creationId xmlns:a16="http://schemas.microsoft.com/office/drawing/2014/main" id="{BE4A8FE9-2443-33AA-EF63-F525F13E928E}"/>
              </a:ext>
            </a:extLst>
          </p:cNvPr>
          <p:cNvSpPr txBox="1">
            <a:spLocks/>
          </p:cNvSpPr>
          <p:nvPr/>
        </p:nvSpPr>
        <p:spPr bwMode="gray">
          <a:xfrm>
            <a:off x="0" y="-77852"/>
            <a:ext cx="12192000" cy="828057"/>
          </a:xfrm>
          <a:prstGeom prst="rect">
            <a:avLst/>
          </a:prstGeom>
          <a:solidFill>
            <a:schemeClr val="accent3">
              <a:lumMod val="40000"/>
              <a:lumOff val="60000"/>
            </a:schemeClr>
          </a:solidFill>
        </p:spPr>
        <p:txBody>
          <a:bodyPr vert="horz" lIns="0" tIns="0" rIns="0" bIns="0" rtlCol="0" anchor="b" anchorCtr="0">
            <a:noAutofit/>
          </a:bodyPr>
          <a:lstStyle>
            <a:lvl1pPr algn="l" defTabSz="914400" rtl="0" eaLnBrk="1" latinLnBrk="0" hangingPunct="1">
              <a:lnSpc>
                <a:spcPct val="85000"/>
              </a:lnSpc>
              <a:spcBef>
                <a:spcPts val="0"/>
              </a:spcBef>
              <a:buNone/>
              <a:defRPr lang="en-US" sz="2800" b="1" kern="1200" dirty="0">
                <a:solidFill>
                  <a:schemeClr val="tx1"/>
                </a:solidFill>
                <a:latin typeface="+mj-lt"/>
                <a:ea typeface="+mj-ea"/>
                <a:cs typeface="+mj-cs"/>
              </a:defRPr>
            </a:lvl1pPr>
          </a:lstStyle>
          <a:p>
            <a:pPr marL="0" marR="0" lvl="0" indent="0" algn="ctr" defTabSz="914446" rtl="0" eaLnBrk="1" fontAlgn="auto" latinLnBrk="0" hangingPunct="1">
              <a:lnSpc>
                <a:spcPct val="85000"/>
              </a:lnSpc>
              <a:spcBef>
                <a:spcPts val="0"/>
              </a:spcBef>
              <a:spcAft>
                <a:spcPts val="0"/>
              </a:spcAft>
              <a:buClrTx/>
              <a:buSzTx/>
              <a:buFontTx/>
              <a:buNone/>
              <a:tabLst/>
              <a:defRPr/>
            </a:pP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Sự</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suy</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giảm</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chức</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năng</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miễn</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dịch</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ở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người</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cao</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tuổi</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b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br>
            <a:r>
              <a:rPr kumimoji="0" lang="en-US" b="1" i="0" u="none" strike="noStrike" kern="1200" cap="none" spc="0" normalizeH="0" baseline="0" noProof="0" dirty="0" err="1">
                <a:ln>
                  <a:noFill/>
                </a:ln>
                <a:solidFill>
                  <a:srgbClr val="002060"/>
                </a:solidFill>
                <a:effectLst/>
                <a:uLnTx/>
                <a:uFillTx/>
                <a:latin typeface="Aptos" panose="020B0004020202020204" pitchFamily="34" charset="0"/>
                <a:ea typeface="+mj-ea"/>
                <a:cs typeface="+mj-cs"/>
              </a:rPr>
              <a:t>làm</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 </a:t>
            </a:r>
            <a:r>
              <a:rPr kumimoji="0" lang="vi-VN"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tăng nguy cơ </a:t>
            </a:r>
            <a:r>
              <a:rPr kumimoji="0" lang="en-US" b="1" i="0" u="none" strike="noStrike" kern="1200" cap="none" spc="0" normalizeH="0" baseline="0" noProof="0" dirty="0">
                <a:ln>
                  <a:noFill/>
                </a:ln>
                <a:solidFill>
                  <a:srgbClr val="002060"/>
                </a:solidFill>
                <a:effectLst/>
                <a:uLnTx/>
                <a:uFillTx/>
                <a:latin typeface="Aptos" panose="020B0004020202020204" pitchFamily="34" charset="0"/>
                <a:ea typeface="+mj-ea"/>
                <a:cs typeface="+mj-cs"/>
              </a:rPr>
              <a:t>NHIỄM TRÙNG do RSV</a:t>
            </a:r>
          </a:p>
        </p:txBody>
      </p:sp>
      <p:sp>
        <p:nvSpPr>
          <p:cNvPr id="9" name="TextBox 8">
            <a:extLst>
              <a:ext uri="{FF2B5EF4-FFF2-40B4-BE49-F238E27FC236}">
                <a16:creationId xmlns:a16="http://schemas.microsoft.com/office/drawing/2014/main" id="{D52B681A-F41B-0C66-D25B-CCD824A261B5}"/>
              </a:ext>
            </a:extLst>
          </p:cNvPr>
          <p:cNvSpPr txBox="1"/>
          <p:nvPr/>
        </p:nvSpPr>
        <p:spPr bwMode="gray">
          <a:xfrm>
            <a:off x="483114" y="993460"/>
            <a:ext cx="10992887" cy="685059"/>
          </a:xfrm>
          <a:prstGeom prst="rect">
            <a:avLst/>
          </a:prstGeom>
          <a:noFill/>
        </p:spPr>
        <p:txBody>
          <a:bodyPr wrap="square">
            <a:spAutoFit/>
          </a:bodyPr>
          <a:lstStyle/>
          <a:p>
            <a:pPr marL="0" marR="0" lvl="0" indent="0" algn="ctr" defTabSz="914446" rtl="0" eaLnBrk="1" fontAlgn="ctr"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Sự</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lão</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hóa</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miễn</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dịch</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ảnh</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hưởng</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tiêu</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cực</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đến</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quá</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trình</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kích</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hoạt</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tế</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bào</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nhớ</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b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b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và</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phản</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ứng</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kháng</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thể</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chuyển</a:t>
            </a:r>
            <a:r>
              <a:rPr kumimoji="0" lang="en-US" sz="1800" b="1" i="0" u="none" strike="noStrike" kern="1200" cap="none" spc="0" normalizeH="0" baseline="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 </a:t>
            </a:r>
            <a:r>
              <a:rPr kumimoji="0" lang="en-US" sz="1800" b="1" i="0" u="none" strike="noStrike" kern="1200" cap="none" spc="0" normalizeH="0" baseline="0" noProof="0" err="1">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rPr>
              <a:t>lớp</a:t>
            </a:r>
            <a:endParaRPr kumimoji="0" lang="en-US" sz="1800" b="1" i="0" u="none" strike="noStrike" kern="1200" cap="none" spc="0" normalizeH="0" baseline="30000" noProof="0">
              <a:ln>
                <a:noFill/>
              </a:ln>
              <a:solidFill>
                <a:srgbClr val="00ACB3">
                  <a:lumMod val="75000"/>
                </a:srgbClr>
              </a:solidFill>
              <a:effectLst/>
              <a:uLnTx/>
              <a:uFillTx/>
              <a:latin typeface="Aptos" panose="020B0004020202020204" pitchFamily="34" charset="0"/>
              <a:ea typeface="Times New Roman" panose="02020603050405020304" pitchFamily="18" charset="0"/>
              <a:cs typeface="Calibri" panose="020F0502020204030204" pitchFamily="34" charset="0"/>
            </a:endParaRPr>
          </a:p>
        </p:txBody>
      </p:sp>
      <p:sp>
        <p:nvSpPr>
          <p:cNvPr id="10" name="Content Placeholder 3">
            <a:extLst>
              <a:ext uri="{FF2B5EF4-FFF2-40B4-BE49-F238E27FC236}">
                <a16:creationId xmlns:a16="http://schemas.microsoft.com/office/drawing/2014/main" id="{ED1F5E85-1D9B-1A6E-5A12-375505D3A80E}"/>
              </a:ext>
            </a:extLst>
          </p:cNvPr>
          <p:cNvSpPr txBox="1">
            <a:spLocks/>
          </p:cNvSpPr>
          <p:nvPr/>
        </p:nvSpPr>
        <p:spPr>
          <a:xfrm>
            <a:off x="8821636" y="4565345"/>
            <a:ext cx="2964433" cy="1238272"/>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1200"/>
              </a:spcBef>
              <a:spcAft>
                <a:spcPts val="1200"/>
              </a:spcAft>
              <a:buClrTx/>
              <a:buSzPct val="100000"/>
              <a:buFont typeface="Arial" panose="020B0604020202020204" pitchFamily="34" charset="0"/>
              <a:buNone/>
              <a:tabLst/>
              <a:defRPr/>
            </a:pPr>
            <a:r>
              <a:rPr kumimoji="0" lang="en-US" sz="1400" b="1" i="0" u="none" strike="noStrike" kern="1200" cap="none" spc="0" normalizeH="0" baseline="0" noProof="0" dirty="0" err="1">
                <a:ln>
                  <a:noFill/>
                </a:ln>
                <a:solidFill>
                  <a:srgbClr val="FF0000"/>
                </a:solidFill>
                <a:effectLst/>
                <a:uLnTx/>
                <a:uFillTx/>
                <a:latin typeface="Roboto"/>
                <a:ea typeface="+mn-ea"/>
                <a:cs typeface="+mn-cs"/>
              </a:rPr>
              <a:t>Nhiễm</a:t>
            </a:r>
            <a:r>
              <a:rPr kumimoji="0" lang="en-US" sz="1400" b="1" i="0" u="none" strike="noStrike" kern="1200" cap="none" spc="0" normalizeH="0" baseline="0" noProof="0" dirty="0">
                <a:ln>
                  <a:noFill/>
                </a:ln>
                <a:solidFill>
                  <a:srgbClr val="FF0000"/>
                </a:solidFill>
                <a:effectLst/>
                <a:uLnTx/>
                <a:uFillTx/>
                <a:latin typeface="Roboto"/>
                <a:ea typeface="+mn-ea"/>
                <a:cs typeface="+mn-cs"/>
              </a:rPr>
              <a:t> </a:t>
            </a:r>
            <a:r>
              <a:rPr kumimoji="0" lang="en-US" sz="1400" b="1" i="0" u="none" strike="noStrike" kern="1200" cap="none" spc="0" normalizeH="0" baseline="0" noProof="0" dirty="0" err="1">
                <a:ln>
                  <a:noFill/>
                </a:ln>
                <a:solidFill>
                  <a:srgbClr val="FF0000"/>
                </a:solidFill>
                <a:effectLst/>
                <a:uLnTx/>
                <a:uFillTx/>
                <a:latin typeface="Roboto"/>
                <a:ea typeface="+mn-ea"/>
                <a:cs typeface="+mn-cs"/>
              </a:rPr>
              <a:t>trùng</a:t>
            </a:r>
            <a:r>
              <a:rPr kumimoji="0" lang="en-US" sz="1400" b="1" i="0" u="none" strike="noStrike" kern="1200" cap="none" spc="0" normalizeH="0" baseline="0" noProof="0" dirty="0">
                <a:ln>
                  <a:noFill/>
                </a:ln>
                <a:solidFill>
                  <a:srgbClr val="FF0000"/>
                </a:solidFill>
                <a:effectLst/>
                <a:uLnTx/>
                <a:uFillTx/>
                <a:latin typeface="Roboto"/>
                <a:ea typeface="+mn-ea"/>
                <a:cs typeface="+mn-cs"/>
              </a:rPr>
              <a:t> do </a:t>
            </a:r>
            <a:r>
              <a:rPr kumimoji="0" lang="vi-VN" sz="1400" b="1" i="0" u="none" strike="noStrike" kern="1200" cap="none" spc="0" normalizeH="0" baseline="0" noProof="0" dirty="0">
                <a:ln>
                  <a:noFill/>
                </a:ln>
                <a:solidFill>
                  <a:srgbClr val="FF0000"/>
                </a:solidFill>
                <a:effectLst/>
                <a:uLnTx/>
                <a:uFillTx/>
                <a:latin typeface="Roboto"/>
                <a:ea typeface="+mn-ea"/>
                <a:cs typeface="+mn-cs"/>
              </a:rPr>
              <a:t>RSV </a:t>
            </a:r>
            <a:r>
              <a:rPr kumimoji="0" lang="vi-VN" sz="1400" b="0" i="0" u="none" strike="noStrike" kern="1200" cap="none" spc="0" normalizeH="0" baseline="0" noProof="0" dirty="0">
                <a:ln>
                  <a:noFill/>
                </a:ln>
                <a:solidFill>
                  <a:srgbClr val="415363"/>
                </a:solidFill>
                <a:effectLst/>
                <a:uLnTx/>
                <a:uFillTx/>
                <a:latin typeface="Roboto"/>
                <a:ea typeface="+mn-ea"/>
                <a:cs typeface="+mn-cs"/>
              </a:rPr>
              <a:t>thường dẫn đến việc nằm viện kéo dài và có liên quan đến tỷ lệ tử vong từ </a:t>
            </a:r>
            <a:r>
              <a:rPr kumimoji="0" lang="vi-VN" sz="1600" b="1" i="0" u="none" strike="noStrike" kern="1200" cap="none" spc="0" normalizeH="0" baseline="0" noProof="0" dirty="0">
                <a:ln>
                  <a:noFill/>
                </a:ln>
                <a:solidFill>
                  <a:srgbClr val="0000C9"/>
                </a:solidFill>
                <a:effectLst/>
                <a:uLnTx/>
                <a:uFillTx/>
                <a:latin typeface="Roboto"/>
                <a:ea typeface="+mn-ea"/>
                <a:cs typeface="+mn-cs"/>
              </a:rPr>
              <a:t>12% đến 18% </a:t>
            </a:r>
            <a:r>
              <a:rPr kumimoji="0" lang="vi-VN" sz="1400" b="0" i="0" u="none" strike="noStrike" kern="1200" cap="none" spc="0" normalizeH="0" baseline="0" noProof="0" dirty="0">
                <a:ln>
                  <a:noFill/>
                </a:ln>
                <a:solidFill>
                  <a:srgbClr val="415363"/>
                </a:solidFill>
                <a:effectLst/>
                <a:uLnTx/>
                <a:uFillTx/>
                <a:latin typeface="Roboto"/>
                <a:ea typeface="+mn-ea"/>
                <a:cs typeface="+mn-cs"/>
              </a:rPr>
              <a:t>ở người cao tuổ</a:t>
            </a:r>
            <a:r>
              <a:rPr kumimoji="0" lang="en-US" sz="1400" b="0" i="0" u="none" strike="noStrike" kern="1200" cap="none" spc="0" normalizeH="0" baseline="0" noProof="0" dirty="0">
                <a:ln>
                  <a:noFill/>
                </a:ln>
                <a:solidFill>
                  <a:srgbClr val="415363"/>
                </a:solidFill>
                <a:effectLst/>
                <a:uLnTx/>
                <a:uFillTx/>
                <a:latin typeface="Roboto"/>
                <a:ea typeface="+mn-ea"/>
                <a:cs typeface="+mn-cs"/>
              </a:rPr>
              <a:t>i</a:t>
            </a:r>
            <a:r>
              <a:rPr kumimoji="0" lang="en-US" sz="1400" b="0" i="0" u="none" strike="noStrike" kern="1200" cap="none" spc="0" normalizeH="0" baseline="30000" noProof="0" dirty="0">
                <a:ln>
                  <a:noFill/>
                </a:ln>
                <a:solidFill>
                  <a:srgbClr val="415363"/>
                </a:solidFill>
                <a:effectLst/>
                <a:uLnTx/>
                <a:uFillTx/>
                <a:latin typeface="Roboto"/>
                <a:ea typeface="Calibri" panose="020F0502020204030204" pitchFamily="34" charset="0"/>
                <a:cs typeface="Times New Roman" panose="02020603050405020304" pitchFamily="18" charset="0"/>
              </a:rPr>
              <a:t>4</a:t>
            </a:r>
          </a:p>
        </p:txBody>
      </p:sp>
      <p:pic>
        <p:nvPicPr>
          <p:cNvPr id="11" name="Graphic 86" descr="Hospital">
            <a:extLst>
              <a:ext uri="{FF2B5EF4-FFF2-40B4-BE49-F238E27FC236}">
                <a16:creationId xmlns:a16="http://schemas.microsoft.com/office/drawing/2014/main" id="{6833F936-917A-99C5-FC4F-74C3BF1076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1246" y="4581198"/>
            <a:ext cx="1067395" cy="1067395"/>
          </a:xfrm>
          <a:prstGeom prst="rect">
            <a:avLst/>
          </a:prstGeom>
        </p:spPr>
      </p:pic>
      <p:pic>
        <p:nvPicPr>
          <p:cNvPr id="12" name="Graphic 90" descr="Lungs">
            <a:extLst>
              <a:ext uri="{FF2B5EF4-FFF2-40B4-BE49-F238E27FC236}">
                <a16:creationId xmlns:a16="http://schemas.microsoft.com/office/drawing/2014/main" id="{C57A236A-3F18-22FB-79AB-A1C6AAC255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85474" y="5021990"/>
            <a:ext cx="725389" cy="718276"/>
          </a:xfrm>
          <a:prstGeom prst="rect">
            <a:avLst/>
          </a:prstGeom>
        </p:spPr>
      </p:pic>
      <p:sp>
        <p:nvSpPr>
          <p:cNvPr id="13" name="Content Placeholder 3">
            <a:extLst>
              <a:ext uri="{FF2B5EF4-FFF2-40B4-BE49-F238E27FC236}">
                <a16:creationId xmlns:a16="http://schemas.microsoft.com/office/drawing/2014/main" id="{ED669FE2-0717-A619-042D-66B8BC9D7D48}"/>
              </a:ext>
            </a:extLst>
          </p:cNvPr>
          <p:cNvSpPr txBox="1">
            <a:spLocks/>
          </p:cNvSpPr>
          <p:nvPr/>
        </p:nvSpPr>
        <p:spPr bwMode="gray">
          <a:xfrm>
            <a:off x="1161613" y="4945270"/>
            <a:ext cx="2566579" cy="863230"/>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1200"/>
              </a:spcBef>
              <a:spcAft>
                <a:spcPts val="0"/>
              </a:spcAft>
              <a:buClrTx/>
              <a:buSzPct val="100000"/>
              <a:buFont typeface="Arial" panose="020B0604020202020204" pitchFamily="34" charset="0"/>
              <a:buNone/>
              <a:tabLst/>
              <a:defRPr/>
            </a:pPr>
            <a:r>
              <a:rPr kumimoji="0" lang="vi-VN"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Cơ thể suy yếu và ít khả năng thích nghi sinh lý</a:t>
            </a:r>
            <a:r>
              <a:rPr kumimoji="0" lang="en-US" sz="1200" b="0" i="0" u="none" strike="noStrike" kern="1200" cap="none" spc="0" normalizeH="0" baseline="30000" noProof="0">
                <a:ln>
                  <a:noFill/>
                </a:ln>
                <a:solidFill>
                  <a:srgbClr val="000000"/>
                </a:solidFill>
                <a:effectLst/>
                <a:uLnTx/>
                <a:uFillTx/>
                <a:latin typeface="Aptos" panose="020B0004020202020204" pitchFamily="34" charset="0"/>
                <a:ea typeface="+mn-ea"/>
                <a:cs typeface="+mn-cs"/>
              </a:rPr>
              <a:t>2</a:t>
            </a:r>
          </a:p>
          <a:p>
            <a:pPr marL="0" marR="0" lvl="0" indent="0" algn="l" defTabSz="914446"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vi-VN"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Giảm sức mạnh của các cơ hô hấp và cơ hoành</a:t>
            </a:r>
            <a:r>
              <a:rPr kumimoji="0" lang="en-US" sz="1200" b="0" i="0" u="none" strike="noStrike" kern="1200" cap="none" spc="0" normalizeH="0" baseline="30000" noProof="0">
                <a:ln>
                  <a:noFill/>
                </a:ln>
                <a:solidFill>
                  <a:srgbClr val="000000"/>
                </a:solidFill>
                <a:effectLst/>
                <a:uLnTx/>
                <a:uFillTx/>
                <a:latin typeface="Aptos" panose="020B0004020202020204" pitchFamily="34" charset="0"/>
                <a:ea typeface="+mn-ea"/>
                <a:cs typeface="+mn-cs"/>
              </a:rPr>
              <a:t>2,3</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endParaRPr kumimoji="0" lang="en-US" sz="1200" b="0" i="0" u="none" strike="noStrike" kern="1200" cap="none" spc="0" normalizeH="0" baseline="30000" noProof="0">
              <a:ln>
                <a:noFill/>
              </a:ln>
              <a:solidFill>
                <a:srgbClr val="000000"/>
              </a:solidFill>
              <a:effectLst/>
              <a:uLnTx/>
              <a:uFillTx/>
              <a:latin typeface="Aptos" panose="020B0004020202020204" pitchFamily="34" charset="0"/>
              <a:ea typeface="+mn-ea"/>
              <a:cs typeface="+mn-cs"/>
            </a:endParaRPr>
          </a:p>
        </p:txBody>
      </p:sp>
      <p:pic>
        <p:nvPicPr>
          <p:cNvPr id="14" name="Graphic 97" descr="Woman with cane">
            <a:extLst>
              <a:ext uri="{FF2B5EF4-FFF2-40B4-BE49-F238E27FC236}">
                <a16:creationId xmlns:a16="http://schemas.microsoft.com/office/drawing/2014/main" id="{9A2DB3C9-E337-4B07-9D43-A415C664EE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4160" y="5021990"/>
            <a:ext cx="723156" cy="716064"/>
          </a:xfrm>
          <a:prstGeom prst="rect">
            <a:avLst/>
          </a:prstGeom>
        </p:spPr>
      </p:pic>
      <p:sp>
        <p:nvSpPr>
          <p:cNvPr id="15" name="Content Placeholder 3">
            <a:extLst>
              <a:ext uri="{FF2B5EF4-FFF2-40B4-BE49-F238E27FC236}">
                <a16:creationId xmlns:a16="http://schemas.microsoft.com/office/drawing/2014/main" id="{77AF982F-0A71-3771-B817-F5D3785C973E}"/>
              </a:ext>
            </a:extLst>
          </p:cNvPr>
          <p:cNvSpPr txBox="1">
            <a:spLocks/>
          </p:cNvSpPr>
          <p:nvPr/>
        </p:nvSpPr>
        <p:spPr bwMode="gray">
          <a:xfrm>
            <a:off x="4531312" y="4994130"/>
            <a:ext cx="2744302" cy="743924"/>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Sự</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tiến</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triển</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của</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các</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bệnh</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lý</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r>
              <a:rPr kumimoji="0" lang="en-US" sz="1200" b="0" i="0" u="none" strike="noStrike" kern="1200" cap="none" spc="0" normalizeH="0" baseline="0" noProof="0" err="1">
                <a:ln>
                  <a:noFill/>
                </a:ln>
                <a:solidFill>
                  <a:srgbClr val="000000"/>
                </a:solidFill>
                <a:effectLst/>
                <a:uLnTx/>
                <a:uFillTx/>
                <a:latin typeface="Aptos" panose="020B0004020202020204" pitchFamily="34" charset="0"/>
                <a:ea typeface="+mn-ea"/>
                <a:cs typeface="+mn-cs"/>
              </a:rPr>
              <a:t>đi</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kèm</a:t>
            </a:r>
            <a:r>
              <a:rPr kumimoji="0" lang="en-US" sz="1200" b="0" i="0" u="none" strike="noStrike" kern="1200" cap="none" spc="0" normalizeH="0" baseline="30000" noProof="0">
                <a:ln>
                  <a:noFill/>
                </a:ln>
                <a:solidFill>
                  <a:srgbClr val="000000"/>
                </a:solidFill>
                <a:effectLst/>
                <a:uLnTx/>
                <a:uFillTx/>
                <a:latin typeface="Aptos" panose="020B0004020202020204" pitchFamily="34" charset="0"/>
                <a:ea typeface="+mn-ea"/>
                <a:cs typeface="+mn-cs"/>
              </a:rPr>
              <a:t>4</a:t>
            </a:r>
          </a:p>
          <a:p>
            <a:pPr marL="0" marR="0" lvl="0" indent="0" algn="l" defTabSz="914446"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vi-VN" sz="1200" b="0" i="0" u="none" strike="noStrike" kern="1200" cap="none" spc="0" normalizeH="0" baseline="0" noProof="0">
                <a:ln>
                  <a:noFill/>
                </a:ln>
                <a:solidFill>
                  <a:srgbClr val="000000"/>
                </a:solidFill>
                <a:effectLst/>
                <a:uLnTx/>
                <a:uFillTx/>
                <a:latin typeface="Aptos" panose="020B0004020202020204" pitchFamily="34" charset="0"/>
                <a:ea typeface="+mn-ea"/>
                <a:cs typeface="+mn-cs"/>
              </a:rPr>
              <a:t>Giảm lượng chất nhầy bảo vệ, độ đàn hồi và khả năng giãn nở của phổi</a:t>
            </a:r>
            <a:r>
              <a:rPr kumimoji="0" lang="en-US" sz="1200" b="0" i="0" u="none" strike="noStrike" kern="1200" cap="none" spc="0" normalizeH="0" baseline="30000" noProof="0">
                <a:ln>
                  <a:noFill/>
                </a:ln>
                <a:solidFill>
                  <a:srgbClr val="000000"/>
                </a:solidFill>
                <a:effectLst/>
                <a:uLnTx/>
                <a:uFillTx/>
                <a:latin typeface="Aptos" panose="020B0004020202020204" pitchFamily="34" charset="0"/>
                <a:ea typeface="+mn-ea"/>
                <a:cs typeface="+mn-cs"/>
              </a:rPr>
              <a:t>2</a:t>
            </a:r>
          </a:p>
        </p:txBody>
      </p:sp>
      <p:sp>
        <p:nvSpPr>
          <p:cNvPr id="16" name="Footer Placeholder 3">
            <a:extLst>
              <a:ext uri="{FF2B5EF4-FFF2-40B4-BE49-F238E27FC236}">
                <a16:creationId xmlns:a16="http://schemas.microsoft.com/office/drawing/2014/main" id="{DF37BDB9-6C09-8895-2E06-47CF0A15D781}"/>
              </a:ext>
            </a:extLst>
          </p:cNvPr>
          <p:cNvSpPr txBox="1">
            <a:spLocks/>
          </p:cNvSpPr>
          <p:nvPr/>
        </p:nvSpPr>
        <p:spPr>
          <a:xfrm>
            <a:off x="408833" y="6308432"/>
            <a:ext cx="11371643" cy="601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228611" algn="l" defTabSz="914446" rtl="0" eaLnBrk="1" fontAlgn="auto" latinLnBrk="0" hangingPunct="1">
              <a:lnSpc>
                <a:spcPct val="85000"/>
              </a:lnSpc>
              <a:spcBef>
                <a:spcPts val="200"/>
              </a:spcBef>
              <a:spcAft>
                <a:spcPts val="0"/>
              </a:spcAft>
              <a:buClr>
                <a:srgbClr val="0095FF"/>
              </a:buClr>
              <a:buSzPct val="85000"/>
              <a:buFontTx/>
              <a:buNone/>
              <a:tabLst>
                <a:tab pos="174634" algn="r"/>
                <a:tab pos="228611" algn="l"/>
              </a:tabLst>
              <a:defRPr/>
            </a:pPr>
            <a:r>
              <a:rPr kumimoji="0" lang="en-US" sz="1000" b="0" i="0" u="none" strike="noStrike" kern="1200" cap="none" spc="0" normalizeH="0" baseline="0" noProof="0">
                <a:ln>
                  <a:noFill/>
                </a:ln>
                <a:solidFill>
                  <a:srgbClr val="000000"/>
                </a:solidFill>
                <a:effectLst/>
                <a:uLnTx/>
                <a:uFillTx/>
                <a:latin typeface="Roboto"/>
                <a:ea typeface="+mn-ea"/>
                <a:cs typeface="+mn-cs"/>
              </a:rPr>
              <a:t>DC, dendritic cell; IFN, interferon; IL, interleukin; RSV, respiratory syncytial virus; TLR, toll-like receptor; TNF, tumor necrosis factor.</a:t>
            </a:r>
            <a:endParaRPr kumimoji="0" lang="en-US" sz="1000" b="0" i="0" u="none" strike="noStrike" kern="1200" cap="none" spc="0" normalizeH="0" baseline="0" noProof="0">
              <a:ln>
                <a:noFill/>
              </a:ln>
              <a:solidFill>
                <a:srgbClr val="000000"/>
              </a:solidFill>
              <a:effectLst/>
              <a:uLnTx/>
              <a:uFillTx/>
              <a:latin typeface="Roboto"/>
              <a:ea typeface="+mn-ea"/>
              <a:cs typeface="Arial" pitchFamily="34" charset="0"/>
            </a:endParaRPr>
          </a:p>
          <a:p>
            <a:pPr marL="0" marR="0" lvl="0" indent="-228611" algn="l" defTabSz="914446" rtl="0" eaLnBrk="1" fontAlgn="auto" latinLnBrk="0" hangingPunct="1">
              <a:lnSpc>
                <a:spcPct val="85000"/>
              </a:lnSpc>
              <a:spcBef>
                <a:spcPts val="200"/>
              </a:spcBef>
              <a:spcAft>
                <a:spcPts val="0"/>
              </a:spcAft>
              <a:buClr>
                <a:srgbClr val="0095FF"/>
              </a:buClr>
              <a:buSzPct val="85000"/>
              <a:buFontTx/>
              <a:buNone/>
              <a:tabLst>
                <a:tab pos="174634" algn="r"/>
                <a:tab pos="228611" algn="l"/>
              </a:tabLst>
              <a:defRPr/>
            </a:pP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1. Stephens LM, et al. </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9"/>
              </a:rPr>
              <a:t>Vaccines (Basel)</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hlinkClick r:id="rId9"/>
              </a:rPr>
              <a:t>.</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 2021;9(6):624. 2. Talbot HK, et al. </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10"/>
              </a:rPr>
              <a:t>Infect Dis Clin </a:t>
            </a:r>
            <a:r>
              <a:rPr kumimoji="0" lang="en-US" sz="1000" b="0" i="1" u="none" strike="noStrike" kern="1200" cap="none" spc="0" normalizeH="0" baseline="0" noProof="0" err="1">
                <a:ln>
                  <a:noFill/>
                </a:ln>
                <a:solidFill>
                  <a:srgbClr val="000000"/>
                </a:solidFill>
                <a:effectLst/>
                <a:uLnTx/>
                <a:uFillTx/>
                <a:latin typeface="Roboto"/>
                <a:ea typeface="+mn-ea"/>
                <a:cs typeface="Arial" pitchFamily="34" charset="0"/>
                <a:hlinkClick r:id="rId10"/>
              </a:rPr>
              <a:t>Prac</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 2016;24(6):295-302. 3. Sharma G, et al. </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11"/>
              </a:rPr>
              <a:t>J</a:t>
            </a:r>
            <a:r>
              <a:rPr kumimoji="0" lang="en-US" sz="1000" b="0" i="1" u="none" strike="noStrike" kern="1200" cap="none" spc="0" normalizeH="0" baseline="0" noProof="0">
                <a:ln>
                  <a:noFill/>
                </a:ln>
                <a:solidFill>
                  <a:srgbClr val="000000"/>
                </a:solidFill>
                <a:effectLst/>
                <a:uLnTx/>
                <a:uFillTx/>
                <a:latin typeface="Roboto"/>
                <a:ea typeface="+mn-ea"/>
                <a:cs typeface="+mn-cs"/>
                <a:hlinkClick r:id="rId11"/>
              </a:rPr>
              <a:t> </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11"/>
              </a:rPr>
              <a:t>Clin </a:t>
            </a:r>
            <a:r>
              <a:rPr kumimoji="0" lang="en-US" sz="1000" b="0" i="1" u="none" strike="noStrike" kern="1200" cap="none" spc="0" normalizeH="0" baseline="0" noProof="0" err="1">
                <a:ln>
                  <a:noFill/>
                </a:ln>
                <a:solidFill>
                  <a:srgbClr val="000000"/>
                </a:solidFill>
                <a:effectLst/>
                <a:uLnTx/>
                <a:uFillTx/>
                <a:latin typeface="Roboto"/>
                <a:ea typeface="+mn-ea"/>
                <a:cs typeface="Arial" pitchFamily="34" charset="0"/>
                <a:hlinkClick r:id="rId11"/>
              </a:rPr>
              <a:t>Interv</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11"/>
              </a:rPr>
              <a:t> Aging</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 2006;1(3):253-260. 4</a:t>
            </a:r>
            <a:r>
              <a:rPr kumimoji="0" lang="en-US" sz="1000" b="0" i="0" u="none" strike="noStrike" kern="1200" cap="none" spc="0" normalizeH="0" baseline="0" noProof="0">
                <a:ln>
                  <a:noFill/>
                </a:ln>
                <a:solidFill>
                  <a:srgbClr val="000000"/>
                </a:solidFill>
                <a:effectLst/>
                <a:uLnTx/>
                <a:uFillTx/>
                <a:latin typeface="Roboto"/>
                <a:ea typeface="+mn-ea"/>
                <a:cs typeface="+mn-cs"/>
              </a:rPr>
              <a:t>. </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Crooke SN, et al. </a:t>
            </a:r>
            <a:r>
              <a:rPr kumimoji="0" lang="en-US" sz="1000" b="0" i="1" u="none" strike="noStrike" kern="1200" cap="none" spc="0" normalizeH="0" baseline="0" noProof="0" err="1">
                <a:ln>
                  <a:noFill/>
                </a:ln>
                <a:solidFill>
                  <a:srgbClr val="000000"/>
                </a:solidFill>
                <a:effectLst/>
                <a:uLnTx/>
                <a:uFillTx/>
                <a:latin typeface="Roboto"/>
                <a:ea typeface="+mn-ea"/>
                <a:cs typeface="Arial" pitchFamily="34" charset="0"/>
                <a:hlinkClick r:id="rId12"/>
              </a:rPr>
              <a:t>Immun</a:t>
            </a:r>
            <a:r>
              <a:rPr kumimoji="0" lang="en-US" sz="1000" b="0" i="1" u="none" strike="noStrike" kern="1200" cap="none" spc="0" normalizeH="0" baseline="0" noProof="0">
                <a:ln>
                  <a:noFill/>
                </a:ln>
                <a:solidFill>
                  <a:srgbClr val="000000"/>
                </a:solidFill>
                <a:effectLst/>
                <a:uLnTx/>
                <a:uFillTx/>
                <a:latin typeface="Roboto"/>
                <a:ea typeface="+mn-ea"/>
                <a:cs typeface="Arial" pitchFamily="34" charset="0"/>
                <a:hlinkClick r:id="rId12"/>
              </a:rPr>
              <a:t> Ageing</a:t>
            </a:r>
            <a:r>
              <a:rPr kumimoji="0" lang="en-US" sz="1000" b="0" i="0" u="none" strike="noStrike" kern="1200" cap="none" spc="0" normalizeH="0" baseline="0" noProof="0">
                <a:ln>
                  <a:noFill/>
                </a:ln>
                <a:solidFill>
                  <a:srgbClr val="000000"/>
                </a:solidFill>
                <a:effectLst/>
                <a:uLnTx/>
                <a:uFillTx/>
                <a:latin typeface="Roboto"/>
                <a:ea typeface="+mn-ea"/>
                <a:cs typeface="Arial" pitchFamily="34" charset="0"/>
              </a:rPr>
              <a:t>. 2019;16:25.  </a:t>
            </a:r>
          </a:p>
        </p:txBody>
      </p:sp>
      <p:sp>
        <p:nvSpPr>
          <p:cNvPr id="17" name="Rectangle 16">
            <a:extLst>
              <a:ext uri="{FF2B5EF4-FFF2-40B4-BE49-F238E27FC236}">
                <a16:creationId xmlns:a16="http://schemas.microsoft.com/office/drawing/2014/main" id="{03098839-8836-6414-DE53-EFACACF5A494}"/>
              </a:ext>
            </a:extLst>
          </p:cNvPr>
          <p:cNvSpPr/>
          <p:nvPr/>
        </p:nvSpPr>
        <p:spPr>
          <a:xfrm>
            <a:off x="7042608" y="1667431"/>
            <a:ext cx="4208042" cy="2262158"/>
          </a:xfrm>
          <a:prstGeom prst="rect">
            <a:avLst/>
          </a:prstGeom>
        </p:spPr>
        <p:txBody>
          <a:bodyPr wrap="square">
            <a:spAutoFit/>
          </a:bodyPr>
          <a:lstStyle/>
          <a:p>
            <a:pPr marL="0" marR="0" lvl="0" indent="0" algn="l" defTabSz="914446" rtl="0" eaLnBrk="1" fontAlgn="auto" latinLnBrk="0" hangingPunct="1">
              <a:lnSpc>
                <a:spcPct val="100000"/>
              </a:lnSpc>
              <a:spcBef>
                <a:spcPts val="600"/>
              </a:spcBef>
              <a:spcAft>
                <a:spcPts val="0"/>
              </a:spcAft>
              <a:buClrTx/>
              <a:buSzTx/>
              <a:buFontTx/>
              <a:buNone/>
              <a:tabLst/>
              <a:defRPr/>
            </a:pPr>
            <a:r>
              <a:rPr kumimoji="0" lang="vi-VN" sz="1800" b="0" i="0" u="none" strike="noStrike" kern="1200" cap="none" spc="0" normalizeH="0" baseline="0" noProof="0" dirty="0">
                <a:ln>
                  <a:noFill/>
                </a:ln>
                <a:solidFill>
                  <a:srgbClr val="415363"/>
                </a:solidFill>
                <a:effectLst/>
                <a:uLnTx/>
                <a:uFillTx/>
                <a:latin typeface="Aptos" panose="020B0004020202020204" pitchFamily="34" charset="0"/>
                <a:ea typeface="+mn-ea"/>
                <a:cs typeface="+mn-cs"/>
              </a:rPr>
              <a:t>Người cao tuổi </a:t>
            </a:r>
            <a:r>
              <a:rPr kumimoji="0" lang="en-US" sz="1800" b="0" i="0" u="none" strike="noStrike" kern="1200" cap="none" spc="0" normalizeH="0" baseline="0" noProof="0" dirty="0" err="1">
                <a:ln>
                  <a:noFill/>
                </a:ln>
                <a:solidFill>
                  <a:srgbClr val="415363"/>
                </a:solidFill>
                <a:effectLst/>
                <a:uLnTx/>
                <a:uFillTx/>
                <a:latin typeface="Aptos" panose="020B0004020202020204" pitchFamily="34" charset="0"/>
                <a:ea typeface="+mn-ea"/>
                <a:cs typeface="+mn-cs"/>
              </a:rPr>
              <a:t>với</a:t>
            </a:r>
            <a:r>
              <a:rPr kumimoji="0" lang="en-US" sz="1800" b="0" i="0" u="none" strike="noStrike" kern="1200" cap="none" spc="0" normalizeH="0" baseline="0" noProof="0" dirty="0">
                <a:ln>
                  <a:noFill/>
                </a:ln>
                <a:solidFill>
                  <a:srgbClr val="415363"/>
                </a:solidFill>
                <a:effectLst/>
                <a:uLnTx/>
                <a:uFillTx/>
                <a:latin typeface="Aptos" panose="020B0004020202020204" pitchFamily="34" charset="0"/>
                <a:ea typeface="+mn-ea"/>
                <a:cs typeface="+mn-cs"/>
              </a:rPr>
              <a:t> </a:t>
            </a:r>
            <a:r>
              <a:rPr kumimoji="0" lang="vi-VN" sz="1800" b="0" i="0" u="none" strike="noStrike" kern="1200" cap="none" spc="0" normalizeH="0" baseline="0" noProof="0" dirty="0">
                <a:ln>
                  <a:noFill/>
                </a:ln>
                <a:solidFill>
                  <a:srgbClr val="415363"/>
                </a:solidFill>
                <a:effectLst/>
                <a:uLnTx/>
                <a:uFillTx/>
                <a:latin typeface="Aptos" panose="020B0004020202020204" pitchFamily="34" charset="0"/>
                <a:ea typeface="+mn-ea"/>
                <a:cs typeface="+mn-cs"/>
              </a:rPr>
              <a:t>sự lão hóa miễn dịch</a:t>
            </a:r>
            <a:r>
              <a:rPr kumimoji="0" lang="en-US" sz="1800" b="0" i="0" u="none" strike="noStrike" kern="1200" cap="none" spc="0" normalizeH="0" baseline="0" noProof="0" dirty="0">
                <a:ln>
                  <a:noFill/>
                </a:ln>
                <a:solidFill>
                  <a:srgbClr val="415363"/>
                </a:solidFill>
                <a:effectLst/>
                <a:uLnTx/>
                <a:uFillTx/>
                <a:latin typeface="Aptos" panose="020B0004020202020204" pitchFamily="34" charset="0"/>
                <a:ea typeface="+mn-ea"/>
                <a:cs typeface="+mn-cs"/>
              </a:rPr>
              <a:t>:</a:t>
            </a:r>
            <a:r>
              <a:rPr kumimoji="0" lang="vi-VN" sz="1800" b="0" i="0" u="none" strike="noStrike" kern="1200" cap="none" spc="0" normalizeH="0" baseline="0" noProof="0" dirty="0">
                <a:ln>
                  <a:noFill/>
                </a:ln>
                <a:solidFill>
                  <a:srgbClr val="415363"/>
                </a:solidFill>
                <a:effectLst/>
                <a:uLnTx/>
                <a:uFillTx/>
                <a:latin typeface="Aptos" panose="020B0004020202020204" pitchFamily="34" charset="0"/>
                <a:ea typeface="+mn-ea"/>
                <a:cs typeface="+mn-cs"/>
              </a:rPr>
              <a:t> làm giảm các phản ứng miễn dịch bẩm sinh và thích nghi, đồng thời làm suy yếu miễn dịch tế bào và miễn dịch dịch thể</a:t>
            </a:r>
            <a:r>
              <a:rPr kumimoji="0" lang="en-US" sz="1800" b="1" i="0" u="none" strike="noStrike" kern="1200" cap="none" spc="0" normalizeH="0" baseline="30000" noProof="0" dirty="0">
                <a:ln>
                  <a:noFill/>
                </a:ln>
                <a:solidFill>
                  <a:srgbClr val="415363"/>
                </a:solidFill>
                <a:effectLst/>
                <a:uLnTx/>
                <a:uFillTx/>
                <a:latin typeface="Aptos" panose="020B0004020202020204" pitchFamily="34" charset="0"/>
                <a:ea typeface="+mn-ea"/>
                <a:cs typeface="+mn-cs"/>
              </a:rPr>
              <a:t>1</a:t>
            </a:r>
            <a:endParaRPr kumimoji="0" lang="en-US" sz="1800" b="1" i="0" u="none" strike="noStrike" kern="1200" cap="none" spc="0" normalizeH="0" baseline="0" noProof="0" dirty="0">
              <a:ln>
                <a:noFill/>
              </a:ln>
              <a:solidFill>
                <a:srgbClr val="415363"/>
              </a:solidFill>
              <a:effectLst/>
              <a:uLnTx/>
              <a:uFillTx/>
              <a:latin typeface="Aptos" panose="020B0004020202020204" pitchFamily="34" charset="0"/>
              <a:ea typeface="+mn-ea"/>
              <a:cs typeface="+mn-cs"/>
            </a:endParaRPr>
          </a:p>
          <a:p>
            <a:pPr marL="171459" marR="0" lvl="0" indent="-171459" algn="l" defTabSz="91444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Giảm</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sản</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xuất</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tế</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bào</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T</a:t>
            </a:r>
          </a:p>
          <a:p>
            <a:pPr marL="171459" marR="0" lvl="0" indent="-171459" algn="l" defTabSz="91444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Giảm</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sản</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xuất</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tế</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bào</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B</a:t>
            </a:r>
          </a:p>
          <a:p>
            <a:pPr marL="171459" marR="0" lvl="0" indent="-171459" algn="l" defTabSz="91444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Suy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giảm</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chức</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năng</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tế</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bào</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a:t>
            </a:r>
            <a:r>
              <a:rPr kumimoji="0" lang="en-US" sz="1800" b="1" i="0" u="none" strike="noStrike" kern="1200" cap="none" spc="0" normalizeH="0" baseline="0" noProof="0" dirty="0" err="1">
                <a:ln>
                  <a:noFill/>
                </a:ln>
                <a:solidFill>
                  <a:srgbClr val="3A3A3A"/>
                </a:solidFill>
                <a:effectLst/>
                <a:uLnTx/>
                <a:uFillTx/>
                <a:latin typeface="Aptos" panose="020B0004020202020204" pitchFamily="34" charset="0"/>
                <a:ea typeface="+mn-ea"/>
                <a:cs typeface="+mn-cs"/>
              </a:rPr>
              <a:t>đuôi</a:t>
            </a:r>
            <a:r>
              <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mn-ea"/>
                <a:cs typeface="+mn-cs"/>
              </a:rPr>
              <a:t> gai</a:t>
            </a:r>
            <a:endParaRPr kumimoji="0" lang="en-US" sz="1800" b="1" i="0" u="none" strike="noStrike" kern="1200" cap="none" spc="0" normalizeH="0" baseline="0" noProof="0" dirty="0">
              <a:ln>
                <a:noFill/>
              </a:ln>
              <a:solidFill>
                <a:srgbClr val="3A3A3A"/>
              </a:solidFill>
              <a:effectLst/>
              <a:uLnTx/>
              <a:uFillTx/>
              <a:latin typeface="Aptos" panose="020B0004020202020204" pitchFamily="34" charset="0"/>
              <a:ea typeface="Times New Roman" panose="02020603050405020304" pitchFamily="18" charset="0"/>
              <a:cs typeface="Calibri" panose="020F0502020204030204" pitchFamily="34" charset="0"/>
            </a:endParaRPr>
          </a:p>
        </p:txBody>
      </p:sp>
      <p:grpSp>
        <p:nvGrpSpPr>
          <p:cNvPr id="18" name="Group 17">
            <a:extLst>
              <a:ext uri="{FF2B5EF4-FFF2-40B4-BE49-F238E27FC236}">
                <a16:creationId xmlns:a16="http://schemas.microsoft.com/office/drawing/2014/main" id="{22C1483E-20EC-0119-F672-8AB0C13317FE}"/>
              </a:ext>
            </a:extLst>
          </p:cNvPr>
          <p:cNvGrpSpPr/>
          <p:nvPr/>
        </p:nvGrpSpPr>
        <p:grpSpPr>
          <a:xfrm>
            <a:off x="1577859" y="1813406"/>
            <a:ext cx="4415229" cy="3924648"/>
            <a:chOff x="1373437" y="1614795"/>
            <a:chExt cx="4582144" cy="4073017"/>
          </a:xfrm>
        </p:grpSpPr>
        <p:pic>
          <p:nvPicPr>
            <p:cNvPr id="19" name="Picture 18" descr="A picture containing diagram&#10;&#10;Description automatically generated">
              <a:extLst>
                <a:ext uri="{FF2B5EF4-FFF2-40B4-BE49-F238E27FC236}">
                  <a16:creationId xmlns:a16="http://schemas.microsoft.com/office/drawing/2014/main" id="{1B396911-2220-638F-AC19-182B4E6C77F2}"/>
                </a:ext>
              </a:extLst>
            </p:cNvPr>
            <p:cNvPicPr>
              <a:picLocks noChangeAspect="1"/>
            </p:cNvPicPr>
            <p:nvPr/>
          </p:nvPicPr>
          <p:blipFill>
            <a:blip r:embed="rId13"/>
            <a:stretch>
              <a:fillRect/>
            </a:stretch>
          </p:blipFill>
          <p:spPr>
            <a:xfrm>
              <a:off x="1373437" y="1614795"/>
              <a:ext cx="4582144" cy="4073017"/>
            </a:xfrm>
            <a:prstGeom prst="rect">
              <a:avLst/>
            </a:prstGeom>
          </p:spPr>
        </p:pic>
        <p:sp>
          <p:nvSpPr>
            <p:cNvPr id="20" name="TextBox 19">
              <a:extLst>
                <a:ext uri="{FF2B5EF4-FFF2-40B4-BE49-F238E27FC236}">
                  <a16:creationId xmlns:a16="http://schemas.microsoft.com/office/drawing/2014/main" id="{050E6CA6-39FC-91F9-DA0B-5BD4D8A7CB93}"/>
                </a:ext>
              </a:extLst>
            </p:cNvPr>
            <p:cNvSpPr txBox="1"/>
            <p:nvPr/>
          </p:nvSpPr>
          <p:spPr bwMode="gray">
            <a:xfrm>
              <a:off x="1526779" y="2335700"/>
              <a:ext cx="1238719" cy="547259"/>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415363"/>
                  </a:solidFill>
                  <a:effectLst/>
                  <a:uLnTx/>
                  <a:uFillTx/>
                  <a:latin typeface="Roboto"/>
                  <a:ea typeface="+mn-ea"/>
                  <a:cs typeface="+mn-cs"/>
                </a:rPr>
                <a:t>DC antigen presentation</a:t>
              </a:r>
            </a:p>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415363"/>
                  </a:solidFill>
                  <a:effectLst/>
                  <a:uLnTx/>
                  <a:uFillTx/>
                  <a:latin typeface="Roboto"/>
                  <a:ea typeface="+mn-ea"/>
                  <a:cs typeface="+mn-cs"/>
                </a:rPr>
                <a:t>T-cell priming</a:t>
              </a:r>
            </a:p>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415363"/>
                  </a:solidFill>
                  <a:effectLst/>
                  <a:uLnTx/>
                  <a:uFillTx/>
                  <a:latin typeface="Roboto"/>
                  <a:ea typeface="+mn-ea"/>
                  <a:cs typeface="+mn-cs"/>
                </a:rPr>
                <a:t>T-cell proliferation</a:t>
              </a:r>
            </a:p>
          </p:txBody>
        </p:sp>
        <p:sp>
          <p:nvSpPr>
            <p:cNvPr id="21" name="Down Arrow 20">
              <a:extLst>
                <a:ext uri="{FF2B5EF4-FFF2-40B4-BE49-F238E27FC236}">
                  <a16:creationId xmlns:a16="http://schemas.microsoft.com/office/drawing/2014/main" id="{BADAEC01-560C-D78F-939C-A0BF2150C003}"/>
                </a:ext>
              </a:extLst>
            </p:cNvPr>
            <p:cNvSpPr/>
            <p:nvPr/>
          </p:nvSpPr>
          <p:spPr bwMode="gray">
            <a:xfrm>
              <a:off x="1472931" y="2379923"/>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22" name="Down Arrow 21">
              <a:extLst>
                <a:ext uri="{FF2B5EF4-FFF2-40B4-BE49-F238E27FC236}">
                  <a16:creationId xmlns:a16="http://schemas.microsoft.com/office/drawing/2014/main" id="{2DBF7E98-1775-0E08-7A6A-274D3E97A5B3}"/>
                </a:ext>
              </a:extLst>
            </p:cNvPr>
            <p:cNvSpPr/>
            <p:nvPr/>
          </p:nvSpPr>
          <p:spPr bwMode="gray">
            <a:xfrm>
              <a:off x="1472931" y="2538644"/>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23" name="Down Arrow 22">
              <a:extLst>
                <a:ext uri="{FF2B5EF4-FFF2-40B4-BE49-F238E27FC236}">
                  <a16:creationId xmlns:a16="http://schemas.microsoft.com/office/drawing/2014/main" id="{305600DE-E733-F47B-9367-7075E1459116}"/>
                </a:ext>
              </a:extLst>
            </p:cNvPr>
            <p:cNvSpPr/>
            <p:nvPr/>
          </p:nvSpPr>
          <p:spPr bwMode="gray">
            <a:xfrm>
              <a:off x="1472931" y="2703686"/>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24" name="TextBox 23">
              <a:extLst>
                <a:ext uri="{FF2B5EF4-FFF2-40B4-BE49-F238E27FC236}">
                  <a16:creationId xmlns:a16="http://schemas.microsoft.com/office/drawing/2014/main" id="{98C181E3-7DF8-7F21-DA6D-F6149625D925}"/>
                </a:ext>
              </a:extLst>
            </p:cNvPr>
            <p:cNvSpPr txBox="1"/>
            <p:nvPr/>
          </p:nvSpPr>
          <p:spPr bwMode="gray">
            <a:xfrm>
              <a:off x="3215866" y="2242996"/>
              <a:ext cx="327065" cy="210812"/>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Lung</a:t>
              </a:r>
            </a:p>
          </p:txBody>
        </p:sp>
        <p:sp>
          <p:nvSpPr>
            <p:cNvPr id="25" name="TextBox 24">
              <a:extLst>
                <a:ext uri="{FF2B5EF4-FFF2-40B4-BE49-F238E27FC236}">
                  <a16:creationId xmlns:a16="http://schemas.microsoft.com/office/drawing/2014/main" id="{77DB3DE5-998F-8A76-6D78-87A3D8A9F4E7}"/>
                </a:ext>
              </a:extLst>
            </p:cNvPr>
            <p:cNvSpPr txBox="1"/>
            <p:nvPr/>
          </p:nvSpPr>
          <p:spPr bwMode="gray">
            <a:xfrm>
              <a:off x="1526779" y="2896138"/>
              <a:ext cx="1034096" cy="210812"/>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RSV-specific T cells</a:t>
              </a:r>
            </a:p>
          </p:txBody>
        </p:sp>
        <p:sp>
          <p:nvSpPr>
            <p:cNvPr id="26" name="Down Arrow 25">
              <a:extLst>
                <a:ext uri="{FF2B5EF4-FFF2-40B4-BE49-F238E27FC236}">
                  <a16:creationId xmlns:a16="http://schemas.microsoft.com/office/drawing/2014/main" id="{F0899562-EDFD-A999-EAF1-04B815B915EA}"/>
                </a:ext>
              </a:extLst>
            </p:cNvPr>
            <p:cNvSpPr/>
            <p:nvPr/>
          </p:nvSpPr>
          <p:spPr bwMode="gray">
            <a:xfrm>
              <a:off x="1472931" y="2940361"/>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27" name="TextBox 26">
              <a:extLst>
                <a:ext uri="{FF2B5EF4-FFF2-40B4-BE49-F238E27FC236}">
                  <a16:creationId xmlns:a16="http://schemas.microsoft.com/office/drawing/2014/main" id="{E9A08FB6-2945-D953-3F90-B020AD811AC5}"/>
                </a:ext>
              </a:extLst>
            </p:cNvPr>
            <p:cNvSpPr txBox="1"/>
            <p:nvPr/>
          </p:nvSpPr>
          <p:spPr bwMode="gray">
            <a:xfrm>
              <a:off x="1526779" y="3736423"/>
              <a:ext cx="1047405" cy="379035"/>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T-cell signaling</a:t>
              </a:r>
            </a:p>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Cytokine production</a:t>
              </a:r>
            </a:p>
          </p:txBody>
        </p:sp>
        <p:sp>
          <p:nvSpPr>
            <p:cNvPr id="28" name="Down Arrow 27">
              <a:extLst>
                <a:ext uri="{FF2B5EF4-FFF2-40B4-BE49-F238E27FC236}">
                  <a16:creationId xmlns:a16="http://schemas.microsoft.com/office/drawing/2014/main" id="{68558061-AAE6-BE84-8C58-9F2955BAD167}"/>
                </a:ext>
              </a:extLst>
            </p:cNvPr>
            <p:cNvSpPr/>
            <p:nvPr/>
          </p:nvSpPr>
          <p:spPr bwMode="gray">
            <a:xfrm>
              <a:off x="1472931" y="3780646"/>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29" name="Down Arrow 28">
              <a:extLst>
                <a:ext uri="{FF2B5EF4-FFF2-40B4-BE49-F238E27FC236}">
                  <a16:creationId xmlns:a16="http://schemas.microsoft.com/office/drawing/2014/main" id="{1BDBD3EB-01DA-6E50-EF84-D82E437E90A8}"/>
                </a:ext>
              </a:extLst>
            </p:cNvPr>
            <p:cNvSpPr/>
            <p:nvPr/>
          </p:nvSpPr>
          <p:spPr bwMode="gray">
            <a:xfrm>
              <a:off x="1472931" y="3943955"/>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30" name="TextBox 29">
              <a:extLst>
                <a:ext uri="{FF2B5EF4-FFF2-40B4-BE49-F238E27FC236}">
                  <a16:creationId xmlns:a16="http://schemas.microsoft.com/office/drawing/2014/main" id="{A20A1112-DC9F-BD60-86CF-310AF65571BE}"/>
                </a:ext>
              </a:extLst>
            </p:cNvPr>
            <p:cNvSpPr txBox="1"/>
            <p:nvPr/>
          </p:nvSpPr>
          <p:spPr bwMode="gray">
            <a:xfrm>
              <a:off x="4707559" y="1637938"/>
              <a:ext cx="1047405" cy="379035"/>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TLR expression</a:t>
              </a:r>
            </a:p>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Cytokine production</a:t>
              </a:r>
            </a:p>
          </p:txBody>
        </p:sp>
        <p:sp>
          <p:nvSpPr>
            <p:cNvPr id="31" name="Down Arrow 30">
              <a:extLst>
                <a:ext uri="{FF2B5EF4-FFF2-40B4-BE49-F238E27FC236}">
                  <a16:creationId xmlns:a16="http://schemas.microsoft.com/office/drawing/2014/main" id="{CA54222C-2BB5-A5F5-F7D7-BFD1D06B8636}"/>
                </a:ext>
              </a:extLst>
            </p:cNvPr>
            <p:cNvSpPr/>
            <p:nvPr/>
          </p:nvSpPr>
          <p:spPr bwMode="gray">
            <a:xfrm>
              <a:off x="4653711" y="1682161"/>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32" name="Down Arrow 31">
              <a:extLst>
                <a:ext uri="{FF2B5EF4-FFF2-40B4-BE49-F238E27FC236}">
                  <a16:creationId xmlns:a16="http://schemas.microsoft.com/office/drawing/2014/main" id="{E34CFC06-0D01-C9B5-DFCA-19FFF16DBCDC}"/>
                </a:ext>
              </a:extLst>
            </p:cNvPr>
            <p:cNvSpPr/>
            <p:nvPr/>
          </p:nvSpPr>
          <p:spPr bwMode="gray">
            <a:xfrm>
              <a:off x="4653711" y="1845470"/>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33" name="TextBox 32">
              <a:extLst>
                <a:ext uri="{FF2B5EF4-FFF2-40B4-BE49-F238E27FC236}">
                  <a16:creationId xmlns:a16="http://schemas.microsoft.com/office/drawing/2014/main" id="{82F347F4-6D06-34A8-AB6B-270B540F1408}"/>
                </a:ext>
              </a:extLst>
            </p:cNvPr>
            <p:cNvSpPr txBox="1"/>
            <p:nvPr/>
          </p:nvSpPr>
          <p:spPr bwMode="gray">
            <a:xfrm>
              <a:off x="5299251" y="2112368"/>
              <a:ext cx="174679" cy="114989"/>
            </a:xfrm>
            <a:prstGeom prst="rect">
              <a:avLst/>
            </a:prstGeom>
          </p:spPr>
          <p:txBody>
            <a:bodyPr wrap="none" lIns="0" tIns="0" rIns="0" bIns="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IL-6</a:t>
              </a:r>
            </a:p>
          </p:txBody>
        </p:sp>
        <p:sp>
          <p:nvSpPr>
            <p:cNvPr id="34" name="TextBox 33">
              <a:extLst>
                <a:ext uri="{FF2B5EF4-FFF2-40B4-BE49-F238E27FC236}">
                  <a16:creationId xmlns:a16="http://schemas.microsoft.com/office/drawing/2014/main" id="{77CB5F22-6F63-925E-7D66-CE5E0026BE7D}"/>
                </a:ext>
              </a:extLst>
            </p:cNvPr>
            <p:cNvSpPr txBox="1"/>
            <p:nvPr/>
          </p:nvSpPr>
          <p:spPr bwMode="gray">
            <a:xfrm>
              <a:off x="5613532" y="2305478"/>
              <a:ext cx="197969" cy="114989"/>
            </a:xfrm>
            <a:prstGeom prst="rect">
              <a:avLst/>
            </a:prstGeom>
          </p:spPr>
          <p:txBody>
            <a:bodyPr wrap="none" lIns="0" tIns="0" rIns="0" bIns="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TNF</a:t>
              </a:r>
            </a:p>
          </p:txBody>
        </p:sp>
        <p:sp>
          <p:nvSpPr>
            <p:cNvPr id="35" name="TextBox 34">
              <a:extLst>
                <a:ext uri="{FF2B5EF4-FFF2-40B4-BE49-F238E27FC236}">
                  <a16:creationId xmlns:a16="http://schemas.microsoft.com/office/drawing/2014/main" id="{0A1CED4C-C435-EAB8-3F5F-777C3AED20CD}"/>
                </a:ext>
              </a:extLst>
            </p:cNvPr>
            <p:cNvSpPr txBox="1"/>
            <p:nvPr/>
          </p:nvSpPr>
          <p:spPr bwMode="gray">
            <a:xfrm>
              <a:off x="5436902" y="2584644"/>
              <a:ext cx="254532" cy="114989"/>
            </a:xfrm>
            <a:prstGeom prst="rect">
              <a:avLst/>
            </a:prstGeom>
          </p:spPr>
          <p:txBody>
            <a:bodyPr wrap="none" lIns="0" tIns="0" rIns="0" bIns="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IFN-⍺</a:t>
              </a:r>
            </a:p>
          </p:txBody>
        </p:sp>
        <p:sp>
          <p:nvSpPr>
            <p:cNvPr id="36" name="TextBox 35">
              <a:extLst>
                <a:ext uri="{FF2B5EF4-FFF2-40B4-BE49-F238E27FC236}">
                  <a16:creationId xmlns:a16="http://schemas.microsoft.com/office/drawing/2014/main" id="{671F7255-2966-EA2B-05A5-90E0743A59B7}"/>
                </a:ext>
              </a:extLst>
            </p:cNvPr>
            <p:cNvSpPr txBox="1"/>
            <p:nvPr/>
          </p:nvSpPr>
          <p:spPr bwMode="gray">
            <a:xfrm>
              <a:off x="4707559" y="2678402"/>
              <a:ext cx="1247037" cy="210812"/>
            </a:xfrm>
            <a:prstGeom prst="rect">
              <a:avLst/>
            </a:prstGeom>
          </p:spPr>
          <p:txBody>
            <a:bodyPr wrap="none" lIns="45720" tIns="45720" rIns="45720" bIns="45720" rtlCol="0">
              <a:spAutoFit/>
            </a:bodyPr>
            <a:lstStyle/>
            <a:p>
              <a:pPr marL="0" marR="0" lvl="0" indent="0" algn="l" defTabSz="914446" rtl="0" eaLnBrk="1" fontAlgn="auto" latinLnBrk="0" hangingPunct="1">
                <a:lnSpc>
                  <a:spcPct val="9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415363"/>
                  </a:solidFill>
                  <a:effectLst/>
                  <a:uLnTx/>
                  <a:uFillTx/>
                  <a:latin typeface="Roboto"/>
                  <a:ea typeface="+mn-ea"/>
                  <a:cs typeface="+mn-cs"/>
                </a:rPr>
                <a:t>DC migration to the lung</a:t>
              </a:r>
            </a:p>
          </p:txBody>
        </p:sp>
        <p:sp>
          <p:nvSpPr>
            <p:cNvPr id="37" name="Down Arrow 36">
              <a:extLst>
                <a:ext uri="{FF2B5EF4-FFF2-40B4-BE49-F238E27FC236}">
                  <a16:creationId xmlns:a16="http://schemas.microsoft.com/office/drawing/2014/main" id="{F7CAA2BA-7A96-6A3D-39D3-8377F097B281}"/>
                </a:ext>
              </a:extLst>
            </p:cNvPr>
            <p:cNvSpPr/>
            <p:nvPr/>
          </p:nvSpPr>
          <p:spPr bwMode="gray">
            <a:xfrm>
              <a:off x="4653711" y="2722625"/>
              <a:ext cx="67421" cy="105345"/>
            </a:xfrm>
            <a:prstGeom prst="downArrow">
              <a:avLst/>
            </a:prstGeom>
            <a:solidFill>
              <a:schemeClr val="tx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grpSp>
      <p:sp>
        <p:nvSpPr>
          <p:cNvPr id="38" name="Rectangle: Top Corners Rounded 11">
            <a:extLst>
              <a:ext uri="{FF2B5EF4-FFF2-40B4-BE49-F238E27FC236}">
                <a16:creationId xmlns:a16="http://schemas.microsoft.com/office/drawing/2014/main" id="{71115495-C48A-B37C-059A-78DD014F51F8}"/>
              </a:ext>
            </a:extLst>
          </p:cNvPr>
          <p:cNvSpPr/>
          <p:nvPr/>
        </p:nvSpPr>
        <p:spPr bwMode="gray">
          <a:xfrm>
            <a:off x="427681" y="4383433"/>
            <a:ext cx="7033536" cy="503861"/>
          </a:xfrm>
          <a:prstGeom prst="round2SameRect">
            <a:avLst>
              <a:gd name="adj1" fmla="val 31242"/>
              <a:gd name="adj2" fmla="val 0"/>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2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39" name="Rounded Rectangle 38">
            <a:extLst>
              <a:ext uri="{FF2B5EF4-FFF2-40B4-BE49-F238E27FC236}">
                <a16:creationId xmlns:a16="http://schemas.microsoft.com/office/drawing/2014/main" id="{E2E7826B-EF64-3055-45E5-292AEE8B6982}"/>
              </a:ext>
            </a:extLst>
          </p:cNvPr>
          <p:cNvSpPr/>
          <p:nvPr/>
        </p:nvSpPr>
        <p:spPr bwMode="gray">
          <a:xfrm>
            <a:off x="411084" y="4393712"/>
            <a:ext cx="7033537" cy="1525710"/>
          </a:xfrm>
          <a:prstGeom prst="roundRect">
            <a:avLst>
              <a:gd name="adj" fmla="val 8665"/>
            </a:avLst>
          </a:prstGeom>
          <a:noFill/>
          <a:ln w="28575" cap="flat" cmpd="sng" algn="ctr">
            <a:solidFill>
              <a:schemeClr val="accent3"/>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
        <p:nvSpPr>
          <p:cNvPr id="40" name="TextBox 39">
            <a:extLst>
              <a:ext uri="{FF2B5EF4-FFF2-40B4-BE49-F238E27FC236}">
                <a16:creationId xmlns:a16="http://schemas.microsoft.com/office/drawing/2014/main" id="{E74684B5-5D32-1F02-4631-BE5013383AA5}"/>
              </a:ext>
            </a:extLst>
          </p:cNvPr>
          <p:cNvSpPr txBox="1"/>
          <p:nvPr/>
        </p:nvSpPr>
        <p:spPr bwMode="gray">
          <a:xfrm>
            <a:off x="5727100" y="4620571"/>
            <a:ext cx="914400" cy="914400"/>
          </a:xfrm>
          <a:prstGeom prst="rect">
            <a:avLst/>
          </a:prstGeom>
        </p:spPr>
        <p:txBody>
          <a:bodyPr wrap="none" lIns="45720" tIns="45720" rIns="45720" bIns="45720" rtlCol="0">
            <a:noAutofit/>
          </a:bodyPr>
          <a:lstStyle/>
          <a:p>
            <a:pPr marL="171459" marR="0" lvl="0" indent="-171459" algn="l" defTabSz="91444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err="1">
              <a:ln>
                <a:noFill/>
              </a:ln>
              <a:solidFill>
                <a:srgbClr val="415363"/>
              </a:solidFill>
              <a:effectLst/>
              <a:uLnTx/>
              <a:uFillTx/>
              <a:latin typeface="Roboto"/>
              <a:ea typeface="+mn-ea"/>
              <a:cs typeface="+mn-cs"/>
            </a:endParaRPr>
          </a:p>
        </p:txBody>
      </p:sp>
      <p:sp>
        <p:nvSpPr>
          <p:cNvPr id="41" name="TextBox 40">
            <a:extLst>
              <a:ext uri="{FF2B5EF4-FFF2-40B4-BE49-F238E27FC236}">
                <a16:creationId xmlns:a16="http://schemas.microsoft.com/office/drawing/2014/main" id="{5FFAFD7C-0830-6520-FF69-85895ADAB42F}"/>
              </a:ext>
            </a:extLst>
          </p:cNvPr>
          <p:cNvSpPr txBox="1"/>
          <p:nvPr/>
        </p:nvSpPr>
        <p:spPr bwMode="gray">
          <a:xfrm>
            <a:off x="6128308" y="6027822"/>
            <a:ext cx="0" cy="0"/>
          </a:xfrm>
          <a:prstGeom prst="rect">
            <a:avLst/>
          </a:prstGeom>
        </p:spPr>
        <p:txBody>
          <a:bodyPr wrap="none" lIns="45720" tIns="45720" rIns="45720" bIns="45720" rtlCol="0">
            <a:noAutofit/>
          </a:bodyPr>
          <a:lstStyle/>
          <a:p>
            <a:pPr marL="171459" marR="0" lvl="0" indent="-171459" algn="l" defTabSz="91444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err="1">
              <a:ln>
                <a:noFill/>
              </a:ln>
              <a:solidFill>
                <a:srgbClr val="415363"/>
              </a:solidFill>
              <a:effectLst/>
              <a:uLnTx/>
              <a:uFillTx/>
              <a:latin typeface="Roboto"/>
              <a:ea typeface="+mn-ea"/>
              <a:cs typeface="+mn-cs"/>
            </a:endParaRPr>
          </a:p>
        </p:txBody>
      </p:sp>
      <p:sp>
        <p:nvSpPr>
          <p:cNvPr id="42" name="TextBox 41">
            <a:extLst>
              <a:ext uri="{FF2B5EF4-FFF2-40B4-BE49-F238E27FC236}">
                <a16:creationId xmlns:a16="http://schemas.microsoft.com/office/drawing/2014/main" id="{DD32FEAD-EED7-5944-145C-A9AE394FBD10}"/>
              </a:ext>
            </a:extLst>
          </p:cNvPr>
          <p:cNvSpPr txBox="1"/>
          <p:nvPr/>
        </p:nvSpPr>
        <p:spPr bwMode="gray">
          <a:xfrm>
            <a:off x="488935" y="4480162"/>
            <a:ext cx="6846672" cy="328015"/>
          </a:xfrm>
          <a:prstGeom prst="rect">
            <a:avLst/>
          </a:prstGeom>
        </p:spPr>
        <p:txBody>
          <a:bodyPr wrap="square" lIns="45720" tIns="45720" rIns="45720" bIns="45720" rtlCol="0" anchor="t">
            <a:noAutofit/>
          </a:bodyPr>
          <a:lstStyle/>
          <a:p>
            <a:pPr marL="0" marR="0" lvl="0" indent="0" algn="ctr" defTabSz="914446" rtl="0" eaLnBrk="1" fontAlgn="auto" latinLnBrk="0" hangingPunct="1">
              <a:lnSpc>
                <a:spcPct val="90000"/>
              </a:lnSpc>
              <a:spcBef>
                <a:spcPts val="1000"/>
              </a:spcBef>
              <a:spcAft>
                <a:spcPts val="0"/>
              </a:spcAft>
              <a:buClrTx/>
              <a:buSzTx/>
              <a:buFontTx/>
              <a:buNone/>
              <a:tabLst/>
              <a:defRPr/>
            </a:pP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Các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yếu</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tố</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nguy</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cơ</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liên</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quan</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đến</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tuổi</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 bao </a:t>
            </a:r>
            <a:r>
              <a:rPr kumimoji="0" lang="en-US" sz="1800" b="1" i="0" u="none" strike="noStrike" kern="1200" cap="none" spc="0" normalizeH="0" baseline="0" noProof="0" err="1">
                <a:ln>
                  <a:noFill/>
                </a:ln>
                <a:solidFill>
                  <a:srgbClr val="415363">
                    <a:lumMod val="49000"/>
                  </a:srgbClr>
                </a:solidFill>
                <a:effectLst/>
                <a:uLnTx/>
                <a:uFillTx/>
                <a:latin typeface="Roboto"/>
                <a:ea typeface="+mn-ea"/>
                <a:cs typeface="+mn-cs"/>
              </a:rPr>
              <a:t>gồm</a:t>
            </a:r>
            <a:r>
              <a:rPr kumimoji="0" lang="en-US" sz="1800" b="1" i="0" u="none" strike="noStrike" kern="1200" cap="none" spc="0" normalizeH="0" baseline="0" noProof="0">
                <a:ln>
                  <a:noFill/>
                </a:ln>
                <a:solidFill>
                  <a:srgbClr val="415363">
                    <a:lumMod val="49000"/>
                  </a:srgbClr>
                </a:solidFill>
                <a:effectLst/>
                <a:uLnTx/>
                <a:uFillTx/>
                <a:latin typeface="Roboto"/>
                <a:ea typeface="+mn-ea"/>
                <a:cs typeface="+mn-cs"/>
              </a:rPr>
              <a:t>:</a:t>
            </a:r>
            <a:endParaRPr kumimoji="0" lang="en-US" sz="1800" b="1" i="0" u="none" strike="noStrike" kern="1200" cap="none" spc="0" normalizeH="0" baseline="30000" noProof="0">
              <a:ln>
                <a:noFill/>
              </a:ln>
              <a:solidFill>
                <a:srgbClr val="415363">
                  <a:lumMod val="49000"/>
                </a:srgbClr>
              </a:solidFill>
              <a:effectLst/>
              <a:uLnTx/>
              <a:uFillTx/>
              <a:latin typeface="Roboto"/>
              <a:ea typeface="Times New Roman" panose="02020603050405020304" pitchFamily="18" charset="0"/>
              <a:cs typeface="Calibri" panose="020F0502020204030204" pitchFamily="34" charset="0"/>
            </a:endParaRPr>
          </a:p>
        </p:txBody>
      </p:sp>
      <p:sp>
        <p:nvSpPr>
          <p:cNvPr id="43" name="Rounded Rectangle 42">
            <a:extLst>
              <a:ext uri="{FF2B5EF4-FFF2-40B4-BE49-F238E27FC236}">
                <a16:creationId xmlns:a16="http://schemas.microsoft.com/office/drawing/2014/main" id="{34BD5EDD-D793-BB98-A757-5B9CADF040CB}"/>
              </a:ext>
            </a:extLst>
          </p:cNvPr>
          <p:cNvSpPr/>
          <p:nvPr/>
        </p:nvSpPr>
        <p:spPr bwMode="gray">
          <a:xfrm>
            <a:off x="7572433" y="4377314"/>
            <a:ext cx="4208043" cy="1525710"/>
          </a:xfrm>
          <a:prstGeom prst="roundRect">
            <a:avLst>
              <a:gd name="adj" fmla="val 8665"/>
            </a:avLst>
          </a:prstGeom>
          <a:noFill/>
          <a:ln w="28575" cap="flat" cmpd="sng" algn="ctr">
            <a:solidFill>
              <a:schemeClr val="accent3"/>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46" rtl="0" eaLnBrk="1" fontAlgn="base" latinLnBrk="0" hangingPunct="1">
              <a:lnSpc>
                <a:spcPct val="90000"/>
              </a:lnSpc>
              <a:spcBef>
                <a:spcPts val="0"/>
              </a:spcBef>
              <a:spcAft>
                <a:spcPct val="0"/>
              </a:spcAft>
              <a:buClr>
                <a:srgbClr val="415364"/>
              </a:buClr>
              <a:buSzPct val="90000"/>
              <a:buFontTx/>
              <a:buNone/>
              <a:tabLst/>
              <a:defRPr/>
            </a:pPr>
            <a:endParaRPr kumimoji="0" lang="en-US" sz="1800" b="1" i="0" u="none" strike="noStrike" kern="1200" cap="none" spc="0" normalizeH="0" baseline="0" noProof="0">
              <a:ln>
                <a:noFill/>
              </a:ln>
              <a:solidFill>
                <a:srgbClr val="00ACB3"/>
              </a:solidFill>
              <a:effectLst/>
              <a:uLnTx/>
              <a:uFillTx/>
              <a:latin typeface="Comfortaa SemiBold"/>
              <a:ea typeface="+mn-ea"/>
              <a:cs typeface="+mn-cs"/>
            </a:endParaRPr>
          </a:p>
        </p:txBody>
      </p:sp>
    </p:spTree>
    <p:extLst>
      <p:ext uri="{BB962C8B-B14F-4D97-AF65-F5344CB8AC3E}">
        <p14:creationId xmlns:p14="http://schemas.microsoft.com/office/powerpoint/2010/main" val="3577414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591" y="974051"/>
            <a:ext cx="12188825" cy="5275293"/>
            <a:chOff x="0" y="0"/>
            <a:chExt cx="4816593" cy="2159531"/>
          </a:xfrm>
        </p:grpSpPr>
        <p:sp>
          <p:nvSpPr>
            <p:cNvPr id="4" name="Freeform 3"/>
            <p:cNvSpPr/>
            <p:nvPr/>
          </p:nvSpPr>
          <p:spPr>
            <a:xfrm>
              <a:off x="0" y="0"/>
              <a:ext cx="4816592" cy="2159531"/>
            </a:xfrm>
            <a:custGeom>
              <a:avLst/>
              <a:gdLst/>
              <a:ahLst/>
              <a:cxnLst/>
              <a:rect l="l" t="t" r="r" b="b"/>
              <a:pathLst>
                <a:path w="4816592" h="2159531">
                  <a:moveTo>
                    <a:pt x="0" y="0"/>
                  </a:moveTo>
                  <a:lnTo>
                    <a:pt x="4816592" y="0"/>
                  </a:lnTo>
                  <a:lnTo>
                    <a:pt x="4816592" y="2159531"/>
                  </a:lnTo>
                  <a:lnTo>
                    <a:pt x="0" y="2159531"/>
                  </a:lnTo>
                  <a:close/>
                </a:path>
              </a:pathLst>
            </a:custGeom>
            <a:solidFill>
              <a:srgbClr val="FFFFFF"/>
            </a:solidFill>
          </p:spPr>
          <p:txBody>
            <a:bodyPr/>
            <a:lstStyle/>
            <a:p>
              <a:pPr defTabSz="914446">
                <a:defRPr/>
              </a:pPr>
              <a:endParaRPr lang="en-US">
                <a:solidFill>
                  <a:srgbClr val="415363"/>
                </a:solidFill>
                <a:latin typeface="Roboto"/>
              </a:endParaRPr>
            </a:p>
          </p:txBody>
        </p:sp>
        <p:sp>
          <p:nvSpPr>
            <p:cNvPr id="5" name="TextBox 4"/>
            <p:cNvSpPr txBox="1"/>
            <p:nvPr/>
          </p:nvSpPr>
          <p:spPr>
            <a:xfrm>
              <a:off x="0" y="38100"/>
              <a:ext cx="4816593" cy="2121431"/>
            </a:xfrm>
            <a:prstGeom prst="rect">
              <a:avLst/>
            </a:prstGeom>
          </p:spPr>
          <p:txBody>
            <a:bodyPr lIns="50800" tIns="50800" rIns="50800" bIns="50800" rtlCol="0" anchor="ctr"/>
            <a:lstStyle/>
            <a:p>
              <a:pPr algn="ctr" defTabSz="914446">
                <a:lnSpc>
                  <a:spcPts val="2199"/>
                </a:lnSpc>
                <a:defRPr/>
              </a:pPr>
              <a:endParaRPr>
                <a:solidFill>
                  <a:srgbClr val="415363"/>
                </a:solidFill>
                <a:latin typeface="Roboto"/>
              </a:endParaRPr>
            </a:p>
          </p:txBody>
        </p:sp>
      </p:grpSp>
      <p:sp>
        <p:nvSpPr>
          <p:cNvPr id="6" name="Rectangle: Rounded Corners 40">
            <a:extLst>
              <a:ext uri="{FF2B5EF4-FFF2-40B4-BE49-F238E27FC236}">
                <a16:creationId xmlns:a16="http://schemas.microsoft.com/office/drawing/2014/main" id="{EC4A8DD5-BB06-4887-A323-FD640C1DEF56}"/>
              </a:ext>
            </a:extLst>
          </p:cNvPr>
          <p:cNvSpPr/>
          <p:nvPr/>
        </p:nvSpPr>
        <p:spPr bwMode="gray">
          <a:xfrm>
            <a:off x="8180029" y="1310471"/>
            <a:ext cx="3410675" cy="1724635"/>
          </a:xfrm>
          <a:prstGeom prst="roundRect">
            <a:avLst/>
          </a:prstGeom>
          <a:noFill/>
          <a:ln w="28575" cap="flat" cmpd="sng" algn="ctr">
            <a:solidFill>
              <a:schemeClr val="bg1">
                <a:lumMod val="9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sp>
        <p:nvSpPr>
          <p:cNvPr id="7" name="Rectangle: Rounded Corners 39">
            <a:extLst>
              <a:ext uri="{FF2B5EF4-FFF2-40B4-BE49-F238E27FC236}">
                <a16:creationId xmlns:a16="http://schemas.microsoft.com/office/drawing/2014/main" id="{C46797F0-2E11-4C3A-9665-2B3C7C9B4CED}"/>
              </a:ext>
            </a:extLst>
          </p:cNvPr>
          <p:cNvSpPr/>
          <p:nvPr/>
        </p:nvSpPr>
        <p:spPr bwMode="gray">
          <a:xfrm>
            <a:off x="4370760" y="1295432"/>
            <a:ext cx="3410675" cy="1724635"/>
          </a:xfrm>
          <a:prstGeom prst="roundRect">
            <a:avLst/>
          </a:prstGeom>
          <a:noFill/>
          <a:ln w="28575" cap="flat" cmpd="sng" algn="ctr">
            <a:solidFill>
              <a:schemeClr val="bg1">
                <a:lumMod val="9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sp>
        <p:nvSpPr>
          <p:cNvPr id="8" name="Rectangle: Rounded Corners 34">
            <a:extLst>
              <a:ext uri="{FF2B5EF4-FFF2-40B4-BE49-F238E27FC236}">
                <a16:creationId xmlns:a16="http://schemas.microsoft.com/office/drawing/2014/main" id="{72BAE665-2176-419D-AFB4-E5BE98E4324B}"/>
              </a:ext>
            </a:extLst>
          </p:cNvPr>
          <p:cNvSpPr/>
          <p:nvPr/>
        </p:nvSpPr>
        <p:spPr bwMode="gray">
          <a:xfrm>
            <a:off x="513986" y="1293869"/>
            <a:ext cx="3410675" cy="1724635"/>
          </a:xfrm>
          <a:prstGeom prst="roundRect">
            <a:avLst/>
          </a:prstGeom>
          <a:noFill/>
          <a:ln w="28575" cap="flat" cmpd="sng" algn="ctr">
            <a:solidFill>
              <a:schemeClr val="bg1">
                <a:lumMod val="9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sp>
        <p:nvSpPr>
          <p:cNvPr id="9" name="Title 4">
            <a:extLst>
              <a:ext uri="{FF2B5EF4-FFF2-40B4-BE49-F238E27FC236}">
                <a16:creationId xmlns:a16="http://schemas.microsoft.com/office/drawing/2014/main" id="{EC0A06C4-66A2-4577-AE15-E2DB61A38F96}"/>
              </a:ext>
            </a:extLst>
          </p:cNvPr>
          <p:cNvSpPr txBox="1">
            <a:spLocks/>
          </p:cNvSpPr>
          <p:nvPr/>
        </p:nvSpPr>
        <p:spPr>
          <a:xfrm>
            <a:off x="432400" y="403507"/>
            <a:ext cx="11292840" cy="585744"/>
          </a:xfrm>
          <a:prstGeom prst="rect">
            <a:avLst/>
          </a:prstGeom>
        </p:spPr>
        <p:txBody>
          <a:bodyPr/>
          <a:lstStyle>
            <a:lvl1pPr algn="l" defTabSz="914400" rtl="0" eaLnBrk="1" latinLnBrk="0" hangingPunct="1">
              <a:lnSpc>
                <a:spcPct val="85000"/>
              </a:lnSpc>
              <a:spcBef>
                <a:spcPts val="0"/>
              </a:spcBef>
              <a:buNone/>
              <a:defRPr lang="en-US" sz="2200" b="1" kern="1200" dirty="0">
                <a:solidFill>
                  <a:schemeClr val="tx1"/>
                </a:solidFill>
                <a:latin typeface="+mj-lt"/>
                <a:ea typeface="+mj-ea"/>
                <a:cs typeface="+mj-cs"/>
              </a:defRPr>
            </a:lvl1pPr>
          </a:lstStyle>
          <a:p>
            <a:pPr algn="ctr" defTabSz="914446">
              <a:defRPr/>
            </a:pPr>
            <a:r>
              <a:rPr lang="vi-VN" sz="3200" dirty="0">
                <a:solidFill>
                  <a:srgbClr val="002060"/>
                </a:solidFill>
                <a:latin typeface="Calibri" panose="020F0502020204030204" pitchFamily="34" charset="0"/>
                <a:ea typeface="Calibri" panose="020F0502020204030204" pitchFamily="34" charset="0"/>
                <a:cs typeface="Calibri" panose="020F0502020204030204" pitchFamily="34" charset="0"/>
              </a:rPr>
              <a:t>Hiện tại, điều trị </a:t>
            </a:r>
            <a:r>
              <a:rPr lang="en-US" sz="3200" dirty="0" err="1">
                <a:solidFill>
                  <a:srgbClr val="002060"/>
                </a:solidFill>
                <a:latin typeface="Calibri" panose="020F0502020204030204" pitchFamily="34" charset="0"/>
                <a:ea typeface="Calibri" panose="020F0502020204030204" pitchFamily="34" charset="0"/>
                <a:cs typeface="Calibri" panose="020F0502020204030204" pitchFamily="34" charset="0"/>
              </a:rPr>
              <a:t>nhiễm</a:t>
            </a:r>
            <a:r>
              <a:rPr lang="en-US" sz="32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dirty="0" err="1">
                <a:solidFill>
                  <a:srgbClr val="002060"/>
                </a:solidFill>
                <a:latin typeface="Calibri" panose="020F0502020204030204" pitchFamily="34" charset="0"/>
                <a:ea typeface="Calibri" panose="020F0502020204030204" pitchFamily="34" charset="0"/>
                <a:cs typeface="Calibri" panose="020F0502020204030204" pitchFamily="34" charset="0"/>
              </a:rPr>
              <a:t>trùng</a:t>
            </a:r>
            <a:r>
              <a:rPr lang="vi-VN" sz="3200" dirty="0">
                <a:solidFill>
                  <a:srgbClr val="002060"/>
                </a:solidFill>
                <a:latin typeface="Calibri" panose="020F0502020204030204" pitchFamily="34" charset="0"/>
                <a:ea typeface="Calibri" panose="020F0502020204030204" pitchFamily="34" charset="0"/>
                <a:cs typeface="Calibri" panose="020F0502020204030204" pitchFamily="34" charset="0"/>
              </a:rPr>
              <a:t> RSV chủ yếu là</a:t>
            </a:r>
            <a:r>
              <a:rPr lang="en-US" sz="32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dirty="0" err="1">
                <a:solidFill>
                  <a:srgbClr val="002060"/>
                </a:solidFill>
                <a:latin typeface="Calibri" panose="020F0502020204030204" pitchFamily="34" charset="0"/>
                <a:ea typeface="Calibri" panose="020F0502020204030204" pitchFamily="34" charset="0"/>
                <a:cs typeface="Calibri" panose="020F0502020204030204" pitchFamily="34" charset="0"/>
              </a:rPr>
              <a:t>các</a:t>
            </a:r>
            <a:r>
              <a:rPr lang="en-US" sz="32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dirty="0" err="1">
                <a:solidFill>
                  <a:srgbClr val="002060"/>
                </a:solidFill>
                <a:latin typeface="Calibri" panose="020F0502020204030204" pitchFamily="34" charset="0"/>
                <a:ea typeface="Calibri" panose="020F0502020204030204" pitchFamily="34" charset="0"/>
                <a:cs typeface="Calibri" panose="020F0502020204030204" pitchFamily="34" charset="0"/>
              </a:rPr>
              <a:t>biện</a:t>
            </a:r>
            <a:r>
              <a:rPr lang="en-US" sz="32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dirty="0" err="1">
                <a:solidFill>
                  <a:srgbClr val="002060"/>
                </a:solidFill>
                <a:latin typeface="Calibri" panose="020F0502020204030204" pitchFamily="34" charset="0"/>
                <a:ea typeface="Calibri" panose="020F0502020204030204" pitchFamily="34" charset="0"/>
                <a:cs typeface="Calibri" panose="020F0502020204030204" pitchFamily="34" charset="0"/>
              </a:rPr>
              <a:t>pháp</a:t>
            </a:r>
            <a:r>
              <a:rPr lang="vi-VN" sz="3200" dirty="0">
                <a:solidFill>
                  <a:srgbClr val="002060"/>
                </a:solidFill>
                <a:latin typeface="Calibri" panose="020F0502020204030204" pitchFamily="34" charset="0"/>
                <a:ea typeface="Calibri" panose="020F0502020204030204" pitchFamily="34" charset="0"/>
                <a:cs typeface="Calibri" panose="020F0502020204030204" pitchFamily="34" charset="0"/>
              </a:rPr>
              <a:t> hỗ trợ</a:t>
            </a:r>
            <a:endParaRPr lang="en-US" sz="32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Footer Placeholder 1">
            <a:extLst>
              <a:ext uri="{FF2B5EF4-FFF2-40B4-BE49-F238E27FC236}">
                <a16:creationId xmlns:a16="http://schemas.microsoft.com/office/drawing/2014/main" id="{3260211A-B8F8-4452-6F42-548E1F78C4CE}"/>
              </a:ext>
            </a:extLst>
          </p:cNvPr>
          <p:cNvSpPr>
            <a:spLocks noGrp="1"/>
          </p:cNvSpPr>
          <p:nvPr>
            <p:ph type="ftr" sz="quarter" idx="10"/>
          </p:nvPr>
        </p:nvSpPr>
        <p:spPr>
          <a:xfrm>
            <a:off x="484463" y="6330874"/>
            <a:ext cx="11292839" cy="379840"/>
          </a:xfrm>
          <a:prstGeom prst="rect">
            <a:avLst/>
          </a:prstGeom>
        </p:spPr>
        <p:txBody>
          <a:bodyPr/>
          <a:lstStyle/>
          <a:p>
            <a:pPr algn="l" defTabSz="914446">
              <a:defRPr/>
            </a:pPr>
            <a:r>
              <a:rPr lang="en-US" sz="800">
                <a:solidFill>
                  <a:srgbClr val="415363"/>
                </a:solidFill>
                <a:latin typeface="Roboto"/>
              </a:rPr>
              <a:t>RSV, respiratory syncytial virus.</a:t>
            </a:r>
          </a:p>
          <a:p>
            <a:pPr algn="l" defTabSz="914446">
              <a:defRPr/>
            </a:pPr>
            <a:r>
              <a:rPr lang="en-US" sz="800">
                <a:solidFill>
                  <a:srgbClr val="415363"/>
                </a:solidFill>
                <a:latin typeface="Roboto"/>
              </a:rPr>
              <a:t>1. </a:t>
            </a:r>
            <a:r>
              <a:rPr lang="en-US" sz="800" err="1">
                <a:solidFill>
                  <a:srgbClr val="415363"/>
                </a:solidFill>
                <a:latin typeface="Roboto"/>
              </a:rPr>
              <a:t>Domachowske</a:t>
            </a:r>
            <a:r>
              <a:rPr lang="en-US" sz="800">
                <a:solidFill>
                  <a:srgbClr val="415363"/>
                </a:solidFill>
                <a:latin typeface="Roboto"/>
              </a:rPr>
              <a:t> JB, et al. </a:t>
            </a:r>
            <a:r>
              <a:rPr lang="en-US" sz="800" i="1">
                <a:solidFill>
                  <a:srgbClr val="415363"/>
                </a:solidFill>
                <a:latin typeface="Roboto"/>
                <a:hlinkClick r:id="rId3"/>
              </a:rPr>
              <a:t>Infect Dis </a:t>
            </a:r>
            <a:r>
              <a:rPr lang="en-US" sz="800" i="1" err="1">
                <a:solidFill>
                  <a:srgbClr val="415363"/>
                </a:solidFill>
                <a:latin typeface="Roboto"/>
                <a:hlinkClick r:id="rId3"/>
              </a:rPr>
              <a:t>Ther</a:t>
            </a:r>
            <a:r>
              <a:rPr lang="en-US" sz="800">
                <a:solidFill>
                  <a:srgbClr val="415363"/>
                </a:solidFill>
                <a:latin typeface="Roboto"/>
              </a:rPr>
              <a:t>. 2021;10(suppl 1):S47-S60.</a:t>
            </a:r>
          </a:p>
        </p:txBody>
      </p:sp>
      <p:grpSp>
        <p:nvGrpSpPr>
          <p:cNvPr id="13" name="Group 12">
            <a:extLst>
              <a:ext uri="{FF2B5EF4-FFF2-40B4-BE49-F238E27FC236}">
                <a16:creationId xmlns:a16="http://schemas.microsoft.com/office/drawing/2014/main" id="{5BF9250E-3224-791E-9B56-F1201B8D4E01}"/>
              </a:ext>
            </a:extLst>
          </p:cNvPr>
          <p:cNvGrpSpPr/>
          <p:nvPr/>
        </p:nvGrpSpPr>
        <p:grpSpPr>
          <a:xfrm>
            <a:off x="8171144" y="1598612"/>
            <a:ext cx="3440333" cy="3010662"/>
            <a:chOff x="8130225" y="1423001"/>
            <a:chExt cx="3440333" cy="3010662"/>
          </a:xfrm>
        </p:grpSpPr>
        <p:grpSp>
          <p:nvGrpSpPr>
            <p:cNvPr id="14" name="Group 13">
              <a:extLst>
                <a:ext uri="{FF2B5EF4-FFF2-40B4-BE49-F238E27FC236}">
                  <a16:creationId xmlns:a16="http://schemas.microsoft.com/office/drawing/2014/main" id="{BE93939D-E7A5-1BBB-BDC9-4D42810729FE}"/>
                </a:ext>
              </a:extLst>
            </p:cNvPr>
            <p:cNvGrpSpPr/>
            <p:nvPr/>
          </p:nvGrpSpPr>
          <p:grpSpPr>
            <a:xfrm>
              <a:off x="8130225" y="1423001"/>
              <a:ext cx="3434470" cy="3010662"/>
              <a:chOff x="7877431" y="1423001"/>
              <a:chExt cx="3434470" cy="3010662"/>
            </a:xfrm>
          </p:grpSpPr>
          <p:grpSp>
            <p:nvGrpSpPr>
              <p:cNvPr id="16" name="Graphic 23" descr="Medicine">
                <a:extLst>
                  <a:ext uri="{FF2B5EF4-FFF2-40B4-BE49-F238E27FC236}">
                    <a16:creationId xmlns:a16="http://schemas.microsoft.com/office/drawing/2014/main" id="{A6D770B5-8C9D-F2DE-2C3A-9EEB5848BCEF}"/>
                  </a:ext>
                </a:extLst>
              </p:cNvPr>
              <p:cNvGrpSpPr/>
              <p:nvPr/>
            </p:nvGrpSpPr>
            <p:grpSpPr>
              <a:xfrm>
                <a:off x="9383891" y="1423001"/>
                <a:ext cx="545086" cy="778695"/>
                <a:chOff x="8780304" y="1447090"/>
                <a:chExt cx="662817" cy="946882"/>
              </a:xfrm>
              <a:solidFill>
                <a:schemeClr val="accent3"/>
              </a:solidFill>
            </p:grpSpPr>
            <p:sp>
              <p:nvSpPr>
                <p:cNvPr id="20" name="Freeform: Shape 12">
                  <a:extLst>
                    <a:ext uri="{FF2B5EF4-FFF2-40B4-BE49-F238E27FC236}">
                      <a16:creationId xmlns:a16="http://schemas.microsoft.com/office/drawing/2014/main" id="{640F6A28-AC86-93C2-9E90-7905E7C264DE}"/>
                    </a:ext>
                  </a:extLst>
                </p:cNvPr>
                <p:cNvSpPr/>
                <p:nvPr/>
              </p:nvSpPr>
              <p:spPr>
                <a:xfrm>
                  <a:off x="8780304" y="1447090"/>
                  <a:ext cx="520785" cy="852194"/>
                </a:xfrm>
                <a:custGeom>
                  <a:avLst/>
                  <a:gdLst>
                    <a:gd name="connsiteX0" fmla="*/ 520785 w 520785"/>
                    <a:gd name="connsiteY0" fmla="*/ 710162 h 852194"/>
                    <a:gd name="connsiteX1" fmla="*/ 520785 w 520785"/>
                    <a:gd name="connsiteY1" fmla="*/ 615474 h 852194"/>
                    <a:gd name="connsiteX2" fmla="*/ 118360 w 520785"/>
                    <a:gd name="connsiteY2" fmla="*/ 615474 h 852194"/>
                    <a:gd name="connsiteX3" fmla="*/ 94688 w 520785"/>
                    <a:gd name="connsiteY3" fmla="*/ 591802 h 852194"/>
                    <a:gd name="connsiteX4" fmla="*/ 94688 w 520785"/>
                    <a:gd name="connsiteY4" fmla="*/ 355081 h 852194"/>
                    <a:gd name="connsiteX5" fmla="*/ 118360 w 520785"/>
                    <a:gd name="connsiteY5" fmla="*/ 331409 h 852194"/>
                    <a:gd name="connsiteX6" fmla="*/ 520785 w 520785"/>
                    <a:gd name="connsiteY6" fmla="*/ 331409 h 852194"/>
                    <a:gd name="connsiteX7" fmla="*/ 520785 w 520785"/>
                    <a:gd name="connsiteY7" fmla="*/ 236721 h 852194"/>
                    <a:gd name="connsiteX8" fmla="*/ 473441 w 520785"/>
                    <a:gd name="connsiteY8" fmla="*/ 189377 h 852194"/>
                    <a:gd name="connsiteX9" fmla="*/ 432015 w 520785"/>
                    <a:gd name="connsiteY9" fmla="*/ 189377 h 852194"/>
                    <a:gd name="connsiteX10" fmla="*/ 426097 w 520785"/>
                    <a:gd name="connsiteY10" fmla="*/ 183458 h 852194"/>
                    <a:gd name="connsiteX11" fmla="*/ 426097 w 520785"/>
                    <a:gd name="connsiteY11" fmla="*/ 147950 h 852194"/>
                    <a:gd name="connsiteX12" fmla="*/ 432015 w 520785"/>
                    <a:gd name="connsiteY12" fmla="*/ 142032 h 852194"/>
                    <a:gd name="connsiteX13" fmla="*/ 461605 w 520785"/>
                    <a:gd name="connsiteY13" fmla="*/ 142032 h 852194"/>
                    <a:gd name="connsiteX14" fmla="*/ 473441 w 520785"/>
                    <a:gd name="connsiteY14" fmla="*/ 130196 h 852194"/>
                    <a:gd name="connsiteX15" fmla="*/ 473441 w 520785"/>
                    <a:gd name="connsiteY15" fmla="*/ 47344 h 852194"/>
                    <a:gd name="connsiteX16" fmla="*/ 426097 w 520785"/>
                    <a:gd name="connsiteY16" fmla="*/ 0 h 852194"/>
                    <a:gd name="connsiteX17" fmla="*/ 94688 w 520785"/>
                    <a:gd name="connsiteY17" fmla="*/ 0 h 852194"/>
                    <a:gd name="connsiteX18" fmla="*/ 47344 w 520785"/>
                    <a:gd name="connsiteY18" fmla="*/ 47344 h 852194"/>
                    <a:gd name="connsiteX19" fmla="*/ 47344 w 520785"/>
                    <a:gd name="connsiteY19" fmla="*/ 130196 h 852194"/>
                    <a:gd name="connsiteX20" fmla="*/ 59180 w 520785"/>
                    <a:gd name="connsiteY20" fmla="*/ 142032 h 852194"/>
                    <a:gd name="connsiteX21" fmla="*/ 88770 w 520785"/>
                    <a:gd name="connsiteY21" fmla="*/ 142032 h 852194"/>
                    <a:gd name="connsiteX22" fmla="*/ 94688 w 520785"/>
                    <a:gd name="connsiteY22" fmla="*/ 147950 h 852194"/>
                    <a:gd name="connsiteX23" fmla="*/ 94688 w 520785"/>
                    <a:gd name="connsiteY23" fmla="*/ 183458 h 852194"/>
                    <a:gd name="connsiteX24" fmla="*/ 88770 w 520785"/>
                    <a:gd name="connsiteY24" fmla="*/ 189377 h 852194"/>
                    <a:gd name="connsiteX25" fmla="*/ 47344 w 520785"/>
                    <a:gd name="connsiteY25" fmla="*/ 189377 h 852194"/>
                    <a:gd name="connsiteX26" fmla="*/ 0 w 520785"/>
                    <a:gd name="connsiteY26" fmla="*/ 236721 h 852194"/>
                    <a:gd name="connsiteX27" fmla="*/ 0 w 520785"/>
                    <a:gd name="connsiteY27" fmla="*/ 804850 h 852194"/>
                    <a:gd name="connsiteX28" fmla="*/ 47344 w 520785"/>
                    <a:gd name="connsiteY28" fmla="*/ 852194 h 852194"/>
                    <a:gd name="connsiteX29" fmla="*/ 213049 w 520785"/>
                    <a:gd name="connsiteY29" fmla="*/ 852194 h 852194"/>
                    <a:gd name="connsiteX30" fmla="*/ 355081 w 520785"/>
                    <a:gd name="connsiteY30" fmla="*/ 710162 h 852194"/>
                    <a:gd name="connsiteX31" fmla="*/ 520785 w 520785"/>
                    <a:gd name="connsiteY31" fmla="*/ 710162 h 85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0785" h="852194">
                      <a:moveTo>
                        <a:pt x="520785" y="710162"/>
                      </a:moveTo>
                      <a:lnTo>
                        <a:pt x="520785" y="615474"/>
                      </a:lnTo>
                      <a:lnTo>
                        <a:pt x="118360" y="615474"/>
                      </a:lnTo>
                      <a:cubicBezTo>
                        <a:pt x="105341" y="615474"/>
                        <a:pt x="94688" y="604821"/>
                        <a:pt x="94688" y="591802"/>
                      </a:cubicBezTo>
                      <a:lnTo>
                        <a:pt x="94688" y="355081"/>
                      </a:lnTo>
                      <a:cubicBezTo>
                        <a:pt x="94688" y="342061"/>
                        <a:pt x="105341" y="331409"/>
                        <a:pt x="118360" y="331409"/>
                      </a:cubicBezTo>
                      <a:lnTo>
                        <a:pt x="520785" y="331409"/>
                      </a:lnTo>
                      <a:lnTo>
                        <a:pt x="520785" y="236721"/>
                      </a:lnTo>
                      <a:cubicBezTo>
                        <a:pt x="520785" y="210681"/>
                        <a:pt x="499481" y="189377"/>
                        <a:pt x="473441" y="189377"/>
                      </a:cubicBezTo>
                      <a:lnTo>
                        <a:pt x="432015" y="189377"/>
                      </a:lnTo>
                      <a:cubicBezTo>
                        <a:pt x="428464" y="189377"/>
                        <a:pt x="426097" y="187009"/>
                        <a:pt x="426097" y="183458"/>
                      </a:cubicBezTo>
                      <a:lnTo>
                        <a:pt x="426097" y="147950"/>
                      </a:lnTo>
                      <a:cubicBezTo>
                        <a:pt x="426097" y="144400"/>
                        <a:pt x="428464" y="142032"/>
                        <a:pt x="432015" y="142032"/>
                      </a:cubicBezTo>
                      <a:lnTo>
                        <a:pt x="461605" y="142032"/>
                      </a:lnTo>
                      <a:cubicBezTo>
                        <a:pt x="468707" y="142032"/>
                        <a:pt x="473441" y="137298"/>
                        <a:pt x="473441" y="130196"/>
                      </a:cubicBezTo>
                      <a:lnTo>
                        <a:pt x="473441" y="47344"/>
                      </a:lnTo>
                      <a:cubicBezTo>
                        <a:pt x="473441" y="21305"/>
                        <a:pt x="452136" y="0"/>
                        <a:pt x="426097" y="0"/>
                      </a:cubicBezTo>
                      <a:lnTo>
                        <a:pt x="94688" y="0"/>
                      </a:lnTo>
                      <a:cubicBezTo>
                        <a:pt x="68649" y="0"/>
                        <a:pt x="47344" y="21305"/>
                        <a:pt x="47344" y="47344"/>
                      </a:cubicBezTo>
                      <a:lnTo>
                        <a:pt x="47344" y="130196"/>
                      </a:lnTo>
                      <a:cubicBezTo>
                        <a:pt x="47344" y="137298"/>
                        <a:pt x="52079" y="142032"/>
                        <a:pt x="59180" y="142032"/>
                      </a:cubicBezTo>
                      <a:lnTo>
                        <a:pt x="88770" y="142032"/>
                      </a:lnTo>
                      <a:cubicBezTo>
                        <a:pt x="92321" y="142032"/>
                        <a:pt x="94688" y="144400"/>
                        <a:pt x="94688" y="147950"/>
                      </a:cubicBezTo>
                      <a:lnTo>
                        <a:pt x="94688" y="183458"/>
                      </a:lnTo>
                      <a:cubicBezTo>
                        <a:pt x="94688" y="187009"/>
                        <a:pt x="92321" y="189377"/>
                        <a:pt x="88770" y="189377"/>
                      </a:cubicBezTo>
                      <a:lnTo>
                        <a:pt x="47344" y="189377"/>
                      </a:lnTo>
                      <a:cubicBezTo>
                        <a:pt x="21305" y="189377"/>
                        <a:pt x="0" y="210681"/>
                        <a:pt x="0" y="236721"/>
                      </a:cubicBezTo>
                      <a:lnTo>
                        <a:pt x="0" y="804850"/>
                      </a:lnTo>
                      <a:cubicBezTo>
                        <a:pt x="0" y="830889"/>
                        <a:pt x="21305" y="852194"/>
                        <a:pt x="47344" y="852194"/>
                      </a:cubicBezTo>
                      <a:lnTo>
                        <a:pt x="213049" y="852194"/>
                      </a:lnTo>
                      <a:cubicBezTo>
                        <a:pt x="213049" y="774076"/>
                        <a:pt x="276963" y="710162"/>
                        <a:pt x="355081" y="710162"/>
                      </a:cubicBezTo>
                      <a:lnTo>
                        <a:pt x="520785" y="710162"/>
                      </a:lnTo>
                      <a:close/>
                    </a:path>
                  </a:pathLst>
                </a:custGeom>
                <a:grpFill/>
                <a:ln w="11807" cap="flat">
                  <a:noFill/>
                  <a:prstDash val="solid"/>
                  <a:miter/>
                </a:ln>
              </p:spPr>
              <p:txBody>
                <a:bodyPr rtlCol="0" anchor="ctr"/>
                <a:lstStyle/>
                <a:p>
                  <a:pPr defTabSz="914446">
                    <a:defRPr/>
                  </a:pPr>
                  <a:endParaRPr lang="en-US">
                    <a:solidFill>
                      <a:srgbClr val="415363"/>
                    </a:solidFill>
                    <a:latin typeface="Roboto"/>
                  </a:endParaRPr>
                </a:p>
              </p:txBody>
            </p:sp>
            <p:sp>
              <p:nvSpPr>
                <p:cNvPr id="21" name="Freeform: Shape 13">
                  <a:extLst>
                    <a:ext uri="{FF2B5EF4-FFF2-40B4-BE49-F238E27FC236}">
                      <a16:creationId xmlns:a16="http://schemas.microsoft.com/office/drawing/2014/main" id="{C19C4B03-A823-328F-DC1D-D30E8BB0F247}"/>
                    </a:ext>
                  </a:extLst>
                </p:cNvPr>
                <p:cNvSpPr/>
                <p:nvPr/>
              </p:nvSpPr>
              <p:spPr>
                <a:xfrm>
                  <a:off x="8922337" y="1825843"/>
                  <a:ext cx="378753" cy="189376"/>
                </a:xfrm>
                <a:custGeom>
                  <a:avLst/>
                  <a:gdLst>
                    <a:gd name="connsiteX0" fmla="*/ 0 w 378753"/>
                    <a:gd name="connsiteY0" fmla="*/ 11836 h 189376"/>
                    <a:gd name="connsiteX1" fmla="*/ 0 w 378753"/>
                    <a:gd name="connsiteY1" fmla="*/ 177540 h 189376"/>
                    <a:gd name="connsiteX2" fmla="*/ 11836 w 378753"/>
                    <a:gd name="connsiteY2" fmla="*/ 189377 h 189376"/>
                    <a:gd name="connsiteX3" fmla="*/ 378753 w 378753"/>
                    <a:gd name="connsiteY3" fmla="*/ 189377 h 189376"/>
                    <a:gd name="connsiteX4" fmla="*/ 378753 w 378753"/>
                    <a:gd name="connsiteY4" fmla="*/ 0 h 189376"/>
                    <a:gd name="connsiteX5" fmla="*/ 11836 w 378753"/>
                    <a:gd name="connsiteY5" fmla="*/ 0 h 189376"/>
                    <a:gd name="connsiteX6" fmla="*/ 0 w 378753"/>
                    <a:gd name="connsiteY6" fmla="*/ 11836 h 18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753" h="189376">
                      <a:moveTo>
                        <a:pt x="0" y="11836"/>
                      </a:moveTo>
                      <a:lnTo>
                        <a:pt x="0" y="177540"/>
                      </a:lnTo>
                      <a:cubicBezTo>
                        <a:pt x="0" y="184642"/>
                        <a:pt x="4734" y="189377"/>
                        <a:pt x="11836" y="189377"/>
                      </a:cubicBezTo>
                      <a:lnTo>
                        <a:pt x="378753" y="189377"/>
                      </a:lnTo>
                      <a:lnTo>
                        <a:pt x="378753" y="0"/>
                      </a:lnTo>
                      <a:lnTo>
                        <a:pt x="11836" y="0"/>
                      </a:lnTo>
                      <a:cubicBezTo>
                        <a:pt x="4734" y="0"/>
                        <a:pt x="0" y="4734"/>
                        <a:pt x="0" y="11836"/>
                      </a:cubicBezTo>
                      <a:close/>
                    </a:path>
                  </a:pathLst>
                </a:custGeom>
                <a:grpFill/>
                <a:ln w="11807" cap="flat">
                  <a:noFill/>
                  <a:prstDash val="solid"/>
                  <a:miter/>
                </a:ln>
              </p:spPr>
              <p:txBody>
                <a:bodyPr rtlCol="0" anchor="ctr"/>
                <a:lstStyle/>
                <a:p>
                  <a:pPr defTabSz="914446">
                    <a:defRPr/>
                  </a:pPr>
                  <a:endParaRPr lang="en-US">
                    <a:solidFill>
                      <a:srgbClr val="415363"/>
                    </a:solidFill>
                    <a:latin typeface="Roboto"/>
                  </a:endParaRPr>
                </a:p>
              </p:txBody>
            </p:sp>
            <p:sp>
              <p:nvSpPr>
                <p:cNvPr id="22" name="Freeform: Shape 15">
                  <a:extLst>
                    <a:ext uri="{FF2B5EF4-FFF2-40B4-BE49-F238E27FC236}">
                      <a16:creationId xmlns:a16="http://schemas.microsoft.com/office/drawing/2014/main" id="{D291FA3A-AC01-EFCA-7C6D-BC7E34E857CD}"/>
                    </a:ext>
                  </a:extLst>
                </p:cNvPr>
                <p:cNvSpPr/>
                <p:nvPr/>
              </p:nvSpPr>
              <p:spPr>
                <a:xfrm>
                  <a:off x="9040697" y="2204596"/>
                  <a:ext cx="402425" cy="189376"/>
                </a:xfrm>
                <a:custGeom>
                  <a:avLst/>
                  <a:gdLst>
                    <a:gd name="connsiteX0" fmla="*/ 201213 w 402425"/>
                    <a:gd name="connsiteY0" fmla="*/ 142032 h 189376"/>
                    <a:gd name="connsiteX1" fmla="*/ 94688 w 402425"/>
                    <a:gd name="connsiteY1" fmla="*/ 142032 h 189376"/>
                    <a:gd name="connsiteX2" fmla="*/ 47344 w 402425"/>
                    <a:gd name="connsiteY2" fmla="*/ 94688 h 189376"/>
                    <a:gd name="connsiteX3" fmla="*/ 94688 w 402425"/>
                    <a:gd name="connsiteY3" fmla="*/ 47344 h 189376"/>
                    <a:gd name="connsiteX4" fmla="*/ 201213 w 402425"/>
                    <a:gd name="connsiteY4" fmla="*/ 47344 h 189376"/>
                    <a:gd name="connsiteX5" fmla="*/ 201213 w 402425"/>
                    <a:gd name="connsiteY5" fmla="*/ 142032 h 189376"/>
                    <a:gd name="connsiteX6" fmla="*/ 307737 w 402425"/>
                    <a:gd name="connsiteY6" fmla="*/ 0 h 189376"/>
                    <a:gd name="connsiteX7" fmla="*/ 94688 w 402425"/>
                    <a:gd name="connsiteY7" fmla="*/ 0 h 189376"/>
                    <a:gd name="connsiteX8" fmla="*/ 0 w 402425"/>
                    <a:gd name="connsiteY8" fmla="*/ 94688 h 189376"/>
                    <a:gd name="connsiteX9" fmla="*/ 94688 w 402425"/>
                    <a:gd name="connsiteY9" fmla="*/ 189377 h 189376"/>
                    <a:gd name="connsiteX10" fmla="*/ 307737 w 402425"/>
                    <a:gd name="connsiteY10" fmla="*/ 189377 h 189376"/>
                    <a:gd name="connsiteX11" fmla="*/ 402425 w 402425"/>
                    <a:gd name="connsiteY11" fmla="*/ 94688 h 189376"/>
                    <a:gd name="connsiteX12" fmla="*/ 307737 w 402425"/>
                    <a:gd name="connsiteY12" fmla="*/ 0 h 18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2425" h="189376">
                      <a:moveTo>
                        <a:pt x="201213" y="142032"/>
                      </a:moveTo>
                      <a:lnTo>
                        <a:pt x="94688" y="142032"/>
                      </a:lnTo>
                      <a:cubicBezTo>
                        <a:pt x="68649" y="142032"/>
                        <a:pt x="47344" y="120727"/>
                        <a:pt x="47344" y="94688"/>
                      </a:cubicBezTo>
                      <a:cubicBezTo>
                        <a:pt x="47344" y="68649"/>
                        <a:pt x="68649" y="47344"/>
                        <a:pt x="94688" y="47344"/>
                      </a:cubicBezTo>
                      <a:lnTo>
                        <a:pt x="201213" y="47344"/>
                      </a:lnTo>
                      <a:lnTo>
                        <a:pt x="201213" y="142032"/>
                      </a:lnTo>
                      <a:close/>
                      <a:moveTo>
                        <a:pt x="307737" y="0"/>
                      </a:moveTo>
                      <a:lnTo>
                        <a:pt x="94688" y="0"/>
                      </a:lnTo>
                      <a:cubicBezTo>
                        <a:pt x="42610" y="0"/>
                        <a:pt x="0" y="42610"/>
                        <a:pt x="0" y="94688"/>
                      </a:cubicBezTo>
                      <a:cubicBezTo>
                        <a:pt x="0" y="146767"/>
                        <a:pt x="42610" y="189377"/>
                        <a:pt x="94688" y="189377"/>
                      </a:cubicBezTo>
                      <a:lnTo>
                        <a:pt x="307737" y="189377"/>
                      </a:lnTo>
                      <a:cubicBezTo>
                        <a:pt x="359815" y="189377"/>
                        <a:pt x="402425" y="146767"/>
                        <a:pt x="402425" y="94688"/>
                      </a:cubicBezTo>
                      <a:cubicBezTo>
                        <a:pt x="402425" y="42610"/>
                        <a:pt x="359815" y="0"/>
                        <a:pt x="307737" y="0"/>
                      </a:cubicBezTo>
                      <a:close/>
                    </a:path>
                  </a:pathLst>
                </a:custGeom>
                <a:grpFill/>
                <a:ln w="11807" cap="flat">
                  <a:noFill/>
                  <a:prstDash val="solid"/>
                  <a:miter/>
                </a:ln>
              </p:spPr>
              <p:txBody>
                <a:bodyPr rtlCol="0" anchor="ctr"/>
                <a:lstStyle/>
                <a:p>
                  <a:pPr defTabSz="914446">
                    <a:defRPr/>
                  </a:pPr>
                  <a:endParaRPr lang="en-US">
                    <a:solidFill>
                      <a:srgbClr val="415363"/>
                    </a:solidFill>
                    <a:latin typeface="Roboto"/>
                  </a:endParaRPr>
                </a:p>
              </p:txBody>
            </p:sp>
          </p:grpSp>
          <p:sp>
            <p:nvSpPr>
              <p:cNvPr id="17" name="Rectangle 16">
                <a:extLst>
                  <a:ext uri="{FF2B5EF4-FFF2-40B4-BE49-F238E27FC236}">
                    <a16:creationId xmlns:a16="http://schemas.microsoft.com/office/drawing/2014/main" id="{057C23B0-1C0C-1FB8-6627-9E0A4955BDE0}"/>
                  </a:ext>
                </a:extLst>
              </p:cNvPr>
              <p:cNvSpPr/>
              <p:nvPr/>
            </p:nvSpPr>
            <p:spPr>
              <a:xfrm>
                <a:off x="8103061" y="3048668"/>
                <a:ext cx="3106746" cy="1384995"/>
              </a:xfrm>
              <a:prstGeom prst="rect">
                <a:avLst/>
              </a:prstGeom>
            </p:spPr>
            <p:txBody>
              <a:bodyPr wrap="square">
                <a:spAutoFit/>
              </a:bodyPr>
              <a:lstStyle/>
              <a:p>
                <a:pPr marL="9526" lvl="1" defTabSz="914446" fontAlgn="ctr">
                  <a:spcBef>
                    <a:spcPts val="200"/>
                  </a:spcBef>
                  <a:defRPr/>
                </a:pPr>
                <a:r>
                  <a:rPr lang="vi-VN" sz="1400" dirty="0">
                    <a:solidFill>
                      <a:srgbClr val="415363"/>
                    </a:solidFill>
                    <a:latin typeface="Roboto"/>
                  </a:rPr>
                  <a:t>Ribavirin, một loại thuốc kháng virus, là phương pháp điều trị duy nhất được cấp phép cho nhiễm RSV, và chỉ giới hạn ở các trường hợp bệnh đe dọa tính mạng ở bệnh nhi suy giảm miễn dịch</a:t>
                </a:r>
                <a:r>
                  <a:rPr lang="en-US" sz="1400" dirty="0">
                    <a:solidFill>
                      <a:srgbClr val="415363"/>
                    </a:solidFill>
                    <a:latin typeface="Roboto"/>
                  </a:rPr>
                  <a:t>.</a:t>
                </a:r>
                <a:endParaRPr lang="en-US" sz="1400" dirty="0">
                  <a:solidFill>
                    <a:srgbClr val="415363"/>
                  </a:solidFill>
                  <a:latin typeface="Roboto"/>
                  <a:cs typeface="Calibri" panose="020F0502020204030204" pitchFamily="34" charset="0"/>
                </a:endParaRPr>
              </a:p>
            </p:txBody>
          </p:sp>
          <p:sp>
            <p:nvSpPr>
              <p:cNvPr id="18" name="Rectangle: Top Corners Rounded 11">
                <a:extLst>
                  <a:ext uri="{FF2B5EF4-FFF2-40B4-BE49-F238E27FC236}">
                    <a16:creationId xmlns:a16="http://schemas.microsoft.com/office/drawing/2014/main" id="{E6EE3EDC-5D4D-0DF7-D1B9-2381F4B4198F}"/>
                  </a:ext>
                </a:extLst>
              </p:cNvPr>
              <p:cNvSpPr/>
              <p:nvPr/>
            </p:nvSpPr>
            <p:spPr bwMode="gray">
              <a:xfrm>
                <a:off x="7877431" y="2219095"/>
                <a:ext cx="3427816" cy="697317"/>
              </a:xfrm>
              <a:prstGeom prst="round2SameRect">
                <a:avLst>
                  <a:gd name="adj1" fmla="val 21424"/>
                  <a:gd name="adj2" fmla="val 0"/>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sz="1200" b="1">
                  <a:solidFill>
                    <a:srgbClr val="00ACB3"/>
                  </a:solidFill>
                  <a:latin typeface="Comfortaa SemiBold"/>
                </a:endParaRPr>
              </a:p>
            </p:txBody>
          </p:sp>
          <p:sp>
            <p:nvSpPr>
              <p:cNvPr id="19" name="Rounded Rectangle 18">
                <a:extLst>
                  <a:ext uri="{FF2B5EF4-FFF2-40B4-BE49-F238E27FC236}">
                    <a16:creationId xmlns:a16="http://schemas.microsoft.com/office/drawing/2014/main" id="{D9A88BB7-33A7-5388-B214-F3431D353524}"/>
                  </a:ext>
                </a:extLst>
              </p:cNvPr>
              <p:cNvSpPr/>
              <p:nvPr/>
            </p:nvSpPr>
            <p:spPr bwMode="gray">
              <a:xfrm>
                <a:off x="7885471" y="2210159"/>
                <a:ext cx="3426430" cy="2204372"/>
              </a:xfrm>
              <a:prstGeom prst="roundRect">
                <a:avLst>
                  <a:gd name="adj" fmla="val 8665"/>
                </a:avLst>
              </a:prstGeom>
              <a:noFill/>
              <a:ln w="28575" cap="flat" cmpd="sng" algn="ctr">
                <a:solidFill>
                  <a:schemeClr val="accent3"/>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grpSp>
        <p:sp>
          <p:nvSpPr>
            <p:cNvPr id="15" name="CuadroTexto 62">
              <a:extLst>
                <a:ext uri="{FF2B5EF4-FFF2-40B4-BE49-F238E27FC236}">
                  <a16:creationId xmlns:a16="http://schemas.microsoft.com/office/drawing/2014/main" id="{46715E32-A14E-6A6A-EDF7-5E87BA99EBF0}"/>
                </a:ext>
              </a:extLst>
            </p:cNvPr>
            <p:cNvSpPr txBox="1"/>
            <p:nvPr/>
          </p:nvSpPr>
          <p:spPr bwMode="gray">
            <a:xfrm>
              <a:off x="8130225" y="2413854"/>
              <a:ext cx="3440333" cy="338554"/>
            </a:xfrm>
            <a:prstGeom prst="rect">
              <a:avLst/>
            </a:prstGeom>
            <a:noFill/>
            <a:ln>
              <a:noFill/>
            </a:ln>
          </p:spPr>
          <p:txBody>
            <a:bodyPr wrap="square" lIns="91440" tIns="45720" rIns="91440" bIns="45720" anchor="t">
              <a:spAutoFit/>
            </a:bodyPr>
            <a:lstStyle/>
            <a:p>
              <a:pPr algn="ctr" defTabSz="914446" fontAlgn="ctr">
                <a:defRPr/>
              </a:pPr>
              <a:r>
                <a:rPr lang="en-US" sz="1600" b="1" dirty="0">
                  <a:solidFill>
                    <a:srgbClr val="415363">
                      <a:lumMod val="49000"/>
                    </a:srgbClr>
                  </a:solidFill>
                  <a:highlight>
                    <a:srgbClr val="FFFF00"/>
                  </a:highlight>
                  <a:latin typeface="Roboto"/>
                  <a:ea typeface="Times New Roman" panose="02020603050405020304" pitchFamily="18" charset="0"/>
                  <a:cs typeface="Calibri"/>
                </a:rPr>
                <a:t>PP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điều</a:t>
              </a:r>
              <a:r>
                <a:rPr lang="en-US" sz="1600" b="1" dirty="0">
                  <a:solidFill>
                    <a:srgbClr val="415363">
                      <a:lumMod val="49000"/>
                    </a:srgbClr>
                  </a:solidFill>
                  <a:highlight>
                    <a:srgbClr val="FFFF00"/>
                  </a:highlight>
                  <a:latin typeface="Roboto"/>
                  <a:ea typeface="Times New Roman" panose="02020603050405020304" pitchFamily="18" charset="0"/>
                  <a:cs typeface="Calibri"/>
                </a:rPr>
                <a:t>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trị</a:t>
              </a:r>
              <a:r>
                <a:rPr lang="en-US" sz="1600" b="1" dirty="0">
                  <a:solidFill>
                    <a:srgbClr val="415363">
                      <a:lumMod val="49000"/>
                    </a:srgbClr>
                  </a:solidFill>
                  <a:highlight>
                    <a:srgbClr val="FFFF00"/>
                  </a:highlight>
                  <a:latin typeface="Roboto"/>
                  <a:ea typeface="Times New Roman" panose="02020603050405020304" pitchFamily="18" charset="0"/>
                  <a:cs typeface="Calibri"/>
                </a:rPr>
                <a:t>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được</a:t>
              </a:r>
              <a:r>
                <a:rPr lang="en-US" sz="1600" b="1" dirty="0">
                  <a:solidFill>
                    <a:srgbClr val="415363">
                      <a:lumMod val="49000"/>
                    </a:srgbClr>
                  </a:solidFill>
                  <a:highlight>
                    <a:srgbClr val="FFFF00"/>
                  </a:highlight>
                  <a:latin typeface="Roboto"/>
                  <a:ea typeface="Times New Roman" panose="02020603050405020304" pitchFamily="18" charset="0"/>
                  <a:cs typeface="Calibri"/>
                </a:rPr>
                <a:t>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phê</a:t>
              </a:r>
              <a:r>
                <a:rPr lang="en-US" sz="1600" b="1" dirty="0">
                  <a:solidFill>
                    <a:srgbClr val="415363">
                      <a:lumMod val="49000"/>
                    </a:srgbClr>
                  </a:solidFill>
                  <a:highlight>
                    <a:srgbClr val="FFFF00"/>
                  </a:highlight>
                  <a:latin typeface="Roboto"/>
                  <a:ea typeface="Times New Roman" panose="02020603050405020304" pitchFamily="18" charset="0"/>
                  <a:cs typeface="Calibri"/>
                </a:rPr>
                <a:t> duyệt</a:t>
              </a:r>
              <a:r>
                <a:rPr lang="en-US" sz="1600" baseline="30000" dirty="0">
                  <a:solidFill>
                    <a:srgbClr val="415363">
                      <a:lumMod val="49000"/>
                    </a:srgbClr>
                  </a:solidFill>
                  <a:highlight>
                    <a:srgbClr val="FFFF00"/>
                  </a:highlight>
                  <a:latin typeface="Roboto"/>
                  <a:ea typeface="Times New Roman" panose="02020603050405020304" pitchFamily="18" charset="0"/>
                  <a:cs typeface="Calibri"/>
                </a:rPr>
                <a:t>1</a:t>
              </a:r>
              <a:endParaRPr lang="en-US" sz="1600" dirty="0">
                <a:solidFill>
                  <a:srgbClr val="415363">
                    <a:lumMod val="49000"/>
                  </a:srgbClr>
                </a:solidFill>
                <a:highlight>
                  <a:srgbClr val="FFFF00"/>
                </a:highlight>
                <a:latin typeface="Roboto"/>
                <a:ea typeface="Times New Roman" panose="02020603050405020304" pitchFamily="18" charset="0"/>
                <a:cs typeface="Calibri"/>
              </a:endParaRPr>
            </a:p>
          </p:txBody>
        </p:sp>
      </p:grpSp>
      <p:grpSp>
        <p:nvGrpSpPr>
          <p:cNvPr id="23" name="Group 22">
            <a:extLst>
              <a:ext uri="{FF2B5EF4-FFF2-40B4-BE49-F238E27FC236}">
                <a16:creationId xmlns:a16="http://schemas.microsoft.com/office/drawing/2014/main" id="{2F8DEC8F-EBDB-C705-A936-BF040F48B0E0}"/>
              </a:ext>
            </a:extLst>
          </p:cNvPr>
          <p:cNvGrpSpPr/>
          <p:nvPr/>
        </p:nvGrpSpPr>
        <p:grpSpPr>
          <a:xfrm>
            <a:off x="4351881" y="1492340"/>
            <a:ext cx="3440333" cy="3097802"/>
            <a:chOff x="4310962" y="1325192"/>
            <a:chExt cx="3440333" cy="3097802"/>
          </a:xfrm>
        </p:grpSpPr>
        <p:sp>
          <p:nvSpPr>
            <p:cNvPr id="24" name="Content Placeholder 9" descr="IV">
              <a:extLst>
                <a:ext uri="{FF2B5EF4-FFF2-40B4-BE49-F238E27FC236}">
                  <a16:creationId xmlns:a16="http://schemas.microsoft.com/office/drawing/2014/main" id="{29F2F964-F010-48B1-8BA4-FEEEF73E09A1}"/>
                </a:ext>
              </a:extLst>
            </p:cNvPr>
            <p:cNvSpPr/>
            <p:nvPr/>
          </p:nvSpPr>
          <p:spPr>
            <a:xfrm>
              <a:off x="5817422" y="1325192"/>
              <a:ext cx="545085" cy="888287"/>
            </a:xfrm>
            <a:custGeom>
              <a:avLst/>
              <a:gdLst>
                <a:gd name="connsiteX0" fmla="*/ 142930 w 593709"/>
                <a:gd name="connsiteY0" fmla="*/ 164919 h 967527"/>
                <a:gd name="connsiteX1" fmla="*/ 450780 w 593709"/>
                <a:gd name="connsiteY1" fmla="*/ 164919 h 967527"/>
                <a:gd name="connsiteX2" fmla="*/ 527742 w 593709"/>
                <a:gd name="connsiteY2" fmla="*/ 241882 h 967527"/>
                <a:gd name="connsiteX3" fmla="*/ 461774 w 593709"/>
                <a:gd name="connsiteY3" fmla="*/ 241882 h 967527"/>
                <a:gd name="connsiteX4" fmla="*/ 461774 w 593709"/>
                <a:gd name="connsiteY4" fmla="*/ 285860 h 967527"/>
                <a:gd name="connsiteX5" fmla="*/ 527742 w 593709"/>
                <a:gd name="connsiteY5" fmla="*/ 285860 h 967527"/>
                <a:gd name="connsiteX6" fmla="*/ 527742 w 593709"/>
                <a:gd name="connsiteY6" fmla="*/ 351828 h 967527"/>
                <a:gd name="connsiteX7" fmla="*/ 461774 w 593709"/>
                <a:gd name="connsiteY7" fmla="*/ 351828 h 967527"/>
                <a:gd name="connsiteX8" fmla="*/ 461774 w 593709"/>
                <a:gd name="connsiteY8" fmla="*/ 395807 h 967527"/>
                <a:gd name="connsiteX9" fmla="*/ 527742 w 593709"/>
                <a:gd name="connsiteY9" fmla="*/ 395807 h 967527"/>
                <a:gd name="connsiteX10" fmla="*/ 527742 w 593709"/>
                <a:gd name="connsiteY10" fmla="*/ 461774 h 967527"/>
                <a:gd name="connsiteX11" fmla="*/ 461774 w 593709"/>
                <a:gd name="connsiteY11" fmla="*/ 461774 h 967527"/>
                <a:gd name="connsiteX12" fmla="*/ 461774 w 593709"/>
                <a:gd name="connsiteY12" fmla="*/ 505753 h 967527"/>
                <a:gd name="connsiteX13" fmla="*/ 527742 w 593709"/>
                <a:gd name="connsiteY13" fmla="*/ 505753 h 967527"/>
                <a:gd name="connsiteX14" fmla="*/ 527742 w 593709"/>
                <a:gd name="connsiteY14" fmla="*/ 549731 h 967527"/>
                <a:gd name="connsiteX15" fmla="*/ 344132 w 593709"/>
                <a:gd name="connsiteY15" fmla="*/ 534339 h 967527"/>
                <a:gd name="connsiteX16" fmla="*/ 216594 w 593709"/>
                <a:gd name="connsiteY16" fmla="*/ 484863 h 967527"/>
                <a:gd name="connsiteX17" fmla="*/ 65968 w 593709"/>
                <a:gd name="connsiteY17" fmla="*/ 511250 h 967527"/>
                <a:gd name="connsiteX18" fmla="*/ 65968 w 593709"/>
                <a:gd name="connsiteY18" fmla="*/ 241882 h 967527"/>
                <a:gd name="connsiteX19" fmla="*/ 142930 w 593709"/>
                <a:gd name="connsiteY19" fmla="*/ 164919 h 967527"/>
                <a:gd name="connsiteX20" fmla="*/ 296855 w 593709"/>
                <a:gd name="connsiteY20" fmla="*/ 43979 h 967527"/>
                <a:gd name="connsiteX21" fmla="*/ 318844 w 593709"/>
                <a:gd name="connsiteY21" fmla="*/ 65968 h 967527"/>
                <a:gd name="connsiteX22" fmla="*/ 296855 w 593709"/>
                <a:gd name="connsiteY22" fmla="*/ 87957 h 967527"/>
                <a:gd name="connsiteX23" fmla="*/ 274866 w 593709"/>
                <a:gd name="connsiteY23" fmla="*/ 65968 h 967527"/>
                <a:gd name="connsiteX24" fmla="*/ 296855 w 593709"/>
                <a:gd name="connsiteY24" fmla="*/ 43979 h 967527"/>
                <a:gd name="connsiteX25" fmla="*/ 450780 w 593709"/>
                <a:gd name="connsiteY25" fmla="*/ 98952 h 967527"/>
                <a:gd name="connsiteX26" fmla="*/ 354027 w 593709"/>
                <a:gd name="connsiteY26" fmla="*/ 98952 h 967527"/>
                <a:gd name="connsiteX27" fmla="*/ 362823 w 593709"/>
                <a:gd name="connsiteY27" fmla="*/ 65968 h 967527"/>
                <a:gd name="connsiteX28" fmla="*/ 296855 w 593709"/>
                <a:gd name="connsiteY28" fmla="*/ 0 h 967527"/>
                <a:gd name="connsiteX29" fmla="*/ 230887 w 593709"/>
                <a:gd name="connsiteY29" fmla="*/ 65968 h 967527"/>
                <a:gd name="connsiteX30" fmla="*/ 239683 w 593709"/>
                <a:gd name="connsiteY30" fmla="*/ 98952 h 967527"/>
                <a:gd name="connsiteX31" fmla="*/ 142930 w 593709"/>
                <a:gd name="connsiteY31" fmla="*/ 98952 h 967527"/>
                <a:gd name="connsiteX32" fmla="*/ 0 w 593709"/>
                <a:gd name="connsiteY32" fmla="*/ 241882 h 967527"/>
                <a:gd name="connsiteX33" fmla="*/ 0 w 593709"/>
                <a:gd name="connsiteY33" fmla="*/ 681667 h 967527"/>
                <a:gd name="connsiteX34" fmla="*/ 142930 w 593709"/>
                <a:gd name="connsiteY34" fmla="*/ 824597 h 967527"/>
                <a:gd name="connsiteX35" fmla="*/ 230887 w 593709"/>
                <a:gd name="connsiteY35" fmla="*/ 824597 h 967527"/>
                <a:gd name="connsiteX36" fmla="*/ 230887 w 593709"/>
                <a:gd name="connsiteY36" fmla="*/ 868575 h 967527"/>
                <a:gd name="connsiteX37" fmla="*/ 252876 w 593709"/>
                <a:gd name="connsiteY37" fmla="*/ 890565 h 967527"/>
                <a:gd name="connsiteX38" fmla="*/ 274866 w 593709"/>
                <a:gd name="connsiteY38" fmla="*/ 890565 h 967527"/>
                <a:gd name="connsiteX39" fmla="*/ 274866 w 593709"/>
                <a:gd name="connsiteY39" fmla="*/ 967527 h 967527"/>
                <a:gd name="connsiteX40" fmla="*/ 318844 w 593709"/>
                <a:gd name="connsiteY40" fmla="*/ 967527 h 967527"/>
                <a:gd name="connsiteX41" fmla="*/ 318844 w 593709"/>
                <a:gd name="connsiteY41" fmla="*/ 890565 h 967527"/>
                <a:gd name="connsiteX42" fmla="*/ 340833 w 593709"/>
                <a:gd name="connsiteY42" fmla="*/ 890565 h 967527"/>
                <a:gd name="connsiteX43" fmla="*/ 362823 w 593709"/>
                <a:gd name="connsiteY43" fmla="*/ 868575 h 967527"/>
                <a:gd name="connsiteX44" fmla="*/ 362823 w 593709"/>
                <a:gd name="connsiteY44" fmla="*/ 824597 h 967527"/>
                <a:gd name="connsiteX45" fmla="*/ 450780 w 593709"/>
                <a:gd name="connsiteY45" fmla="*/ 824597 h 967527"/>
                <a:gd name="connsiteX46" fmla="*/ 593710 w 593709"/>
                <a:gd name="connsiteY46" fmla="*/ 681667 h 967527"/>
                <a:gd name="connsiteX47" fmla="*/ 593710 w 593709"/>
                <a:gd name="connsiteY47" fmla="*/ 241882 h 967527"/>
                <a:gd name="connsiteX48" fmla="*/ 450780 w 593709"/>
                <a:gd name="connsiteY48" fmla="*/ 98952 h 96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93709" h="967527">
                  <a:moveTo>
                    <a:pt x="142930" y="164919"/>
                  </a:moveTo>
                  <a:lnTo>
                    <a:pt x="450780" y="164919"/>
                  </a:lnTo>
                  <a:cubicBezTo>
                    <a:pt x="493659" y="164919"/>
                    <a:pt x="527742" y="199003"/>
                    <a:pt x="527742" y="241882"/>
                  </a:cubicBezTo>
                  <a:lnTo>
                    <a:pt x="461774" y="241882"/>
                  </a:lnTo>
                  <a:lnTo>
                    <a:pt x="461774" y="285860"/>
                  </a:lnTo>
                  <a:lnTo>
                    <a:pt x="527742" y="285860"/>
                  </a:lnTo>
                  <a:lnTo>
                    <a:pt x="527742" y="351828"/>
                  </a:lnTo>
                  <a:lnTo>
                    <a:pt x="461774" y="351828"/>
                  </a:lnTo>
                  <a:lnTo>
                    <a:pt x="461774" y="395807"/>
                  </a:lnTo>
                  <a:lnTo>
                    <a:pt x="527742" y="395807"/>
                  </a:lnTo>
                  <a:lnTo>
                    <a:pt x="527742" y="461774"/>
                  </a:lnTo>
                  <a:lnTo>
                    <a:pt x="461774" y="461774"/>
                  </a:lnTo>
                  <a:lnTo>
                    <a:pt x="461774" y="505753"/>
                  </a:lnTo>
                  <a:lnTo>
                    <a:pt x="527742" y="505753"/>
                  </a:lnTo>
                  <a:lnTo>
                    <a:pt x="527742" y="549731"/>
                  </a:lnTo>
                  <a:cubicBezTo>
                    <a:pt x="470570" y="572820"/>
                    <a:pt x="402403" y="556328"/>
                    <a:pt x="344132" y="534339"/>
                  </a:cubicBezTo>
                  <a:cubicBezTo>
                    <a:pt x="294656" y="515648"/>
                    <a:pt x="268269" y="492559"/>
                    <a:pt x="216594" y="484863"/>
                  </a:cubicBezTo>
                  <a:cubicBezTo>
                    <a:pt x="172616" y="478266"/>
                    <a:pt x="107747" y="485962"/>
                    <a:pt x="65968" y="511250"/>
                  </a:cubicBezTo>
                  <a:lnTo>
                    <a:pt x="65968" y="241882"/>
                  </a:lnTo>
                  <a:cubicBezTo>
                    <a:pt x="65968" y="199003"/>
                    <a:pt x="100051" y="164919"/>
                    <a:pt x="142930" y="164919"/>
                  </a:cubicBezTo>
                  <a:close/>
                  <a:moveTo>
                    <a:pt x="296855" y="43979"/>
                  </a:moveTo>
                  <a:cubicBezTo>
                    <a:pt x="308949" y="43979"/>
                    <a:pt x="318844" y="53874"/>
                    <a:pt x="318844" y="65968"/>
                  </a:cubicBezTo>
                  <a:cubicBezTo>
                    <a:pt x="318844" y="78062"/>
                    <a:pt x="308949" y="87957"/>
                    <a:pt x="296855" y="87957"/>
                  </a:cubicBezTo>
                  <a:cubicBezTo>
                    <a:pt x="284761" y="87957"/>
                    <a:pt x="274866" y="78062"/>
                    <a:pt x="274866" y="65968"/>
                  </a:cubicBezTo>
                  <a:cubicBezTo>
                    <a:pt x="274866" y="53874"/>
                    <a:pt x="284761" y="43979"/>
                    <a:pt x="296855" y="43979"/>
                  </a:cubicBezTo>
                  <a:close/>
                  <a:moveTo>
                    <a:pt x="450780" y="98952"/>
                  </a:moveTo>
                  <a:lnTo>
                    <a:pt x="354027" y="98952"/>
                  </a:lnTo>
                  <a:cubicBezTo>
                    <a:pt x="359524" y="89056"/>
                    <a:pt x="362823" y="78062"/>
                    <a:pt x="362823" y="65968"/>
                  </a:cubicBezTo>
                  <a:cubicBezTo>
                    <a:pt x="362823" y="29685"/>
                    <a:pt x="333137" y="0"/>
                    <a:pt x="296855" y="0"/>
                  </a:cubicBezTo>
                  <a:cubicBezTo>
                    <a:pt x="260573" y="0"/>
                    <a:pt x="230887" y="29685"/>
                    <a:pt x="230887" y="65968"/>
                  </a:cubicBezTo>
                  <a:cubicBezTo>
                    <a:pt x="230887" y="78062"/>
                    <a:pt x="234186" y="89056"/>
                    <a:pt x="239683" y="98952"/>
                  </a:cubicBezTo>
                  <a:lnTo>
                    <a:pt x="142930" y="98952"/>
                  </a:lnTo>
                  <a:cubicBezTo>
                    <a:pt x="63769" y="98952"/>
                    <a:pt x="0" y="162720"/>
                    <a:pt x="0" y="241882"/>
                  </a:cubicBezTo>
                  <a:lnTo>
                    <a:pt x="0" y="681667"/>
                  </a:lnTo>
                  <a:cubicBezTo>
                    <a:pt x="0" y="760828"/>
                    <a:pt x="63769" y="824597"/>
                    <a:pt x="142930" y="824597"/>
                  </a:cubicBezTo>
                  <a:lnTo>
                    <a:pt x="230887" y="824597"/>
                  </a:lnTo>
                  <a:lnTo>
                    <a:pt x="230887" y="868575"/>
                  </a:lnTo>
                  <a:cubicBezTo>
                    <a:pt x="230887" y="880669"/>
                    <a:pt x="240782" y="890565"/>
                    <a:pt x="252876" y="890565"/>
                  </a:cubicBezTo>
                  <a:lnTo>
                    <a:pt x="274866" y="890565"/>
                  </a:lnTo>
                  <a:lnTo>
                    <a:pt x="274866" y="967527"/>
                  </a:lnTo>
                  <a:lnTo>
                    <a:pt x="318844" y="967527"/>
                  </a:lnTo>
                  <a:lnTo>
                    <a:pt x="318844" y="890565"/>
                  </a:lnTo>
                  <a:lnTo>
                    <a:pt x="340833" y="890565"/>
                  </a:lnTo>
                  <a:cubicBezTo>
                    <a:pt x="352927" y="890565"/>
                    <a:pt x="362823" y="880669"/>
                    <a:pt x="362823" y="868575"/>
                  </a:cubicBezTo>
                  <a:lnTo>
                    <a:pt x="362823" y="824597"/>
                  </a:lnTo>
                  <a:lnTo>
                    <a:pt x="450780" y="824597"/>
                  </a:lnTo>
                  <a:cubicBezTo>
                    <a:pt x="529941" y="824597"/>
                    <a:pt x="593710" y="760828"/>
                    <a:pt x="593710" y="681667"/>
                  </a:cubicBezTo>
                  <a:lnTo>
                    <a:pt x="593710" y="241882"/>
                  </a:lnTo>
                  <a:cubicBezTo>
                    <a:pt x="593710" y="162720"/>
                    <a:pt x="529941" y="98952"/>
                    <a:pt x="450780" y="98952"/>
                  </a:cubicBezTo>
                  <a:close/>
                </a:path>
              </a:pathLst>
            </a:custGeom>
            <a:solidFill>
              <a:schemeClr val="accent3"/>
            </a:solidFill>
            <a:ln w="10914" cap="flat">
              <a:noFill/>
              <a:prstDash val="solid"/>
              <a:miter/>
            </a:ln>
          </p:spPr>
          <p:txBody>
            <a:bodyPr rtlCol="0" anchor="ctr"/>
            <a:lstStyle/>
            <a:p>
              <a:pPr defTabSz="914446">
                <a:defRPr/>
              </a:pPr>
              <a:endParaRPr lang="en-US">
                <a:solidFill>
                  <a:srgbClr val="415363"/>
                </a:solidFill>
                <a:latin typeface="Roboto"/>
              </a:endParaRPr>
            </a:p>
          </p:txBody>
        </p:sp>
        <p:grpSp>
          <p:nvGrpSpPr>
            <p:cNvPr id="25" name="Group 24">
              <a:extLst>
                <a:ext uri="{FF2B5EF4-FFF2-40B4-BE49-F238E27FC236}">
                  <a16:creationId xmlns:a16="http://schemas.microsoft.com/office/drawing/2014/main" id="{6C699A87-2636-66F9-4D16-D4D34C84BF11}"/>
                </a:ext>
              </a:extLst>
            </p:cNvPr>
            <p:cNvGrpSpPr/>
            <p:nvPr/>
          </p:nvGrpSpPr>
          <p:grpSpPr>
            <a:xfrm>
              <a:off x="4310962" y="2218622"/>
              <a:ext cx="3440333" cy="2204372"/>
              <a:chOff x="8130225" y="2210159"/>
              <a:chExt cx="3440333" cy="2204372"/>
            </a:xfrm>
          </p:grpSpPr>
          <p:grpSp>
            <p:nvGrpSpPr>
              <p:cNvPr id="26" name="Group 25">
                <a:extLst>
                  <a:ext uri="{FF2B5EF4-FFF2-40B4-BE49-F238E27FC236}">
                    <a16:creationId xmlns:a16="http://schemas.microsoft.com/office/drawing/2014/main" id="{2E0712C4-862A-DEBB-1965-C32D117B54BD}"/>
                  </a:ext>
                </a:extLst>
              </p:cNvPr>
              <p:cNvGrpSpPr/>
              <p:nvPr/>
            </p:nvGrpSpPr>
            <p:grpSpPr>
              <a:xfrm>
                <a:off x="8130225" y="2210159"/>
                <a:ext cx="3434470" cy="2204372"/>
                <a:chOff x="7877431" y="2210159"/>
                <a:chExt cx="3434470" cy="2204372"/>
              </a:xfrm>
            </p:grpSpPr>
            <p:sp>
              <p:nvSpPr>
                <p:cNvPr id="28" name="Rectangle 27">
                  <a:extLst>
                    <a:ext uri="{FF2B5EF4-FFF2-40B4-BE49-F238E27FC236}">
                      <a16:creationId xmlns:a16="http://schemas.microsoft.com/office/drawing/2014/main" id="{E6EA082E-51EF-626E-111A-C4F7B3D02A4D}"/>
                    </a:ext>
                  </a:extLst>
                </p:cNvPr>
                <p:cNvSpPr/>
                <p:nvPr/>
              </p:nvSpPr>
              <p:spPr>
                <a:xfrm>
                  <a:off x="8691901" y="3048668"/>
                  <a:ext cx="2097276" cy="789960"/>
                </a:xfrm>
                <a:prstGeom prst="rect">
                  <a:avLst/>
                </a:prstGeom>
              </p:spPr>
              <p:txBody>
                <a:bodyPr wrap="square">
                  <a:spAutoFit/>
                </a:bodyPr>
                <a:lstStyle/>
                <a:p>
                  <a:pPr marL="180984" lvl="1" indent="-171459" defTabSz="914446" fontAlgn="ctr">
                    <a:spcBef>
                      <a:spcPts val="200"/>
                    </a:spcBef>
                    <a:buFont typeface="Arial" panose="020B0604020202020204" pitchFamily="34" charset="0"/>
                    <a:buChar char="•"/>
                    <a:defRPr/>
                  </a:pPr>
                  <a:r>
                    <a:rPr lang="en-US" sz="1400">
                      <a:solidFill>
                        <a:srgbClr val="415363"/>
                      </a:solidFill>
                      <a:latin typeface="Roboto"/>
                      <a:cs typeface="Calibri" panose="020F0502020204030204" pitchFamily="34" charset="0"/>
                    </a:rPr>
                    <a:t>Corticoid</a:t>
                  </a:r>
                </a:p>
                <a:p>
                  <a:pPr marL="180984" lvl="1" indent="-171459" defTabSz="914446" fontAlgn="ctr">
                    <a:spcBef>
                      <a:spcPts val="200"/>
                    </a:spcBef>
                    <a:buFont typeface="Arial" panose="020B0604020202020204" pitchFamily="34" charset="0"/>
                    <a:buChar char="•"/>
                    <a:defRPr/>
                  </a:pPr>
                  <a:r>
                    <a:rPr lang="en-US" sz="1400" err="1">
                      <a:solidFill>
                        <a:srgbClr val="415363"/>
                      </a:solidFill>
                      <a:latin typeface="Roboto"/>
                      <a:cs typeface="Calibri" panose="020F0502020204030204" pitchFamily="34" charset="0"/>
                    </a:rPr>
                    <a:t>Thuốc</a:t>
                  </a:r>
                  <a:r>
                    <a:rPr lang="en-US" sz="1400">
                      <a:solidFill>
                        <a:srgbClr val="415363"/>
                      </a:solidFill>
                      <a:latin typeface="Roboto"/>
                      <a:cs typeface="Calibri" panose="020F0502020204030204" pitchFamily="34" charset="0"/>
                    </a:rPr>
                    <a:t> </a:t>
                  </a:r>
                  <a:r>
                    <a:rPr lang="en-US" sz="1400" err="1">
                      <a:solidFill>
                        <a:srgbClr val="415363"/>
                      </a:solidFill>
                      <a:latin typeface="Roboto"/>
                      <a:cs typeface="Calibri" panose="020F0502020204030204" pitchFamily="34" charset="0"/>
                    </a:rPr>
                    <a:t>giãn</a:t>
                  </a:r>
                  <a:r>
                    <a:rPr lang="en-US" sz="1400">
                      <a:solidFill>
                        <a:srgbClr val="415363"/>
                      </a:solidFill>
                      <a:latin typeface="Roboto"/>
                      <a:cs typeface="Calibri" panose="020F0502020204030204" pitchFamily="34" charset="0"/>
                    </a:rPr>
                    <a:t> </a:t>
                  </a:r>
                  <a:r>
                    <a:rPr lang="en-US" sz="1400" err="1">
                      <a:solidFill>
                        <a:srgbClr val="415363"/>
                      </a:solidFill>
                      <a:latin typeface="Roboto"/>
                      <a:cs typeface="Calibri" panose="020F0502020204030204" pitchFamily="34" charset="0"/>
                    </a:rPr>
                    <a:t>phế</a:t>
                  </a:r>
                  <a:r>
                    <a:rPr lang="en-US" sz="1400">
                      <a:solidFill>
                        <a:srgbClr val="415363"/>
                      </a:solidFill>
                      <a:latin typeface="Roboto"/>
                      <a:cs typeface="Calibri" panose="020F0502020204030204" pitchFamily="34" charset="0"/>
                    </a:rPr>
                    <a:t> </a:t>
                  </a:r>
                  <a:r>
                    <a:rPr lang="en-US" sz="1400" err="1">
                      <a:solidFill>
                        <a:srgbClr val="415363"/>
                      </a:solidFill>
                      <a:latin typeface="Roboto"/>
                      <a:cs typeface="Calibri" panose="020F0502020204030204" pitchFamily="34" charset="0"/>
                    </a:rPr>
                    <a:t>quản</a:t>
                  </a:r>
                  <a:endParaRPr lang="en-US" sz="1400">
                    <a:solidFill>
                      <a:srgbClr val="415363"/>
                    </a:solidFill>
                    <a:latin typeface="Roboto"/>
                    <a:cs typeface="Calibri" panose="020F0502020204030204" pitchFamily="34" charset="0"/>
                  </a:endParaRPr>
                </a:p>
                <a:p>
                  <a:pPr marL="180984" lvl="1" indent="-171459" defTabSz="914446" fontAlgn="ctr">
                    <a:spcBef>
                      <a:spcPts val="200"/>
                    </a:spcBef>
                    <a:buFont typeface="Arial" panose="020B0604020202020204" pitchFamily="34" charset="0"/>
                    <a:buChar char="•"/>
                    <a:defRPr/>
                  </a:pPr>
                  <a:r>
                    <a:rPr lang="en-US" sz="1400">
                      <a:solidFill>
                        <a:srgbClr val="415363"/>
                      </a:solidFill>
                      <a:latin typeface="Roboto"/>
                      <a:cs typeface="Calibri" panose="020F0502020204030204" pitchFamily="34" charset="0"/>
                    </a:rPr>
                    <a:t>DD </a:t>
                  </a:r>
                  <a:r>
                    <a:rPr lang="en-US" sz="1400" err="1">
                      <a:solidFill>
                        <a:srgbClr val="415363"/>
                      </a:solidFill>
                      <a:latin typeface="Roboto"/>
                      <a:cs typeface="Calibri" panose="020F0502020204030204" pitchFamily="34" charset="0"/>
                    </a:rPr>
                    <a:t>muối</a:t>
                  </a:r>
                  <a:endParaRPr lang="en-US" sz="1400">
                    <a:solidFill>
                      <a:srgbClr val="415363"/>
                    </a:solidFill>
                    <a:latin typeface="Roboto"/>
                    <a:cs typeface="Calibri" panose="020F0502020204030204" pitchFamily="34" charset="0"/>
                  </a:endParaRPr>
                </a:p>
              </p:txBody>
            </p:sp>
            <p:sp>
              <p:nvSpPr>
                <p:cNvPr id="29" name="Rectangle: Top Corners Rounded 11">
                  <a:extLst>
                    <a:ext uri="{FF2B5EF4-FFF2-40B4-BE49-F238E27FC236}">
                      <a16:creationId xmlns:a16="http://schemas.microsoft.com/office/drawing/2014/main" id="{62789D96-291B-E3B9-8A60-0C92641E77F6}"/>
                    </a:ext>
                  </a:extLst>
                </p:cNvPr>
                <p:cNvSpPr/>
                <p:nvPr/>
              </p:nvSpPr>
              <p:spPr bwMode="gray">
                <a:xfrm>
                  <a:off x="7877431" y="2219095"/>
                  <a:ext cx="3427816" cy="697317"/>
                </a:xfrm>
                <a:prstGeom prst="round2SameRect">
                  <a:avLst>
                    <a:gd name="adj1" fmla="val 21424"/>
                    <a:gd name="adj2" fmla="val 0"/>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sz="1200" b="1">
                    <a:solidFill>
                      <a:srgbClr val="00ACB3"/>
                    </a:solidFill>
                    <a:latin typeface="Comfortaa SemiBold"/>
                  </a:endParaRPr>
                </a:p>
              </p:txBody>
            </p:sp>
            <p:sp>
              <p:nvSpPr>
                <p:cNvPr id="30" name="Rounded Rectangle 29">
                  <a:extLst>
                    <a:ext uri="{FF2B5EF4-FFF2-40B4-BE49-F238E27FC236}">
                      <a16:creationId xmlns:a16="http://schemas.microsoft.com/office/drawing/2014/main" id="{798D16C0-01C9-CEC2-A274-D5E74FCDD6E0}"/>
                    </a:ext>
                  </a:extLst>
                </p:cNvPr>
                <p:cNvSpPr/>
                <p:nvPr/>
              </p:nvSpPr>
              <p:spPr bwMode="gray">
                <a:xfrm>
                  <a:off x="7885471" y="2210159"/>
                  <a:ext cx="3426430" cy="2204372"/>
                </a:xfrm>
                <a:prstGeom prst="roundRect">
                  <a:avLst>
                    <a:gd name="adj" fmla="val 8665"/>
                  </a:avLst>
                </a:prstGeom>
                <a:noFill/>
                <a:ln w="28575" cap="flat" cmpd="sng" algn="ctr">
                  <a:solidFill>
                    <a:schemeClr val="accent3"/>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grpSp>
          <p:sp>
            <p:nvSpPr>
              <p:cNvPr id="27" name="CuadroTexto 62">
                <a:extLst>
                  <a:ext uri="{FF2B5EF4-FFF2-40B4-BE49-F238E27FC236}">
                    <a16:creationId xmlns:a16="http://schemas.microsoft.com/office/drawing/2014/main" id="{DE4FBC0B-7113-1BA8-7261-DCAA1284077E}"/>
                  </a:ext>
                </a:extLst>
              </p:cNvPr>
              <p:cNvSpPr txBox="1"/>
              <p:nvPr/>
            </p:nvSpPr>
            <p:spPr bwMode="gray">
              <a:xfrm>
                <a:off x="8130225" y="2276201"/>
                <a:ext cx="3440333" cy="338554"/>
              </a:xfrm>
              <a:prstGeom prst="rect">
                <a:avLst/>
              </a:prstGeom>
              <a:noFill/>
              <a:ln>
                <a:noFill/>
              </a:ln>
            </p:spPr>
            <p:txBody>
              <a:bodyPr wrap="square" lIns="91440" tIns="45720" rIns="91440" bIns="45720" anchor="t">
                <a:spAutoFit/>
              </a:bodyPr>
              <a:lstStyle/>
              <a:p>
                <a:pPr algn="ctr" defTabSz="914446" fontAlgn="ctr">
                  <a:defRPr/>
                </a:pPr>
                <a:r>
                  <a:rPr lang="en-US" sz="1600" b="1" dirty="0" err="1">
                    <a:solidFill>
                      <a:srgbClr val="415363">
                        <a:lumMod val="49000"/>
                      </a:srgbClr>
                    </a:solidFill>
                    <a:highlight>
                      <a:srgbClr val="FFFF00"/>
                    </a:highlight>
                    <a:latin typeface="Roboto"/>
                    <a:ea typeface="Times New Roman" panose="02020603050405020304" pitchFamily="18" charset="0"/>
                    <a:cs typeface="Calibri"/>
                  </a:rPr>
                  <a:t>Điều</a:t>
                </a:r>
                <a:r>
                  <a:rPr lang="en-US" sz="1600" b="1" dirty="0">
                    <a:solidFill>
                      <a:srgbClr val="415363">
                        <a:lumMod val="49000"/>
                      </a:srgbClr>
                    </a:solidFill>
                    <a:highlight>
                      <a:srgbClr val="FFFF00"/>
                    </a:highlight>
                    <a:latin typeface="Roboto"/>
                    <a:ea typeface="Times New Roman" panose="02020603050405020304" pitchFamily="18" charset="0"/>
                    <a:cs typeface="Calibri"/>
                  </a:rPr>
                  <a:t>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trị</a:t>
                </a:r>
                <a:r>
                  <a:rPr lang="en-US" sz="1600" b="1" dirty="0">
                    <a:solidFill>
                      <a:srgbClr val="415363">
                        <a:lumMod val="49000"/>
                      </a:srgbClr>
                    </a:solidFill>
                    <a:highlight>
                      <a:srgbClr val="FFFF00"/>
                    </a:highlight>
                    <a:latin typeface="Roboto"/>
                    <a:ea typeface="Times New Roman" panose="02020603050405020304" pitchFamily="18" charset="0"/>
                    <a:cs typeface="Calibri"/>
                  </a:rPr>
                  <a:t> </a:t>
                </a:r>
                <a:r>
                  <a:rPr lang="en-US" sz="1600" b="1" dirty="0" err="1">
                    <a:solidFill>
                      <a:srgbClr val="415363">
                        <a:lumMod val="49000"/>
                      </a:srgbClr>
                    </a:solidFill>
                    <a:highlight>
                      <a:srgbClr val="FFFF00"/>
                    </a:highlight>
                    <a:latin typeface="Roboto"/>
                    <a:ea typeface="Times New Roman" panose="02020603050405020304" pitchFamily="18" charset="0"/>
                    <a:cs typeface="Calibri"/>
                  </a:rPr>
                  <a:t>bằng</a:t>
                </a:r>
                <a:r>
                  <a:rPr lang="en-US" sz="1600" b="1" dirty="0">
                    <a:solidFill>
                      <a:srgbClr val="415363">
                        <a:lumMod val="49000"/>
                      </a:srgbClr>
                    </a:solidFill>
                    <a:highlight>
                      <a:srgbClr val="FFFF00"/>
                    </a:highlight>
                    <a:latin typeface="Roboto"/>
                    <a:ea typeface="Times New Roman" panose="02020603050405020304" pitchFamily="18" charset="0"/>
                    <a:cs typeface="Calibri"/>
                  </a:rPr>
                  <a:t> thuốc</a:t>
                </a:r>
                <a:r>
                  <a:rPr lang="en-US" sz="1600" b="1" baseline="30000" dirty="0">
                    <a:solidFill>
                      <a:srgbClr val="415363">
                        <a:lumMod val="49000"/>
                      </a:srgbClr>
                    </a:solidFill>
                    <a:highlight>
                      <a:srgbClr val="FFFF00"/>
                    </a:highlight>
                    <a:latin typeface="Roboto"/>
                    <a:ea typeface="Times New Roman" panose="02020603050405020304" pitchFamily="18" charset="0"/>
                    <a:cs typeface="Calibri"/>
                  </a:rPr>
                  <a:t>1</a:t>
                </a:r>
                <a:endParaRPr lang="en-US" sz="1600" b="1" dirty="0">
                  <a:solidFill>
                    <a:srgbClr val="415363">
                      <a:lumMod val="49000"/>
                    </a:srgbClr>
                  </a:solidFill>
                  <a:highlight>
                    <a:srgbClr val="FFFF00"/>
                  </a:highlight>
                  <a:latin typeface="Roboto"/>
                  <a:ea typeface="Times New Roman" panose="02020603050405020304" pitchFamily="18" charset="0"/>
                  <a:cs typeface="Calibri"/>
                </a:endParaRPr>
              </a:p>
            </p:txBody>
          </p:sp>
        </p:grpSp>
      </p:grpSp>
      <p:grpSp>
        <p:nvGrpSpPr>
          <p:cNvPr id="31" name="Group 30">
            <a:extLst>
              <a:ext uri="{FF2B5EF4-FFF2-40B4-BE49-F238E27FC236}">
                <a16:creationId xmlns:a16="http://schemas.microsoft.com/office/drawing/2014/main" id="{BE98EDC0-9538-AC43-842B-B0A4A0AC9DDE}"/>
              </a:ext>
            </a:extLst>
          </p:cNvPr>
          <p:cNvGrpSpPr/>
          <p:nvPr/>
        </p:nvGrpSpPr>
        <p:grpSpPr>
          <a:xfrm>
            <a:off x="513987" y="1592410"/>
            <a:ext cx="3440333" cy="2989269"/>
            <a:chOff x="473068" y="1425262"/>
            <a:chExt cx="3440333" cy="2989269"/>
          </a:xfrm>
        </p:grpSpPr>
        <p:grpSp>
          <p:nvGrpSpPr>
            <p:cNvPr id="32" name="Group 31">
              <a:extLst>
                <a:ext uri="{FF2B5EF4-FFF2-40B4-BE49-F238E27FC236}">
                  <a16:creationId xmlns:a16="http://schemas.microsoft.com/office/drawing/2014/main" id="{B747F666-A377-5E8A-6347-4F65763B1427}"/>
                </a:ext>
              </a:extLst>
            </p:cNvPr>
            <p:cNvGrpSpPr/>
            <p:nvPr/>
          </p:nvGrpSpPr>
          <p:grpSpPr>
            <a:xfrm>
              <a:off x="1880308" y="1425262"/>
              <a:ext cx="743526" cy="789996"/>
              <a:chOff x="2492874" y="1538356"/>
              <a:chExt cx="743526" cy="789996"/>
            </a:xfrm>
            <a:solidFill>
              <a:schemeClr val="accent3"/>
            </a:solidFill>
          </p:grpSpPr>
          <p:sp>
            <p:nvSpPr>
              <p:cNvPr id="39" name="Freeform: Shape 6">
                <a:extLst>
                  <a:ext uri="{FF2B5EF4-FFF2-40B4-BE49-F238E27FC236}">
                    <a16:creationId xmlns:a16="http://schemas.microsoft.com/office/drawing/2014/main" id="{A568A3ED-5F68-82AB-16AF-22ADE8DF36EA}"/>
                  </a:ext>
                </a:extLst>
              </p:cNvPr>
              <p:cNvSpPr/>
              <p:nvPr/>
            </p:nvSpPr>
            <p:spPr>
              <a:xfrm>
                <a:off x="2678756" y="1538356"/>
                <a:ext cx="371763" cy="371763"/>
              </a:xfrm>
              <a:custGeom>
                <a:avLst/>
                <a:gdLst>
                  <a:gd name="connsiteX0" fmla="*/ 371763 w 371763"/>
                  <a:gd name="connsiteY0" fmla="*/ 185882 h 371763"/>
                  <a:gd name="connsiteX1" fmla="*/ 185882 w 371763"/>
                  <a:gd name="connsiteY1" fmla="*/ 371763 h 371763"/>
                  <a:gd name="connsiteX2" fmla="*/ 0 w 371763"/>
                  <a:gd name="connsiteY2" fmla="*/ 185882 h 371763"/>
                  <a:gd name="connsiteX3" fmla="*/ 185882 w 371763"/>
                  <a:gd name="connsiteY3" fmla="*/ 0 h 371763"/>
                  <a:gd name="connsiteX4" fmla="*/ 371763 w 371763"/>
                  <a:gd name="connsiteY4" fmla="*/ 185882 h 37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763" h="371763">
                    <a:moveTo>
                      <a:pt x="371763" y="185882"/>
                    </a:moveTo>
                    <a:cubicBezTo>
                      <a:pt x="371763" y="288541"/>
                      <a:pt x="288541" y="371763"/>
                      <a:pt x="185882" y="371763"/>
                    </a:cubicBezTo>
                    <a:cubicBezTo>
                      <a:pt x="83222" y="371763"/>
                      <a:pt x="0" y="288541"/>
                      <a:pt x="0" y="185882"/>
                    </a:cubicBezTo>
                    <a:cubicBezTo>
                      <a:pt x="0" y="83222"/>
                      <a:pt x="83222" y="0"/>
                      <a:pt x="185882" y="0"/>
                    </a:cubicBezTo>
                    <a:cubicBezTo>
                      <a:pt x="288541" y="0"/>
                      <a:pt x="371763" y="83222"/>
                      <a:pt x="371763" y="185882"/>
                    </a:cubicBezTo>
                    <a:close/>
                  </a:path>
                </a:pathLst>
              </a:custGeom>
              <a:grpFill/>
              <a:ln w="11609" cap="flat">
                <a:noFill/>
                <a:prstDash val="solid"/>
                <a:miter/>
              </a:ln>
            </p:spPr>
            <p:txBody>
              <a:bodyPr rtlCol="0" anchor="ctr"/>
              <a:lstStyle/>
              <a:p>
                <a:pPr defTabSz="914446">
                  <a:defRPr/>
                </a:pPr>
                <a:endParaRPr lang="en-US">
                  <a:solidFill>
                    <a:srgbClr val="415363"/>
                  </a:solidFill>
                  <a:latin typeface="Roboto"/>
                </a:endParaRPr>
              </a:p>
            </p:txBody>
          </p:sp>
          <p:sp>
            <p:nvSpPr>
              <p:cNvPr id="40" name="Freeform: Shape 7">
                <a:extLst>
                  <a:ext uri="{FF2B5EF4-FFF2-40B4-BE49-F238E27FC236}">
                    <a16:creationId xmlns:a16="http://schemas.microsoft.com/office/drawing/2014/main" id="{81CF26C9-E992-70D9-D900-ACEEAA6C4249}"/>
                  </a:ext>
                </a:extLst>
              </p:cNvPr>
              <p:cNvSpPr/>
              <p:nvPr/>
            </p:nvSpPr>
            <p:spPr>
              <a:xfrm>
                <a:off x="2994985" y="2043140"/>
                <a:ext cx="53210" cy="53209"/>
              </a:xfrm>
              <a:custGeom>
                <a:avLst/>
                <a:gdLst>
                  <a:gd name="connsiteX0" fmla="*/ 1 w 53210"/>
                  <a:gd name="connsiteY0" fmla="*/ 26721 h 53209"/>
                  <a:gd name="connsiteX1" fmla="*/ 26722 w 53210"/>
                  <a:gd name="connsiteY1" fmla="*/ 53209 h 53209"/>
                  <a:gd name="connsiteX2" fmla="*/ 53210 w 53210"/>
                  <a:gd name="connsiteY2" fmla="*/ 26488 h 53209"/>
                  <a:gd name="connsiteX3" fmla="*/ 26605 w 53210"/>
                  <a:gd name="connsiteY3" fmla="*/ 0 h 53209"/>
                  <a:gd name="connsiteX4" fmla="*/ 0 w 53210"/>
                  <a:gd name="connsiteY4" fmla="*/ 26371 h 53209"/>
                  <a:gd name="connsiteX5" fmla="*/ 1 w 53210"/>
                  <a:gd name="connsiteY5" fmla="*/ 26721 h 53209"/>
                  <a:gd name="connsiteX6" fmla="*/ 26605 w 53210"/>
                  <a:gd name="connsiteY6" fmla="*/ 11734 h 53209"/>
                  <a:gd name="connsiteX7" fmla="*/ 41708 w 53210"/>
                  <a:gd name="connsiteY7" fmla="*/ 26605 h 53209"/>
                  <a:gd name="connsiteX8" fmla="*/ 26838 w 53210"/>
                  <a:gd name="connsiteY8" fmla="*/ 41706 h 53209"/>
                  <a:gd name="connsiteX9" fmla="*/ 11735 w 53210"/>
                  <a:gd name="connsiteY9" fmla="*/ 26837 h 53209"/>
                  <a:gd name="connsiteX10" fmla="*/ 11735 w 53210"/>
                  <a:gd name="connsiteY10" fmla="*/ 26721 h 53209"/>
                  <a:gd name="connsiteX11" fmla="*/ 26489 w 53210"/>
                  <a:gd name="connsiteY11" fmla="*/ 11734 h 53209"/>
                  <a:gd name="connsiteX12" fmla="*/ 26605 w 53210"/>
                  <a:gd name="connsiteY12" fmla="*/ 11734 h 5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10" h="53209">
                    <a:moveTo>
                      <a:pt x="1" y="26721"/>
                    </a:moveTo>
                    <a:cubicBezTo>
                      <a:pt x="65" y="41414"/>
                      <a:pt x="12029" y="53273"/>
                      <a:pt x="26722" y="53209"/>
                    </a:cubicBezTo>
                    <a:cubicBezTo>
                      <a:pt x="41414" y="53145"/>
                      <a:pt x="53274" y="41181"/>
                      <a:pt x="53210" y="26488"/>
                    </a:cubicBezTo>
                    <a:cubicBezTo>
                      <a:pt x="53146" y="11841"/>
                      <a:pt x="41253" y="0"/>
                      <a:pt x="26605" y="0"/>
                    </a:cubicBezTo>
                    <a:cubicBezTo>
                      <a:pt x="11977" y="-65"/>
                      <a:pt x="65" y="11742"/>
                      <a:pt x="0" y="26371"/>
                    </a:cubicBezTo>
                    <a:cubicBezTo>
                      <a:pt x="0" y="26487"/>
                      <a:pt x="0" y="26605"/>
                      <a:pt x="1" y="26721"/>
                    </a:cubicBezTo>
                    <a:close/>
                    <a:moveTo>
                      <a:pt x="26605" y="11734"/>
                    </a:moveTo>
                    <a:cubicBezTo>
                      <a:pt x="34882" y="11670"/>
                      <a:pt x="41643" y="18327"/>
                      <a:pt x="41708" y="26605"/>
                    </a:cubicBezTo>
                    <a:cubicBezTo>
                      <a:pt x="41772" y="34881"/>
                      <a:pt x="35114" y="41642"/>
                      <a:pt x="26838" y="41706"/>
                    </a:cubicBezTo>
                    <a:cubicBezTo>
                      <a:pt x="18561" y="41770"/>
                      <a:pt x="11800" y="35113"/>
                      <a:pt x="11735" y="26837"/>
                    </a:cubicBezTo>
                    <a:cubicBezTo>
                      <a:pt x="11735" y="26797"/>
                      <a:pt x="11735" y="26759"/>
                      <a:pt x="11735" y="26721"/>
                    </a:cubicBezTo>
                    <a:cubicBezTo>
                      <a:pt x="11671" y="18508"/>
                      <a:pt x="18277" y="11799"/>
                      <a:pt x="26489" y="11734"/>
                    </a:cubicBezTo>
                    <a:cubicBezTo>
                      <a:pt x="26528" y="11734"/>
                      <a:pt x="26567" y="11734"/>
                      <a:pt x="26605" y="11734"/>
                    </a:cubicBezTo>
                    <a:close/>
                  </a:path>
                </a:pathLst>
              </a:custGeom>
              <a:grpFill/>
              <a:ln w="11609" cap="flat">
                <a:noFill/>
                <a:prstDash val="solid"/>
                <a:miter/>
              </a:ln>
            </p:spPr>
            <p:txBody>
              <a:bodyPr rtlCol="0" anchor="ctr"/>
              <a:lstStyle/>
              <a:p>
                <a:pPr defTabSz="914446">
                  <a:defRPr/>
                </a:pPr>
                <a:endParaRPr lang="en-US">
                  <a:solidFill>
                    <a:srgbClr val="415363"/>
                  </a:solidFill>
                  <a:latin typeface="Roboto"/>
                </a:endParaRPr>
              </a:p>
            </p:txBody>
          </p:sp>
          <p:sp>
            <p:nvSpPr>
              <p:cNvPr id="41" name="Freeform: Shape 8">
                <a:extLst>
                  <a:ext uri="{FF2B5EF4-FFF2-40B4-BE49-F238E27FC236}">
                    <a16:creationId xmlns:a16="http://schemas.microsoft.com/office/drawing/2014/main" id="{8044D4CF-554F-22D4-AAAD-4D02408188A8}"/>
                  </a:ext>
                </a:extLst>
              </p:cNvPr>
              <p:cNvSpPr/>
              <p:nvPr/>
            </p:nvSpPr>
            <p:spPr>
              <a:xfrm>
                <a:off x="2492874" y="1956589"/>
                <a:ext cx="743526" cy="371763"/>
              </a:xfrm>
              <a:custGeom>
                <a:avLst/>
                <a:gdLst>
                  <a:gd name="connsiteX0" fmla="*/ 706350 w 743526"/>
                  <a:gd name="connsiteY0" fmla="*/ 111529 h 371763"/>
                  <a:gd name="connsiteX1" fmla="*/ 540102 w 743526"/>
                  <a:gd name="connsiteY1" fmla="*/ 27766 h 371763"/>
                  <a:gd name="connsiteX2" fmla="*/ 540102 w 743526"/>
                  <a:gd name="connsiteY2" fmla="*/ 72842 h 371763"/>
                  <a:gd name="connsiteX3" fmla="*/ 570540 w 743526"/>
                  <a:gd name="connsiteY3" fmla="*/ 113272 h 371763"/>
                  <a:gd name="connsiteX4" fmla="*/ 528717 w 743526"/>
                  <a:gd name="connsiteY4" fmla="*/ 155095 h 371763"/>
                  <a:gd name="connsiteX5" fmla="*/ 486893 w 743526"/>
                  <a:gd name="connsiteY5" fmla="*/ 113272 h 371763"/>
                  <a:gd name="connsiteX6" fmla="*/ 517331 w 743526"/>
                  <a:gd name="connsiteY6" fmla="*/ 72842 h 371763"/>
                  <a:gd name="connsiteX7" fmla="*/ 517331 w 743526"/>
                  <a:gd name="connsiteY7" fmla="*/ 21028 h 371763"/>
                  <a:gd name="connsiteX8" fmla="*/ 371763 w 743526"/>
                  <a:gd name="connsiteY8" fmla="*/ 0 h 371763"/>
                  <a:gd name="connsiteX9" fmla="*/ 221548 w 743526"/>
                  <a:gd name="connsiteY9" fmla="*/ 22422 h 371763"/>
                  <a:gd name="connsiteX10" fmla="*/ 221548 w 743526"/>
                  <a:gd name="connsiteY10" fmla="*/ 82717 h 371763"/>
                  <a:gd name="connsiteX11" fmla="*/ 293344 w 743526"/>
                  <a:gd name="connsiteY11" fmla="*/ 165667 h 371763"/>
                  <a:gd name="connsiteX12" fmla="*/ 285328 w 743526"/>
                  <a:gd name="connsiteY12" fmla="*/ 179259 h 371763"/>
                  <a:gd name="connsiteX13" fmla="*/ 285328 w 743526"/>
                  <a:gd name="connsiteY13" fmla="*/ 277312 h 371763"/>
                  <a:gd name="connsiteX14" fmla="*/ 264649 w 743526"/>
                  <a:gd name="connsiteY14" fmla="*/ 300547 h 371763"/>
                  <a:gd name="connsiteX15" fmla="*/ 253031 w 743526"/>
                  <a:gd name="connsiteY15" fmla="*/ 308912 h 371763"/>
                  <a:gd name="connsiteX16" fmla="*/ 249081 w 743526"/>
                  <a:gd name="connsiteY16" fmla="*/ 308912 h 371763"/>
                  <a:gd name="connsiteX17" fmla="*/ 231743 w 743526"/>
                  <a:gd name="connsiteY17" fmla="*/ 294302 h 371763"/>
                  <a:gd name="connsiteX18" fmla="*/ 246355 w 743526"/>
                  <a:gd name="connsiteY18" fmla="*/ 276963 h 371763"/>
                  <a:gd name="connsiteX19" fmla="*/ 249081 w 743526"/>
                  <a:gd name="connsiteY19" fmla="*/ 276963 h 371763"/>
                  <a:gd name="connsiteX20" fmla="*/ 253031 w 743526"/>
                  <a:gd name="connsiteY20" fmla="*/ 276963 h 371763"/>
                  <a:gd name="connsiteX21" fmla="*/ 264649 w 743526"/>
                  <a:gd name="connsiteY21" fmla="*/ 284166 h 371763"/>
                  <a:gd name="connsiteX22" fmla="*/ 269412 w 743526"/>
                  <a:gd name="connsiteY22" fmla="*/ 276963 h 371763"/>
                  <a:gd name="connsiteX23" fmla="*/ 269412 w 743526"/>
                  <a:gd name="connsiteY23" fmla="*/ 179259 h 371763"/>
                  <a:gd name="connsiteX24" fmla="*/ 261396 w 743526"/>
                  <a:gd name="connsiteY24" fmla="*/ 165667 h 371763"/>
                  <a:gd name="connsiteX25" fmla="*/ 209581 w 743526"/>
                  <a:gd name="connsiteY25" fmla="*/ 113852 h 371763"/>
                  <a:gd name="connsiteX26" fmla="*/ 157767 w 743526"/>
                  <a:gd name="connsiteY26" fmla="*/ 165667 h 371763"/>
                  <a:gd name="connsiteX27" fmla="*/ 149751 w 743526"/>
                  <a:gd name="connsiteY27" fmla="*/ 179259 h 371763"/>
                  <a:gd name="connsiteX28" fmla="*/ 149751 w 743526"/>
                  <a:gd name="connsiteY28" fmla="*/ 277312 h 371763"/>
                  <a:gd name="connsiteX29" fmla="*/ 154514 w 743526"/>
                  <a:gd name="connsiteY29" fmla="*/ 284515 h 371763"/>
                  <a:gd name="connsiteX30" fmla="*/ 166132 w 743526"/>
                  <a:gd name="connsiteY30" fmla="*/ 277312 h 371763"/>
                  <a:gd name="connsiteX31" fmla="*/ 170082 w 743526"/>
                  <a:gd name="connsiteY31" fmla="*/ 277312 h 371763"/>
                  <a:gd name="connsiteX32" fmla="*/ 184692 w 743526"/>
                  <a:gd name="connsiteY32" fmla="*/ 294650 h 371763"/>
                  <a:gd name="connsiteX33" fmla="*/ 170082 w 743526"/>
                  <a:gd name="connsiteY33" fmla="*/ 309260 h 371763"/>
                  <a:gd name="connsiteX34" fmla="*/ 166132 w 743526"/>
                  <a:gd name="connsiteY34" fmla="*/ 309260 h 371763"/>
                  <a:gd name="connsiteX35" fmla="*/ 154514 w 743526"/>
                  <a:gd name="connsiteY35" fmla="*/ 300896 h 371763"/>
                  <a:gd name="connsiteX36" fmla="*/ 133835 w 743526"/>
                  <a:gd name="connsiteY36" fmla="*/ 277661 h 371763"/>
                  <a:gd name="connsiteX37" fmla="*/ 133835 w 743526"/>
                  <a:gd name="connsiteY37" fmla="*/ 179259 h 371763"/>
                  <a:gd name="connsiteX38" fmla="*/ 125819 w 743526"/>
                  <a:gd name="connsiteY38" fmla="*/ 165667 h 371763"/>
                  <a:gd name="connsiteX39" fmla="*/ 197499 w 743526"/>
                  <a:gd name="connsiteY39" fmla="*/ 82717 h 371763"/>
                  <a:gd name="connsiteX40" fmla="*/ 197499 w 743526"/>
                  <a:gd name="connsiteY40" fmla="*/ 29741 h 371763"/>
                  <a:gd name="connsiteX41" fmla="*/ 37060 w 743526"/>
                  <a:gd name="connsiteY41" fmla="*/ 111064 h 371763"/>
                  <a:gd name="connsiteX42" fmla="*/ 0 w 743526"/>
                  <a:gd name="connsiteY42" fmla="*/ 185882 h 371763"/>
                  <a:gd name="connsiteX43" fmla="*/ 0 w 743526"/>
                  <a:gd name="connsiteY43" fmla="*/ 371763 h 371763"/>
                  <a:gd name="connsiteX44" fmla="*/ 743526 w 743526"/>
                  <a:gd name="connsiteY44" fmla="*/ 371763 h 371763"/>
                  <a:gd name="connsiteX45" fmla="*/ 743526 w 743526"/>
                  <a:gd name="connsiteY45" fmla="*/ 185882 h 371763"/>
                  <a:gd name="connsiteX46" fmla="*/ 706350 w 743526"/>
                  <a:gd name="connsiteY46" fmla="*/ 111529 h 3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43526" h="371763">
                    <a:moveTo>
                      <a:pt x="706350" y="111529"/>
                    </a:moveTo>
                    <a:cubicBezTo>
                      <a:pt x="656744" y="73324"/>
                      <a:pt x="600325" y="44899"/>
                      <a:pt x="540102" y="27766"/>
                    </a:cubicBezTo>
                    <a:lnTo>
                      <a:pt x="540102" y="72842"/>
                    </a:lnTo>
                    <a:cubicBezTo>
                      <a:pt x="558105" y="78057"/>
                      <a:pt x="570505" y="94529"/>
                      <a:pt x="570540" y="113272"/>
                    </a:cubicBezTo>
                    <a:cubicBezTo>
                      <a:pt x="570540" y="136370"/>
                      <a:pt x="551815" y="155095"/>
                      <a:pt x="528717" y="155095"/>
                    </a:cubicBezTo>
                    <a:cubicBezTo>
                      <a:pt x="505619" y="155095"/>
                      <a:pt x="486893" y="136370"/>
                      <a:pt x="486893" y="113272"/>
                    </a:cubicBezTo>
                    <a:cubicBezTo>
                      <a:pt x="486928" y="94529"/>
                      <a:pt x="499329" y="78057"/>
                      <a:pt x="517331" y="72842"/>
                    </a:cubicBezTo>
                    <a:lnTo>
                      <a:pt x="517331" y="21028"/>
                    </a:lnTo>
                    <a:cubicBezTo>
                      <a:pt x="470028" y="7260"/>
                      <a:pt x="421030" y="182"/>
                      <a:pt x="371763" y="0"/>
                    </a:cubicBezTo>
                    <a:cubicBezTo>
                      <a:pt x="320924" y="850"/>
                      <a:pt x="270418" y="8389"/>
                      <a:pt x="221548" y="22422"/>
                    </a:cubicBezTo>
                    <a:lnTo>
                      <a:pt x="221548" y="82717"/>
                    </a:lnTo>
                    <a:cubicBezTo>
                      <a:pt x="262750" y="88714"/>
                      <a:pt x="293318" y="124029"/>
                      <a:pt x="293344" y="165667"/>
                    </a:cubicBezTo>
                    <a:cubicBezTo>
                      <a:pt x="293289" y="171304"/>
                      <a:pt x="290233" y="176483"/>
                      <a:pt x="285328" y="179259"/>
                    </a:cubicBezTo>
                    <a:lnTo>
                      <a:pt x="285328" y="277312"/>
                    </a:lnTo>
                    <a:cubicBezTo>
                      <a:pt x="285046" y="289072"/>
                      <a:pt x="276297" y="298902"/>
                      <a:pt x="264649" y="300547"/>
                    </a:cubicBezTo>
                    <a:cubicBezTo>
                      <a:pt x="263158" y="305674"/>
                      <a:pt x="258366" y="309124"/>
                      <a:pt x="253031" y="308912"/>
                    </a:cubicBezTo>
                    <a:lnTo>
                      <a:pt x="249081" y="308912"/>
                    </a:lnTo>
                    <a:cubicBezTo>
                      <a:pt x="240259" y="309665"/>
                      <a:pt x="232497" y="303124"/>
                      <a:pt x="231743" y="294302"/>
                    </a:cubicBezTo>
                    <a:cubicBezTo>
                      <a:pt x="230990" y="285479"/>
                      <a:pt x="237532" y="277716"/>
                      <a:pt x="246355" y="276963"/>
                    </a:cubicBezTo>
                    <a:cubicBezTo>
                      <a:pt x="247262" y="276886"/>
                      <a:pt x="248174" y="276886"/>
                      <a:pt x="249081" y="276963"/>
                    </a:cubicBezTo>
                    <a:lnTo>
                      <a:pt x="253031" y="276963"/>
                    </a:lnTo>
                    <a:cubicBezTo>
                      <a:pt x="258056" y="276591"/>
                      <a:pt x="262748" y="279500"/>
                      <a:pt x="264649" y="284166"/>
                    </a:cubicBezTo>
                    <a:cubicBezTo>
                      <a:pt x="267545" y="282947"/>
                      <a:pt x="269424" y="280106"/>
                      <a:pt x="269412" y="276963"/>
                    </a:cubicBezTo>
                    <a:lnTo>
                      <a:pt x="269412" y="179259"/>
                    </a:lnTo>
                    <a:cubicBezTo>
                      <a:pt x="264397" y="176596"/>
                      <a:pt x="261301" y="171344"/>
                      <a:pt x="261396" y="165667"/>
                    </a:cubicBezTo>
                    <a:cubicBezTo>
                      <a:pt x="261396" y="137050"/>
                      <a:pt x="238198" y="113852"/>
                      <a:pt x="209581" y="113852"/>
                    </a:cubicBezTo>
                    <a:cubicBezTo>
                      <a:pt x="180965" y="113852"/>
                      <a:pt x="157767" y="137050"/>
                      <a:pt x="157767" y="165667"/>
                    </a:cubicBezTo>
                    <a:cubicBezTo>
                      <a:pt x="157664" y="171290"/>
                      <a:pt x="154622" y="176448"/>
                      <a:pt x="149751" y="179259"/>
                    </a:cubicBezTo>
                    <a:lnTo>
                      <a:pt x="149751" y="277312"/>
                    </a:lnTo>
                    <a:cubicBezTo>
                      <a:pt x="149739" y="280455"/>
                      <a:pt x="151618" y="283295"/>
                      <a:pt x="154514" y="284515"/>
                    </a:cubicBezTo>
                    <a:cubicBezTo>
                      <a:pt x="156753" y="280147"/>
                      <a:pt x="161223" y="277375"/>
                      <a:pt x="166132" y="277312"/>
                    </a:cubicBezTo>
                    <a:lnTo>
                      <a:pt x="170082" y="277312"/>
                    </a:lnTo>
                    <a:cubicBezTo>
                      <a:pt x="178904" y="278065"/>
                      <a:pt x="185446" y="285828"/>
                      <a:pt x="184692" y="294650"/>
                    </a:cubicBezTo>
                    <a:cubicBezTo>
                      <a:pt x="184029" y="302427"/>
                      <a:pt x="177860" y="308597"/>
                      <a:pt x="170082" y="309260"/>
                    </a:cubicBezTo>
                    <a:lnTo>
                      <a:pt x="166132" y="309260"/>
                    </a:lnTo>
                    <a:cubicBezTo>
                      <a:pt x="160797" y="309473"/>
                      <a:pt x="156005" y="306023"/>
                      <a:pt x="154514" y="300896"/>
                    </a:cubicBezTo>
                    <a:cubicBezTo>
                      <a:pt x="142866" y="299251"/>
                      <a:pt x="134117" y="289421"/>
                      <a:pt x="133835" y="277661"/>
                    </a:cubicBezTo>
                    <a:lnTo>
                      <a:pt x="133835" y="179259"/>
                    </a:lnTo>
                    <a:cubicBezTo>
                      <a:pt x="128819" y="176596"/>
                      <a:pt x="125723" y="171344"/>
                      <a:pt x="125819" y="165667"/>
                    </a:cubicBezTo>
                    <a:cubicBezTo>
                      <a:pt x="125837" y="124068"/>
                      <a:pt x="156343" y="88767"/>
                      <a:pt x="197499" y="82717"/>
                    </a:cubicBezTo>
                    <a:lnTo>
                      <a:pt x="197499" y="29741"/>
                    </a:lnTo>
                    <a:cubicBezTo>
                      <a:pt x="140236" y="48630"/>
                      <a:pt x="86148" y="76046"/>
                      <a:pt x="37060" y="111064"/>
                    </a:cubicBezTo>
                    <a:cubicBezTo>
                      <a:pt x="14057" y="129139"/>
                      <a:pt x="440" y="156630"/>
                      <a:pt x="0" y="185882"/>
                    </a:cubicBezTo>
                    <a:lnTo>
                      <a:pt x="0" y="371763"/>
                    </a:lnTo>
                    <a:lnTo>
                      <a:pt x="743526" y="371763"/>
                    </a:lnTo>
                    <a:lnTo>
                      <a:pt x="743526" y="185882"/>
                    </a:lnTo>
                    <a:cubicBezTo>
                      <a:pt x="742920" y="156775"/>
                      <a:pt x="729271" y="129479"/>
                      <a:pt x="706350" y="111529"/>
                    </a:cubicBezTo>
                    <a:close/>
                  </a:path>
                </a:pathLst>
              </a:custGeom>
              <a:grpFill/>
              <a:ln w="11609" cap="flat">
                <a:noFill/>
                <a:prstDash val="solid"/>
                <a:miter/>
              </a:ln>
            </p:spPr>
            <p:txBody>
              <a:bodyPr rtlCol="0" anchor="ctr"/>
              <a:lstStyle/>
              <a:p>
                <a:pPr defTabSz="914446">
                  <a:defRPr/>
                </a:pPr>
                <a:endParaRPr lang="en-US">
                  <a:solidFill>
                    <a:srgbClr val="415363"/>
                  </a:solidFill>
                  <a:latin typeface="Roboto"/>
                </a:endParaRPr>
              </a:p>
            </p:txBody>
          </p:sp>
        </p:grpSp>
        <p:grpSp>
          <p:nvGrpSpPr>
            <p:cNvPr id="33" name="Group 32">
              <a:extLst>
                <a:ext uri="{FF2B5EF4-FFF2-40B4-BE49-F238E27FC236}">
                  <a16:creationId xmlns:a16="http://schemas.microsoft.com/office/drawing/2014/main" id="{2DF014B2-4D37-73C7-9742-A1090F21885E}"/>
                </a:ext>
              </a:extLst>
            </p:cNvPr>
            <p:cNvGrpSpPr/>
            <p:nvPr/>
          </p:nvGrpSpPr>
          <p:grpSpPr>
            <a:xfrm>
              <a:off x="473068" y="2210159"/>
              <a:ext cx="3440333" cy="2204372"/>
              <a:chOff x="8130225" y="2210159"/>
              <a:chExt cx="3440333" cy="2204372"/>
            </a:xfrm>
          </p:grpSpPr>
          <p:grpSp>
            <p:nvGrpSpPr>
              <p:cNvPr id="34" name="Group 33">
                <a:extLst>
                  <a:ext uri="{FF2B5EF4-FFF2-40B4-BE49-F238E27FC236}">
                    <a16:creationId xmlns:a16="http://schemas.microsoft.com/office/drawing/2014/main" id="{F4C56852-D9E3-A595-7DA2-157F3FD4AB19}"/>
                  </a:ext>
                </a:extLst>
              </p:cNvPr>
              <p:cNvGrpSpPr/>
              <p:nvPr/>
            </p:nvGrpSpPr>
            <p:grpSpPr>
              <a:xfrm>
                <a:off x="8130225" y="2210159"/>
                <a:ext cx="3434470" cy="2204372"/>
                <a:chOff x="7877431" y="2210159"/>
                <a:chExt cx="3434470" cy="2204372"/>
              </a:xfrm>
            </p:grpSpPr>
            <p:sp>
              <p:nvSpPr>
                <p:cNvPr id="36" name="Rectangle 35">
                  <a:extLst>
                    <a:ext uri="{FF2B5EF4-FFF2-40B4-BE49-F238E27FC236}">
                      <a16:creationId xmlns:a16="http://schemas.microsoft.com/office/drawing/2014/main" id="{F73F5CED-F6B8-C9DE-0F3A-F4C10B398A71}"/>
                    </a:ext>
                  </a:extLst>
                </p:cNvPr>
                <p:cNvSpPr/>
                <p:nvPr/>
              </p:nvSpPr>
              <p:spPr>
                <a:xfrm>
                  <a:off x="8522598" y="3048668"/>
                  <a:ext cx="2137481" cy="1031051"/>
                </a:xfrm>
                <a:prstGeom prst="rect">
                  <a:avLst/>
                </a:prstGeom>
              </p:spPr>
              <p:txBody>
                <a:bodyPr wrap="square">
                  <a:spAutoFit/>
                </a:bodyPr>
                <a:lstStyle/>
                <a:p>
                  <a:pPr marL="180984" lvl="1" indent="-171459" defTabSz="914446" fontAlgn="ctr">
                    <a:spcBef>
                      <a:spcPts val="200"/>
                    </a:spcBef>
                    <a:buFont typeface="Arial" panose="020B0604020202020204" pitchFamily="34" charset="0"/>
                    <a:buChar char="•"/>
                    <a:defRPr/>
                  </a:pPr>
                  <a:r>
                    <a:rPr lang="en-US" sz="1400" err="1">
                      <a:solidFill>
                        <a:srgbClr val="415363"/>
                      </a:solidFill>
                      <a:latin typeface="Roboto"/>
                      <a:ea typeface="Times New Roman" panose="02020603050405020304" pitchFamily="18" charset="0"/>
                      <a:cs typeface="Calibri" panose="020F0502020204030204" pitchFamily="34" charset="0"/>
                    </a:rPr>
                    <a:t>Bù</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nước</a:t>
                  </a:r>
                  <a:endParaRPr lang="en-US" sz="1400">
                    <a:solidFill>
                      <a:srgbClr val="415363"/>
                    </a:solidFill>
                    <a:latin typeface="Roboto"/>
                    <a:ea typeface="Times New Roman" panose="02020603050405020304" pitchFamily="18" charset="0"/>
                    <a:cs typeface="Calibri" panose="020F0502020204030204" pitchFamily="34" charset="0"/>
                  </a:endParaRPr>
                </a:p>
                <a:p>
                  <a:pPr marL="180984" lvl="1" indent="-171459" defTabSz="914446" fontAlgn="ctr">
                    <a:spcBef>
                      <a:spcPts val="200"/>
                    </a:spcBef>
                    <a:buFont typeface="Arial" panose="020B0604020202020204" pitchFamily="34" charset="0"/>
                    <a:buChar char="•"/>
                    <a:defRPr/>
                  </a:pPr>
                  <a:r>
                    <a:rPr lang="en-US" sz="1400" err="1">
                      <a:solidFill>
                        <a:srgbClr val="415363"/>
                      </a:solidFill>
                      <a:latin typeface="Roboto"/>
                      <a:ea typeface="Times New Roman" panose="02020603050405020304" pitchFamily="18" charset="0"/>
                      <a:cs typeface="Calibri" panose="020F0502020204030204" pitchFamily="34" charset="0"/>
                    </a:rPr>
                    <a:t>Cung</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cấp</a:t>
                  </a:r>
                  <a:r>
                    <a:rPr lang="en-US" sz="1400">
                      <a:solidFill>
                        <a:srgbClr val="415363"/>
                      </a:solidFill>
                      <a:latin typeface="Roboto"/>
                      <a:ea typeface="Times New Roman" panose="02020603050405020304" pitchFamily="18" charset="0"/>
                      <a:cs typeface="Calibri" panose="020F0502020204030204" pitchFamily="34" charset="0"/>
                    </a:rPr>
                    <a:t> oxy</a:t>
                  </a:r>
                </a:p>
                <a:p>
                  <a:pPr marL="180984" lvl="1" indent="-171459" defTabSz="914446" fontAlgn="ctr">
                    <a:spcBef>
                      <a:spcPts val="200"/>
                    </a:spcBef>
                    <a:buFont typeface="Arial" panose="020B0604020202020204" pitchFamily="34" charset="0"/>
                    <a:buChar char="•"/>
                    <a:defRPr/>
                  </a:pPr>
                  <a:r>
                    <a:rPr lang="en-US" sz="1400" err="1">
                      <a:solidFill>
                        <a:srgbClr val="415363"/>
                      </a:solidFill>
                      <a:latin typeface="Roboto"/>
                      <a:ea typeface="Times New Roman" panose="02020603050405020304" pitchFamily="18" charset="0"/>
                      <a:cs typeface="Calibri" panose="020F0502020204030204" pitchFamily="34" charset="0"/>
                    </a:rPr>
                    <a:t>Hút</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dịch</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đường</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thở</a:t>
                  </a:r>
                  <a:endParaRPr lang="en-US" sz="1400">
                    <a:solidFill>
                      <a:srgbClr val="415363"/>
                    </a:solidFill>
                    <a:latin typeface="Roboto"/>
                    <a:ea typeface="Times New Roman" panose="02020603050405020304" pitchFamily="18" charset="0"/>
                    <a:cs typeface="Calibri" panose="020F0502020204030204" pitchFamily="34" charset="0"/>
                  </a:endParaRPr>
                </a:p>
                <a:p>
                  <a:pPr marL="180984" lvl="1" indent="-171459" defTabSz="914446" fontAlgn="ctr">
                    <a:spcBef>
                      <a:spcPts val="200"/>
                    </a:spcBef>
                    <a:buFont typeface="Arial" panose="020B0604020202020204" pitchFamily="34" charset="0"/>
                    <a:buChar char="•"/>
                    <a:defRPr/>
                  </a:pPr>
                  <a:r>
                    <a:rPr lang="en-US" sz="1400" err="1">
                      <a:solidFill>
                        <a:srgbClr val="415363"/>
                      </a:solidFill>
                      <a:latin typeface="Roboto"/>
                      <a:ea typeface="Times New Roman" panose="02020603050405020304" pitchFamily="18" charset="0"/>
                      <a:cs typeface="Calibri" panose="020F0502020204030204" pitchFamily="34" charset="0"/>
                    </a:rPr>
                    <a:t>Thông</a:t>
                  </a:r>
                  <a:r>
                    <a:rPr lang="en-US" sz="1400">
                      <a:solidFill>
                        <a:srgbClr val="415363"/>
                      </a:solidFill>
                      <a:latin typeface="Roboto"/>
                      <a:ea typeface="Times New Roman" panose="02020603050405020304" pitchFamily="18" charset="0"/>
                      <a:cs typeface="Calibri" panose="020F0502020204030204" pitchFamily="34" charset="0"/>
                    </a:rPr>
                    <a:t> </a:t>
                  </a:r>
                  <a:r>
                    <a:rPr lang="en-US" sz="1400" err="1">
                      <a:solidFill>
                        <a:srgbClr val="415363"/>
                      </a:solidFill>
                      <a:latin typeface="Roboto"/>
                      <a:ea typeface="Times New Roman" panose="02020603050405020304" pitchFamily="18" charset="0"/>
                      <a:cs typeface="Calibri" panose="020F0502020204030204" pitchFamily="34" charset="0"/>
                    </a:rPr>
                    <a:t>khí</a:t>
                  </a:r>
                  <a:endParaRPr lang="en-US" sz="1400">
                    <a:solidFill>
                      <a:srgbClr val="415363"/>
                    </a:solidFill>
                    <a:latin typeface="Roboto"/>
                    <a:ea typeface="Times New Roman" panose="02020603050405020304" pitchFamily="18" charset="0"/>
                    <a:cs typeface="Calibri" panose="020F0502020204030204" pitchFamily="34" charset="0"/>
                  </a:endParaRPr>
                </a:p>
              </p:txBody>
            </p:sp>
            <p:sp>
              <p:nvSpPr>
                <p:cNvPr id="37" name="Rectangle: Top Corners Rounded 11">
                  <a:extLst>
                    <a:ext uri="{FF2B5EF4-FFF2-40B4-BE49-F238E27FC236}">
                      <a16:creationId xmlns:a16="http://schemas.microsoft.com/office/drawing/2014/main" id="{5D4DBFE2-3758-937F-9F1D-095CB36DA388}"/>
                    </a:ext>
                  </a:extLst>
                </p:cNvPr>
                <p:cNvSpPr/>
                <p:nvPr/>
              </p:nvSpPr>
              <p:spPr bwMode="gray">
                <a:xfrm>
                  <a:off x="7877431" y="2219095"/>
                  <a:ext cx="3427816" cy="697317"/>
                </a:xfrm>
                <a:prstGeom prst="round2SameRect">
                  <a:avLst>
                    <a:gd name="adj1" fmla="val 21424"/>
                    <a:gd name="adj2" fmla="val 0"/>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sz="1200" b="1">
                    <a:solidFill>
                      <a:srgbClr val="00ACB3"/>
                    </a:solidFill>
                    <a:latin typeface="Comfortaa SemiBold"/>
                  </a:endParaRPr>
                </a:p>
              </p:txBody>
            </p:sp>
            <p:sp>
              <p:nvSpPr>
                <p:cNvPr id="38" name="Rounded Rectangle 37">
                  <a:extLst>
                    <a:ext uri="{FF2B5EF4-FFF2-40B4-BE49-F238E27FC236}">
                      <a16:creationId xmlns:a16="http://schemas.microsoft.com/office/drawing/2014/main" id="{B68BD1D2-C08F-A6D4-8338-0BD2A64C69E7}"/>
                    </a:ext>
                  </a:extLst>
                </p:cNvPr>
                <p:cNvSpPr/>
                <p:nvPr/>
              </p:nvSpPr>
              <p:spPr bwMode="gray">
                <a:xfrm>
                  <a:off x="7885471" y="2210159"/>
                  <a:ext cx="3426430" cy="2204372"/>
                </a:xfrm>
                <a:prstGeom prst="roundRect">
                  <a:avLst>
                    <a:gd name="adj" fmla="val 8665"/>
                  </a:avLst>
                </a:prstGeom>
                <a:noFill/>
                <a:ln w="28575" cap="flat" cmpd="sng" algn="ctr">
                  <a:solidFill>
                    <a:schemeClr val="accent3"/>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46" fontAlgn="base">
                    <a:lnSpc>
                      <a:spcPct val="90000"/>
                    </a:lnSpc>
                    <a:spcAft>
                      <a:spcPct val="0"/>
                    </a:spcAft>
                    <a:buClr>
                      <a:srgbClr val="415364"/>
                    </a:buClr>
                    <a:buSzPct val="90000"/>
                    <a:defRPr/>
                  </a:pPr>
                  <a:endParaRPr lang="en-US" b="1">
                    <a:solidFill>
                      <a:srgbClr val="00ACB3"/>
                    </a:solidFill>
                    <a:latin typeface="Comfortaa SemiBold"/>
                  </a:endParaRPr>
                </a:p>
              </p:txBody>
            </p:sp>
          </p:grpSp>
          <p:sp>
            <p:nvSpPr>
              <p:cNvPr id="35" name="CuadroTexto 62">
                <a:extLst>
                  <a:ext uri="{FF2B5EF4-FFF2-40B4-BE49-F238E27FC236}">
                    <a16:creationId xmlns:a16="http://schemas.microsoft.com/office/drawing/2014/main" id="{89F5C7CC-4C3D-8FF7-2A48-AC49B5110D32}"/>
                  </a:ext>
                </a:extLst>
              </p:cNvPr>
              <p:cNvSpPr txBox="1"/>
              <p:nvPr/>
            </p:nvSpPr>
            <p:spPr bwMode="gray">
              <a:xfrm>
                <a:off x="8130225" y="2276201"/>
                <a:ext cx="3440333" cy="584775"/>
              </a:xfrm>
              <a:prstGeom prst="rect">
                <a:avLst/>
              </a:prstGeom>
              <a:noFill/>
              <a:ln>
                <a:noFill/>
              </a:ln>
            </p:spPr>
            <p:txBody>
              <a:bodyPr wrap="square" lIns="91440" tIns="45720" rIns="91440" bIns="45720" anchor="t">
                <a:spAutoFit/>
              </a:bodyPr>
              <a:lstStyle/>
              <a:p>
                <a:pPr algn="ctr" defTabSz="914446" fontAlgn="ctr">
                  <a:defRPr/>
                </a:pPr>
                <a:r>
                  <a:rPr lang="vi-VN" sz="1600" b="1" dirty="0">
                    <a:solidFill>
                      <a:srgbClr val="415363">
                        <a:lumMod val="49000"/>
                      </a:srgbClr>
                    </a:solidFill>
                    <a:highlight>
                      <a:srgbClr val="FFFF00"/>
                    </a:highlight>
                    <a:latin typeface="Roboto"/>
                  </a:rPr>
                  <a:t>Các phương pháp hiện tại trong quản lý RSV</a:t>
                </a:r>
                <a:r>
                  <a:rPr lang="en-US" sz="1600" b="1" baseline="30000" dirty="0">
                    <a:solidFill>
                      <a:srgbClr val="415363">
                        <a:lumMod val="49000"/>
                      </a:srgbClr>
                    </a:solidFill>
                    <a:highlight>
                      <a:srgbClr val="FFFF00"/>
                    </a:highlight>
                    <a:latin typeface="Roboto"/>
                    <a:ea typeface="Times New Roman" panose="02020603050405020304" pitchFamily="18" charset="0"/>
                    <a:cs typeface="Calibri"/>
                  </a:rPr>
                  <a:t>1</a:t>
                </a:r>
                <a:endParaRPr lang="en-US" sz="1600" b="1" dirty="0">
                  <a:solidFill>
                    <a:srgbClr val="415363">
                      <a:lumMod val="49000"/>
                    </a:srgbClr>
                  </a:solidFill>
                  <a:highlight>
                    <a:srgbClr val="FFFF00"/>
                  </a:highlight>
                  <a:latin typeface="Roboto"/>
                  <a:ea typeface="Times New Roman" panose="02020603050405020304" pitchFamily="18" charset="0"/>
                  <a:cs typeface="Calibri"/>
                </a:endParaRPr>
              </a:p>
            </p:txBody>
          </p:sp>
        </p:grpSp>
      </p:grpSp>
    </p:spTree>
    <p:extLst>
      <p:ext uri="{BB962C8B-B14F-4D97-AF65-F5344CB8AC3E}">
        <p14:creationId xmlns:p14="http://schemas.microsoft.com/office/powerpoint/2010/main" val="12471376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591" y="974051"/>
            <a:ext cx="12188825" cy="5275293"/>
            <a:chOff x="0" y="0"/>
            <a:chExt cx="4816593" cy="2159531"/>
          </a:xfrm>
        </p:grpSpPr>
        <p:sp>
          <p:nvSpPr>
            <p:cNvPr id="4" name="Freeform 3"/>
            <p:cNvSpPr/>
            <p:nvPr/>
          </p:nvSpPr>
          <p:spPr>
            <a:xfrm>
              <a:off x="0" y="0"/>
              <a:ext cx="4816592" cy="2159531"/>
            </a:xfrm>
            <a:custGeom>
              <a:avLst/>
              <a:gdLst/>
              <a:ahLst/>
              <a:cxnLst/>
              <a:rect l="l" t="t" r="r" b="b"/>
              <a:pathLst>
                <a:path w="4816592" h="2159531">
                  <a:moveTo>
                    <a:pt x="0" y="0"/>
                  </a:moveTo>
                  <a:lnTo>
                    <a:pt x="4816592" y="0"/>
                  </a:lnTo>
                  <a:lnTo>
                    <a:pt x="4816592" y="2159531"/>
                  </a:lnTo>
                  <a:lnTo>
                    <a:pt x="0" y="2159531"/>
                  </a:lnTo>
                  <a:close/>
                </a:path>
              </a:pathLst>
            </a:custGeom>
            <a:solidFill>
              <a:srgbClr val="FFFFFF"/>
            </a:solidFill>
          </p:spPr>
          <p:txBody>
            <a:bodyPr/>
            <a:lstStyle/>
            <a:p>
              <a:pPr defTabSz="914446">
                <a:defRPr/>
              </a:pPr>
              <a:endParaRPr lang="en-US">
                <a:solidFill>
                  <a:srgbClr val="415363"/>
                </a:solidFill>
                <a:latin typeface="Roboto"/>
              </a:endParaRPr>
            </a:p>
          </p:txBody>
        </p:sp>
        <p:sp>
          <p:nvSpPr>
            <p:cNvPr id="5" name="TextBox 4"/>
            <p:cNvSpPr txBox="1"/>
            <p:nvPr/>
          </p:nvSpPr>
          <p:spPr>
            <a:xfrm>
              <a:off x="0" y="38100"/>
              <a:ext cx="4816593" cy="2121431"/>
            </a:xfrm>
            <a:prstGeom prst="rect">
              <a:avLst/>
            </a:prstGeom>
          </p:spPr>
          <p:txBody>
            <a:bodyPr lIns="50800" tIns="50800" rIns="50800" bIns="50800" rtlCol="0" anchor="ctr"/>
            <a:lstStyle/>
            <a:p>
              <a:pPr algn="ctr" defTabSz="914446">
                <a:lnSpc>
                  <a:spcPts val="2199"/>
                </a:lnSpc>
                <a:defRPr/>
              </a:pPr>
              <a:endParaRPr>
                <a:solidFill>
                  <a:srgbClr val="415363"/>
                </a:solidFill>
                <a:latin typeface="Roboto"/>
              </a:endParaRPr>
            </a:p>
          </p:txBody>
        </p:sp>
      </p:grpSp>
      <p:sp>
        <p:nvSpPr>
          <p:cNvPr id="6" name="Title 4">
            <a:extLst>
              <a:ext uri="{FF2B5EF4-FFF2-40B4-BE49-F238E27FC236}">
                <a16:creationId xmlns:a16="http://schemas.microsoft.com/office/drawing/2014/main" id="{EC0A06C4-66A2-4577-AE15-E2DB61A38F96}"/>
              </a:ext>
            </a:extLst>
          </p:cNvPr>
          <p:cNvSpPr txBox="1">
            <a:spLocks/>
          </p:cNvSpPr>
          <p:nvPr/>
        </p:nvSpPr>
        <p:spPr>
          <a:xfrm>
            <a:off x="449580" y="344261"/>
            <a:ext cx="11292840" cy="608365"/>
          </a:xfrm>
          <a:prstGeom prst="rect">
            <a:avLst/>
          </a:prstGeom>
          <a:solidFill>
            <a:schemeClr val="accent4">
              <a:lumMod val="20000"/>
              <a:lumOff val="80000"/>
            </a:schemeClr>
          </a:solidFill>
        </p:spPr>
        <p:txBody>
          <a:bodyPr anchor="ctr"/>
          <a:lstStyle>
            <a:lvl1pPr algn="l" defTabSz="914400" rtl="0" eaLnBrk="1" latinLnBrk="0" hangingPunct="1">
              <a:lnSpc>
                <a:spcPct val="85000"/>
              </a:lnSpc>
              <a:spcBef>
                <a:spcPts val="0"/>
              </a:spcBef>
              <a:buNone/>
              <a:defRPr lang="en-US" sz="2200" b="1" kern="1200" dirty="0">
                <a:solidFill>
                  <a:schemeClr val="tx1"/>
                </a:solidFill>
                <a:latin typeface="+mj-lt"/>
                <a:ea typeface="+mj-ea"/>
                <a:cs typeface="+mj-cs"/>
              </a:defRPr>
            </a:lvl1pPr>
          </a:lstStyle>
          <a:p>
            <a:pPr algn="ctr" defTabSz="914446">
              <a:defRPr/>
            </a:pPr>
            <a:r>
              <a:rPr lang="vi-VN" sz="2400" dirty="0">
                <a:solidFill>
                  <a:srgbClr val="FF0000"/>
                </a:solidFill>
                <a:latin typeface="Comfortaa SemiBold"/>
              </a:rPr>
              <a:t>Phòng ngừa RSV đặc biệt quan trọng ở người cao tuổi do nguy cơ biến chứng</a:t>
            </a:r>
            <a:endParaRPr lang="en-US" sz="2400" dirty="0">
              <a:solidFill>
                <a:srgbClr val="FF0000"/>
              </a:solidFill>
              <a:latin typeface="Comfortaa SemiBold"/>
            </a:endParaRPr>
          </a:p>
        </p:txBody>
      </p:sp>
      <p:sp>
        <p:nvSpPr>
          <p:cNvPr id="7" name="TextBox 6">
            <a:extLst>
              <a:ext uri="{FF2B5EF4-FFF2-40B4-BE49-F238E27FC236}">
                <a16:creationId xmlns:a16="http://schemas.microsoft.com/office/drawing/2014/main" id="{A894071A-800E-415F-AB7C-87A141D901A1}"/>
              </a:ext>
            </a:extLst>
          </p:cNvPr>
          <p:cNvSpPr txBox="1"/>
          <p:nvPr/>
        </p:nvSpPr>
        <p:spPr bwMode="gray">
          <a:xfrm>
            <a:off x="448384" y="1395798"/>
            <a:ext cx="5855665" cy="707053"/>
          </a:xfrm>
          <a:prstGeom prst="rect">
            <a:avLst/>
          </a:prstGeom>
          <a:noFill/>
        </p:spPr>
        <p:txBody>
          <a:bodyPr wrap="square">
            <a:spAutoFit/>
          </a:bodyPr>
          <a:lstStyle/>
          <a:p>
            <a:pPr algn="ctr" defTabSz="914446" fontAlgn="ctr">
              <a:lnSpc>
                <a:spcPct val="107000"/>
              </a:lnSpc>
              <a:defRPr/>
            </a:pPr>
            <a:r>
              <a:rPr lang="vi-VN" sz="1400" b="1" dirty="0">
                <a:solidFill>
                  <a:srgbClr val="0000C9"/>
                </a:solidFill>
                <a:latin typeface="Roboto"/>
              </a:rPr>
              <a:t>RSV là một</a:t>
            </a:r>
            <a:r>
              <a:rPr lang="en-US" sz="1400" b="1" dirty="0">
                <a:solidFill>
                  <a:srgbClr val="0000C9"/>
                </a:solidFill>
                <a:latin typeface="Roboto"/>
              </a:rPr>
              <a:t> </a:t>
            </a:r>
            <a:r>
              <a:rPr lang="en-US" sz="1400" b="1" dirty="0" err="1">
                <a:solidFill>
                  <a:srgbClr val="0000C9"/>
                </a:solidFill>
                <a:latin typeface="Roboto"/>
              </a:rPr>
              <a:t>tác</a:t>
            </a:r>
            <a:r>
              <a:rPr lang="en-US" sz="1400" b="1" dirty="0">
                <a:solidFill>
                  <a:srgbClr val="0000C9"/>
                </a:solidFill>
                <a:latin typeface="Roboto"/>
              </a:rPr>
              <a:t> </a:t>
            </a:r>
            <a:r>
              <a:rPr lang="en-US" sz="1400" b="1" dirty="0" err="1">
                <a:solidFill>
                  <a:srgbClr val="0000C9"/>
                </a:solidFill>
                <a:latin typeface="Roboto"/>
              </a:rPr>
              <a:t>nhân</a:t>
            </a:r>
            <a:r>
              <a:rPr lang="vi-VN" sz="1400" b="1" dirty="0">
                <a:solidFill>
                  <a:srgbClr val="0000C9"/>
                </a:solidFill>
                <a:latin typeface="Roboto"/>
              </a:rPr>
              <a:t> đe dọa tính mạng ở người cao tuổi và đang được công nhận trên toàn thế giới</a:t>
            </a:r>
            <a:r>
              <a:rPr lang="en-US" sz="1400" b="1" baseline="30000" dirty="0">
                <a:solidFill>
                  <a:srgbClr val="0000C9"/>
                </a:solidFill>
                <a:latin typeface="Roboto"/>
                <a:ea typeface="Times New Roman" panose="02020603050405020304" pitchFamily="18" charset="0"/>
                <a:cs typeface="Calibri" panose="020F0502020204030204" pitchFamily="34" charset="0"/>
              </a:rPr>
              <a:t>1,2</a:t>
            </a:r>
          </a:p>
          <a:p>
            <a:pPr algn="ctr" defTabSz="914446" fontAlgn="ctr">
              <a:lnSpc>
                <a:spcPct val="107000"/>
              </a:lnSpc>
              <a:defRPr/>
            </a:pPr>
            <a:endParaRPr lang="en-US" sz="1400" b="1" baseline="30000" dirty="0">
              <a:solidFill>
                <a:srgbClr val="000097"/>
              </a:solidFill>
              <a:latin typeface="Roboto"/>
              <a:ea typeface="Calibri" panose="020F0502020204030204" pitchFamily="34" charset="0"/>
              <a:cs typeface="Times New Roman" panose="02020603050405020304" pitchFamily="18" charset="0"/>
            </a:endParaRPr>
          </a:p>
        </p:txBody>
      </p:sp>
      <p:grpSp>
        <p:nvGrpSpPr>
          <p:cNvPr id="8" name="Group 7">
            <a:extLst>
              <a:ext uri="{FF2B5EF4-FFF2-40B4-BE49-F238E27FC236}">
                <a16:creationId xmlns:a16="http://schemas.microsoft.com/office/drawing/2014/main" id="{C97062BA-4509-4D51-8BCF-27AB9468FE66}"/>
              </a:ext>
            </a:extLst>
          </p:cNvPr>
          <p:cNvGrpSpPr/>
          <p:nvPr/>
        </p:nvGrpSpPr>
        <p:grpSpPr>
          <a:xfrm>
            <a:off x="638302" y="2277194"/>
            <a:ext cx="5749406" cy="1859612"/>
            <a:chOff x="636713" y="2177042"/>
            <a:chExt cx="5749406" cy="1859612"/>
          </a:xfrm>
        </p:grpSpPr>
        <p:grpSp>
          <p:nvGrpSpPr>
            <p:cNvPr id="9" name="Group 8">
              <a:extLst>
                <a:ext uri="{FF2B5EF4-FFF2-40B4-BE49-F238E27FC236}">
                  <a16:creationId xmlns:a16="http://schemas.microsoft.com/office/drawing/2014/main" id="{1CAADCB1-4EB1-4FC7-B77E-CBB3E18F56C8}"/>
                </a:ext>
              </a:extLst>
            </p:cNvPr>
            <p:cNvGrpSpPr/>
            <p:nvPr/>
          </p:nvGrpSpPr>
          <p:grpSpPr>
            <a:xfrm>
              <a:off x="636713" y="2177042"/>
              <a:ext cx="5749406" cy="1859612"/>
              <a:chOff x="666635" y="2676928"/>
              <a:chExt cx="4692386" cy="1517725"/>
            </a:xfrm>
          </p:grpSpPr>
          <p:sp>
            <p:nvSpPr>
              <p:cNvPr id="12" name="Rectangle 11">
                <a:extLst>
                  <a:ext uri="{FF2B5EF4-FFF2-40B4-BE49-F238E27FC236}">
                    <a16:creationId xmlns:a16="http://schemas.microsoft.com/office/drawing/2014/main" id="{159B2462-21E8-42FF-949B-16910528122C}"/>
                  </a:ext>
                </a:extLst>
              </p:cNvPr>
              <p:cNvSpPr/>
              <p:nvPr/>
            </p:nvSpPr>
            <p:spPr>
              <a:xfrm>
                <a:off x="666635" y="2676928"/>
                <a:ext cx="2070867" cy="1517725"/>
              </a:xfrm>
              <a:prstGeom prst="rect">
                <a:avLst/>
              </a:prstGeom>
            </p:spPr>
            <p:txBody>
              <a:bodyPr wrap="square">
                <a:spAutoFit/>
              </a:bodyPr>
              <a:lstStyle/>
              <a:p>
                <a:pPr defTabSz="914446" fontAlgn="ctr">
                  <a:lnSpc>
                    <a:spcPct val="107000"/>
                  </a:lnSpc>
                  <a:defRPr/>
                </a:pPr>
                <a:r>
                  <a:rPr lang="vi-VN" sz="1400" dirty="0">
                    <a:solidFill>
                      <a:srgbClr val="415363"/>
                    </a:solidFill>
                    <a:latin typeface="Roboto"/>
                  </a:rPr>
                  <a:t>Vi</a:t>
                </a:r>
                <a:r>
                  <a:rPr lang="en-US" sz="1400" dirty="0">
                    <a:solidFill>
                      <a:srgbClr val="415363"/>
                    </a:solidFill>
                    <a:latin typeface="Roboto"/>
                  </a:rPr>
                  <a:t>-</a:t>
                </a:r>
                <a:r>
                  <a:rPr lang="en-US" sz="1400" dirty="0" err="1">
                    <a:solidFill>
                      <a:srgbClr val="415363"/>
                    </a:solidFill>
                    <a:latin typeface="Roboto"/>
                  </a:rPr>
                  <a:t>rút</a:t>
                </a:r>
                <a:r>
                  <a:rPr lang="vi-VN" sz="1400" dirty="0">
                    <a:solidFill>
                      <a:srgbClr val="415363"/>
                    </a:solidFill>
                    <a:latin typeface="Roboto"/>
                  </a:rPr>
                  <a:t> và vi khuẩn có thể cùng tồn tại và gây ra bệnh hô hấp nghiêm trọng ở người </a:t>
                </a:r>
                <a:r>
                  <a:rPr lang="en-US" sz="1400" baseline="30000" dirty="0">
                    <a:solidFill>
                      <a:srgbClr val="415363"/>
                    </a:solidFill>
                    <a:latin typeface="Roboto"/>
                    <a:ea typeface="Times New Roman" panose="02020603050405020304" pitchFamily="18" charset="0"/>
                    <a:cs typeface="Calibri" panose="020F0502020204030204" pitchFamily="34" charset="0"/>
                  </a:rPr>
                  <a:t>3</a:t>
                </a:r>
                <a:br>
                  <a:rPr lang="en-US" sz="1400" baseline="30000" dirty="0">
                    <a:solidFill>
                      <a:srgbClr val="415363"/>
                    </a:solidFill>
                    <a:latin typeface="Roboto"/>
                    <a:ea typeface="Times New Roman" panose="02020603050405020304" pitchFamily="18" charset="0"/>
                    <a:cs typeface="Calibri" panose="020F0502020204030204" pitchFamily="34" charset="0"/>
                  </a:rPr>
                </a:br>
                <a:endParaRPr lang="en-US" sz="1400" baseline="30000" dirty="0">
                  <a:solidFill>
                    <a:srgbClr val="415363"/>
                  </a:solidFill>
                  <a:latin typeface="Roboto"/>
                  <a:ea typeface="Times New Roman" panose="02020603050405020304" pitchFamily="18" charset="0"/>
                  <a:cs typeface="Times New Roman" panose="02020603050405020304" pitchFamily="18" charset="0"/>
                </a:endParaRPr>
              </a:p>
              <a:p>
                <a:pPr defTabSz="914446" fontAlgn="ctr">
                  <a:lnSpc>
                    <a:spcPct val="107000"/>
                  </a:lnSpc>
                  <a:defRPr/>
                </a:pPr>
                <a:r>
                  <a:rPr lang="en-US" sz="1400" dirty="0">
                    <a:solidFill>
                      <a:srgbClr val="415363"/>
                    </a:solidFill>
                    <a:latin typeface="Roboto"/>
                  </a:rPr>
                  <a:t>Vi-</a:t>
                </a:r>
                <a:r>
                  <a:rPr lang="en-US" sz="1400" dirty="0" err="1">
                    <a:solidFill>
                      <a:srgbClr val="415363"/>
                    </a:solidFill>
                    <a:latin typeface="Roboto"/>
                  </a:rPr>
                  <a:t>rút</a:t>
                </a:r>
                <a:r>
                  <a:rPr lang="en-US" sz="1400" dirty="0">
                    <a:solidFill>
                      <a:srgbClr val="415363"/>
                    </a:solidFill>
                    <a:latin typeface="Roboto"/>
                  </a:rPr>
                  <a:t> </a:t>
                </a:r>
                <a:r>
                  <a:rPr lang="en-US" sz="1400" dirty="0" err="1">
                    <a:solidFill>
                      <a:srgbClr val="415363"/>
                    </a:solidFill>
                    <a:latin typeface="Roboto"/>
                  </a:rPr>
                  <a:t>tạo</a:t>
                </a:r>
                <a:r>
                  <a:rPr lang="en-US" sz="1400" dirty="0">
                    <a:solidFill>
                      <a:srgbClr val="415363"/>
                    </a:solidFill>
                    <a:latin typeface="Roboto"/>
                  </a:rPr>
                  <a:t> </a:t>
                </a:r>
                <a:r>
                  <a:rPr lang="en-US" sz="1400" dirty="0" err="1">
                    <a:solidFill>
                      <a:srgbClr val="415363"/>
                    </a:solidFill>
                    <a:latin typeface="Roboto"/>
                  </a:rPr>
                  <a:t>điều</a:t>
                </a:r>
                <a:r>
                  <a:rPr lang="en-US" sz="1400" dirty="0">
                    <a:solidFill>
                      <a:srgbClr val="415363"/>
                    </a:solidFill>
                    <a:latin typeface="Roboto"/>
                  </a:rPr>
                  <a:t> </a:t>
                </a:r>
                <a:r>
                  <a:rPr lang="en-US" sz="1400" dirty="0" err="1">
                    <a:solidFill>
                      <a:srgbClr val="415363"/>
                    </a:solidFill>
                    <a:latin typeface="Roboto"/>
                  </a:rPr>
                  <a:t>kiện</a:t>
                </a:r>
                <a:r>
                  <a:rPr lang="en-US" sz="1400" dirty="0">
                    <a:solidFill>
                      <a:srgbClr val="415363"/>
                    </a:solidFill>
                    <a:latin typeface="Roboto"/>
                  </a:rPr>
                  <a:t> </a:t>
                </a:r>
                <a:r>
                  <a:rPr lang="en-US" sz="1400" dirty="0" err="1">
                    <a:solidFill>
                      <a:srgbClr val="415363"/>
                    </a:solidFill>
                    <a:latin typeface="Roboto"/>
                  </a:rPr>
                  <a:t>thuận</a:t>
                </a:r>
                <a:r>
                  <a:rPr lang="en-US" sz="1400" dirty="0">
                    <a:solidFill>
                      <a:srgbClr val="415363"/>
                    </a:solidFill>
                    <a:latin typeface="Roboto"/>
                  </a:rPr>
                  <a:t> </a:t>
                </a:r>
                <a:r>
                  <a:rPr lang="en-US" sz="1400" dirty="0" err="1">
                    <a:solidFill>
                      <a:srgbClr val="415363"/>
                    </a:solidFill>
                    <a:latin typeface="Roboto"/>
                  </a:rPr>
                  <a:t>lợi</a:t>
                </a:r>
                <a:r>
                  <a:rPr lang="en-US" sz="1400" dirty="0">
                    <a:solidFill>
                      <a:srgbClr val="415363"/>
                    </a:solidFill>
                    <a:latin typeface="Roboto"/>
                  </a:rPr>
                  <a:t> </a:t>
                </a:r>
                <a:r>
                  <a:rPr lang="en-US" sz="1400" dirty="0" err="1">
                    <a:solidFill>
                      <a:srgbClr val="415363"/>
                    </a:solidFill>
                    <a:latin typeface="Roboto"/>
                  </a:rPr>
                  <a:t>cho</a:t>
                </a:r>
                <a:r>
                  <a:rPr lang="en-US" sz="1400" dirty="0">
                    <a:solidFill>
                      <a:srgbClr val="415363"/>
                    </a:solidFill>
                    <a:latin typeface="Roboto"/>
                  </a:rPr>
                  <a:t> vi </a:t>
                </a:r>
                <a:r>
                  <a:rPr lang="en-US" sz="1400" dirty="0" err="1">
                    <a:solidFill>
                      <a:srgbClr val="415363"/>
                    </a:solidFill>
                    <a:latin typeface="Roboto"/>
                  </a:rPr>
                  <a:t>khuẩn</a:t>
                </a:r>
                <a:r>
                  <a:rPr lang="en-US" sz="1400" dirty="0">
                    <a:solidFill>
                      <a:srgbClr val="415363"/>
                    </a:solidFill>
                    <a:latin typeface="Roboto"/>
                  </a:rPr>
                  <a:t> </a:t>
                </a:r>
                <a:r>
                  <a:rPr lang="en-US" sz="1400" dirty="0" err="1">
                    <a:solidFill>
                      <a:srgbClr val="415363"/>
                    </a:solidFill>
                    <a:latin typeface="Roboto"/>
                  </a:rPr>
                  <a:t>gây</a:t>
                </a:r>
                <a:r>
                  <a:rPr lang="en-US" sz="1400" dirty="0">
                    <a:solidFill>
                      <a:srgbClr val="415363"/>
                    </a:solidFill>
                    <a:latin typeface="Roboto"/>
                  </a:rPr>
                  <a:t> </a:t>
                </a:r>
                <a:r>
                  <a:rPr lang="en-US" sz="1400" dirty="0" err="1">
                    <a:solidFill>
                      <a:srgbClr val="415363"/>
                    </a:solidFill>
                    <a:latin typeface="Roboto"/>
                  </a:rPr>
                  <a:t>bệnh</a:t>
                </a:r>
                <a:r>
                  <a:rPr lang="en-US" sz="1400" dirty="0">
                    <a:solidFill>
                      <a:srgbClr val="415363"/>
                    </a:solidFill>
                    <a:latin typeface="Roboto"/>
                  </a:rPr>
                  <a:t>, bao </a:t>
                </a:r>
                <a:r>
                  <a:rPr lang="en-US" sz="1400" dirty="0" err="1">
                    <a:solidFill>
                      <a:srgbClr val="415363"/>
                    </a:solidFill>
                    <a:latin typeface="Roboto"/>
                  </a:rPr>
                  <a:t>gồm</a:t>
                </a:r>
                <a:r>
                  <a:rPr lang="en-US" sz="1400" dirty="0">
                    <a:solidFill>
                      <a:srgbClr val="415363"/>
                    </a:solidFill>
                    <a:latin typeface="Roboto"/>
                  </a:rPr>
                  <a:t> </a:t>
                </a:r>
                <a:r>
                  <a:rPr lang="en-US" sz="1400" dirty="0" err="1">
                    <a:solidFill>
                      <a:srgbClr val="415363"/>
                    </a:solidFill>
                    <a:latin typeface="Roboto"/>
                  </a:rPr>
                  <a:t>cả</a:t>
                </a:r>
                <a:r>
                  <a:rPr lang="en-US" sz="1400" dirty="0">
                    <a:solidFill>
                      <a:srgbClr val="415363"/>
                    </a:solidFill>
                    <a:latin typeface="Roboto"/>
                  </a:rPr>
                  <a:t> </a:t>
                </a:r>
                <a:r>
                  <a:rPr lang="en-US" sz="1400" dirty="0" err="1">
                    <a:solidFill>
                      <a:srgbClr val="415363"/>
                    </a:solidFill>
                    <a:latin typeface="Roboto"/>
                  </a:rPr>
                  <a:t>việc</a:t>
                </a:r>
                <a:r>
                  <a:rPr lang="en-US" sz="1400" dirty="0">
                    <a:solidFill>
                      <a:srgbClr val="415363"/>
                    </a:solidFill>
                    <a:latin typeface="Roboto"/>
                  </a:rPr>
                  <a:t> </a:t>
                </a:r>
                <a:r>
                  <a:rPr lang="en-US" sz="1400" dirty="0" err="1">
                    <a:solidFill>
                      <a:srgbClr val="415363"/>
                    </a:solidFill>
                    <a:latin typeface="Roboto"/>
                  </a:rPr>
                  <a:t>nhiễm</a:t>
                </a:r>
                <a:r>
                  <a:rPr lang="en-US" sz="1400" dirty="0">
                    <a:solidFill>
                      <a:srgbClr val="415363"/>
                    </a:solidFill>
                    <a:latin typeface="Roboto"/>
                  </a:rPr>
                  <a:t> </a:t>
                </a:r>
                <a:r>
                  <a:rPr lang="en-US" sz="1400" dirty="0" err="1">
                    <a:solidFill>
                      <a:srgbClr val="415363"/>
                    </a:solidFill>
                    <a:latin typeface="Roboto"/>
                  </a:rPr>
                  <a:t>trùng</a:t>
                </a:r>
                <a:r>
                  <a:rPr lang="en-US" sz="1400" dirty="0">
                    <a:solidFill>
                      <a:srgbClr val="415363"/>
                    </a:solidFill>
                    <a:latin typeface="Roboto"/>
                  </a:rPr>
                  <a:t> </a:t>
                </a:r>
                <a:r>
                  <a:rPr lang="en-US" sz="1400" dirty="0" err="1">
                    <a:solidFill>
                      <a:srgbClr val="415363"/>
                    </a:solidFill>
                    <a:latin typeface="Roboto"/>
                  </a:rPr>
                  <a:t>các</a:t>
                </a:r>
                <a:r>
                  <a:rPr lang="en-US" sz="1400" dirty="0">
                    <a:solidFill>
                      <a:srgbClr val="415363"/>
                    </a:solidFill>
                    <a:latin typeface="Roboto"/>
                  </a:rPr>
                  <a:t> </a:t>
                </a:r>
                <a:r>
                  <a:rPr lang="en-US" sz="1400" dirty="0" err="1">
                    <a:solidFill>
                      <a:srgbClr val="415363"/>
                    </a:solidFill>
                    <a:latin typeface="Roboto"/>
                  </a:rPr>
                  <a:t>bề</a:t>
                </a:r>
                <a:r>
                  <a:rPr lang="en-US" sz="1400" dirty="0">
                    <a:solidFill>
                      <a:srgbClr val="415363"/>
                    </a:solidFill>
                    <a:latin typeface="Roboto"/>
                  </a:rPr>
                  <a:t> </a:t>
                </a:r>
                <a:r>
                  <a:rPr lang="en-US" sz="1400" dirty="0" err="1">
                    <a:solidFill>
                      <a:srgbClr val="415363"/>
                    </a:solidFill>
                    <a:latin typeface="Roboto"/>
                  </a:rPr>
                  <a:t>mặt</a:t>
                </a:r>
                <a:r>
                  <a:rPr lang="en-US" sz="1400" dirty="0">
                    <a:solidFill>
                      <a:srgbClr val="415363"/>
                    </a:solidFill>
                    <a:latin typeface="Roboto"/>
                  </a:rPr>
                  <a:t> </a:t>
                </a:r>
                <a:r>
                  <a:rPr lang="en-US" sz="1400" dirty="0" err="1">
                    <a:solidFill>
                      <a:srgbClr val="415363"/>
                    </a:solidFill>
                    <a:latin typeface="Roboto"/>
                  </a:rPr>
                  <a:t>niêm</a:t>
                </a:r>
                <a:r>
                  <a:rPr lang="en-US" sz="1400" dirty="0">
                    <a:solidFill>
                      <a:srgbClr val="415363"/>
                    </a:solidFill>
                    <a:latin typeface="Roboto"/>
                  </a:rPr>
                  <a:t> mạc</a:t>
                </a:r>
                <a:r>
                  <a:rPr lang="en-US" sz="1400" baseline="30000" dirty="0">
                    <a:solidFill>
                      <a:srgbClr val="415363"/>
                    </a:solidFill>
                    <a:latin typeface="Roboto"/>
                    <a:ea typeface="Times New Roman" panose="02020603050405020304" pitchFamily="18" charset="0"/>
                    <a:cs typeface="Calibri" panose="020F0502020204030204" pitchFamily="34" charset="0"/>
                  </a:rPr>
                  <a:t>3</a:t>
                </a:r>
                <a:endParaRPr lang="en-US" sz="1400" baseline="30000" dirty="0">
                  <a:solidFill>
                    <a:srgbClr val="415363"/>
                  </a:solidFill>
                  <a:latin typeface="Roboto"/>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DF8B2372-1C1B-4EE5-8915-2721BFA96869}"/>
                  </a:ext>
                </a:extLst>
              </p:cNvPr>
              <p:cNvSpPr txBox="1"/>
              <p:nvPr/>
            </p:nvSpPr>
            <p:spPr bwMode="gray">
              <a:xfrm>
                <a:off x="3288154" y="2676928"/>
                <a:ext cx="2070867" cy="1517725"/>
              </a:xfrm>
              <a:prstGeom prst="rect">
                <a:avLst/>
              </a:prstGeom>
              <a:noFill/>
            </p:spPr>
            <p:txBody>
              <a:bodyPr wrap="square">
                <a:spAutoFit/>
              </a:bodyPr>
              <a:lstStyle/>
              <a:p>
                <a:pPr defTabSz="914446" fontAlgn="ctr">
                  <a:lnSpc>
                    <a:spcPct val="107000"/>
                  </a:lnSpc>
                  <a:defRPr/>
                </a:pPr>
                <a:r>
                  <a:rPr lang="vi-VN" sz="1400" dirty="0">
                    <a:solidFill>
                      <a:srgbClr val="415363"/>
                    </a:solidFill>
                    <a:latin typeface="Roboto"/>
                  </a:rPr>
                  <a:t>Đồng nhiễm vi khuẩn </a:t>
                </a:r>
                <a:r>
                  <a:rPr lang="en-US" sz="1400" dirty="0" err="1">
                    <a:solidFill>
                      <a:srgbClr val="415363"/>
                    </a:solidFill>
                    <a:latin typeface="Roboto"/>
                  </a:rPr>
                  <a:t>làm</a:t>
                </a:r>
                <a:r>
                  <a:rPr lang="en-US" sz="1400" dirty="0">
                    <a:solidFill>
                      <a:srgbClr val="415363"/>
                    </a:solidFill>
                    <a:latin typeface="Roboto"/>
                  </a:rPr>
                  <a:t> </a:t>
                </a:r>
                <a:r>
                  <a:rPr lang="en-US" sz="1400" dirty="0" err="1">
                    <a:solidFill>
                      <a:srgbClr val="415363"/>
                    </a:solidFill>
                    <a:latin typeface="Roboto"/>
                  </a:rPr>
                  <a:t>tăng</a:t>
                </a:r>
                <a:r>
                  <a:rPr lang="vi-VN" sz="1400" dirty="0">
                    <a:solidFill>
                      <a:srgbClr val="415363"/>
                    </a:solidFill>
                    <a:latin typeface="Roboto"/>
                  </a:rPr>
                  <a:t> tỷ lệ tử vong ở bệnh nhân trên 65 tuổi</a:t>
                </a:r>
                <a:r>
                  <a:rPr lang="en-US" sz="1400" baseline="30000" dirty="0">
                    <a:solidFill>
                      <a:srgbClr val="415363"/>
                    </a:solidFill>
                    <a:latin typeface="Roboto"/>
                    <a:ea typeface="Times New Roman" panose="02020603050405020304" pitchFamily="18" charset="0"/>
                    <a:cs typeface="Calibri" panose="020F0502020204030204" pitchFamily="34" charset="0"/>
                  </a:rPr>
                  <a:t>4</a:t>
                </a:r>
              </a:p>
              <a:p>
                <a:pPr defTabSz="914446" fontAlgn="ctr">
                  <a:lnSpc>
                    <a:spcPct val="107000"/>
                  </a:lnSpc>
                  <a:defRPr/>
                </a:pPr>
                <a:endParaRPr lang="en-US" sz="1400" baseline="30000" dirty="0">
                  <a:solidFill>
                    <a:srgbClr val="415363"/>
                  </a:solidFill>
                  <a:latin typeface="Roboto"/>
                  <a:ea typeface="Times New Roman" panose="02020603050405020304" pitchFamily="18" charset="0"/>
                  <a:cs typeface="Times New Roman" panose="02020603050405020304" pitchFamily="18" charset="0"/>
                </a:endParaRPr>
              </a:p>
              <a:p>
                <a:pPr defTabSz="914446" fontAlgn="ctr">
                  <a:lnSpc>
                    <a:spcPct val="107000"/>
                  </a:lnSpc>
                  <a:defRPr/>
                </a:pPr>
                <a:r>
                  <a:rPr lang="en-US" sz="1400" dirty="0">
                    <a:solidFill>
                      <a:srgbClr val="415363"/>
                    </a:solidFill>
                    <a:latin typeface="Roboto"/>
                  </a:rPr>
                  <a:t>Trong </a:t>
                </a:r>
                <a:r>
                  <a:rPr lang="en-US" sz="1400" dirty="0" err="1">
                    <a:solidFill>
                      <a:srgbClr val="415363"/>
                    </a:solidFill>
                    <a:latin typeface="Roboto"/>
                  </a:rPr>
                  <a:t>một</a:t>
                </a:r>
                <a:r>
                  <a:rPr lang="en-US" sz="1400" dirty="0">
                    <a:solidFill>
                      <a:srgbClr val="415363"/>
                    </a:solidFill>
                    <a:latin typeface="Roboto"/>
                  </a:rPr>
                  <a:t> </a:t>
                </a:r>
                <a:r>
                  <a:rPr lang="en-US" sz="1400" dirty="0" err="1">
                    <a:solidFill>
                      <a:srgbClr val="415363"/>
                    </a:solidFill>
                    <a:latin typeface="Roboto"/>
                  </a:rPr>
                  <a:t>nghiên</a:t>
                </a:r>
                <a:r>
                  <a:rPr lang="en-US" sz="1400" dirty="0">
                    <a:solidFill>
                      <a:srgbClr val="415363"/>
                    </a:solidFill>
                    <a:latin typeface="Roboto"/>
                  </a:rPr>
                  <a:t> </a:t>
                </a:r>
                <a:r>
                  <a:rPr lang="en-US" sz="1400" dirty="0" err="1">
                    <a:solidFill>
                      <a:srgbClr val="415363"/>
                    </a:solidFill>
                    <a:latin typeface="Roboto"/>
                  </a:rPr>
                  <a:t>cứu</a:t>
                </a:r>
                <a:r>
                  <a:rPr lang="en-US" sz="1400" dirty="0">
                    <a:solidFill>
                      <a:srgbClr val="415363"/>
                    </a:solidFill>
                    <a:latin typeface="Roboto"/>
                  </a:rPr>
                  <a:t> </a:t>
                </a:r>
                <a:r>
                  <a:rPr lang="en-US" sz="1400" dirty="0" err="1">
                    <a:solidFill>
                      <a:srgbClr val="415363"/>
                    </a:solidFill>
                    <a:latin typeface="Roboto"/>
                  </a:rPr>
                  <a:t>hồi</a:t>
                </a:r>
                <a:r>
                  <a:rPr lang="en-US" sz="1400" dirty="0">
                    <a:solidFill>
                      <a:srgbClr val="415363"/>
                    </a:solidFill>
                    <a:latin typeface="Roboto"/>
                  </a:rPr>
                  <a:t> </a:t>
                </a:r>
                <a:r>
                  <a:rPr lang="en-US" sz="1400" dirty="0" err="1">
                    <a:solidFill>
                      <a:srgbClr val="415363"/>
                    </a:solidFill>
                    <a:latin typeface="Roboto"/>
                  </a:rPr>
                  <a:t>cứu</a:t>
                </a:r>
                <a:r>
                  <a:rPr lang="en-US" sz="1400" dirty="0">
                    <a:solidFill>
                      <a:srgbClr val="415363"/>
                    </a:solidFill>
                    <a:latin typeface="Roboto"/>
                  </a:rPr>
                  <a:t> bao </a:t>
                </a:r>
                <a:r>
                  <a:rPr lang="en-US" sz="1400" dirty="0" err="1">
                    <a:solidFill>
                      <a:srgbClr val="415363"/>
                    </a:solidFill>
                    <a:latin typeface="Roboto"/>
                  </a:rPr>
                  <a:t>gồm</a:t>
                </a:r>
                <a:r>
                  <a:rPr lang="en-US" sz="1400" dirty="0">
                    <a:solidFill>
                      <a:srgbClr val="415363"/>
                    </a:solidFill>
                    <a:latin typeface="Roboto"/>
                  </a:rPr>
                  <a:t> 701 </a:t>
                </a:r>
                <a:r>
                  <a:rPr lang="en-US" sz="1400" dirty="0" err="1">
                    <a:solidFill>
                      <a:srgbClr val="415363"/>
                    </a:solidFill>
                    <a:latin typeface="Roboto"/>
                  </a:rPr>
                  <a:t>bệnh</a:t>
                </a:r>
                <a:r>
                  <a:rPr lang="en-US" sz="1400" dirty="0">
                    <a:solidFill>
                      <a:srgbClr val="415363"/>
                    </a:solidFill>
                    <a:latin typeface="Roboto"/>
                  </a:rPr>
                  <a:t> </a:t>
                </a:r>
                <a:r>
                  <a:rPr lang="en-US" sz="1400" dirty="0" err="1">
                    <a:solidFill>
                      <a:srgbClr val="415363"/>
                    </a:solidFill>
                    <a:latin typeface="Roboto"/>
                  </a:rPr>
                  <a:t>nhân</a:t>
                </a:r>
                <a:r>
                  <a:rPr lang="en-US" sz="1400" dirty="0">
                    <a:solidFill>
                      <a:srgbClr val="415363"/>
                    </a:solidFill>
                    <a:latin typeface="Roboto"/>
                  </a:rPr>
                  <a:t> </a:t>
                </a:r>
                <a:r>
                  <a:rPr lang="en-US" sz="1400" dirty="0" err="1">
                    <a:solidFill>
                      <a:srgbClr val="415363"/>
                    </a:solidFill>
                    <a:latin typeface="Roboto"/>
                  </a:rPr>
                  <a:t>nhiễm</a:t>
                </a:r>
                <a:r>
                  <a:rPr lang="en-US" sz="1400" dirty="0">
                    <a:solidFill>
                      <a:srgbClr val="415363"/>
                    </a:solidFill>
                    <a:latin typeface="Roboto"/>
                  </a:rPr>
                  <a:t> RSV, 12,1% </a:t>
                </a:r>
                <a:r>
                  <a:rPr lang="en-US" sz="1400" dirty="0" err="1">
                    <a:solidFill>
                      <a:srgbClr val="415363"/>
                    </a:solidFill>
                    <a:latin typeface="Roboto"/>
                  </a:rPr>
                  <a:t>có</a:t>
                </a:r>
                <a:r>
                  <a:rPr lang="en-US" sz="1400" dirty="0">
                    <a:solidFill>
                      <a:srgbClr val="415363"/>
                    </a:solidFill>
                    <a:latin typeface="Roboto"/>
                  </a:rPr>
                  <a:t> </a:t>
                </a:r>
                <a:r>
                  <a:rPr lang="en-US" sz="1400" dirty="0" err="1">
                    <a:solidFill>
                      <a:srgbClr val="415363"/>
                    </a:solidFill>
                    <a:latin typeface="Roboto"/>
                  </a:rPr>
                  <a:t>đồng</a:t>
                </a:r>
                <a:r>
                  <a:rPr lang="en-US" sz="1400" dirty="0">
                    <a:solidFill>
                      <a:srgbClr val="415363"/>
                    </a:solidFill>
                    <a:latin typeface="Roboto"/>
                  </a:rPr>
                  <a:t> </a:t>
                </a:r>
                <a:r>
                  <a:rPr lang="en-US" sz="1400" dirty="0" err="1">
                    <a:solidFill>
                      <a:srgbClr val="415363"/>
                    </a:solidFill>
                    <a:latin typeface="Roboto"/>
                  </a:rPr>
                  <a:t>nhiễm</a:t>
                </a:r>
                <a:r>
                  <a:rPr lang="en-US" sz="1400" dirty="0">
                    <a:solidFill>
                      <a:srgbClr val="415363"/>
                    </a:solidFill>
                    <a:latin typeface="Roboto"/>
                  </a:rPr>
                  <a:t> vi khuẩn</a:t>
                </a:r>
                <a:r>
                  <a:rPr lang="en-US" sz="1400" baseline="30000" dirty="0">
                    <a:solidFill>
                      <a:srgbClr val="415363"/>
                    </a:solidFill>
                    <a:latin typeface="Roboto"/>
                    <a:ea typeface="Times New Roman" panose="02020603050405020304" pitchFamily="18" charset="0"/>
                    <a:cs typeface="Calibri" panose="020F0502020204030204" pitchFamily="34" charset="0"/>
                  </a:rPr>
                  <a:t>4</a:t>
                </a:r>
                <a:endParaRPr lang="en-US" sz="1400" baseline="30000" dirty="0">
                  <a:solidFill>
                    <a:srgbClr val="415363"/>
                  </a:solidFill>
                  <a:latin typeface="Roboto"/>
                  <a:ea typeface="Times New Roman" panose="02020603050405020304" pitchFamily="18" charset="0"/>
                  <a:cs typeface="Times New Roman" panose="02020603050405020304" pitchFamily="18" charset="0"/>
                </a:endParaRPr>
              </a:p>
            </p:txBody>
          </p:sp>
        </p:grpSp>
        <p:pic>
          <p:nvPicPr>
            <p:cNvPr id="10" name="Graphic 3" descr="Covid-19 with solid fill">
              <a:extLst>
                <a:ext uri="{FF2B5EF4-FFF2-40B4-BE49-F238E27FC236}">
                  <a16:creationId xmlns:a16="http://schemas.microsoft.com/office/drawing/2014/main" id="{46A8FA62-1A8A-4F35-9AD2-DE0C059EC6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7901" y="2522202"/>
              <a:ext cx="614676" cy="614676"/>
            </a:xfrm>
            <a:prstGeom prst="rect">
              <a:avLst/>
            </a:prstGeom>
          </p:spPr>
        </p:pic>
        <p:pic>
          <p:nvPicPr>
            <p:cNvPr id="11" name="Graphic 17" descr="Germ with solid fill">
              <a:extLst>
                <a:ext uri="{FF2B5EF4-FFF2-40B4-BE49-F238E27FC236}">
                  <a16:creationId xmlns:a16="http://schemas.microsoft.com/office/drawing/2014/main" id="{17EE4CCE-4F81-461F-BC36-35AAC81D7E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92630" y="2896757"/>
              <a:ext cx="666713" cy="666713"/>
            </a:xfrm>
            <a:prstGeom prst="rect">
              <a:avLst/>
            </a:prstGeom>
          </p:spPr>
        </p:pic>
      </p:grpSp>
      <p:sp>
        <p:nvSpPr>
          <p:cNvPr id="14" name="TextBox 13">
            <a:extLst>
              <a:ext uri="{FF2B5EF4-FFF2-40B4-BE49-F238E27FC236}">
                <a16:creationId xmlns:a16="http://schemas.microsoft.com/office/drawing/2014/main" id="{D63421DE-DFB4-47DD-9092-6331BDC680C5}"/>
              </a:ext>
            </a:extLst>
          </p:cNvPr>
          <p:cNvSpPr txBox="1"/>
          <p:nvPr/>
        </p:nvSpPr>
        <p:spPr bwMode="gray">
          <a:xfrm>
            <a:off x="1828802" y="4859667"/>
            <a:ext cx="8607734" cy="685059"/>
          </a:xfrm>
          <a:prstGeom prst="rect">
            <a:avLst/>
          </a:prstGeom>
          <a:solidFill>
            <a:schemeClr val="accent3">
              <a:lumMod val="20000"/>
              <a:lumOff val="80000"/>
            </a:schemeClr>
          </a:solidFill>
        </p:spPr>
        <p:txBody>
          <a:bodyPr wrap="square" anchor="ctr">
            <a:spAutoFit/>
          </a:bodyPr>
          <a:lstStyle/>
          <a:p>
            <a:pPr algn="ctr" defTabSz="914446" fontAlgn="ctr">
              <a:lnSpc>
                <a:spcPct val="107000"/>
              </a:lnSpc>
              <a:defRPr/>
            </a:pPr>
            <a:r>
              <a:rPr lang="en-US" b="1" dirty="0" err="1">
                <a:solidFill>
                  <a:srgbClr val="00B050"/>
                </a:solidFill>
                <a:latin typeface="Roboto"/>
              </a:rPr>
              <a:t>Dự</a:t>
            </a:r>
            <a:r>
              <a:rPr lang="en-US" b="1" dirty="0">
                <a:solidFill>
                  <a:srgbClr val="00B050"/>
                </a:solidFill>
                <a:latin typeface="Roboto"/>
              </a:rPr>
              <a:t> </a:t>
            </a:r>
            <a:r>
              <a:rPr lang="en-US" b="1" dirty="0" err="1">
                <a:solidFill>
                  <a:srgbClr val="00B050"/>
                </a:solidFill>
                <a:latin typeface="Roboto"/>
              </a:rPr>
              <a:t>phòng</a:t>
            </a:r>
            <a:r>
              <a:rPr lang="en-US" b="1" dirty="0">
                <a:solidFill>
                  <a:srgbClr val="00B050"/>
                </a:solidFill>
                <a:latin typeface="Roboto"/>
              </a:rPr>
              <a:t> </a:t>
            </a:r>
            <a:r>
              <a:rPr lang="en-US" b="1" dirty="0" err="1">
                <a:solidFill>
                  <a:srgbClr val="00B050"/>
                </a:solidFill>
                <a:latin typeface="Roboto"/>
              </a:rPr>
              <a:t>nhiễm</a:t>
            </a:r>
            <a:r>
              <a:rPr lang="en-US" b="1" dirty="0">
                <a:solidFill>
                  <a:srgbClr val="00B050"/>
                </a:solidFill>
                <a:latin typeface="Roboto"/>
              </a:rPr>
              <a:t> </a:t>
            </a:r>
            <a:r>
              <a:rPr lang="en-US" b="1" dirty="0" err="1">
                <a:solidFill>
                  <a:srgbClr val="00B050"/>
                </a:solidFill>
                <a:latin typeface="Roboto"/>
              </a:rPr>
              <a:t>trùng</a:t>
            </a:r>
            <a:r>
              <a:rPr lang="vi-VN" b="1" dirty="0">
                <a:solidFill>
                  <a:srgbClr val="00B050"/>
                </a:solidFill>
                <a:latin typeface="Roboto"/>
              </a:rPr>
              <a:t> RSV là quan trọng do thiếu các phương pháp điều trị, hệ thống miễn dịch suy yếu ở người cao tuổi, và nguy cơ đồng nhiễm vi khuẩn</a:t>
            </a:r>
            <a:r>
              <a:rPr lang="en-US" b="1" baseline="30000" dirty="0">
                <a:solidFill>
                  <a:srgbClr val="00B050"/>
                </a:solidFill>
                <a:latin typeface="Roboto"/>
                <a:ea typeface="Times New Roman" panose="02020603050405020304" pitchFamily="18" charset="0"/>
                <a:cs typeface="Calibri" panose="020F0502020204030204" pitchFamily="34" charset="0"/>
              </a:rPr>
              <a:t>1,5</a:t>
            </a:r>
            <a:endParaRPr lang="en-US" b="1" dirty="0">
              <a:solidFill>
                <a:srgbClr val="00B050"/>
              </a:solidFill>
              <a:latin typeface="Roboto"/>
              <a:ea typeface="Calibri" panose="020F0502020204030204" pitchFamily="34" charset="0"/>
              <a:cs typeface="Times New Roman" panose="02020603050405020304" pitchFamily="18" charset="0"/>
            </a:endParaRPr>
          </a:p>
        </p:txBody>
      </p:sp>
      <p:sp>
        <p:nvSpPr>
          <p:cNvPr id="15" name="Footer Placeholder 1">
            <a:extLst>
              <a:ext uri="{FF2B5EF4-FFF2-40B4-BE49-F238E27FC236}">
                <a16:creationId xmlns:a16="http://schemas.microsoft.com/office/drawing/2014/main" id="{73265CA7-E0FE-61B1-145A-2FA08EEE7AD7}"/>
              </a:ext>
            </a:extLst>
          </p:cNvPr>
          <p:cNvSpPr>
            <a:spLocks noGrp="1"/>
          </p:cNvSpPr>
          <p:nvPr>
            <p:ph type="ftr" sz="quarter" idx="10"/>
          </p:nvPr>
        </p:nvSpPr>
        <p:spPr>
          <a:xfrm>
            <a:off x="363923" y="6330016"/>
            <a:ext cx="11292839" cy="365125"/>
          </a:xfrm>
          <a:prstGeom prst="rect">
            <a:avLst/>
          </a:prstGeom>
        </p:spPr>
        <p:txBody>
          <a:bodyPr/>
          <a:lstStyle/>
          <a:p>
            <a:pPr indent="-228611" algn="l" defTabSz="914446">
              <a:lnSpc>
                <a:spcPct val="85000"/>
              </a:lnSpc>
              <a:spcBef>
                <a:spcPts val="200"/>
              </a:spcBef>
              <a:buClr>
                <a:srgbClr val="0095FF"/>
              </a:buClr>
              <a:buSzPct val="85000"/>
              <a:tabLst>
                <a:tab pos="174634" algn="r"/>
                <a:tab pos="228611" algn="l"/>
              </a:tabLst>
              <a:defRPr/>
            </a:pPr>
            <a:r>
              <a:rPr lang="en-US" sz="800">
                <a:solidFill>
                  <a:srgbClr val="415363"/>
                </a:solidFill>
                <a:latin typeface="Roboto"/>
              </a:rPr>
              <a:t>RSV, respiratory syncytial virus.</a:t>
            </a:r>
            <a:br>
              <a:rPr lang="en-US" sz="800">
                <a:solidFill>
                  <a:srgbClr val="415363"/>
                </a:solidFill>
                <a:latin typeface="Roboto"/>
              </a:rPr>
            </a:br>
            <a:r>
              <a:rPr lang="en-US" sz="800">
                <a:solidFill>
                  <a:srgbClr val="000000"/>
                </a:solidFill>
                <a:latin typeface="Roboto"/>
                <a:cs typeface="Arial" pitchFamily="34" charset="0"/>
              </a:rPr>
              <a:t>1. Talbot HK, et al. </a:t>
            </a:r>
            <a:r>
              <a:rPr lang="en-US" sz="800" i="1">
                <a:solidFill>
                  <a:srgbClr val="000000"/>
                </a:solidFill>
                <a:latin typeface="Roboto"/>
                <a:cs typeface="Arial" pitchFamily="34" charset="0"/>
                <a:hlinkClick r:id="rId7"/>
              </a:rPr>
              <a:t>Infect Dis Clin </a:t>
            </a:r>
            <a:r>
              <a:rPr lang="en-US" sz="800" i="1" err="1">
                <a:solidFill>
                  <a:srgbClr val="000000"/>
                </a:solidFill>
                <a:latin typeface="Roboto"/>
                <a:cs typeface="Arial" pitchFamily="34" charset="0"/>
                <a:hlinkClick r:id="rId7"/>
              </a:rPr>
              <a:t>Prac</a:t>
            </a:r>
            <a:r>
              <a:rPr lang="en-US" sz="800">
                <a:solidFill>
                  <a:srgbClr val="000000"/>
                </a:solidFill>
                <a:latin typeface="Roboto"/>
                <a:cs typeface="Arial" pitchFamily="34" charset="0"/>
              </a:rPr>
              <a:t>. 2016;24(6):295-302. 2. Branche AR, et al. </a:t>
            </a:r>
            <a:r>
              <a:rPr lang="en-US" sz="800" i="1">
                <a:solidFill>
                  <a:srgbClr val="000000"/>
                </a:solidFill>
                <a:latin typeface="Roboto"/>
                <a:cs typeface="Arial" pitchFamily="34" charset="0"/>
                <a:hlinkClick r:id="rId8"/>
              </a:rPr>
              <a:t>Drugs Aging</a:t>
            </a:r>
            <a:r>
              <a:rPr lang="en-US" sz="800">
                <a:solidFill>
                  <a:srgbClr val="000000"/>
                </a:solidFill>
                <a:latin typeface="Roboto"/>
                <a:cs typeface="Arial" pitchFamily="34" charset="0"/>
              </a:rPr>
              <a:t>. 2015;32(4):261-269. 3. Smith H, et al. In: </a:t>
            </a:r>
            <a:r>
              <a:rPr lang="en-US" sz="800" err="1">
                <a:solidFill>
                  <a:srgbClr val="000000"/>
                </a:solidFill>
                <a:latin typeface="Roboto"/>
                <a:cs typeface="Arial" pitchFamily="34" charset="0"/>
              </a:rPr>
              <a:t>Brogden</a:t>
            </a:r>
            <a:r>
              <a:rPr lang="en-US" sz="800">
                <a:solidFill>
                  <a:srgbClr val="000000"/>
                </a:solidFill>
                <a:latin typeface="Roboto"/>
                <a:cs typeface="Arial" pitchFamily="34" charset="0"/>
              </a:rPr>
              <a:t> KA, Guthmiller JM, eds. </a:t>
            </a:r>
            <a:r>
              <a:rPr lang="en-US" sz="800" i="1">
                <a:solidFill>
                  <a:srgbClr val="000000"/>
                </a:solidFill>
                <a:latin typeface="Roboto"/>
                <a:cs typeface="Arial" pitchFamily="34" charset="0"/>
                <a:hlinkClick r:id="rId9"/>
              </a:rPr>
              <a:t>Polymicrobial Diseases</a:t>
            </a:r>
            <a:r>
              <a:rPr lang="en-US" sz="800">
                <a:solidFill>
                  <a:srgbClr val="000000"/>
                </a:solidFill>
                <a:latin typeface="Roboto"/>
                <a:cs typeface="Arial" pitchFamily="34" charset="0"/>
              </a:rPr>
              <a:t>. ASM Press; 2002:chap 11. Accessed July 7, 2022. 4. </a:t>
            </a:r>
            <a:r>
              <a:rPr lang="en-US" sz="800" err="1">
                <a:solidFill>
                  <a:srgbClr val="000000"/>
                </a:solidFill>
                <a:latin typeface="Roboto"/>
                <a:cs typeface="Arial" pitchFamily="34" charset="0"/>
              </a:rPr>
              <a:t>Godefroy</a:t>
            </a:r>
            <a:r>
              <a:rPr lang="en-US" sz="800">
                <a:solidFill>
                  <a:srgbClr val="000000"/>
                </a:solidFill>
                <a:latin typeface="Roboto"/>
                <a:cs typeface="Arial" pitchFamily="34" charset="0"/>
              </a:rPr>
              <a:t> R, et al. </a:t>
            </a:r>
            <a:r>
              <a:rPr lang="en-US" sz="800" i="1">
                <a:solidFill>
                  <a:srgbClr val="000000"/>
                </a:solidFill>
                <a:latin typeface="Roboto"/>
                <a:cs typeface="Arial" pitchFamily="34" charset="0"/>
                <a:hlinkClick r:id="rId10"/>
              </a:rPr>
              <a:t>Open Forum Infect Dis</a:t>
            </a:r>
            <a:r>
              <a:rPr lang="en-US" sz="800">
                <a:solidFill>
                  <a:srgbClr val="000000"/>
                </a:solidFill>
                <a:latin typeface="Roboto"/>
                <a:cs typeface="Arial" pitchFamily="34" charset="0"/>
              </a:rPr>
              <a:t>. 2020;7(12):ofaa546. 5. </a:t>
            </a:r>
            <a:r>
              <a:rPr lang="en-US" sz="800">
                <a:solidFill>
                  <a:srgbClr val="415363"/>
                </a:solidFill>
                <a:latin typeface="Roboto"/>
              </a:rPr>
              <a:t>Walsh EE, et al. In: Bennett JE, Blaser MJ, eds. </a:t>
            </a:r>
            <a:r>
              <a:rPr lang="en-US" sz="800" i="1">
                <a:solidFill>
                  <a:srgbClr val="415363"/>
                </a:solidFill>
                <a:latin typeface="Roboto"/>
                <a:hlinkClick r:id="rId11"/>
              </a:rPr>
              <a:t>Mandell, Douglas, and Bennett's Principles and Practice of Infectious Diseases</a:t>
            </a:r>
            <a:r>
              <a:rPr lang="en-US" sz="800">
                <a:solidFill>
                  <a:srgbClr val="415363"/>
                </a:solidFill>
                <a:latin typeface="Roboto"/>
              </a:rPr>
              <a:t>. Elsevier Inc; 2015:1948-1960. Accessed August 16, 2022. </a:t>
            </a:r>
            <a:endParaRPr lang="en-US" sz="800">
              <a:solidFill>
                <a:srgbClr val="000000"/>
              </a:solidFill>
              <a:latin typeface="Roboto"/>
              <a:cs typeface="Arial" pitchFamily="34" charset="0"/>
            </a:endParaRPr>
          </a:p>
        </p:txBody>
      </p:sp>
      <p:sp>
        <p:nvSpPr>
          <p:cNvPr id="16" name="Rectangle: Top Corners Rounded 14">
            <a:extLst>
              <a:ext uri="{FF2B5EF4-FFF2-40B4-BE49-F238E27FC236}">
                <a16:creationId xmlns:a16="http://schemas.microsoft.com/office/drawing/2014/main" id="{6E863F2A-0C7F-374D-22B8-B061A2FA68A7}"/>
              </a:ext>
            </a:extLst>
          </p:cNvPr>
          <p:cNvSpPr/>
          <p:nvPr/>
        </p:nvSpPr>
        <p:spPr bwMode="auto">
          <a:xfrm flipV="1">
            <a:off x="448385" y="2496889"/>
            <a:ext cx="5855681" cy="2090123"/>
          </a:xfrm>
          <a:prstGeom prst="round2SameRect">
            <a:avLst>
              <a:gd name="adj1" fmla="val 25472"/>
              <a:gd name="adj2" fmla="val 0"/>
            </a:avLst>
          </a:prstGeom>
          <a:noFill/>
          <a:ln w="19050">
            <a:gradFill>
              <a:gsLst>
                <a:gs pos="0">
                  <a:schemeClr val="accent3"/>
                </a:gs>
                <a:gs pos="100000">
                  <a:schemeClr val="accent3">
                    <a:alpha val="0"/>
                  </a:schemeClr>
                </a:gs>
              </a:gsLst>
              <a:lin ang="5400000" scaled="1"/>
            </a:grad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46" eaLnBrk="0" hangingPunct="0">
              <a:buClr>
                <a:srgbClr val="FFFFFF"/>
              </a:buClr>
              <a:defRPr/>
            </a:pPr>
            <a:endParaRPr lang="en-US" sz="1600" b="1" kern="0">
              <a:solidFill>
                <a:srgbClr val="415363"/>
              </a:solidFill>
              <a:latin typeface="Roboto"/>
            </a:endParaRPr>
          </a:p>
        </p:txBody>
      </p:sp>
      <p:cxnSp>
        <p:nvCxnSpPr>
          <p:cNvPr id="17" name="Straight Connector 16">
            <a:extLst>
              <a:ext uri="{FF2B5EF4-FFF2-40B4-BE49-F238E27FC236}">
                <a16:creationId xmlns:a16="http://schemas.microsoft.com/office/drawing/2014/main" id="{5670A261-FEA1-89E0-5470-C20FABFEC5DD}"/>
              </a:ext>
            </a:extLst>
          </p:cNvPr>
          <p:cNvCxnSpPr>
            <a:cxnSpLocks/>
          </p:cNvCxnSpPr>
          <p:nvPr/>
        </p:nvCxnSpPr>
        <p:spPr bwMode="gray">
          <a:xfrm>
            <a:off x="6596510" y="1395799"/>
            <a:ext cx="0" cy="3231853"/>
          </a:xfrm>
          <a:prstGeom prst="line">
            <a:avLst/>
          </a:prstGeom>
          <a:ln>
            <a:headEnd/>
            <a:tailEnd/>
          </a:ln>
        </p:spPr>
        <p:style>
          <a:lnRef idx="1">
            <a:schemeClr val="accent3"/>
          </a:lnRef>
          <a:fillRef idx="0">
            <a:schemeClr val="accent3"/>
          </a:fillRef>
          <a:effectRef idx="0">
            <a:schemeClr val="accent3"/>
          </a:effectRef>
          <a:fontRef idx="minor">
            <a:schemeClr val="tx1"/>
          </a:fontRef>
        </p:style>
      </p:cxnSp>
      <p:sp>
        <p:nvSpPr>
          <p:cNvPr id="19" name="TextBox 18">
            <a:extLst>
              <a:ext uri="{FF2B5EF4-FFF2-40B4-BE49-F238E27FC236}">
                <a16:creationId xmlns:a16="http://schemas.microsoft.com/office/drawing/2014/main" id="{29EDFCC4-F9DD-4FC6-B974-963BA10CCBA7}"/>
              </a:ext>
            </a:extLst>
          </p:cNvPr>
          <p:cNvSpPr txBox="1"/>
          <p:nvPr/>
        </p:nvSpPr>
        <p:spPr bwMode="gray">
          <a:xfrm>
            <a:off x="6898746" y="1340782"/>
            <a:ext cx="4944030" cy="553357"/>
          </a:xfrm>
          <a:prstGeom prst="rect">
            <a:avLst/>
          </a:prstGeom>
          <a:noFill/>
        </p:spPr>
        <p:txBody>
          <a:bodyPr wrap="square">
            <a:spAutoFit/>
          </a:bodyPr>
          <a:lstStyle>
            <a:defPPr>
              <a:defRPr lang="en-US"/>
            </a:defPPr>
            <a:lvl1pPr marR="0" lvl="0" algn="ctr" fontAlgn="ctr">
              <a:lnSpc>
                <a:spcPct val="107000"/>
              </a:lnSpc>
              <a:spcBef>
                <a:spcPts val="0"/>
              </a:spcBef>
              <a:spcAft>
                <a:spcPts val="0"/>
              </a:spcAft>
              <a:defRPr sz="1400" b="1">
                <a:solidFill>
                  <a:srgbClr val="000097"/>
                </a:solidFill>
                <a:effectLst/>
                <a:ea typeface="Times New Roman" panose="02020603050405020304" pitchFamily="18" charset="0"/>
                <a:cs typeface="Calibri" panose="020F0502020204030204" pitchFamily="34" charset="0"/>
              </a:defRPr>
            </a:lvl1pPr>
          </a:lstStyle>
          <a:p>
            <a:pPr defTabSz="914446">
              <a:defRPr/>
            </a:pPr>
            <a:r>
              <a:rPr lang="vi-VN">
                <a:latin typeface="Roboto"/>
              </a:rPr>
              <a:t>Đồng nhiễm RSV và vi khuẩn có liên quan đến tỷ lệ tử vong cao hơn ở những người từ 65 tuổi trở lên</a:t>
            </a:r>
            <a:r>
              <a:rPr lang="en-US" baseline="30000">
                <a:latin typeface="Roboto"/>
              </a:rPr>
              <a:t>4</a:t>
            </a:r>
            <a:r>
              <a:rPr lang="en-US">
                <a:latin typeface="Roboto"/>
              </a:rPr>
              <a:t> </a:t>
            </a:r>
          </a:p>
        </p:txBody>
      </p:sp>
      <p:cxnSp>
        <p:nvCxnSpPr>
          <p:cNvPr id="20" name="Straight Connector 19">
            <a:extLst>
              <a:ext uri="{FF2B5EF4-FFF2-40B4-BE49-F238E27FC236}">
                <a16:creationId xmlns:a16="http://schemas.microsoft.com/office/drawing/2014/main" id="{AA5B8E24-C798-4DE2-AC49-F2B192A5126A}"/>
              </a:ext>
            </a:extLst>
          </p:cNvPr>
          <p:cNvCxnSpPr>
            <a:cxnSpLocks/>
          </p:cNvCxnSpPr>
          <p:nvPr/>
        </p:nvCxnSpPr>
        <p:spPr bwMode="gray">
          <a:xfrm flipH="1">
            <a:off x="6992176" y="4627650"/>
            <a:ext cx="4944030" cy="0"/>
          </a:xfrm>
          <a:prstGeom prst="line">
            <a:avLst/>
          </a:prstGeom>
          <a:ln>
            <a:headEnd/>
            <a:tailEnd/>
          </a:ln>
        </p:spPr>
        <p:style>
          <a:lnRef idx="1">
            <a:schemeClr val="accent3"/>
          </a:lnRef>
          <a:fillRef idx="0">
            <a:schemeClr val="accent3"/>
          </a:fillRef>
          <a:effectRef idx="0">
            <a:schemeClr val="accent3"/>
          </a:effectRef>
          <a:fontRef idx="minor">
            <a:schemeClr val="tx1"/>
          </a:fontRef>
        </p:style>
      </p:cxnSp>
      <p:graphicFrame>
        <p:nvGraphicFramePr>
          <p:cNvPr id="21" name="Chart 20">
            <a:extLst>
              <a:ext uri="{FF2B5EF4-FFF2-40B4-BE49-F238E27FC236}">
                <a16:creationId xmlns:a16="http://schemas.microsoft.com/office/drawing/2014/main" id="{E0D850BE-36CD-4B16-ACA0-97B19AF0BC03}"/>
              </a:ext>
            </a:extLst>
          </p:cNvPr>
          <p:cNvGraphicFramePr>
            <a:graphicFrameLocks/>
          </p:cNvGraphicFramePr>
          <p:nvPr/>
        </p:nvGraphicFramePr>
        <p:xfrm>
          <a:off x="7084760" y="1843810"/>
          <a:ext cx="4572000" cy="274320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632400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675D0-E413-E268-01BE-B3840ABDD1DE}"/>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89C8DDA3-50A8-A18D-A9A2-85821B161D1C}"/>
              </a:ext>
            </a:extLst>
          </p:cNvPr>
          <p:cNvGrpSpPr/>
          <p:nvPr/>
        </p:nvGrpSpPr>
        <p:grpSpPr>
          <a:xfrm>
            <a:off x="0" y="2585253"/>
            <a:ext cx="12192000" cy="1347759"/>
            <a:chOff x="0" y="2585256"/>
            <a:chExt cx="12192000" cy="1047404"/>
          </a:xfrm>
          <a:solidFill>
            <a:srgbClr val="00B050"/>
          </a:solidFill>
        </p:grpSpPr>
        <p:sp>
          <p:nvSpPr>
            <p:cNvPr id="3" name="Rectangle 2">
              <a:extLst>
                <a:ext uri="{FF2B5EF4-FFF2-40B4-BE49-F238E27FC236}">
                  <a16:creationId xmlns:a16="http://schemas.microsoft.com/office/drawing/2014/main" id="{948C85E1-EF04-3ACF-4D7D-6C112DCDEC02}"/>
                </a:ext>
              </a:extLst>
            </p:cNvPr>
            <p:cNvSpPr/>
            <p:nvPr/>
          </p:nvSpPr>
          <p:spPr>
            <a:xfrm>
              <a:off x="0" y="2585256"/>
              <a:ext cx="12191999" cy="1047404"/>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FFB20186-4638-5DF0-98B8-BE8A77E8CEFE}"/>
                </a:ext>
              </a:extLst>
            </p:cNvPr>
            <p:cNvSpPr txBox="1"/>
            <p:nvPr/>
          </p:nvSpPr>
          <p:spPr>
            <a:xfrm>
              <a:off x="1" y="2869770"/>
              <a:ext cx="12191999" cy="478374"/>
            </a:xfrm>
            <a:prstGeom prst="rect">
              <a:avLst/>
            </a:prstGeom>
            <a:solidFill>
              <a:srgbClr val="0070C0"/>
            </a:solidFill>
          </p:spPr>
          <p:txBody>
            <a:bodyPr wrap="square" rtlCol="0">
              <a:spAutoFit/>
            </a:bodyPr>
            <a:lstStyle/>
            <a:p>
              <a:pPr algn="ctr"/>
              <a:r>
                <a:rPr lang="en-US" sz="3400" b="1" dirty="0">
                  <a:solidFill>
                    <a:schemeClr val="bg1"/>
                  </a:solidFill>
                  <a:latin typeface="Arial" panose="020B0604020202020204" pitchFamily="34" charset="0"/>
                  <a:cs typeface="Arial" panose="020B0604020202020204" pitchFamily="34" charset="0"/>
                </a:rPr>
                <a:t>GÁNH NẶNG CỦA </a:t>
              </a:r>
              <a:r>
                <a:rPr lang="vi-VN" sz="3400" b="1" dirty="0">
                  <a:solidFill>
                    <a:schemeClr val="bg1"/>
                  </a:solidFill>
                  <a:latin typeface="Arial" panose="020B0604020202020204" pitchFamily="34" charset="0"/>
                  <a:cs typeface="Arial" panose="020B0604020202020204" pitchFamily="34" charset="0"/>
                </a:rPr>
                <a:t>COVID-19</a:t>
              </a:r>
              <a:endParaRPr lang="en-US" sz="3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86259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BC68CF-3A6E-8B24-3245-13F69CA591DE}"/>
              </a:ext>
            </a:extLst>
          </p:cNvPr>
          <p:cNvPicPr>
            <a:picLocks noChangeAspect="1"/>
          </p:cNvPicPr>
          <p:nvPr/>
        </p:nvPicPr>
        <p:blipFill>
          <a:blip r:embed="rId2"/>
          <a:srcRect r="18034"/>
          <a:stretch>
            <a:fillRect/>
          </a:stretch>
        </p:blipFill>
        <p:spPr>
          <a:xfrm>
            <a:off x="0" y="2667907"/>
            <a:ext cx="3812070" cy="1267002"/>
          </a:xfrm>
          <a:prstGeom prst="rect">
            <a:avLst/>
          </a:prstGeom>
        </p:spPr>
      </p:pic>
      <p:pic>
        <p:nvPicPr>
          <p:cNvPr id="7" name="Picture 6">
            <a:extLst>
              <a:ext uri="{FF2B5EF4-FFF2-40B4-BE49-F238E27FC236}">
                <a16:creationId xmlns:a16="http://schemas.microsoft.com/office/drawing/2014/main" id="{EF03E982-19AC-4477-67DF-2B74C7952B8E}"/>
              </a:ext>
            </a:extLst>
          </p:cNvPr>
          <p:cNvPicPr>
            <a:picLocks noChangeAspect="1"/>
          </p:cNvPicPr>
          <p:nvPr/>
        </p:nvPicPr>
        <p:blipFill>
          <a:blip r:embed="rId3"/>
          <a:stretch>
            <a:fillRect/>
          </a:stretch>
        </p:blipFill>
        <p:spPr>
          <a:xfrm>
            <a:off x="3812070" y="148856"/>
            <a:ext cx="8119136" cy="6602818"/>
          </a:xfrm>
          <a:prstGeom prst="rect">
            <a:avLst/>
          </a:prstGeom>
        </p:spPr>
      </p:pic>
    </p:spTree>
    <p:extLst>
      <p:ext uri="{BB962C8B-B14F-4D97-AF65-F5344CB8AC3E}">
        <p14:creationId xmlns:p14="http://schemas.microsoft.com/office/powerpoint/2010/main" val="8479526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3139" y="109066"/>
            <a:ext cx="11134060" cy="1325563"/>
          </a:xfrm>
        </p:spPr>
        <p:txBody>
          <a:bodyPr>
            <a:noAutofit/>
          </a:bodyPr>
          <a:lstStyle/>
          <a:p>
            <a:r>
              <a:rPr lang="en-US" sz="3333" b="1" dirty="0">
                <a:solidFill>
                  <a:srgbClr val="002060"/>
                </a:solidFill>
              </a:rPr>
              <a:t>COVID-19: </a:t>
            </a:r>
            <a:r>
              <a:rPr lang="en-US" sz="3333" b="1" dirty="0" err="1">
                <a:solidFill>
                  <a:srgbClr val="002060"/>
                </a:solidFill>
              </a:rPr>
              <a:t>từ</a:t>
            </a:r>
            <a:r>
              <a:rPr lang="en-US" sz="3333" b="1" dirty="0">
                <a:solidFill>
                  <a:srgbClr val="002060"/>
                </a:solidFill>
              </a:rPr>
              <a:t> </a:t>
            </a:r>
            <a:r>
              <a:rPr lang="en-US" sz="3333" b="1" dirty="0" err="1">
                <a:solidFill>
                  <a:srgbClr val="002060"/>
                </a:solidFill>
              </a:rPr>
              <a:t>sự</a:t>
            </a:r>
            <a:r>
              <a:rPr lang="en-US" sz="3333" b="1" dirty="0">
                <a:solidFill>
                  <a:srgbClr val="002060"/>
                </a:solidFill>
              </a:rPr>
              <a:t> </a:t>
            </a:r>
            <a:r>
              <a:rPr lang="en-US" sz="3333" b="1" dirty="0" err="1">
                <a:solidFill>
                  <a:srgbClr val="002060"/>
                </a:solidFill>
              </a:rPr>
              <a:t>xâm</a:t>
            </a:r>
            <a:r>
              <a:rPr lang="en-US" sz="3333" b="1" dirty="0">
                <a:solidFill>
                  <a:srgbClr val="002060"/>
                </a:solidFill>
              </a:rPr>
              <a:t> </a:t>
            </a:r>
            <a:r>
              <a:rPr lang="en-US" sz="3333" b="1" dirty="0" err="1">
                <a:solidFill>
                  <a:srgbClr val="002060"/>
                </a:solidFill>
              </a:rPr>
              <a:t>nhập</a:t>
            </a:r>
            <a:r>
              <a:rPr lang="en-US" sz="3333" b="1" dirty="0">
                <a:solidFill>
                  <a:srgbClr val="002060"/>
                </a:solidFill>
              </a:rPr>
              <a:t> </a:t>
            </a:r>
            <a:r>
              <a:rPr lang="en-US" sz="3333" b="1" dirty="0" err="1">
                <a:solidFill>
                  <a:srgbClr val="002060"/>
                </a:solidFill>
              </a:rPr>
              <a:t>của</a:t>
            </a:r>
            <a:r>
              <a:rPr lang="en-US" sz="3333" b="1" dirty="0">
                <a:solidFill>
                  <a:srgbClr val="002060"/>
                </a:solidFill>
              </a:rPr>
              <a:t> virus </a:t>
            </a:r>
            <a:r>
              <a:rPr lang="en-US" sz="3333" b="1" dirty="0" err="1">
                <a:solidFill>
                  <a:srgbClr val="002060"/>
                </a:solidFill>
              </a:rPr>
              <a:t>đến</a:t>
            </a:r>
            <a:r>
              <a:rPr lang="vi-VN" sz="3333" b="1" dirty="0">
                <a:solidFill>
                  <a:srgbClr val="002060"/>
                </a:solidFill>
              </a:rPr>
              <a:t> </a:t>
            </a:r>
            <a:r>
              <a:rPr lang="en-US" sz="3333" b="1" dirty="0" err="1">
                <a:solidFill>
                  <a:srgbClr val="002060"/>
                </a:solidFill>
              </a:rPr>
              <a:t>đáp</a:t>
            </a:r>
            <a:r>
              <a:rPr lang="en-US" sz="3333" b="1" dirty="0">
                <a:solidFill>
                  <a:srgbClr val="002060"/>
                </a:solidFill>
              </a:rPr>
              <a:t> </a:t>
            </a:r>
            <a:r>
              <a:rPr lang="en-US" sz="3333" b="1" dirty="0" err="1">
                <a:solidFill>
                  <a:srgbClr val="002060"/>
                </a:solidFill>
              </a:rPr>
              <a:t>ứng</a:t>
            </a:r>
            <a:r>
              <a:rPr lang="en-US" sz="3333" b="1" dirty="0">
                <a:solidFill>
                  <a:srgbClr val="002060"/>
                </a:solidFill>
              </a:rPr>
              <a:t> </a:t>
            </a:r>
            <a:r>
              <a:rPr lang="en-US" sz="3333" b="1" dirty="0" err="1">
                <a:solidFill>
                  <a:srgbClr val="002060"/>
                </a:solidFill>
              </a:rPr>
              <a:t>toàn</a:t>
            </a:r>
            <a:r>
              <a:rPr lang="en-US" sz="3333" b="1" dirty="0">
                <a:solidFill>
                  <a:srgbClr val="002060"/>
                </a:solidFill>
              </a:rPr>
              <a:t> </a:t>
            </a:r>
            <a:r>
              <a:rPr lang="en-US" sz="3333" b="1" dirty="0" err="1">
                <a:solidFill>
                  <a:srgbClr val="002060"/>
                </a:solidFill>
              </a:rPr>
              <a:t>thân</a:t>
            </a:r>
            <a:endParaRPr lang="en-US" sz="3333" b="1" dirty="0">
              <a:solidFill>
                <a:srgbClr val="002060"/>
              </a:solidFill>
            </a:endParaRPr>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6500" y="1460500"/>
            <a:ext cx="9652000" cy="48895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a:spLocks noChangeArrowheads="1"/>
          </p:cNvSpPr>
          <p:nvPr/>
        </p:nvSpPr>
        <p:spPr bwMode="auto">
          <a:xfrm>
            <a:off x="3913188" y="3511591"/>
            <a:ext cx="153953"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200" tIns="38100" rIns="76200" bIns="38100" numCol="1" anchor="ctr" anchorCtr="0" compatLnSpc="1">
            <a:prstTxWarp prst="textNoShape">
              <a:avLst/>
            </a:prstTxWarp>
            <a:spAutoFit/>
          </a:bodyPr>
          <a:lstStyle/>
          <a:p>
            <a:pPr defTabSz="761970" fontAlgn="base">
              <a:spcBef>
                <a:spcPct val="0"/>
              </a:spcBef>
              <a:spcAft>
                <a:spcPct val="0"/>
              </a:spcAft>
            </a:pPr>
            <a:br>
              <a:rPr lang="en-US" sz="1500">
                <a:latin typeface="Arial" pitchFamily="34" charset="0"/>
                <a:cs typeface="Arial" pitchFamily="34" charset="0"/>
              </a:rPr>
            </a:br>
            <a:endParaRPr lang="en-US" sz="1500">
              <a:latin typeface="Arial" pitchFamily="34" charset="0"/>
              <a:cs typeface="Arial" pitchFamily="34" charset="0"/>
            </a:endParaRPr>
          </a:p>
        </p:txBody>
      </p:sp>
      <p:sp>
        <p:nvSpPr>
          <p:cNvPr id="8" name="Rectangle 4"/>
          <p:cNvSpPr>
            <a:spLocks noChangeArrowheads="1"/>
          </p:cNvSpPr>
          <p:nvPr/>
        </p:nvSpPr>
        <p:spPr bwMode="auto">
          <a:xfrm>
            <a:off x="3913188" y="3511591"/>
            <a:ext cx="153953"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200" tIns="38100" rIns="76200" bIns="38100" numCol="1" anchor="ctr" anchorCtr="0" compatLnSpc="1">
            <a:prstTxWarp prst="textNoShape">
              <a:avLst/>
            </a:prstTxWarp>
            <a:spAutoFit/>
          </a:bodyPr>
          <a:lstStyle/>
          <a:p>
            <a:pPr defTabSz="761970" fontAlgn="base">
              <a:spcBef>
                <a:spcPct val="0"/>
              </a:spcBef>
              <a:spcAft>
                <a:spcPct val="0"/>
              </a:spcAft>
            </a:pPr>
            <a:br>
              <a:rPr lang="en-US" sz="1500">
                <a:latin typeface="Arial" pitchFamily="34" charset="0"/>
                <a:cs typeface="Arial" pitchFamily="34" charset="0"/>
              </a:rPr>
            </a:br>
            <a:endParaRPr lang="en-US" sz="1500">
              <a:latin typeface="Arial" pitchFamily="34" charset="0"/>
              <a:cs typeface="Arial" pitchFamily="34" charset="0"/>
            </a:endParaRPr>
          </a:p>
        </p:txBody>
      </p:sp>
      <p:sp>
        <p:nvSpPr>
          <p:cNvPr id="9" name="TextBox 8"/>
          <p:cNvSpPr txBox="1"/>
          <p:nvPr/>
        </p:nvSpPr>
        <p:spPr>
          <a:xfrm>
            <a:off x="4953000" y="6477000"/>
            <a:ext cx="3937000" cy="271934"/>
          </a:xfrm>
          <a:prstGeom prst="rect">
            <a:avLst/>
          </a:prstGeom>
          <a:noFill/>
        </p:spPr>
        <p:txBody>
          <a:bodyPr wrap="square" rtlCol="0">
            <a:spAutoFit/>
          </a:bodyPr>
          <a:lstStyle/>
          <a:p>
            <a:pPr algn="ctr"/>
            <a:r>
              <a:rPr lang="en-US" sz="1167"/>
              <a:t>Clin Cardiol 2020; 43: 1216-1222</a:t>
            </a:r>
          </a:p>
        </p:txBody>
      </p:sp>
    </p:spTree>
    <p:extLst>
      <p:ext uri="{BB962C8B-B14F-4D97-AF65-F5344CB8AC3E}">
        <p14:creationId xmlns:p14="http://schemas.microsoft.com/office/powerpoint/2010/main" val="3262972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3223" y="311965"/>
            <a:ext cx="10645554" cy="1006474"/>
          </a:xfrm>
        </p:spPr>
        <p:txBody>
          <a:bodyPr>
            <a:noAutofit/>
          </a:bodyPr>
          <a:lstStyle/>
          <a:p>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Sinh lý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bệnh</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các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biế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hứng</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liê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qua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đế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tim</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ủa</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COVID-19</a:t>
            </a:r>
          </a:p>
        </p:txBody>
      </p:sp>
      <p:sp>
        <p:nvSpPr>
          <p:cNvPr id="4" name="Rectangle 3"/>
          <p:cNvSpPr>
            <a:spLocks noChangeArrowheads="1"/>
          </p:cNvSpPr>
          <p:nvPr/>
        </p:nvSpPr>
        <p:spPr bwMode="auto">
          <a:xfrm>
            <a:off x="3913188" y="3511591"/>
            <a:ext cx="153953"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200" tIns="38100" rIns="76200" bIns="38100" numCol="1" anchor="ctr" anchorCtr="0" compatLnSpc="1">
            <a:prstTxWarp prst="textNoShape">
              <a:avLst/>
            </a:prstTxWarp>
            <a:spAutoFit/>
          </a:bodyPr>
          <a:lstStyle/>
          <a:p>
            <a:pPr defTabSz="761970" fontAlgn="base">
              <a:spcBef>
                <a:spcPct val="0"/>
              </a:spcBef>
              <a:spcAft>
                <a:spcPct val="0"/>
              </a:spcAft>
            </a:pPr>
            <a:br>
              <a:rPr lang="en-US" sz="1500">
                <a:latin typeface="Arial" pitchFamily="34" charset="0"/>
                <a:cs typeface="Arial" pitchFamily="34" charset="0"/>
              </a:rPr>
            </a:br>
            <a:endParaRPr lang="en-US" sz="1500">
              <a:latin typeface="Arial" pitchFamily="34" charset="0"/>
              <a:cs typeface="Arial" pitchFamily="34" charset="0"/>
            </a:endParaRPr>
          </a:p>
        </p:txBody>
      </p:sp>
      <p:sp>
        <p:nvSpPr>
          <p:cNvPr id="8" name="Rectangle 4"/>
          <p:cNvSpPr>
            <a:spLocks noChangeArrowheads="1"/>
          </p:cNvSpPr>
          <p:nvPr/>
        </p:nvSpPr>
        <p:spPr bwMode="auto">
          <a:xfrm>
            <a:off x="3913188" y="3511591"/>
            <a:ext cx="153953"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200" tIns="38100" rIns="76200" bIns="38100" numCol="1" anchor="ctr" anchorCtr="0" compatLnSpc="1">
            <a:prstTxWarp prst="textNoShape">
              <a:avLst/>
            </a:prstTxWarp>
            <a:spAutoFit/>
          </a:bodyPr>
          <a:lstStyle/>
          <a:p>
            <a:pPr defTabSz="761970" fontAlgn="base">
              <a:spcBef>
                <a:spcPct val="0"/>
              </a:spcBef>
              <a:spcAft>
                <a:spcPct val="0"/>
              </a:spcAft>
            </a:pPr>
            <a:br>
              <a:rPr lang="en-US" sz="1500">
                <a:latin typeface="Arial" pitchFamily="34" charset="0"/>
                <a:cs typeface="Arial" pitchFamily="34" charset="0"/>
              </a:rPr>
            </a:br>
            <a:endParaRPr lang="en-US" sz="1500">
              <a:latin typeface="Arial" pitchFamily="34" charset="0"/>
              <a:cs typeface="Arial" pitchFamily="34" charset="0"/>
            </a:endParaRPr>
          </a:p>
        </p:txBody>
      </p:sp>
      <p:sp>
        <p:nvSpPr>
          <p:cNvPr id="9" name="TextBox 8"/>
          <p:cNvSpPr txBox="1"/>
          <p:nvPr/>
        </p:nvSpPr>
        <p:spPr>
          <a:xfrm>
            <a:off x="4508500" y="6349074"/>
            <a:ext cx="3937000" cy="297454"/>
          </a:xfrm>
          <a:prstGeom prst="rect">
            <a:avLst/>
          </a:prstGeom>
          <a:noFill/>
        </p:spPr>
        <p:txBody>
          <a:bodyPr wrap="square" rtlCol="0">
            <a:spAutoFit/>
          </a:bodyPr>
          <a:lstStyle/>
          <a:p>
            <a:pPr algn="ctr"/>
            <a:r>
              <a:rPr lang="en-US" sz="1333"/>
              <a:t>Clin Cardiol 2020; 43: 1216-1222</a:t>
            </a:r>
          </a:p>
        </p:txBody>
      </p:sp>
      <p:pic>
        <p:nvPicPr>
          <p:cNvPr id="1843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0378" t="44397" r="6864" b="12068"/>
          <a:stretch/>
        </p:blipFill>
        <p:spPr bwMode="auto">
          <a:xfrm>
            <a:off x="489098" y="1651456"/>
            <a:ext cx="11164186" cy="425888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44439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120" y="275855"/>
            <a:ext cx="2024616" cy="4147288"/>
          </a:xfrm>
        </p:spPr>
        <p:txBody>
          <a:bodyPr>
            <a:noAutofit/>
          </a:bodyPr>
          <a:lstStyle/>
          <a:p>
            <a:pPr algn="ctr"/>
            <a:r>
              <a:rPr lang="vi-VN" sz="3333" b="1" dirty="0">
                <a:solidFill>
                  <a:srgbClr val="002060"/>
                </a:solidFill>
                <a:latin typeface="Calibri" pitchFamily="34" charset="0"/>
                <a:cs typeface="Calibri" pitchFamily="34" charset="0"/>
              </a:rPr>
              <a:t>COVID-19</a:t>
            </a:r>
            <a:r>
              <a:rPr lang="en-US" sz="3333" b="1" dirty="0">
                <a:solidFill>
                  <a:srgbClr val="002060"/>
                </a:solidFill>
                <a:latin typeface="Calibri" pitchFamily="34" charset="0"/>
                <a:cs typeface="Calibri" pitchFamily="34" charset="0"/>
              </a:rPr>
              <a:t> và </a:t>
            </a:r>
            <a:r>
              <a:rPr lang="en-US" sz="3333" b="1" dirty="0" err="1">
                <a:solidFill>
                  <a:srgbClr val="002060"/>
                </a:solidFill>
                <a:latin typeface="Calibri" pitchFamily="34" charset="0"/>
                <a:cs typeface="Calibri" pitchFamily="34" charset="0"/>
              </a:rPr>
              <a:t>biến</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chứng</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trên</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hệ</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thống</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tim</a:t>
            </a:r>
            <a:r>
              <a:rPr lang="en-US" sz="3333" b="1" dirty="0">
                <a:solidFill>
                  <a:srgbClr val="002060"/>
                </a:solidFill>
                <a:latin typeface="Calibri" pitchFamily="34" charset="0"/>
                <a:cs typeface="Calibri" pitchFamily="34" charset="0"/>
              </a:rPr>
              <a:t> </a:t>
            </a:r>
            <a:r>
              <a:rPr lang="en-US" sz="3333" b="1" dirty="0" err="1">
                <a:solidFill>
                  <a:srgbClr val="002060"/>
                </a:solidFill>
                <a:latin typeface="Calibri" pitchFamily="34" charset="0"/>
                <a:cs typeface="Calibri" pitchFamily="34" charset="0"/>
              </a:rPr>
              <a:t>mạch</a:t>
            </a:r>
            <a:endParaRPr lang="en-US" sz="3333" b="1" dirty="0">
              <a:solidFill>
                <a:srgbClr val="002060"/>
              </a:solidFill>
              <a:latin typeface="Calibri" pitchFamily="34" charset="0"/>
              <a:cs typeface="Calibri" pitchFamily="34" charset="0"/>
            </a:endParaRPr>
          </a:p>
        </p:txBody>
      </p:sp>
      <p:sp>
        <p:nvSpPr>
          <p:cNvPr id="6" name="TextBox 5"/>
          <p:cNvSpPr txBox="1"/>
          <p:nvPr/>
        </p:nvSpPr>
        <p:spPr>
          <a:xfrm>
            <a:off x="4821275" y="6477391"/>
            <a:ext cx="4635500" cy="271934"/>
          </a:xfrm>
          <a:prstGeom prst="rect">
            <a:avLst/>
          </a:prstGeom>
          <a:noFill/>
        </p:spPr>
        <p:txBody>
          <a:bodyPr wrap="square" rtlCol="0">
            <a:spAutoFit/>
          </a:bodyPr>
          <a:lstStyle/>
          <a:p>
            <a:pPr algn="ctr"/>
            <a:r>
              <a:rPr lang="en-US" sz="1167" dirty="0"/>
              <a:t>American Journal of Emergency Medicine 38 (2020) 1504–1507 </a:t>
            </a: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5020" y="108677"/>
            <a:ext cx="9406859" cy="636871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14094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A480C-513C-C61C-BD3D-BD9AA1303E2D}"/>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8B0E393E-A550-5829-25AF-7ECA58C85631}"/>
              </a:ext>
            </a:extLst>
          </p:cNvPr>
          <p:cNvGrpSpPr/>
          <p:nvPr/>
        </p:nvGrpSpPr>
        <p:grpSpPr>
          <a:xfrm>
            <a:off x="0" y="2585253"/>
            <a:ext cx="12192000" cy="1347759"/>
            <a:chOff x="0" y="2585256"/>
            <a:chExt cx="12192000" cy="1047404"/>
          </a:xfrm>
          <a:solidFill>
            <a:srgbClr val="00B050"/>
          </a:solidFill>
        </p:grpSpPr>
        <p:sp>
          <p:nvSpPr>
            <p:cNvPr id="3" name="Rectangle 2">
              <a:extLst>
                <a:ext uri="{FF2B5EF4-FFF2-40B4-BE49-F238E27FC236}">
                  <a16:creationId xmlns:a16="http://schemas.microsoft.com/office/drawing/2014/main" id="{C4788061-F1C8-3BBA-047B-AAD7E4FFF340}"/>
                </a:ext>
              </a:extLst>
            </p:cNvPr>
            <p:cNvSpPr/>
            <p:nvPr/>
          </p:nvSpPr>
          <p:spPr>
            <a:xfrm>
              <a:off x="0" y="2585256"/>
              <a:ext cx="12191999" cy="1047404"/>
            </a:xfrm>
            <a:prstGeom prst="rect">
              <a:avLst/>
            </a:prstGeom>
            <a:solidFill>
              <a:srgbClr val="FF993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AA22C6B-C14D-D624-D6C9-72A65A77657E}"/>
                </a:ext>
              </a:extLst>
            </p:cNvPr>
            <p:cNvSpPr txBox="1"/>
            <p:nvPr/>
          </p:nvSpPr>
          <p:spPr>
            <a:xfrm>
              <a:off x="1" y="2869770"/>
              <a:ext cx="12191999" cy="478374"/>
            </a:xfrm>
            <a:prstGeom prst="rect">
              <a:avLst/>
            </a:prstGeom>
            <a:solidFill>
              <a:srgbClr val="FF9933"/>
            </a:solidFill>
          </p:spPr>
          <p:txBody>
            <a:bodyPr wrap="square" rtlCol="0">
              <a:spAutoFit/>
            </a:bodyPr>
            <a:lstStyle/>
            <a:p>
              <a:pPr algn="ctr"/>
              <a:r>
                <a:rPr lang="en-US" sz="3400" b="1" dirty="0">
                  <a:solidFill>
                    <a:schemeClr val="bg1"/>
                  </a:solidFill>
                  <a:latin typeface="Arial" panose="020B0604020202020204" pitchFamily="34" charset="0"/>
                  <a:cs typeface="Arial" panose="020B0604020202020204" pitchFamily="34" charset="0"/>
                </a:rPr>
                <a:t>GÁNH NẶNG CỦA </a:t>
              </a:r>
              <a:r>
                <a:rPr lang="vi-VN" sz="3400" b="1" dirty="0">
                  <a:solidFill>
                    <a:schemeClr val="bg1"/>
                  </a:solidFill>
                  <a:latin typeface="Arial" panose="020B0604020202020204" pitchFamily="34" charset="0"/>
                  <a:cs typeface="Arial" panose="020B0604020202020204" pitchFamily="34" charset="0"/>
                </a:rPr>
                <a:t>BỆNH ZONA</a:t>
              </a:r>
              <a:endParaRPr lang="en-US" sz="3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395355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2DE93-3677-9305-3C39-F502E9FE7569}"/>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D37319D4-129D-298B-FCE8-BD4D506AC911}"/>
              </a:ext>
            </a:extLst>
          </p:cNvPr>
          <p:cNvSpPr>
            <a:spLocks noGrp="1"/>
          </p:cNvSpPr>
          <p:nvPr>
            <p:ph type="title"/>
          </p:nvPr>
        </p:nvSpPr>
        <p:spPr/>
        <p:txBody>
          <a:bodyPr>
            <a:noAutofit/>
          </a:bodyPr>
          <a:lstStyle/>
          <a:p>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LÃO HÓA MIỄN DỊCH LÀM TĂNG NGUY CƠ MẮC BỆNH NHIỄM TRÙNG VÀ GIẢM ĐÁP ỨNG MIỄN DỊCH</a:t>
            </a:r>
          </a:p>
        </p:txBody>
      </p:sp>
      <p:sp>
        <p:nvSpPr>
          <p:cNvPr id="10" name="Text Placeholder 5">
            <a:extLst>
              <a:ext uri="{FF2B5EF4-FFF2-40B4-BE49-F238E27FC236}">
                <a16:creationId xmlns:a16="http://schemas.microsoft.com/office/drawing/2014/main" id="{7275F031-2ADA-B108-86BC-C8CC90CB2C01}"/>
              </a:ext>
            </a:extLst>
          </p:cNvPr>
          <p:cNvSpPr>
            <a:spLocks noGrp="1"/>
          </p:cNvSpPr>
          <p:nvPr>
            <p:ph type="body" sz="quarter" idx="10"/>
          </p:nvPr>
        </p:nvSpPr>
        <p:spPr>
          <a:xfrm>
            <a:off x="751973" y="6326313"/>
            <a:ext cx="11078090" cy="476504"/>
          </a:xfrm>
        </p:spPr>
        <p:txBody>
          <a:bodyPr>
            <a:noAutofit/>
          </a:bodyPr>
          <a:lstStyle/>
          <a:p>
            <a:r>
              <a:rPr lang="vi-VN" sz="800" noProof="0">
                <a:solidFill>
                  <a:schemeClr val="tx1"/>
                </a:solidFill>
                <a:latin typeface="+mj-lt"/>
                <a:cs typeface="Arial" panose="020B0604020202020204" pitchFamily="34" charset="0"/>
              </a:rPr>
              <a:t>  </a:t>
            </a:r>
          </a:p>
          <a:p>
            <a:pPr algn="l"/>
            <a:r>
              <a:rPr lang="vi-VN" sz="800" b="1" noProof="0">
                <a:solidFill>
                  <a:schemeClr val="tx1"/>
                </a:solidFill>
                <a:latin typeface="+mj-lt"/>
                <a:cs typeface="Arial" panose="020B0604020202020204" pitchFamily="34" charset="0"/>
              </a:rPr>
              <a:t>1. </a:t>
            </a:r>
            <a:r>
              <a:rPr lang="vi-VN" sz="800" noProof="0">
                <a:solidFill>
                  <a:schemeClr val="tx1"/>
                </a:solidFill>
                <a:latin typeface="+mj-lt"/>
                <a:cs typeface="Arial" panose="020B0604020202020204" pitchFamily="34" charset="0"/>
              </a:rPr>
              <a:t>Simon AK, Hollander GA, McMichael A. Evolution of the immune system in humans from infancy to old age. </a:t>
            </a:r>
            <a:r>
              <a:rPr lang="vi-VN" sz="800" i="1" noProof="0">
                <a:solidFill>
                  <a:schemeClr val="tx1"/>
                </a:solidFill>
                <a:latin typeface="+mj-lt"/>
                <a:cs typeface="Arial" panose="020B0604020202020204" pitchFamily="34" charset="0"/>
              </a:rPr>
              <a:t>Proceedings of the Royal Society of London. Series B, Biological sciences</a:t>
            </a:r>
            <a:r>
              <a:rPr lang="vi-VN" sz="800" noProof="0">
                <a:solidFill>
                  <a:schemeClr val="tx1"/>
                </a:solidFill>
                <a:latin typeface="+mj-lt"/>
                <a:cs typeface="Arial" panose="020B0604020202020204" pitchFamily="34" charset="0"/>
              </a:rPr>
              <a:t>. 2015 Dec 22;282(1821):20143085. </a:t>
            </a:r>
            <a:r>
              <a:rPr lang="vi-VN" sz="800" b="1" noProof="0">
                <a:solidFill>
                  <a:schemeClr val="tx1"/>
                </a:solidFill>
                <a:latin typeface="+mj-lt"/>
                <a:cs typeface="Arial" panose="020B0604020202020204" pitchFamily="34" charset="0"/>
              </a:rPr>
              <a:t>2. </a:t>
            </a:r>
            <a:r>
              <a:rPr lang="vi-VN" sz="800" noProof="0">
                <a:solidFill>
                  <a:schemeClr val="tx1"/>
                </a:solidFill>
                <a:latin typeface="+mj-lt"/>
              </a:rPr>
              <a:t>Del Giudice G, Goronzy JJ, Grubeck-Loebenstein B, </a:t>
            </a:r>
            <a:r>
              <a:rPr lang="vi-VN" sz="800" i="1" noProof="0">
                <a:solidFill>
                  <a:schemeClr val="tx1"/>
                </a:solidFill>
                <a:latin typeface="+mj-lt"/>
              </a:rPr>
              <a:t>et al</a:t>
            </a:r>
            <a:r>
              <a:rPr lang="vi-VN" sz="800" noProof="0">
                <a:solidFill>
                  <a:schemeClr val="tx1"/>
                </a:solidFill>
                <a:latin typeface="+mj-lt"/>
              </a:rPr>
              <a:t>. Fighting against a protean enemy: immunosenescence, vaccines, and healthy aging. </a:t>
            </a:r>
            <a:r>
              <a:rPr lang="vi-VN" sz="800" i="1" noProof="0">
                <a:solidFill>
                  <a:schemeClr val="tx1"/>
                </a:solidFill>
                <a:latin typeface="+mj-lt"/>
              </a:rPr>
              <a:t>NPJ aging and mechanisms of disease</a:t>
            </a:r>
            <a:r>
              <a:rPr lang="vi-VN" sz="800" noProof="0">
                <a:solidFill>
                  <a:schemeClr val="tx1"/>
                </a:solidFill>
                <a:latin typeface="+mj-lt"/>
              </a:rPr>
              <a:t>. 2017 Dec 21;4(1):1.</a:t>
            </a:r>
          </a:p>
        </p:txBody>
      </p:sp>
      <p:sp>
        <p:nvSpPr>
          <p:cNvPr id="5" name="Slide Number Placeholder 4">
            <a:extLst>
              <a:ext uri="{FF2B5EF4-FFF2-40B4-BE49-F238E27FC236}">
                <a16:creationId xmlns:a16="http://schemas.microsoft.com/office/drawing/2014/main" id="{AC91D9D1-A6F7-3B55-5730-75D6675B2B3D}"/>
              </a:ext>
            </a:extLst>
          </p:cNvPr>
          <p:cNvSpPr>
            <a:spLocks noGrp="1"/>
          </p:cNvSpPr>
          <p:nvPr>
            <p:ph type="sldNum" sz="quarter" idx="4294967295"/>
          </p:nvPr>
        </p:nvSpPr>
        <p:spPr>
          <a:xfrm>
            <a:off x="9448800" y="6356350"/>
            <a:ext cx="2743200" cy="365125"/>
          </a:xfrm>
          <a:prstGeom prst="rect">
            <a:avLst/>
          </a:prstGeom>
        </p:spPr>
        <p:txBody>
          <a:bodyPr vert="horz" lIns="91440" tIns="45720" rIns="91440" bIns="45720" rtlCol="0" anchor="ctr"/>
          <a:lstStyle>
            <a:defPPr>
              <a:defRPr lang="tr-TR"/>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F9F533D-B52E-4A2F-BF72-0ADD2D94BD75}" type="slidenum">
              <a:rPr lang="vi-VN" noProof="0" smtClean="0"/>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vi-VN" sz="1000" b="0" i="0" u="none" strike="noStrike" kern="1200" cap="none" spc="0" normalizeH="0" baseline="0" noProof="0">
              <a:ln>
                <a:noFill/>
              </a:ln>
              <a:solidFill>
                <a:srgbClr val="000000"/>
              </a:solidFill>
              <a:effectLst/>
              <a:uLnTx/>
              <a:uFillTx/>
              <a:latin typeface="Arial"/>
              <a:ea typeface="+mn-ea"/>
              <a:cs typeface="Noto Sans"/>
            </a:endParaRPr>
          </a:p>
        </p:txBody>
      </p:sp>
      <p:sp>
        <p:nvSpPr>
          <p:cNvPr id="12" name="TextBox 11">
            <a:extLst>
              <a:ext uri="{FF2B5EF4-FFF2-40B4-BE49-F238E27FC236}">
                <a16:creationId xmlns:a16="http://schemas.microsoft.com/office/drawing/2014/main" id="{ABD039E3-29BB-763E-B23D-CF801DB9550F}"/>
              </a:ext>
            </a:extLst>
          </p:cNvPr>
          <p:cNvSpPr txBox="1"/>
          <p:nvPr/>
        </p:nvSpPr>
        <p:spPr>
          <a:xfrm>
            <a:off x="6715126" y="1635845"/>
            <a:ext cx="4792912" cy="1148705"/>
          </a:xfrm>
          <a:prstGeom prst="roundRect">
            <a:avLst>
              <a:gd name="adj" fmla="val 3399"/>
            </a:avLst>
          </a:prstGeom>
          <a:noFill/>
          <a:ln>
            <a:solidFill>
              <a:schemeClr val="tx2"/>
            </a:solidFill>
          </a:ln>
        </p:spPr>
        <p:txBody>
          <a:bodyPr wrap="square" rtlCol="0" anchor="ctr">
            <a:noAutofit/>
          </a:bodyPr>
          <a:lstStyle/>
          <a:p>
            <a:pPr lvl="0" algn="ctr">
              <a:buClr>
                <a:srgbClr val="000000"/>
              </a:buClr>
              <a:defRPr/>
            </a:pPr>
            <a:r>
              <a:rPr lang="vi-VN" sz="1600" noProof="0" dirty="0">
                <a:latin typeface="+mj-lt"/>
              </a:rPr>
              <a:t>Khi người trưởng thành bắt đầu già đi, hệ miễn dịch suy giảm chức năng, quá trình được gọi là lão hóa miễn dịch, trong đó cả yếu tố di truyền và môi trường đều đóng vai trò</a:t>
            </a:r>
            <a:r>
              <a:rPr kumimoji="0" lang="vi-VN" sz="1400" i="0" u="none" strike="noStrike" kern="1200" cap="none" spc="0" normalizeH="0" baseline="0" noProof="0" dirty="0">
                <a:ln>
                  <a:noFill/>
                </a:ln>
                <a:solidFill>
                  <a:srgbClr val="000000"/>
                </a:solidFill>
                <a:effectLst/>
                <a:uLnTx/>
                <a:uFillTx/>
                <a:latin typeface="+mj-lt"/>
                <a:cs typeface="Noto Sans"/>
              </a:rPr>
              <a:t>.</a:t>
            </a:r>
            <a:r>
              <a:rPr kumimoji="0" lang="vi-VN" sz="1400" i="0" u="none" strike="noStrike" kern="1200" cap="none" spc="0" normalizeH="0" baseline="30000" noProof="0" dirty="0">
                <a:ln>
                  <a:noFill/>
                </a:ln>
                <a:solidFill>
                  <a:srgbClr val="000000"/>
                </a:solidFill>
                <a:effectLst/>
                <a:uLnTx/>
                <a:uFillTx/>
                <a:latin typeface="+mj-lt"/>
                <a:cs typeface="Noto Sans"/>
              </a:rPr>
              <a:t>2</a:t>
            </a:r>
          </a:p>
        </p:txBody>
      </p:sp>
      <p:cxnSp>
        <p:nvCxnSpPr>
          <p:cNvPr id="13" name="Straight Connector 12">
            <a:extLst>
              <a:ext uri="{FF2B5EF4-FFF2-40B4-BE49-F238E27FC236}">
                <a16:creationId xmlns:a16="http://schemas.microsoft.com/office/drawing/2014/main" id="{2404B038-BDC7-BE5A-3EF1-6071DD70B387}"/>
              </a:ext>
            </a:extLst>
          </p:cNvPr>
          <p:cNvCxnSpPr>
            <a:cxnSpLocks/>
          </p:cNvCxnSpPr>
          <p:nvPr/>
        </p:nvCxnSpPr>
        <p:spPr>
          <a:xfrm>
            <a:off x="1943496" y="2638231"/>
            <a:ext cx="8577" cy="1751798"/>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6EA6E59-93CD-16D1-A192-F8B7C4F38283}"/>
              </a:ext>
            </a:extLst>
          </p:cNvPr>
          <p:cNvCxnSpPr>
            <a:cxnSpLocks/>
          </p:cNvCxnSpPr>
          <p:nvPr/>
        </p:nvCxnSpPr>
        <p:spPr>
          <a:xfrm>
            <a:off x="10501898" y="2803380"/>
            <a:ext cx="0" cy="735008"/>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8E2E024-866D-BE77-148B-73F83AF6A036}"/>
              </a:ext>
            </a:extLst>
          </p:cNvPr>
          <p:cNvSpPr txBox="1"/>
          <p:nvPr/>
        </p:nvSpPr>
        <p:spPr>
          <a:xfrm>
            <a:off x="635368" y="1717511"/>
            <a:ext cx="3787735" cy="920720"/>
          </a:xfrm>
          <a:prstGeom prst="roundRect">
            <a:avLst>
              <a:gd name="adj" fmla="val 4253"/>
            </a:avLst>
          </a:prstGeom>
          <a:noFill/>
          <a:ln>
            <a:solidFill>
              <a:schemeClr val="tx2"/>
            </a:solidFill>
          </a:ln>
        </p:spPr>
        <p:txBody>
          <a:bodyPr wrap="square" rtlCol="0" anchor="ctr">
            <a:noAutofit/>
          </a:bodyPr>
          <a:lstStyle/>
          <a:p>
            <a:pPr lvl="0" algn="ctr">
              <a:buClr>
                <a:srgbClr val="000000"/>
              </a:buClr>
              <a:defRPr/>
            </a:pPr>
            <a:r>
              <a:rPr lang="vi-VN" sz="1400" noProof="0">
                <a:latin typeface="+mj-lt"/>
              </a:rPr>
              <a:t>Hệ miễn dịch phát triển từ giai đoạn sơ sinh đến tuổi trưởng thành</a:t>
            </a:r>
            <a:r>
              <a:rPr lang="vi-VN" sz="1400" baseline="30000" noProof="0">
                <a:latin typeface="+mj-lt"/>
              </a:rPr>
              <a:t>1</a:t>
            </a:r>
          </a:p>
        </p:txBody>
      </p:sp>
      <p:sp>
        <p:nvSpPr>
          <p:cNvPr id="20" name="TextBox 19">
            <a:extLst>
              <a:ext uri="{FF2B5EF4-FFF2-40B4-BE49-F238E27FC236}">
                <a16:creationId xmlns:a16="http://schemas.microsoft.com/office/drawing/2014/main" id="{CA07DCAA-ACA4-76BA-7B1D-A0C86C4E45A0}"/>
              </a:ext>
            </a:extLst>
          </p:cNvPr>
          <p:cNvSpPr txBox="1"/>
          <p:nvPr/>
        </p:nvSpPr>
        <p:spPr>
          <a:xfrm>
            <a:off x="7487164" y="3391502"/>
            <a:ext cx="1974849" cy="584775"/>
          </a:xfrm>
          <a:prstGeom prst="rect">
            <a:avLst/>
          </a:prstGeom>
          <a:noFill/>
        </p:spPr>
        <p:txBody>
          <a:bodyPr wrap="square">
            <a:spAutoFit/>
          </a:bodyPr>
          <a:lstStyle/>
          <a:p>
            <a:pPr algn="ctr"/>
            <a:r>
              <a:rPr kumimoji="0" lang="vi-VN" sz="1600" i="0" u="none" strike="noStrike" kern="1200" cap="none" spc="0" normalizeH="0" baseline="0" noProof="0">
                <a:ln>
                  <a:noFill/>
                </a:ln>
                <a:solidFill>
                  <a:srgbClr val="9E0B0F"/>
                </a:solidFill>
                <a:effectLst/>
                <a:uLnTx/>
                <a:uFillTx/>
                <a:latin typeface="+mj-lt"/>
                <a:cs typeface="Noto Sans"/>
              </a:rPr>
              <a:t>Nguy cơ mắc bệnh nhiễm trùng</a:t>
            </a:r>
            <a:endParaRPr lang="vi-VN" sz="1600" noProof="0">
              <a:solidFill>
                <a:srgbClr val="9E0B0F"/>
              </a:solidFill>
              <a:latin typeface="+mj-lt"/>
            </a:endParaRPr>
          </a:p>
        </p:txBody>
      </p:sp>
      <p:sp>
        <p:nvSpPr>
          <p:cNvPr id="21" name="TextBox 20">
            <a:extLst>
              <a:ext uri="{FF2B5EF4-FFF2-40B4-BE49-F238E27FC236}">
                <a16:creationId xmlns:a16="http://schemas.microsoft.com/office/drawing/2014/main" id="{254EB9FF-9EC9-6ECD-EBAC-D19E3A95A908}"/>
              </a:ext>
            </a:extLst>
          </p:cNvPr>
          <p:cNvSpPr txBox="1"/>
          <p:nvPr/>
        </p:nvSpPr>
        <p:spPr>
          <a:xfrm>
            <a:off x="7831554" y="5599343"/>
            <a:ext cx="2150645" cy="338554"/>
          </a:xfrm>
          <a:prstGeom prst="rect">
            <a:avLst/>
          </a:prstGeom>
          <a:noFill/>
        </p:spPr>
        <p:txBody>
          <a:bodyPr wrap="square">
            <a:spAutoFit/>
          </a:bodyPr>
          <a:lstStyle/>
          <a:p>
            <a:pPr algn="ctr"/>
            <a:r>
              <a:rPr kumimoji="0" lang="vi-VN" sz="1600" i="0" u="none" strike="noStrike" kern="1200" cap="none" spc="0" normalizeH="0" baseline="0" noProof="0">
                <a:ln>
                  <a:noFill/>
                </a:ln>
                <a:solidFill>
                  <a:srgbClr val="87A6B1"/>
                </a:solidFill>
                <a:effectLst/>
                <a:uLnTx/>
                <a:uFillTx/>
                <a:latin typeface="+mj-lt"/>
                <a:cs typeface="Noto Sans"/>
              </a:rPr>
              <a:t>Đáp ứng miễn dịch</a:t>
            </a:r>
            <a:endParaRPr lang="vi-VN" sz="1600" noProof="0">
              <a:solidFill>
                <a:srgbClr val="87A6B1"/>
              </a:solidFill>
              <a:latin typeface="+mj-lt"/>
            </a:endParaRPr>
          </a:p>
        </p:txBody>
      </p:sp>
      <p:sp>
        <p:nvSpPr>
          <p:cNvPr id="23" name="TextBox 22">
            <a:extLst>
              <a:ext uri="{FF2B5EF4-FFF2-40B4-BE49-F238E27FC236}">
                <a16:creationId xmlns:a16="http://schemas.microsoft.com/office/drawing/2014/main" id="{836C99EF-F040-CE7A-B611-30F2212459C8}"/>
              </a:ext>
            </a:extLst>
          </p:cNvPr>
          <p:cNvSpPr txBox="1"/>
          <p:nvPr/>
        </p:nvSpPr>
        <p:spPr>
          <a:xfrm>
            <a:off x="357618" y="3790973"/>
            <a:ext cx="1245494" cy="477054"/>
          </a:xfrm>
          <a:prstGeom prst="rect">
            <a:avLst/>
          </a:prstGeom>
          <a:noFill/>
        </p:spPr>
        <p:txBody>
          <a:bodyPr wrap="square">
            <a:spAutoFit/>
          </a:bodyPr>
          <a:lstStyle/>
          <a:p>
            <a:pPr algn="ctr"/>
            <a:r>
              <a:rPr kumimoji="0" lang="vi-VN" sz="1250" i="0" u="none" strike="noStrike" kern="1200" cap="none" spc="0" normalizeH="0" baseline="0" noProof="0">
                <a:ln>
                  <a:noFill/>
                </a:ln>
                <a:solidFill>
                  <a:srgbClr val="000000"/>
                </a:solidFill>
                <a:effectLst/>
                <a:uLnTx/>
                <a:uFillTx/>
                <a:latin typeface="+mj-lt"/>
                <a:cs typeface="Noto Sans"/>
              </a:rPr>
              <a:t>Chức năng </a:t>
            </a:r>
          </a:p>
          <a:p>
            <a:pPr algn="ctr"/>
            <a:r>
              <a:rPr kumimoji="0" lang="vi-VN" sz="1250" i="0" u="none" strike="noStrike" kern="1200" cap="none" spc="0" normalizeH="0" baseline="0" noProof="0">
                <a:ln>
                  <a:noFill/>
                </a:ln>
                <a:solidFill>
                  <a:srgbClr val="000000"/>
                </a:solidFill>
                <a:effectLst/>
                <a:uLnTx/>
                <a:uFillTx/>
                <a:latin typeface="+mj-lt"/>
                <a:cs typeface="Noto Sans"/>
              </a:rPr>
              <a:t>miễn dịch</a:t>
            </a:r>
            <a:endParaRPr lang="vi-VN" sz="1250" noProof="0">
              <a:latin typeface="+mj-lt"/>
            </a:endParaRPr>
          </a:p>
        </p:txBody>
      </p:sp>
      <p:cxnSp>
        <p:nvCxnSpPr>
          <p:cNvPr id="25" name="Straight Arrow Connector 24">
            <a:extLst>
              <a:ext uri="{FF2B5EF4-FFF2-40B4-BE49-F238E27FC236}">
                <a16:creationId xmlns:a16="http://schemas.microsoft.com/office/drawing/2014/main" id="{981086C7-66BE-25F7-5D62-E955D2D56AFA}"/>
              </a:ext>
            </a:extLst>
          </p:cNvPr>
          <p:cNvCxnSpPr>
            <a:cxnSpLocks/>
          </p:cNvCxnSpPr>
          <p:nvPr/>
        </p:nvCxnSpPr>
        <p:spPr>
          <a:xfrm flipV="1">
            <a:off x="1581505" y="2997568"/>
            <a:ext cx="0" cy="3043042"/>
          </a:xfrm>
          <a:prstGeom prst="straightConnector1">
            <a:avLst/>
          </a:prstGeom>
          <a:ln w="38100">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F45B3CF6-D85F-E883-8DF7-537AD143C2DF}"/>
              </a:ext>
            </a:extLst>
          </p:cNvPr>
          <p:cNvCxnSpPr>
            <a:cxnSpLocks/>
          </p:cNvCxnSpPr>
          <p:nvPr/>
        </p:nvCxnSpPr>
        <p:spPr>
          <a:xfrm>
            <a:off x="1581505" y="6040610"/>
            <a:ext cx="9658243" cy="0"/>
          </a:xfrm>
          <a:prstGeom prst="straightConnector1">
            <a:avLst/>
          </a:prstGeom>
          <a:ln w="38100">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6" name="Freeform: Shape 35">
            <a:extLst>
              <a:ext uri="{FF2B5EF4-FFF2-40B4-BE49-F238E27FC236}">
                <a16:creationId xmlns:a16="http://schemas.microsoft.com/office/drawing/2014/main" id="{0E188648-C2EB-CD5F-6975-81F9EA93A974}"/>
              </a:ext>
            </a:extLst>
          </p:cNvPr>
          <p:cNvSpPr/>
          <p:nvPr/>
        </p:nvSpPr>
        <p:spPr>
          <a:xfrm>
            <a:off x="1806086" y="4531619"/>
            <a:ext cx="275032" cy="275012"/>
          </a:xfrm>
          <a:custGeom>
            <a:avLst/>
            <a:gdLst>
              <a:gd name="connsiteX0" fmla="*/ 134663 w 275032"/>
              <a:gd name="connsiteY0" fmla="*/ 274932 h 275012"/>
              <a:gd name="connsiteX1" fmla="*/ 91 w 275032"/>
              <a:gd name="connsiteY1" fmla="*/ 131916 h 275012"/>
              <a:gd name="connsiteX2" fmla="*/ 144044 w 275032"/>
              <a:gd name="connsiteY2" fmla="*/ 83 h 275012"/>
              <a:gd name="connsiteX3" fmla="*/ 274952 w 275032"/>
              <a:gd name="connsiteY3" fmla="*/ 142495 h 275012"/>
              <a:gd name="connsiteX4" fmla="*/ 134663 w 275032"/>
              <a:gd name="connsiteY4" fmla="*/ 274932 h 27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032" h="275012">
                <a:moveTo>
                  <a:pt x="134663" y="274932"/>
                </a:moveTo>
                <a:cubicBezTo>
                  <a:pt x="56579" y="272205"/>
                  <a:pt x="-2637" y="209265"/>
                  <a:pt x="91" y="131916"/>
                </a:cubicBezTo>
                <a:cubicBezTo>
                  <a:pt x="2747" y="56180"/>
                  <a:pt x="66849" y="-2514"/>
                  <a:pt x="144044" y="83"/>
                </a:cubicBezTo>
                <a:cubicBezTo>
                  <a:pt x="218132" y="2574"/>
                  <a:pt x="277514" y="67174"/>
                  <a:pt x="274952" y="142495"/>
                </a:cubicBezTo>
                <a:cubicBezTo>
                  <a:pt x="272402" y="217282"/>
                  <a:pt x="208597" y="277518"/>
                  <a:pt x="134663" y="274932"/>
                </a:cubicBezTo>
                <a:close/>
              </a:path>
            </a:pathLst>
          </a:custGeom>
          <a:solidFill>
            <a:srgbClr val="9E0B0F"/>
          </a:solidFill>
          <a:ln w="1164" cap="flat">
            <a:noFill/>
            <a:prstDash val="solid"/>
            <a:miter/>
          </a:ln>
        </p:spPr>
        <p:txBody>
          <a:bodyPr rtlCol="0" anchor="ctr"/>
          <a:lstStyle/>
          <a:p>
            <a:endParaRPr lang="vi-VN" noProof="0">
              <a:latin typeface="+mj-lt"/>
            </a:endParaRPr>
          </a:p>
        </p:txBody>
      </p:sp>
      <p:sp>
        <p:nvSpPr>
          <p:cNvPr id="37" name="Freeform: Shape 36">
            <a:extLst>
              <a:ext uri="{FF2B5EF4-FFF2-40B4-BE49-F238E27FC236}">
                <a16:creationId xmlns:a16="http://schemas.microsoft.com/office/drawing/2014/main" id="{5577FE13-06E9-445B-24E0-05A8660C9E4D}"/>
              </a:ext>
            </a:extLst>
          </p:cNvPr>
          <p:cNvSpPr/>
          <p:nvPr/>
        </p:nvSpPr>
        <p:spPr>
          <a:xfrm>
            <a:off x="1731462" y="4719037"/>
            <a:ext cx="424068" cy="169239"/>
          </a:xfrm>
          <a:custGeom>
            <a:avLst/>
            <a:gdLst>
              <a:gd name="connsiteX0" fmla="*/ 93915 w 424068"/>
              <a:gd name="connsiteY0" fmla="*/ 169240 h 169239"/>
              <a:gd name="connsiteX1" fmla="*/ 100201 w 424068"/>
              <a:gd name="connsiteY1" fmla="*/ 143931 h 169239"/>
              <a:gd name="connsiteX2" fmla="*/ 96501 w 424068"/>
              <a:gd name="connsiteY2" fmla="*/ 135036 h 169239"/>
              <a:gd name="connsiteX3" fmla="*/ 8395 w 424068"/>
              <a:gd name="connsiteY3" fmla="*/ 59359 h 169239"/>
              <a:gd name="connsiteX4" fmla="*/ 2927 w 424068"/>
              <a:gd name="connsiteY4" fmla="*/ 25037 h 169239"/>
              <a:gd name="connsiteX5" fmla="*/ 58348 w 424068"/>
              <a:gd name="connsiteY5" fmla="*/ 17293 h 169239"/>
              <a:gd name="connsiteX6" fmla="*/ 116283 w 424068"/>
              <a:gd name="connsiteY6" fmla="*/ 70377 h 169239"/>
              <a:gd name="connsiteX7" fmla="*/ 198981 w 424068"/>
              <a:gd name="connsiteY7" fmla="*/ 103715 h 169239"/>
              <a:gd name="connsiteX8" fmla="*/ 271752 w 424068"/>
              <a:gd name="connsiteY8" fmla="*/ 91902 h 169239"/>
              <a:gd name="connsiteX9" fmla="*/ 360700 w 424068"/>
              <a:gd name="connsiteY9" fmla="*/ 18775 h 169239"/>
              <a:gd name="connsiteX10" fmla="*/ 366630 w 424068"/>
              <a:gd name="connsiteY10" fmla="*/ 11375 h 169239"/>
              <a:gd name="connsiteX11" fmla="*/ 412421 w 424068"/>
              <a:gd name="connsiteY11" fmla="*/ 7746 h 169239"/>
              <a:gd name="connsiteX12" fmla="*/ 416738 w 424068"/>
              <a:gd name="connsiteY12" fmla="*/ 53524 h 169239"/>
              <a:gd name="connsiteX13" fmla="*/ 326687 w 424068"/>
              <a:gd name="connsiteY13" fmla="*/ 136910 h 169239"/>
              <a:gd name="connsiteX14" fmla="*/ 324327 w 424068"/>
              <a:gd name="connsiteY14" fmla="*/ 143030 h 169239"/>
              <a:gd name="connsiteX15" fmla="*/ 330328 w 424068"/>
              <a:gd name="connsiteY15" fmla="*/ 169240 h 169239"/>
              <a:gd name="connsiteX16" fmla="*/ 93915 w 424068"/>
              <a:gd name="connsiteY16" fmla="*/ 169240 h 16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068" h="169239">
                <a:moveTo>
                  <a:pt x="93915" y="169240"/>
                </a:moveTo>
                <a:cubicBezTo>
                  <a:pt x="95979" y="160713"/>
                  <a:pt x="97699" y="152209"/>
                  <a:pt x="100201" y="143931"/>
                </a:cubicBezTo>
                <a:cubicBezTo>
                  <a:pt x="101565" y="139424"/>
                  <a:pt x="100438" y="137325"/>
                  <a:pt x="96501" y="135036"/>
                </a:cubicBezTo>
                <a:cubicBezTo>
                  <a:pt x="62511" y="115219"/>
                  <a:pt x="33466" y="89554"/>
                  <a:pt x="8395" y="59359"/>
                </a:cubicBezTo>
                <a:cubicBezTo>
                  <a:pt x="-121" y="49101"/>
                  <a:pt x="-2552" y="37442"/>
                  <a:pt x="2927" y="25037"/>
                </a:cubicBezTo>
                <a:cubicBezTo>
                  <a:pt x="13174" y="1816"/>
                  <a:pt x="42076" y="-2193"/>
                  <a:pt x="58348" y="17293"/>
                </a:cubicBezTo>
                <a:cubicBezTo>
                  <a:pt x="75295" y="37597"/>
                  <a:pt x="94485" y="55446"/>
                  <a:pt x="116283" y="70377"/>
                </a:cubicBezTo>
                <a:cubicBezTo>
                  <a:pt x="141354" y="87550"/>
                  <a:pt x="168418" y="100216"/>
                  <a:pt x="198981" y="103715"/>
                </a:cubicBezTo>
                <a:cubicBezTo>
                  <a:pt x="224266" y="106608"/>
                  <a:pt x="248555" y="102493"/>
                  <a:pt x="271752" y="91902"/>
                </a:cubicBezTo>
                <a:cubicBezTo>
                  <a:pt x="307889" y="75405"/>
                  <a:pt x="335593" y="48674"/>
                  <a:pt x="360700" y="18775"/>
                </a:cubicBezTo>
                <a:cubicBezTo>
                  <a:pt x="362729" y="16356"/>
                  <a:pt x="364555" y="13759"/>
                  <a:pt x="366630" y="11375"/>
                </a:cubicBezTo>
                <a:cubicBezTo>
                  <a:pt x="378526" y="-2264"/>
                  <a:pt x="398640" y="-3841"/>
                  <a:pt x="412421" y="7746"/>
                </a:cubicBezTo>
                <a:cubicBezTo>
                  <a:pt x="426083" y="19226"/>
                  <a:pt x="427993" y="39565"/>
                  <a:pt x="416738" y="53524"/>
                </a:cubicBezTo>
                <a:cubicBezTo>
                  <a:pt x="390789" y="85712"/>
                  <a:pt x="361803" y="114602"/>
                  <a:pt x="326687" y="136910"/>
                </a:cubicBezTo>
                <a:cubicBezTo>
                  <a:pt x="325157" y="137883"/>
                  <a:pt x="323971" y="141156"/>
                  <a:pt x="324327" y="143030"/>
                </a:cubicBezTo>
                <a:cubicBezTo>
                  <a:pt x="325928" y="151557"/>
                  <a:pt x="328134" y="159965"/>
                  <a:pt x="330328" y="169240"/>
                </a:cubicBezTo>
                <a:lnTo>
                  <a:pt x="93915" y="169240"/>
                </a:lnTo>
                <a:close/>
              </a:path>
            </a:pathLst>
          </a:custGeom>
          <a:solidFill>
            <a:srgbClr val="9E0B0F"/>
          </a:solidFill>
          <a:ln w="1164" cap="flat">
            <a:noFill/>
            <a:prstDash val="solid"/>
            <a:miter/>
          </a:ln>
        </p:spPr>
        <p:txBody>
          <a:bodyPr rtlCol="0" anchor="ctr"/>
          <a:lstStyle/>
          <a:p>
            <a:endParaRPr lang="vi-VN" noProof="0">
              <a:latin typeface="+mj-lt"/>
            </a:endParaRPr>
          </a:p>
        </p:txBody>
      </p:sp>
      <p:sp>
        <p:nvSpPr>
          <p:cNvPr id="38" name="Freeform: Shape 37">
            <a:extLst>
              <a:ext uri="{FF2B5EF4-FFF2-40B4-BE49-F238E27FC236}">
                <a16:creationId xmlns:a16="http://schemas.microsoft.com/office/drawing/2014/main" id="{7FB99E7D-FBA6-6858-4DBD-5A4F077EE328}"/>
              </a:ext>
            </a:extLst>
          </p:cNvPr>
          <p:cNvSpPr/>
          <p:nvPr/>
        </p:nvSpPr>
        <p:spPr>
          <a:xfrm>
            <a:off x="1825135" y="4909090"/>
            <a:ext cx="237017" cy="150999"/>
          </a:xfrm>
          <a:custGeom>
            <a:avLst/>
            <a:gdLst>
              <a:gd name="connsiteX0" fmla="*/ 41 w 237017"/>
              <a:gd name="connsiteY0" fmla="*/ 12 h 150999"/>
              <a:gd name="connsiteX1" fmla="*/ 235979 w 237017"/>
              <a:gd name="connsiteY1" fmla="*/ 12 h 150999"/>
              <a:gd name="connsiteX2" fmla="*/ 236703 w 237017"/>
              <a:gd name="connsiteY2" fmla="*/ 913 h 150999"/>
              <a:gd name="connsiteX3" fmla="*/ 236193 w 237017"/>
              <a:gd name="connsiteY3" fmla="*/ 66071 h 150999"/>
              <a:gd name="connsiteX4" fmla="*/ 181839 w 237017"/>
              <a:gd name="connsiteY4" fmla="*/ 138664 h 150999"/>
              <a:gd name="connsiteX5" fmla="*/ 55165 w 237017"/>
              <a:gd name="connsiteY5" fmla="*/ 138474 h 150999"/>
              <a:gd name="connsiteX6" fmla="*/ 65 w 237017"/>
              <a:gd name="connsiteY6" fmla="*/ 55907 h 150999"/>
              <a:gd name="connsiteX7" fmla="*/ 41 w 237017"/>
              <a:gd name="connsiteY7" fmla="*/ 0 h 15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017" h="150999">
                <a:moveTo>
                  <a:pt x="41" y="12"/>
                </a:moveTo>
                <a:cubicBezTo>
                  <a:pt x="79205" y="12"/>
                  <a:pt x="157586" y="12"/>
                  <a:pt x="235979" y="12"/>
                </a:cubicBezTo>
                <a:cubicBezTo>
                  <a:pt x="236228" y="320"/>
                  <a:pt x="236703" y="617"/>
                  <a:pt x="236703" y="913"/>
                </a:cubicBezTo>
                <a:cubicBezTo>
                  <a:pt x="236643" y="22640"/>
                  <a:pt x="237722" y="44450"/>
                  <a:pt x="236193" y="66071"/>
                </a:cubicBezTo>
                <a:cubicBezTo>
                  <a:pt x="233702" y="101424"/>
                  <a:pt x="214383" y="125927"/>
                  <a:pt x="181839" y="138664"/>
                </a:cubicBezTo>
                <a:cubicBezTo>
                  <a:pt x="139880" y="155102"/>
                  <a:pt x="97078" y="155185"/>
                  <a:pt x="55165" y="138474"/>
                </a:cubicBezTo>
                <a:cubicBezTo>
                  <a:pt x="18400" y="123816"/>
                  <a:pt x="349" y="95447"/>
                  <a:pt x="65" y="55907"/>
                </a:cubicBezTo>
                <a:cubicBezTo>
                  <a:pt x="-66" y="37548"/>
                  <a:pt x="41" y="19177"/>
                  <a:pt x="41" y="0"/>
                </a:cubicBezTo>
                <a:close/>
              </a:path>
            </a:pathLst>
          </a:custGeom>
          <a:solidFill>
            <a:srgbClr val="9E0B0F"/>
          </a:solidFill>
          <a:ln w="1164" cap="flat">
            <a:noFill/>
            <a:prstDash val="solid"/>
            <a:miter/>
          </a:ln>
        </p:spPr>
        <p:txBody>
          <a:bodyPr rtlCol="0" anchor="ctr"/>
          <a:lstStyle/>
          <a:p>
            <a:endParaRPr lang="vi-VN" noProof="0">
              <a:latin typeface="+mj-lt"/>
            </a:endParaRPr>
          </a:p>
        </p:txBody>
      </p:sp>
      <p:sp>
        <p:nvSpPr>
          <p:cNvPr id="39" name="Freeform: Shape 38">
            <a:extLst>
              <a:ext uri="{FF2B5EF4-FFF2-40B4-BE49-F238E27FC236}">
                <a16:creationId xmlns:a16="http://schemas.microsoft.com/office/drawing/2014/main" id="{4E2FCB00-0819-3D03-3B44-6DC31C12812D}"/>
              </a:ext>
            </a:extLst>
          </p:cNvPr>
          <p:cNvSpPr/>
          <p:nvPr/>
        </p:nvSpPr>
        <p:spPr>
          <a:xfrm>
            <a:off x="1701166" y="4969788"/>
            <a:ext cx="141977" cy="104824"/>
          </a:xfrm>
          <a:custGeom>
            <a:avLst/>
            <a:gdLst>
              <a:gd name="connsiteX0" fmla="*/ 106778 w 141977"/>
              <a:gd name="connsiteY0" fmla="*/ 0 h 104824"/>
              <a:gd name="connsiteX1" fmla="*/ 141977 w 141977"/>
              <a:gd name="connsiteY1" fmla="*/ 75203 h 104824"/>
              <a:gd name="connsiteX2" fmla="*/ 101168 w 141977"/>
              <a:gd name="connsiteY2" fmla="*/ 86564 h 104824"/>
              <a:gd name="connsiteX3" fmla="*/ 43791 w 141977"/>
              <a:gd name="connsiteY3" fmla="*/ 103286 h 104824"/>
              <a:gd name="connsiteX4" fmla="*/ 13323 w 141977"/>
              <a:gd name="connsiteY4" fmla="*/ 92802 h 104824"/>
              <a:gd name="connsiteX5" fmla="*/ 1368 w 141977"/>
              <a:gd name="connsiteY5" fmla="*/ 36445 h 104824"/>
              <a:gd name="connsiteX6" fmla="*/ 7974 w 141977"/>
              <a:gd name="connsiteY6" fmla="*/ 18240 h 104824"/>
              <a:gd name="connsiteX7" fmla="*/ 40102 w 141977"/>
              <a:gd name="connsiteY7" fmla="*/ 13698 h 104824"/>
              <a:gd name="connsiteX8" fmla="*/ 50515 w 141977"/>
              <a:gd name="connsiteY8" fmla="*/ 16117 h 104824"/>
              <a:gd name="connsiteX9" fmla="*/ 97717 w 141977"/>
              <a:gd name="connsiteY9" fmla="*/ 2467 h 104824"/>
              <a:gd name="connsiteX10" fmla="*/ 106778 w 141977"/>
              <a:gd name="connsiteY10" fmla="*/ 12 h 10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77" h="104824">
                <a:moveTo>
                  <a:pt x="106778" y="0"/>
                </a:moveTo>
                <a:cubicBezTo>
                  <a:pt x="108035" y="30207"/>
                  <a:pt x="118910" y="55195"/>
                  <a:pt x="141977" y="75203"/>
                </a:cubicBezTo>
                <a:cubicBezTo>
                  <a:pt x="127722" y="79164"/>
                  <a:pt x="114427" y="82805"/>
                  <a:pt x="101168" y="86564"/>
                </a:cubicBezTo>
                <a:cubicBezTo>
                  <a:pt x="81991" y="91996"/>
                  <a:pt x="62565" y="96704"/>
                  <a:pt x="43791" y="103286"/>
                </a:cubicBezTo>
                <a:cubicBezTo>
                  <a:pt x="30946" y="107793"/>
                  <a:pt x="19608" y="101828"/>
                  <a:pt x="13323" y="92802"/>
                </a:cubicBezTo>
                <a:cubicBezTo>
                  <a:pt x="1451" y="75748"/>
                  <a:pt x="-2344" y="56737"/>
                  <a:pt x="1368" y="36445"/>
                </a:cubicBezTo>
                <a:cubicBezTo>
                  <a:pt x="2519" y="30159"/>
                  <a:pt x="4760" y="23731"/>
                  <a:pt x="7974" y="18240"/>
                </a:cubicBezTo>
                <a:cubicBezTo>
                  <a:pt x="15351" y="5622"/>
                  <a:pt x="29405" y="3736"/>
                  <a:pt x="40102" y="13698"/>
                </a:cubicBezTo>
                <a:cubicBezTo>
                  <a:pt x="43494" y="16853"/>
                  <a:pt x="46245" y="17410"/>
                  <a:pt x="50515" y="16117"/>
                </a:cubicBezTo>
                <a:cubicBezTo>
                  <a:pt x="66182" y="11350"/>
                  <a:pt x="81967" y="6974"/>
                  <a:pt x="97717" y="2467"/>
                </a:cubicBezTo>
                <a:cubicBezTo>
                  <a:pt x="100350" y="1720"/>
                  <a:pt x="102994" y="1032"/>
                  <a:pt x="106778" y="12"/>
                </a:cubicBezTo>
                <a:close/>
              </a:path>
            </a:pathLst>
          </a:custGeom>
          <a:solidFill>
            <a:srgbClr val="9E0B0F"/>
          </a:solidFill>
          <a:ln w="1164" cap="flat">
            <a:noFill/>
            <a:prstDash val="solid"/>
            <a:miter/>
          </a:ln>
        </p:spPr>
        <p:txBody>
          <a:bodyPr rtlCol="0" anchor="ctr"/>
          <a:lstStyle/>
          <a:p>
            <a:endParaRPr lang="vi-VN" noProof="0">
              <a:latin typeface="+mj-lt"/>
            </a:endParaRPr>
          </a:p>
        </p:txBody>
      </p:sp>
      <p:sp>
        <p:nvSpPr>
          <p:cNvPr id="40" name="Freeform: Shape 39">
            <a:extLst>
              <a:ext uri="{FF2B5EF4-FFF2-40B4-BE49-F238E27FC236}">
                <a16:creationId xmlns:a16="http://schemas.microsoft.com/office/drawing/2014/main" id="{FE62FFCA-559A-4F16-4BD5-63119CD83F61}"/>
              </a:ext>
            </a:extLst>
          </p:cNvPr>
          <p:cNvSpPr/>
          <p:nvPr/>
        </p:nvSpPr>
        <p:spPr>
          <a:xfrm>
            <a:off x="2044439" y="4969848"/>
            <a:ext cx="141558" cy="104690"/>
          </a:xfrm>
          <a:custGeom>
            <a:avLst/>
            <a:gdLst>
              <a:gd name="connsiteX0" fmla="*/ 35188 w 141558"/>
              <a:gd name="connsiteY0" fmla="*/ 0 h 104690"/>
              <a:gd name="connsiteX1" fmla="*/ 90893 w 141558"/>
              <a:gd name="connsiteY1" fmla="*/ 15762 h 104690"/>
              <a:gd name="connsiteX2" fmla="*/ 101389 w 141558"/>
              <a:gd name="connsiteY2" fmla="*/ 13674 h 104690"/>
              <a:gd name="connsiteX3" fmla="*/ 133920 w 141558"/>
              <a:gd name="connsiteY3" fmla="*/ 18394 h 104690"/>
              <a:gd name="connsiteX4" fmla="*/ 141226 w 141558"/>
              <a:gd name="connsiteY4" fmla="*/ 56085 h 104690"/>
              <a:gd name="connsiteX5" fmla="*/ 127694 w 141558"/>
              <a:gd name="connsiteY5" fmla="*/ 93395 h 104690"/>
              <a:gd name="connsiteX6" fmla="*/ 98223 w 141558"/>
              <a:gd name="connsiteY6" fmla="*/ 103120 h 104690"/>
              <a:gd name="connsiteX7" fmla="*/ 6535 w 141558"/>
              <a:gd name="connsiteY7" fmla="*/ 76863 h 104690"/>
              <a:gd name="connsiteX8" fmla="*/ 0 w 141558"/>
              <a:gd name="connsiteY8" fmla="*/ 74847 h 104690"/>
              <a:gd name="connsiteX9" fmla="*/ 35176 w 141558"/>
              <a:gd name="connsiteY9" fmla="*/ 12 h 10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558" h="104690">
                <a:moveTo>
                  <a:pt x="35188" y="0"/>
                </a:moveTo>
                <a:cubicBezTo>
                  <a:pt x="54472" y="5432"/>
                  <a:pt x="72712" y="10460"/>
                  <a:pt x="90893" y="15762"/>
                </a:cubicBezTo>
                <a:cubicBezTo>
                  <a:pt x="94985" y="16959"/>
                  <a:pt x="97843" y="16865"/>
                  <a:pt x="101389" y="13674"/>
                </a:cubicBezTo>
                <a:cubicBezTo>
                  <a:pt x="112893" y="3321"/>
                  <a:pt x="125476" y="5396"/>
                  <a:pt x="133920" y="18394"/>
                </a:cubicBezTo>
                <a:cubicBezTo>
                  <a:pt x="141439" y="29970"/>
                  <a:pt x="142187" y="42897"/>
                  <a:pt x="141226" y="56085"/>
                </a:cubicBezTo>
                <a:cubicBezTo>
                  <a:pt x="140230" y="69759"/>
                  <a:pt x="136304" y="82461"/>
                  <a:pt x="127694" y="93395"/>
                </a:cubicBezTo>
                <a:cubicBezTo>
                  <a:pt x="119878" y="103310"/>
                  <a:pt x="111090" y="107129"/>
                  <a:pt x="98223" y="103120"/>
                </a:cubicBezTo>
                <a:cubicBezTo>
                  <a:pt x="67885" y="93644"/>
                  <a:pt x="37121" y="85532"/>
                  <a:pt x="6535" y="76863"/>
                </a:cubicBezTo>
                <a:cubicBezTo>
                  <a:pt x="4673" y="76329"/>
                  <a:pt x="2834" y="75724"/>
                  <a:pt x="0" y="74847"/>
                </a:cubicBezTo>
                <a:cubicBezTo>
                  <a:pt x="22889" y="55100"/>
                  <a:pt x="33231" y="30005"/>
                  <a:pt x="35176" y="12"/>
                </a:cubicBezTo>
                <a:close/>
              </a:path>
            </a:pathLst>
          </a:custGeom>
          <a:solidFill>
            <a:srgbClr val="9E0B0F"/>
          </a:solidFill>
          <a:ln w="1164" cap="flat">
            <a:noFill/>
            <a:prstDash val="solid"/>
            <a:miter/>
          </a:ln>
        </p:spPr>
        <p:txBody>
          <a:bodyPr rtlCol="0" anchor="ctr"/>
          <a:lstStyle/>
          <a:p>
            <a:endParaRPr lang="vi-VN" noProof="0">
              <a:latin typeface="+mj-lt"/>
            </a:endParaRPr>
          </a:p>
        </p:txBody>
      </p:sp>
      <p:sp>
        <p:nvSpPr>
          <p:cNvPr id="44" name="Freeform: Shape 43">
            <a:extLst>
              <a:ext uri="{FF2B5EF4-FFF2-40B4-BE49-F238E27FC236}">
                <a16:creationId xmlns:a16="http://schemas.microsoft.com/office/drawing/2014/main" id="{F4658A8A-880D-09DC-2199-E495A6196D1E}"/>
              </a:ext>
            </a:extLst>
          </p:cNvPr>
          <p:cNvSpPr/>
          <p:nvPr/>
        </p:nvSpPr>
        <p:spPr>
          <a:xfrm>
            <a:off x="1645382" y="3053230"/>
            <a:ext cx="9509934" cy="2882533"/>
          </a:xfrm>
          <a:custGeom>
            <a:avLst/>
            <a:gdLst>
              <a:gd name="connsiteX0" fmla="*/ 0 w 9509934"/>
              <a:gd name="connsiteY0" fmla="*/ 2837795 h 2882533"/>
              <a:gd name="connsiteX1" fmla="*/ 946609 w 9509934"/>
              <a:gd name="connsiteY1" fmla="*/ 2881129 h 2882533"/>
              <a:gd name="connsiteX2" fmla="*/ 2015931 w 9509934"/>
              <a:gd name="connsiteY2" fmla="*/ 2265757 h 2882533"/>
              <a:gd name="connsiteX3" fmla="*/ 3041429 w 9509934"/>
              <a:gd name="connsiteY3" fmla="*/ 723019 h 2882533"/>
              <a:gd name="connsiteX4" fmla="*/ 4540222 w 9509934"/>
              <a:gd name="connsiteY4" fmla="*/ 98988 h 2882533"/>
              <a:gd name="connsiteX5" fmla="*/ 5846190 w 9509934"/>
              <a:gd name="connsiteY5" fmla="*/ 1087047 h 2882533"/>
              <a:gd name="connsiteX6" fmla="*/ 7739408 w 9509934"/>
              <a:gd name="connsiteY6" fmla="*/ 2343786 h 2882533"/>
              <a:gd name="connsiteX7" fmla="*/ 8300369 w 9509934"/>
              <a:gd name="connsiteY7" fmla="*/ 2421795 h 2882533"/>
              <a:gd name="connsiteX8" fmla="*/ 8922685 w 9509934"/>
              <a:gd name="connsiteY8" fmla="*/ 2456471 h 2882533"/>
              <a:gd name="connsiteX9" fmla="*/ 9509935 w 9509934"/>
              <a:gd name="connsiteY9" fmla="*/ 2525801 h 288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09934" h="2882533">
                <a:moveTo>
                  <a:pt x="0" y="2837795"/>
                </a:moveTo>
                <a:lnTo>
                  <a:pt x="946609" y="2881129"/>
                </a:lnTo>
                <a:cubicBezTo>
                  <a:pt x="946609" y="2881129"/>
                  <a:pt x="1542615" y="2941800"/>
                  <a:pt x="2015931" y="2265757"/>
                </a:cubicBezTo>
                <a:cubicBezTo>
                  <a:pt x="2489245" y="1589714"/>
                  <a:pt x="3041429" y="723019"/>
                  <a:pt x="3041429" y="723019"/>
                </a:cubicBezTo>
                <a:cubicBezTo>
                  <a:pt x="3041429" y="723019"/>
                  <a:pt x="3655115" y="-319223"/>
                  <a:pt x="4540222" y="98988"/>
                </a:cubicBezTo>
                <a:cubicBezTo>
                  <a:pt x="4540222" y="98988"/>
                  <a:pt x="4915046" y="199646"/>
                  <a:pt x="5846190" y="1087047"/>
                </a:cubicBezTo>
                <a:cubicBezTo>
                  <a:pt x="6685154" y="1886582"/>
                  <a:pt x="7739408" y="2343786"/>
                  <a:pt x="7739408" y="2343786"/>
                </a:cubicBezTo>
                <a:lnTo>
                  <a:pt x="8300369" y="2421795"/>
                </a:lnTo>
                <a:lnTo>
                  <a:pt x="8922685" y="2456471"/>
                </a:lnTo>
                <a:lnTo>
                  <a:pt x="9509935" y="2525801"/>
                </a:lnTo>
              </a:path>
            </a:pathLst>
          </a:custGeom>
          <a:noFill/>
          <a:ln w="38100" cap="flat">
            <a:solidFill>
              <a:srgbClr val="87A6B1"/>
            </a:solidFill>
            <a:prstDash val="dash"/>
            <a:miter/>
          </a:ln>
        </p:spPr>
        <p:txBody>
          <a:bodyPr rtlCol="0" anchor="ctr"/>
          <a:lstStyle/>
          <a:p>
            <a:endParaRPr lang="vi-VN" noProof="0">
              <a:latin typeface="+mj-lt"/>
            </a:endParaRPr>
          </a:p>
        </p:txBody>
      </p:sp>
      <p:pic>
        <p:nvPicPr>
          <p:cNvPr id="55" name="Graphic 54">
            <a:extLst>
              <a:ext uri="{FF2B5EF4-FFF2-40B4-BE49-F238E27FC236}">
                <a16:creationId xmlns:a16="http://schemas.microsoft.com/office/drawing/2014/main" id="{1578DECE-2F59-2261-1445-001E65BE65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06087" y="3531811"/>
            <a:ext cx="9263200" cy="2245311"/>
          </a:xfrm>
          <a:prstGeom prst="rect">
            <a:avLst/>
          </a:prstGeom>
        </p:spPr>
      </p:pic>
      <p:sp>
        <p:nvSpPr>
          <p:cNvPr id="32" name="Freeform: Shape 31">
            <a:extLst>
              <a:ext uri="{FF2B5EF4-FFF2-40B4-BE49-F238E27FC236}">
                <a16:creationId xmlns:a16="http://schemas.microsoft.com/office/drawing/2014/main" id="{23974D32-BCE1-2213-9E42-943A58BB4B1E}"/>
              </a:ext>
            </a:extLst>
          </p:cNvPr>
          <p:cNvSpPr/>
          <p:nvPr/>
        </p:nvSpPr>
        <p:spPr>
          <a:xfrm>
            <a:off x="4582896" y="4556756"/>
            <a:ext cx="557969" cy="661089"/>
          </a:xfrm>
          <a:custGeom>
            <a:avLst/>
            <a:gdLst>
              <a:gd name="connsiteX0" fmla="*/ 478751 w 557969"/>
              <a:gd name="connsiteY0" fmla="*/ 15691 h 661089"/>
              <a:gd name="connsiteX1" fmla="*/ 371367 w 557969"/>
              <a:gd name="connsiteY1" fmla="*/ 140411 h 661089"/>
              <a:gd name="connsiteX2" fmla="*/ 325795 w 557969"/>
              <a:gd name="connsiteY2" fmla="*/ 161319 h 661089"/>
              <a:gd name="connsiteX3" fmla="*/ 232194 w 557969"/>
              <a:gd name="connsiteY3" fmla="*/ 161319 h 661089"/>
              <a:gd name="connsiteX4" fmla="*/ 186602 w 557969"/>
              <a:gd name="connsiteY4" fmla="*/ 140411 h 661089"/>
              <a:gd name="connsiteX5" fmla="*/ 79259 w 557969"/>
              <a:gd name="connsiteY5" fmla="*/ 15691 h 661089"/>
              <a:gd name="connsiteX6" fmla="*/ 15681 w 557969"/>
              <a:gd name="connsiteY6" fmla="*/ 10961 h 661089"/>
              <a:gd name="connsiteX7" fmla="*/ 10911 w 557969"/>
              <a:gd name="connsiteY7" fmla="*/ 74519 h 661089"/>
              <a:gd name="connsiteX8" fmla="*/ 156295 w 557969"/>
              <a:gd name="connsiteY8" fmla="*/ 243430 h 661089"/>
              <a:gd name="connsiteX9" fmla="*/ 156295 w 557969"/>
              <a:gd name="connsiteY9" fmla="*/ 616005 h 661089"/>
              <a:gd name="connsiteX10" fmla="*/ 201380 w 557969"/>
              <a:gd name="connsiteY10" fmla="*/ 661090 h 661089"/>
              <a:gd name="connsiteX11" fmla="*/ 246465 w 557969"/>
              <a:gd name="connsiteY11" fmla="*/ 616005 h 661089"/>
              <a:gd name="connsiteX12" fmla="*/ 246465 w 557969"/>
              <a:gd name="connsiteY12" fmla="*/ 435848 h 661089"/>
              <a:gd name="connsiteX13" fmla="*/ 258563 w 557969"/>
              <a:gd name="connsiteY13" fmla="*/ 423729 h 661089"/>
              <a:gd name="connsiteX14" fmla="*/ 299385 w 557969"/>
              <a:gd name="connsiteY14" fmla="*/ 423729 h 661089"/>
              <a:gd name="connsiteX15" fmla="*/ 311484 w 557969"/>
              <a:gd name="connsiteY15" fmla="*/ 435848 h 661089"/>
              <a:gd name="connsiteX16" fmla="*/ 311484 w 557969"/>
              <a:gd name="connsiteY16" fmla="*/ 616005 h 661089"/>
              <a:gd name="connsiteX17" fmla="*/ 356569 w 557969"/>
              <a:gd name="connsiteY17" fmla="*/ 661090 h 661089"/>
              <a:gd name="connsiteX18" fmla="*/ 401654 w 557969"/>
              <a:gd name="connsiteY18" fmla="*/ 616005 h 661089"/>
              <a:gd name="connsiteX19" fmla="*/ 401654 w 557969"/>
              <a:gd name="connsiteY19" fmla="*/ 243430 h 661089"/>
              <a:gd name="connsiteX20" fmla="*/ 547058 w 557969"/>
              <a:gd name="connsiteY20" fmla="*/ 74519 h 661089"/>
              <a:gd name="connsiteX21" fmla="*/ 542288 w 557969"/>
              <a:gd name="connsiteY21" fmla="*/ 10961 h 661089"/>
              <a:gd name="connsiteX22" fmla="*/ 478710 w 557969"/>
              <a:gd name="connsiteY22" fmla="*/ 15691 h 66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57969" h="661089">
                <a:moveTo>
                  <a:pt x="478751" y="15691"/>
                </a:moveTo>
                <a:lnTo>
                  <a:pt x="371367" y="140411"/>
                </a:lnTo>
                <a:cubicBezTo>
                  <a:pt x="359959" y="153686"/>
                  <a:pt x="343313" y="161319"/>
                  <a:pt x="325795" y="161319"/>
                </a:cubicBezTo>
                <a:lnTo>
                  <a:pt x="232194" y="161319"/>
                </a:lnTo>
                <a:cubicBezTo>
                  <a:pt x="214676" y="161319"/>
                  <a:pt x="198031" y="153686"/>
                  <a:pt x="186602" y="140411"/>
                </a:cubicBezTo>
                <a:lnTo>
                  <a:pt x="79259" y="15691"/>
                </a:lnTo>
                <a:cubicBezTo>
                  <a:pt x="63020" y="-3147"/>
                  <a:pt x="34560" y="-5298"/>
                  <a:pt x="15681" y="10961"/>
                </a:cubicBezTo>
                <a:cubicBezTo>
                  <a:pt x="-3197" y="27201"/>
                  <a:pt x="-5328" y="55640"/>
                  <a:pt x="10911" y="74519"/>
                </a:cubicBezTo>
                <a:lnTo>
                  <a:pt x="156295" y="243430"/>
                </a:lnTo>
                <a:lnTo>
                  <a:pt x="156295" y="616005"/>
                </a:lnTo>
                <a:cubicBezTo>
                  <a:pt x="156295" y="640892"/>
                  <a:pt x="176493" y="661090"/>
                  <a:pt x="201380" y="661090"/>
                </a:cubicBezTo>
                <a:cubicBezTo>
                  <a:pt x="226267" y="661090"/>
                  <a:pt x="246465" y="640892"/>
                  <a:pt x="246465" y="616005"/>
                </a:cubicBezTo>
                <a:lnTo>
                  <a:pt x="246465" y="435848"/>
                </a:lnTo>
                <a:cubicBezTo>
                  <a:pt x="246465" y="429170"/>
                  <a:pt x="251885" y="423729"/>
                  <a:pt x="258563" y="423729"/>
                </a:cubicBezTo>
                <a:lnTo>
                  <a:pt x="299385" y="423729"/>
                </a:lnTo>
                <a:cubicBezTo>
                  <a:pt x="306064" y="423729"/>
                  <a:pt x="311484" y="429170"/>
                  <a:pt x="311484" y="435848"/>
                </a:cubicBezTo>
                <a:lnTo>
                  <a:pt x="311484" y="616005"/>
                </a:lnTo>
                <a:cubicBezTo>
                  <a:pt x="311484" y="640892"/>
                  <a:pt x="331682" y="661090"/>
                  <a:pt x="356569" y="661090"/>
                </a:cubicBezTo>
                <a:cubicBezTo>
                  <a:pt x="381456" y="661090"/>
                  <a:pt x="401654" y="640892"/>
                  <a:pt x="401654" y="616005"/>
                </a:cubicBezTo>
                <a:lnTo>
                  <a:pt x="401654" y="243430"/>
                </a:lnTo>
                <a:lnTo>
                  <a:pt x="547058" y="74519"/>
                </a:lnTo>
                <a:cubicBezTo>
                  <a:pt x="563298" y="55640"/>
                  <a:pt x="561166" y="27201"/>
                  <a:pt x="542288" y="10961"/>
                </a:cubicBezTo>
                <a:cubicBezTo>
                  <a:pt x="523409" y="-5359"/>
                  <a:pt x="494929" y="-3187"/>
                  <a:pt x="478710" y="15691"/>
                </a:cubicBezTo>
                <a:close/>
              </a:path>
            </a:pathLst>
          </a:custGeom>
          <a:solidFill>
            <a:srgbClr val="4EA72E"/>
          </a:solidFill>
          <a:ln w="2030" cap="flat">
            <a:noFill/>
            <a:prstDash val="solid"/>
            <a:miter/>
          </a:ln>
        </p:spPr>
        <p:txBody>
          <a:bodyPr rtlCol="0" anchor="ctr"/>
          <a:lstStyle/>
          <a:p>
            <a:endParaRPr lang="vi-VN" noProof="0">
              <a:latin typeface="+mj-lt"/>
            </a:endParaRPr>
          </a:p>
        </p:txBody>
      </p:sp>
      <p:sp>
        <p:nvSpPr>
          <p:cNvPr id="33" name="Freeform: Shape 32">
            <a:extLst>
              <a:ext uri="{FF2B5EF4-FFF2-40B4-BE49-F238E27FC236}">
                <a16:creationId xmlns:a16="http://schemas.microsoft.com/office/drawing/2014/main" id="{9CCEF6B8-8B12-2461-7882-CA5841DD58E5}"/>
              </a:ext>
            </a:extLst>
          </p:cNvPr>
          <p:cNvSpPr/>
          <p:nvPr/>
        </p:nvSpPr>
        <p:spPr>
          <a:xfrm>
            <a:off x="4752061" y="4456721"/>
            <a:ext cx="219659" cy="219639"/>
          </a:xfrm>
          <a:custGeom>
            <a:avLst/>
            <a:gdLst>
              <a:gd name="connsiteX0" fmla="*/ 109840 w 219659"/>
              <a:gd name="connsiteY0" fmla="*/ 219639 h 219639"/>
              <a:gd name="connsiteX1" fmla="*/ 219660 w 219659"/>
              <a:gd name="connsiteY1" fmla="*/ 109799 h 219639"/>
              <a:gd name="connsiteX2" fmla="*/ 109840 w 219659"/>
              <a:gd name="connsiteY2" fmla="*/ 0 h 219639"/>
              <a:gd name="connsiteX3" fmla="*/ 0 w 219659"/>
              <a:gd name="connsiteY3" fmla="*/ 109799 h 219639"/>
              <a:gd name="connsiteX4" fmla="*/ 109840 w 219659"/>
              <a:gd name="connsiteY4" fmla="*/ 219639 h 21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59" h="219639">
                <a:moveTo>
                  <a:pt x="109840" y="219639"/>
                </a:moveTo>
                <a:cubicBezTo>
                  <a:pt x="170494" y="219639"/>
                  <a:pt x="219660" y="170474"/>
                  <a:pt x="219660" y="109799"/>
                </a:cubicBezTo>
                <a:cubicBezTo>
                  <a:pt x="219660" y="49125"/>
                  <a:pt x="170494" y="0"/>
                  <a:pt x="109840" y="0"/>
                </a:cubicBezTo>
                <a:cubicBezTo>
                  <a:pt x="49185" y="0"/>
                  <a:pt x="0" y="49165"/>
                  <a:pt x="0" y="109799"/>
                </a:cubicBezTo>
                <a:cubicBezTo>
                  <a:pt x="0" y="170434"/>
                  <a:pt x="49165" y="219639"/>
                  <a:pt x="109840" y="219639"/>
                </a:cubicBezTo>
                <a:close/>
              </a:path>
            </a:pathLst>
          </a:custGeom>
          <a:solidFill>
            <a:srgbClr val="4EA72E"/>
          </a:solidFill>
          <a:ln w="2030" cap="flat">
            <a:noFill/>
            <a:prstDash val="solid"/>
            <a:miter/>
          </a:ln>
        </p:spPr>
        <p:txBody>
          <a:bodyPr rtlCol="0" anchor="ctr"/>
          <a:lstStyle/>
          <a:p>
            <a:endParaRPr lang="vi-VN" noProof="0">
              <a:latin typeface="+mj-lt"/>
            </a:endParaRPr>
          </a:p>
        </p:txBody>
      </p:sp>
      <p:sp>
        <p:nvSpPr>
          <p:cNvPr id="34" name="Freeform: Shape 33">
            <a:extLst>
              <a:ext uri="{FF2B5EF4-FFF2-40B4-BE49-F238E27FC236}">
                <a16:creationId xmlns:a16="http://schemas.microsoft.com/office/drawing/2014/main" id="{E415D30F-73C6-842E-95C7-F8588E6D0908}"/>
              </a:ext>
            </a:extLst>
          </p:cNvPr>
          <p:cNvSpPr/>
          <p:nvPr/>
        </p:nvSpPr>
        <p:spPr>
          <a:xfrm>
            <a:off x="5163623" y="4572803"/>
            <a:ext cx="532257" cy="645063"/>
          </a:xfrm>
          <a:custGeom>
            <a:avLst/>
            <a:gdLst>
              <a:gd name="connsiteX0" fmla="*/ 517277 w 532257"/>
              <a:gd name="connsiteY0" fmla="*/ 11479 h 645063"/>
              <a:gd name="connsiteX1" fmla="*/ 453597 w 532257"/>
              <a:gd name="connsiteY1" fmla="*/ 15031 h 645063"/>
              <a:gd name="connsiteX2" fmla="*/ 355024 w 532257"/>
              <a:gd name="connsiteY2" fmla="*/ 125338 h 645063"/>
              <a:gd name="connsiteX3" fmla="*/ 310203 w 532257"/>
              <a:gd name="connsiteY3" fmla="*/ 145374 h 645063"/>
              <a:gd name="connsiteX4" fmla="*/ 222103 w 532257"/>
              <a:gd name="connsiteY4" fmla="*/ 145374 h 645063"/>
              <a:gd name="connsiteX5" fmla="*/ 177282 w 532257"/>
              <a:gd name="connsiteY5" fmla="*/ 125338 h 645063"/>
              <a:gd name="connsiteX6" fmla="*/ 78709 w 532257"/>
              <a:gd name="connsiteY6" fmla="*/ 15031 h 645063"/>
              <a:gd name="connsiteX7" fmla="*/ 15050 w 532257"/>
              <a:gd name="connsiteY7" fmla="*/ 11479 h 645063"/>
              <a:gd name="connsiteX8" fmla="*/ 11477 w 532257"/>
              <a:gd name="connsiteY8" fmla="*/ 75118 h 645063"/>
              <a:gd name="connsiteX9" fmla="*/ 153674 w 532257"/>
              <a:gd name="connsiteY9" fmla="*/ 234224 h 645063"/>
              <a:gd name="connsiteX10" fmla="*/ 95029 w 532257"/>
              <a:gd name="connsiteY10" fmla="*/ 412575 h 645063"/>
              <a:gd name="connsiteX11" fmla="*/ 125945 w 532257"/>
              <a:gd name="connsiteY11" fmla="*/ 455285 h 645063"/>
              <a:gd name="connsiteX12" fmla="*/ 152984 w 532257"/>
              <a:gd name="connsiteY12" fmla="*/ 455285 h 645063"/>
              <a:gd name="connsiteX13" fmla="*/ 136948 w 532257"/>
              <a:gd name="connsiteY13" fmla="*/ 594802 h 645063"/>
              <a:gd name="connsiteX14" fmla="*/ 176592 w 532257"/>
              <a:gd name="connsiteY14" fmla="*/ 644759 h 645063"/>
              <a:gd name="connsiteX15" fmla="*/ 226549 w 532257"/>
              <a:gd name="connsiteY15" fmla="*/ 605114 h 645063"/>
              <a:gd name="connsiteX16" fmla="*/ 243134 w 532257"/>
              <a:gd name="connsiteY16" fmla="*/ 460562 h 645063"/>
              <a:gd name="connsiteX17" fmla="*/ 249041 w 532257"/>
              <a:gd name="connsiteY17" fmla="*/ 455285 h 645063"/>
              <a:gd name="connsiteX18" fmla="*/ 283184 w 532257"/>
              <a:gd name="connsiteY18" fmla="*/ 455285 h 645063"/>
              <a:gd name="connsiteX19" fmla="*/ 289112 w 532257"/>
              <a:gd name="connsiteY19" fmla="*/ 460562 h 645063"/>
              <a:gd name="connsiteX20" fmla="*/ 305696 w 532257"/>
              <a:gd name="connsiteY20" fmla="*/ 605114 h 645063"/>
              <a:gd name="connsiteX21" fmla="*/ 350436 w 532257"/>
              <a:gd name="connsiteY21" fmla="*/ 645064 h 645063"/>
              <a:gd name="connsiteX22" fmla="*/ 355653 w 532257"/>
              <a:gd name="connsiteY22" fmla="*/ 644779 h 645063"/>
              <a:gd name="connsiteX23" fmla="*/ 395277 w 532257"/>
              <a:gd name="connsiteY23" fmla="*/ 594823 h 645063"/>
              <a:gd name="connsiteX24" fmla="*/ 379261 w 532257"/>
              <a:gd name="connsiteY24" fmla="*/ 455305 h 645063"/>
              <a:gd name="connsiteX25" fmla="*/ 406300 w 532257"/>
              <a:gd name="connsiteY25" fmla="*/ 455305 h 645063"/>
              <a:gd name="connsiteX26" fmla="*/ 437196 w 532257"/>
              <a:gd name="connsiteY26" fmla="*/ 412636 h 645063"/>
              <a:gd name="connsiteX27" fmla="*/ 378591 w 532257"/>
              <a:gd name="connsiteY27" fmla="*/ 234245 h 645063"/>
              <a:gd name="connsiteX28" fmla="*/ 520788 w 532257"/>
              <a:gd name="connsiteY28" fmla="*/ 75138 h 645063"/>
              <a:gd name="connsiteX29" fmla="*/ 517216 w 532257"/>
              <a:gd name="connsiteY29" fmla="*/ 11499 h 64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2257" h="645063">
                <a:moveTo>
                  <a:pt x="517277" y="11479"/>
                </a:moveTo>
                <a:cubicBezTo>
                  <a:pt x="498703" y="-5126"/>
                  <a:pt x="470202" y="-3522"/>
                  <a:pt x="453597" y="15031"/>
                </a:cubicBezTo>
                <a:lnTo>
                  <a:pt x="355024" y="125338"/>
                </a:lnTo>
                <a:cubicBezTo>
                  <a:pt x="343595" y="138066"/>
                  <a:pt x="327295" y="145374"/>
                  <a:pt x="310203" y="145374"/>
                </a:cubicBezTo>
                <a:lnTo>
                  <a:pt x="222103" y="145374"/>
                </a:lnTo>
                <a:cubicBezTo>
                  <a:pt x="204991" y="145374"/>
                  <a:pt x="188670" y="138086"/>
                  <a:pt x="177282" y="125338"/>
                </a:cubicBezTo>
                <a:lnTo>
                  <a:pt x="78709" y="15031"/>
                </a:lnTo>
                <a:cubicBezTo>
                  <a:pt x="62124" y="-3522"/>
                  <a:pt x="33624" y="-5126"/>
                  <a:pt x="15050" y="11479"/>
                </a:cubicBezTo>
                <a:cubicBezTo>
                  <a:pt x="-3524" y="28043"/>
                  <a:pt x="-5128" y="56564"/>
                  <a:pt x="11477" y="75118"/>
                </a:cubicBezTo>
                <a:lnTo>
                  <a:pt x="153674" y="234224"/>
                </a:lnTo>
                <a:lnTo>
                  <a:pt x="95029" y="412575"/>
                </a:lnTo>
                <a:cubicBezTo>
                  <a:pt x="88127" y="433645"/>
                  <a:pt x="103799" y="455285"/>
                  <a:pt x="125945" y="455285"/>
                </a:cubicBezTo>
                <a:lnTo>
                  <a:pt x="152984" y="455285"/>
                </a:lnTo>
                <a:lnTo>
                  <a:pt x="136948" y="594802"/>
                </a:lnTo>
                <a:cubicBezTo>
                  <a:pt x="134106" y="619527"/>
                  <a:pt x="151868" y="641877"/>
                  <a:pt x="176592" y="644759"/>
                </a:cubicBezTo>
                <a:cubicBezTo>
                  <a:pt x="201337" y="647560"/>
                  <a:pt x="223687" y="629798"/>
                  <a:pt x="226549" y="605114"/>
                </a:cubicBezTo>
                <a:lnTo>
                  <a:pt x="243134" y="460562"/>
                </a:lnTo>
                <a:cubicBezTo>
                  <a:pt x="243458" y="457558"/>
                  <a:pt x="246016" y="455285"/>
                  <a:pt x="249041" y="455285"/>
                </a:cubicBezTo>
                <a:lnTo>
                  <a:pt x="283184" y="455285"/>
                </a:lnTo>
                <a:cubicBezTo>
                  <a:pt x="286209" y="455285"/>
                  <a:pt x="288767" y="457558"/>
                  <a:pt x="289112" y="460562"/>
                </a:cubicBezTo>
                <a:lnTo>
                  <a:pt x="305696" y="605114"/>
                </a:lnTo>
                <a:cubicBezTo>
                  <a:pt x="308335" y="628073"/>
                  <a:pt x="327823" y="645064"/>
                  <a:pt x="350436" y="645064"/>
                </a:cubicBezTo>
                <a:cubicBezTo>
                  <a:pt x="352141" y="645064"/>
                  <a:pt x="353887" y="644982"/>
                  <a:pt x="355653" y="644779"/>
                </a:cubicBezTo>
                <a:cubicBezTo>
                  <a:pt x="380378" y="641897"/>
                  <a:pt x="398119" y="619547"/>
                  <a:pt x="395277" y="594823"/>
                </a:cubicBezTo>
                <a:lnTo>
                  <a:pt x="379261" y="455305"/>
                </a:lnTo>
                <a:lnTo>
                  <a:pt x="406300" y="455305"/>
                </a:lnTo>
                <a:cubicBezTo>
                  <a:pt x="428447" y="455305"/>
                  <a:pt x="444118" y="433666"/>
                  <a:pt x="437196" y="412636"/>
                </a:cubicBezTo>
                <a:lnTo>
                  <a:pt x="378591" y="234245"/>
                </a:lnTo>
                <a:lnTo>
                  <a:pt x="520788" y="75138"/>
                </a:lnTo>
                <a:cubicBezTo>
                  <a:pt x="537373" y="56584"/>
                  <a:pt x="535790" y="28064"/>
                  <a:pt x="517216" y="11499"/>
                </a:cubicBezTo>
                <a:close/>
              </a:path>
            </a:pathLst>
          </a:custGeom>
          <a:solidFill>
            <a:srgbClr val="4EA72E"/>
          </a:solidFill>
          <a:ln w="2030" cap="flat">
            <a:noFill/>
            <a:prstDash val="solid"/>
            <a:miter/>
          </a:ln>
        </p:spPr>
        <p:txBody>
          <a:bodyPr rtlCol="0" anchor="ctr"/>
          <a:lstStyle/>
          <a:p>
            <a:endParaRPr lang="vi-VN" noProof="0">
              <a:latin typeface="+mj-lt"/>
            </a:endParaRPr>
          </a:p>
        </p:txBody>
      </p:sp>
      <p:sp>
        <p:nvSpPr>
          <p:cNvPr id="35" name="Freeform: Shape 34">
            <a:extLst>
              <a:ext uri="{FF2B5EF4-FFF2-40B4-BE49-F238E27FC236}">
                <a16:creationId xmlns:a16="http://schemas.microsoft.com/office/drawing/2014/main" id="{ABAE1460-ADD3-84AD-0A70-B50687144D37}"/>
              </a:ext>
            </a:extLst>
          </p:cNvPr>
          <p:cNvSpPr/>
          <p:nvPr/>
        </p:nvSpPr>
        <p:spPr>
          <a:xfrm>
            <a:off x="5319956" y="4456721"/>
            <a:ext cx="219639" cy="219639"/>
          </a:xfrm>
          <a:custGeom>
            <a:avLst/>
            <a:gdLst>
              <a:gd name="connsiteX0" fmla="*/ 109820 w 219639"/>
              <a:gd name="connsiteY0" fmla="*/ 219639 h 219639"/>
              <a:gd name="connsiteX1" fmla="*/ 219639 w 219639"/>
              <a:gd name="connsiteY1" fmla="*/ 109799 h 219639"/>
              <a:gd name="connsiteX2" fmla="*/ 109820 w 219639"/>
              <a:gd name="connsiteY2" fmla="*/ 0 h 219639"/>
              <a:gd name="connsiteX3" fmla="*/ 0 w 219639"/>
              <a:gd name="connsiteY3" fmla="*/ 109799 h 219639"/>
              <a:gd name="connsiteX4" fmla="*/ 109820 w 219639"/>
              <a:gd name="connsiteY4" fmla="*/ 219639 h 21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39" h="219639">
                <a:moveTo>
                  <a:pt x="109820" y="219639"/>
                </a:moveTo>
                <a:cubicBezTo>
                  <a:pt x="170474" y="219639"/>
                  <a:pt x="219639" y="170474"/>
                  <a:pt x="219639" y="109799"/>
                </a:cubicBezTo>
                <a:cubicBezTo>
                  <a:pt x="219639" y="49125"/>
                  <a:pt x="170474" y="0"/>
                  <a:pt x="109820" y="0"/>
                </a:cubicBezTo>
                <a:cubicBezTo>
                  <a:pt x="49165" y="0"/>
                  <a:pt x="0" y="49165"/>
                  <a:pt x="0" y="109799"/>
                </a:cubicBezTo>
                <a:cubicBezTo>
                  <a:pt x="0" y="170434"/>
                  <a:pt x="49165" y="219639"/>
                  <a:pt x="109820" y="219639"/>
                </a:cubicBezTo>
                <a:close/>
              </a:path>
            </a:pathLst>
          </a:custGeom>
          <a:solidFill>
            <a:srgbClr val="4EA72E"/>
          </a:solidFill>
          <a:ln w="2030" cap="flat">
            <a:noFill/>
            <a:prstDash val="solid"/>
            <a:miter/>
          </a:ln>
        </p:spPr>
        <p:txBody>
          <a:bodyPr rtlCol="0" anchor="ctr"/>
          <a:lstStyle/>
          <a:p>
            <a:endParaRPr lang="vi-VN" noProof="0">
              <a:latin typeface="+mj-lt"/>
            </a:endParaRPr>
          </a:p>
        </p:txBody>
      </p:sp>
      <p:grpSp>
        <p:nvGrpSpPr>
          <p:cNvPr id="41" name="Graphic 60">
            <a:extLst>
              <a:ext uri="{FF2B5EF4-FFF2-40B4-BE49-F238E27FC236}">
                <a16:creationId xmlns:a16="http://schemas.microsoft.com/office/drawing/2014/main" id="{F0583AC6-83F9-9B01-626B-22705DE9C134}"/>
              </a:ext>
            </a:extLst>
          </p:cNvPr>
          <p:cNvGrpSpPr/>
          <p:nvPr/>
        </p:nvGrpSpPr>
        <p:grpSpPr>
          <a:xfrm>
            <a:off x="9752305" y="4182983"/>
            <a:ext cx="1155159" cy="1039389"/>
            <a:chOff x="9752305" y="3866771"/>
            <a:chExt cx="1155159" cy="1039389"/>
          </a:xfrm>
          <a:solidFill>
            <a:srgbClr val="002060"/>
          </a:solidFill>
        </p:grpSpPr>
        <p:sp>
          <p:nvSpPr>
            <p:cNvPr id="42" name="Freeform: Shape 41">
              <a:extLst>
                <a:ext uri="{FF2B5EF4-FFF2-40B4-BE49-F238E27FC236}">
                  <a16:creationId xmlns:a16="http://schemas.microsoft.com/office/drawing/2014/main" id="{AC1AB5C3-3F4B-A87B-28F0-CE5AACC45FDE}"/>
                </a:ext>
              </a:extLst>
            </p:cNvPr>
            <p:cNvSpPr/>
            <p:nvPr/>
          </p:nvSpPr>
          <p:spPr>
            <a:xfrm>
              <a:off x="10243184" y="4495058"/>
              <a:ext cx="43684" cy="410656"/>
            </a:xfrm>
            <a:custGeom>
              <a:avLst/>
              <a:gdLst>
                <a:gd name="connsiteX0" fmla="*/ 10373 w 43684"/>
                <a:gd name="connsiteY0" fmla="*/ 8181 h 410656"/>
                <a:gd name="connsiteX1" fmla="*/ 0 w 43684"/>
                <a:gd name="connsiteY1" fmla="*/ 7369 h 410656"/>
                <a:gd name="connsiteX2" fmla="*/ 0 w 43684"/>
                <a:gd name="connsiteY2" fmla="*/ 388814 h 410656"/>
                <a:gd name="connsiteX3" fmla="*/ 21842 w 43684"/>
                <a:gd name="connsiteY3" fmla="*/ 410657 h 410656"/>
                <a:gd name="connsiteX4" fmla="*/ 43684 w 43684"/>
                <a:gd name="connsiteY4" fmla="*/ 388814 h 410656"/>
                <a:gd name="connsiteX5" fmla="*/ 43684 w 43684"/>
                <a:gd name="connsiteY5" fmla="*/ 0 h 410656"/>
                <a:gd name="connsiteX6" fmla="*/ 39584 w 43684"/>
                <a:gd name="connsiteY6" fmla="*/ 2192 h 410656"/>
                <a:gd name="connsiteX7" fmla="*/ 10373 w 43684"/>
                <a:gd name="connsiteY7" fmla="*/ 8201 h 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84" h="410656">
                  <a:moveTo>
                    <a:pt x="10373" y="8181"/>
                  </a:moveTo>
                  <a:cubicBezTo>
                    <a:pt x="6821" y="8181"/>
                    <a:pt x="3552" y="7917"/>
                    <a:pt x="0" y="7369"/>
                  </a:cubicBezTo>
                  <a:lnTo>
                    <a:pt x="0" y="388814"/>
                  </a:lnTo>
                  <a:cubicBezTo>
                    <a:pt x="0" y="400832"/>
                    <a:pt x="9825" y="410657"/>
                    <a:pt x="21842" y="410657"/>
                  </a:cubicBezTo>
                  <a:cubicBezTo>
                    <a:pt x="33860" y="410657"/>
                    <a:pt x="43684" y="400832"/>
                    <a:pt x="43684" y="388814"/>
                  </a:cubicBezTo>
                  <a:lnTo>
                    <a:pt x="43684" y="0"/>
                  </a:lnTo>
                  <a:cubicBezTo>
                    <a:pt x="42324" y="812"/>
                    <a:pt x="40944" y="1644"/>
                    <a:pt x="39584" y="2192"/>
                  </a:cubicBezTo>
                  <a:cubicBezTo>
                    <a:pt x="30023" y="6293"/>
                    <a:pt x="20198" y="8201"/>
                    <a:pt x="10373" y="8201"/>
                  </a:cubicBezTo>
                  <a:close/>
                </a:path>
              </a:pathLst>
            </a:custGeom>
            <a:grpFill/>
            <a:ln w="2030" cap="flat">
              <a:noFill/>
              <a:prstDash val="solid"/>
              <a:miter/>
            </a:ln>
          </p:spPr>
          <p:txBody>
            <a:bodyPr rtlCol="0" anchor="ctr"/>
            <a:lstStyle/>
            <a:p>
              <a:endParaRPr lang="vi-VN" noProof="0">
                <a:latin typeface="+mj-lt"/>
              </a:endParaRPr>
            </a:p>
          </p:txBody>
        </p:sp>
        <p:sp>
          <p:nvSpPr>
            <p:cNvPr id="43" name="Freeform: Shape 42">
              <a:extLst>
                <a:ext uri="{FF2B5EF4-FFF2-40B4-BE49-F238E27FC236}">
                  <a16:creationId xmlns:a16="http://schemas.microsoft.com/office/drawing/2014/main" id="{DF657C09-AC67-56FD-26AA-F2CED27E9EDD}"/>
                </a:ext>
              </a:extLst>
            </p:cNvPr>
            <p:cNvSpPr/>
            <p:nvPr/>
          </p:nvSpPr>
          <p:spPr>
            <a:xfrm>
              <a:off x="9752305" y="4163467"/>
              <a:ext cx="547682" cy="742632"/>
            </a:xfrm>
            <a:custGeom>
              <a:avLst/>
              <a:gdLst>
                <a:gd name="connsiteX0" fmla="*/ 490574 w 547682"/>
                <a:gd name="connsiteY0" fmla="*/ 124415 h 742632"/>
                <a:gd name="connsiteX1" fmla="*/ 480770 w 547682"/>
                <a:gd name="connsiteY1" fmla="*/ 109982 h 742632"/>
                <a:gd name="connsiteX2" fmla="*/ 408199 w 547682"/>
                <a:gd name="connsiteY2" fmla="*/ 37513 h 742632"/>
                <a:gd name="connsiteX3" fmla="*/ 317522 w 547682"/>
                <a:gd name="connsiteY3" fmla="*/ 0 h 742632"/>
                <a:gd name="connsiteX4" fmla="*/ 228002 w 547682"/>
                <a:gd name="connsiteY4" fmla="*/ 0 h 742632"/>
                <a:gd name="connsiteX5" fmla="*/ 140857 w 547682"/>
                <a:gd name="connsiteY5" fmla="*/ 25070 h 742632"/>
                <a:gd name="connsiteX6" fmla="*/ 21760 w 547682"/>
                <a:gd name="connsiteY6" fmla="*/ 99751 h 742632"/>
                <a:gd name="connsiteX7" fmla="*/ 6190 w 547682"/>
                <a:gd name="connsiteY7" fmla="*/ 162233 h 742632"/>
                <a:gd name="connsiteX8" fmla="*/ 79248 w 547682"/>
                <a:gd name="connsiteY8" fmla="*/ 289226 h 742632"/>
                <a:gd name="connsiteX9" fmla="*/ 142623 w 547682"/>
                <a:gd name="connsiteY9" fmla="*/ 306318 h 742632"/>
                <a:gd name="connsiteX10" fmla="*/ 158436 w 547682"/>
                <a:gd name="connsiteY10" fmla="*/ 290931 h 742632"/>
                <a:gd name="connsiteX11" fmla="*/ 150743 w 547682"/>
                <a:gd name="connsiteY11" fmla="*/ 692534 h 742632"/>
                <a:gd name="connsiteX12" fmla="*/ 198933 w 547682"/>
                <a:gd name="connsiteY12" fmla="*/ 742633 h 742632"/>
                <a:gd name="connsiteX13" fmla="*/ 249012 w 547682"/>
                <a:gd name="connsiteY13" fmla="*/ 694442 h 742632"/>
                <a:gd name="connsiteX14" fmla="*/ 254878 w 547682"/>
                <a:gd name="connsiteY14" fmla="*/ 388327 h 742632"/>
                <a:gd name="connsiteX15" fmla="*/ 290727 w 547682"/>
                <a:gd name="connsiteY15" fmla="*/ 388327 h 742632"/>
                <a:gd name="connsiteX16" fmla="*/ 296593 w 547682"/>
                <a:gd name="connsiteY16" fmla="*/ 694442 h 742632"/>
                <a:gd name="connsiteX17" fmla="*/ 345718 w 547682"/>
                <a:gd name="connsiteY17" fmla="*/ 742633 h 742632"/>
                <a:gd name="connsiteX18" fmla="*/ 346693 w 547682"/>
                <a:gd name="connsiteY18" fmla="*/ 742633 h 742632"/>
                <a:gd name="connsiteX19" fmla="*/ 394883 w 547682"/>
                <a:gd name="connsiteY19" fmla="*/ 692534 h 742632"/>
                <a:gd name="connsiteX20" fmla="*/ 384388 w 547682"/>
                <a:gd name="connsiteY20" fmla="*/ 144917 h 742632"/>
                <a:gd name="connsiteX21" fmla="*/ 408910 w 547682"/>
                <a:gd name="connsiteY21" fmla="*/ 169398 h 742632"/>
                <a:gd name="connsiteX22" fmla="*/ 458643 w 547682"/>
                <a:gd name="connsiteY22" fmla="*/ 284476 h 742632"/>
                <a:gd name="connsiteX23" fmla="*/ 501272 w 547682"/>
                <a:gd name="connsiteY23" fmla="*/ 312489 h 742632"/>
                <a:gd name="connsiteX24" fmla="*/ 519663 w 547682"/>
                <a:gd name="connsiteY24" fmla="*/ 308673 h 742632"/>
                <a:gd name="connsiteX25" fmla="*/ 543860 w 547682"/>
                <a:gd name="connsiteY25" fmla="*/ 247653 h 742632"/>
                <a:gd name="connsiteX26" fmla="*/ 490615 w 547682"/>
                <a:gd name="connsiteY26" fmla="*/ 124415 h 742632"/>
                <a:gd name="connsiteX27" fmla="*/ 159350 w 547682"/>
                <a:gd name="connsiteY27" fmla="*/ 242334 h 742632"/>
                <a:gd name="connsiteX28" fmla="*/ 108926 w 547682"/>
                <a:gd name="connsiteY28" fmla="*/ 154661 h 742632"/>
                <a:gd name="connsiteX29" fmla="*/ 161663 w 547682"/>
                <a:gd name="connsiteY29" fmla="*/ 121593 h 742632"/>
                <a:gd name="connsiteX30" fmla="*/ 159350 w 547682"/>
                <a:gd name="connsiteY30" fmla="*/ 242334 h 74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7682" h="742632">
                  <a:moveTo>
                    <a:pt x="490574" y="124415"/>
                  </a:moveTo>
                  <a:cubicBezTo>
                    <a:pt x="488260" y="119036"/>
                    <a:pt x="484931" y="114143"/>
                    <a:pt x="480770" y="109982"/>
                  </a:cubicBezTo>
                  <a:lnTo>
                    <a:pt x="408199" y="37513"/>
                  </a:lnTo>
                  <a:cubicBezTo>
                    <a:pt x="383982" y="13337"/>
                    <a:pt x="351767" y="0"/>
                    <a:pt x="317522" y="0"/>
                  </a:cubicBezTo>
                  <a:lnTo>
                    <a:pt x="228002" y="0"/>
                  </a:lnTo>
                  <a:cubicBezTo>
                    <a:pt x="197147" y="0"/>
                    <a:pt x="167002" y="8688"/>
                    <a:pt x="140857" y="25070"/>
                  </a:cubicBezTo>
                  <a:lnTo>
                    <a:pt x="21760" y="99751"/>
                  </a:lnTo>
                  <a:cubicBezTo>
                    <a:pt x="628" y="113027"/>
                    <a:pt x="-6253" y="140594"/>
                    <a:pt x="6190" y="162233"/>
                  </a:cubicBezTo>
                  <a:lnTo>
                    <a:pt x="79248" y="289226"/>
                  </a:lnTo>
                  <a:cubicBezTo>
                    <a:pt x="92036" y="311454"/>
                    <a:pt x="120415" y="319086"/>
                    <a:pt x="142623" y="306318"/>
                  </a:cubicBezTo>
                  <a:cubicBezTo>
                    <a:pt x="149342" y="302461"/>
                    <a:pt x="154538" y="297061"/>
                    <a:pt x="158436" y="290931"/>
                  </a:cubicBezTo>
                  <a:lnTo>
                    <a:pt x="150743" y="692534"/>
                  </a:lnTo>
                  <a:cubicBezTo>
                    <a:pt x="150215" y="719674"/>
                    <a:pt x="171793" y="742105"/>
                    <a:pt x="198933" y="742633"/>
                  </a:cubicBezTo>
                  <a:cubicBezTo>
                    <a:pt x="226155" y="742531"/>
                    <a:pt x="248484" y="721562"/>
                    <a:pt x="249012" y="694442"/>
                  </a:cubicBezTo>
                  <a:lnTo>
                    <a:pt x="254878" y="388327"/>
                  </a:lnTo>
                  <a:lnTo>
                    <a:pt x="290727" y="388327"/>
                  </a:lnTo>
                  <a:lnTo>
                    <a:pt x="296593" y="694442"/>
                  </a:lnTo>
                  <a:cubicBezTo>
                    <a:pt x="297101" y="721258"/>
                    <a:pt x="319004" y="742653"/>
                    <a:pt x="345718" y="742633"/>
                  </a:cubicBezTo>
                  <a:lnTo>
                    <a:pt x="346693" y="742633"/>
                  </a:lnTo>
                  <a:cubicBezTo>
                    <a:pt x="373833" y="742105"/>
                    <a:pt x="395411" y="719695"/>
                    <a:pt x="394883" y="692534"/>
                  </a:cubicBezTo>
                  <a:lnTo>
                    <a:pt x="384388" y="144917"/>
                  </a:lnTo>
                  <a:lnTo>
                    <a:pt x="408910" y="169398"/>
                  </a:lnTo>
                  <a:lnTo>
                    <a:pt x="458643" y="284476"/>
                  </a:lnTo>
                  <a:cubicBezTo>
                    <a:pt x="466215" y="302014"/>
                    <a:pt x="483307" y="312509"/>
                    <a:pt x="501272" y="312489"/>
                  </a:cubicBezTo>
                  <a:cubicBezTo>
                    <a:pt x="507403" y="312489"/>
                    <a:pt x="513655" y="311271"/>
                    <a:pt x="519663" y="308673"/>
                  </a:cubicBezTo>
                  <a:cubicBezTo>
                    <a:pt x="543210" y="298523"/>
                    <a:pt x="554030" y="271180"/>
                    <a:pt x="543860" y="247653"/>
                  </a:cubicBezTo>
                  <a:lnTo>
                    <a:pt x="490615" y="124415"/>
                  </a:lnTo>
                  <a:close/>
                  <a:moveTo>
                    <a:pt x="159350" y="242334"/>
                  </a:moveTo>
                  <a:lnTo>
                    <a:pt x="108926" y="154661"/>
                  </a:lnTo>
                  <a:lnTo>
                    <a:pt x="161663" y="121593"/>
                  </a:lnTo>
                  <a:lnTo>
                    <a:pt x="159350" y="242334"/>
                  </a:lnTo>
                  <a:close/>
                </a:path>
              </a:pathLst>
            </a:custGeom>
            <a:grpFill/>
            <a:ln w="2030" cap="flat">
              <a:noFill/>
              <a:prstDash val="solid"/>
              <a:miter/>
            </a:ln>
          </p:spPr>
          <p:txBody>
            <a:bodyPr rtlCol="0" anchor="ctr"/>
            <a:lstStyle/>
            <a:p>
              <a:endParaRPr lang="vi-VN" noProof="0">
                <a:latin typeface="+mj-lt"/>
              </a:endParaRPr>
            </a:p>
          </p:txBody>
        </p:sp>
        <p:sp>
          <p:nvSpPr>
            <p:cNvPr id="45" name="Freeform: Shape 44">
              <a:extLst>
                <a:ext uri="{FF2B5EF4-FFF2-40B4-BE49-F238E27FC236}">
                  <a16:creationId xmlns:a16="http://schemas.microsoft.com/office/drawing/2014/main" id="{E5638219-CB43-8933-9BA7-720A7D007A34}"/>
                </a:ext>
              </a:extLst>
            </p:cNvPr>
            <p:cNvSpPr/>
            <p:nvPr/>
          </p:nvSpPr>
          <p:spPr>
            <a:xfrm>
              <a:off x="9915796" y="4023219"/>
              <a:ext cx="218705" cy="109758"/>
            </a:xfrm>
            <a:custGeom>
              <a:avLst/>
              <a:gdLst>
                <a:gd name="connsiteX0" fmla="*/ 0 w 218705"/>
                <a:gd name="connsiteY0" fmla="*/ 0 h 109758"/>
                <a:gd name="connsiteX1" fmla="*/ 0 w 218705"/>
                <a:gd name="connsiteY1" fmla="*/ 548 h 109758"/>
                <a:gd name="connsiteX2" fmla="*/ 109210 w 218705"/>
                <a:gd name="connsiteY2" fmla="*/ 109759 h 109758"/>
                <a:gd name="connsiteX3" fmla="*/ 218705 w 218705"/>
                <a:gd name="connsiteY3" fmla="*/ 548 h 109758"/>
                <a:gd name="connsiteX4" fmla="*/ 218705 w 218705"/>
                <a:gd name="connsiteY4" fmla="*/ 0 h 109758"/>
                <a:gd name="connsiteX5" fmla="*/ 109210 w 218705"/>
                <a:gd name="connsiteY5" fmla="*/ 8201 h 109758"/>
                <a:gd name="connsiteX6" fmla="*/ 0 w 218705"/>
                <a:gd name="connsiteY6" fmla="*/ 0 h 10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705" h="109758">
                  <a:moveTo>
                    <a:pt x="0" y="0"/>
                  </a:moveTo>
                  <a:lnTo>
                    <a:pt x="0" y="548"/>
                  </a:lnTo>
                  <a:cubicBezTo>
                    <a:pt x="0" y="60898"/>
                    <a:pt x="48881" y="109759"/>
                    <a:pt x="109210" y="109759"/>
                  </a:cubicBezTo>
                  <a:cubicBezTo>
                    <a:pt x="169540" y="109759"/>
                    <a:pt x="218705" y="60878"/>
                    <a:pt x="218705" y="548"/>
                  </a:cubicBezTo>
                  <a:lnTo>
                    <a:pt x="218705" y="0"/>
                  </a:lnTo>
                  <a:cubicBezTo>
                    <a:pt x="190570" y="5461"/>
                    <a:pt x="153991" y="8201"/>
                    <a:pt x="109210" y="8201"/>
                  </a:cubicBezTo>
                  <a:cubicBezTo>
                    <a:pt x="64430" y="8201"/>
                    <a:pt x="28114" y="5481"/>
                    <a:pt x="0" y="0"/>
                  </a:cubicBezTo>
                  <a:close/>
                </a:path>
              </a:pathLst>
            </a:custGeom>
            <a:grpFill/>
            <a:ln w="2030" cap="flat">
              <a:noFill/>
              <a:prstDash val="solid"/>
              <a:miter/>
            </a:ln>
          </p:spPr>
          <p:txBody>
            <a:bodyPr rtlCol="0" anchor="ctr"/>
            <a:lstStyle/>
            <a:p>
              <a:endParaRPr lang="vi-VN" noProof="0">
                <a:latin typeface="+mj-lt"/>
              </a:endParaRPr>
            </a:p>
          </p:txBody>
        </p:sp>
        <p:sp>
          <p:nvSpPr>
            <p:cNvPr id="46" name="Freeform: Shape 45">
              <a:extLst>
                <a:ext uri="{FF2B5EF4-FFF2-40B4-BE49-F238E27FC236}">
                  <a16:creationId xmlns:a16="http://schemas.microsoft.com/office/drawing/2014/main" id="{5686AE50-3DD8-3306-826D-2B1B48EBEB1C}"/>
                </a:ext>
              </a:extLst>
            </p:cNvPr>
            <p:cNvSpPr/>
            <p:nvPr/>
          </p:nvSpPr>
          <p:spPr>
            <a:xfrm>
              <a:off x="9872396" y="3872171"/>
              <a:ext cx="305424" cy="131925"/>
            </a:xfrm>
            <a:custGeom>
              <a:avLst/>
              <a:gdLst>
                <a:gd name="connsiteX0" fmla="*/ 152712 w 305424"/>
                <a:gd name="connsiteY0" fmla="*/ 131926 h 131925"/>
                <a:gd name="connsiteX1" fmla="*/ 305424 w 305424"/>
                <a:gd name="connsiteY1" fmla="*/ 101680 h 131925"/>
                <a:gd name="connsiteX2" fmla="*/ 252890 w 305424"/>
                <a:gd name="connsiteY2" fmla="*/ 78883 h 131925"/>
                <a:gd name="connsiteX3" fmla="*/ 234498 w 305424"/>
                <a:gd name="connsiteY3" fmla="*/ 24116 h 131925"/>
                <a:gd name="connsiteX4" fmla="*/ 200964 w 305424"/>
                <a:gd name="connsiteY4" fmla="*/ 0 h 131925"/>
                <a:gd name="connsiteX5" fmla="*/ 104440 w 305424"/>
                <a:gd name="connsiteY5" fmla="*/ 0 h 131925"/>
                <a:gd name="connsiteX6" fmla="*/ 70906 w 305424"/>
                <a:gd name="connsiteY6" fmla="*/ 24116 h 131925"/>
                <a:gd name="connsiteX7" fmla="*/ 52535 w 305424"/>
                <a:gd name="connsiteY7" fmla="*/ 78883 h 131925"/>
                <a:gd name="connsiteX8" fmla="*/ 0 w 305424"/>
                <a:gd name="connsiteY8" fmla="*/ 101680 h 131925"/>
                <a:gd name="connsiteX9" fmla="*/ 152712 w 305424"/>
                <a:gd name="connsiteY9" fmla="*/ 131926 h 13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424" h="131925">
                  <a:moveTo>
                    <a:pt x="152712" y="131926"/>
                  </a:moveTo>
                  <a:cubicBezTo>
                    <a:pt x="237056" y="131926"/>
                    <a:pt x="305424" y="118386"/>
                    <a:pt x="305424" y="101680"/>
                  </a:cubicBezTo>
                  <a:cubicBezTo>
                    <a:pt x="305424" y="92586"/>
                    <a:pt x="285023" y="84445"/>
                    <a:pt x="252890" y="78883"/>
                  </a:cubicBezTo>
                  <a:lnTo>
                    <a:pt x="234498" y="24116"/>
                  </a:lnTo>
                  <a:cubicBezTo>
                    <a:pt x="229667" y="9703"/>
                    <a:pt x="216168" y="0"/>
                    <a:pt x="200964" y="0"/>
                  </a:cubicBezTo>
                  <a:lnTo>
                    <a:pt x="104440" y="0"/>
                  </a:lnTo>
                  <a:cubicBezTo>
                    <a:pt x="89236" y="0"/>
                    <a:pt x="75737" y="9703"/>
                    <a:pt x="70906" y="24116"/>
                  </a:cubicBezTo>
                  <a:lnTo>
                    <a:pt x="52535" y="78883"/>
                  </a:lnTo>
                  <a:cubicBezTo>
                    <a:pt x="20401" y="84425"/>
                    <a:pt x="0" y="92565"/>
                    <a:pt x="0" y="101680"/>
                  </a:cubicBezTo>
                  <a:cubicBezTo>
                    <a:pt x="0" y="118386"/>
                    <a:pt x="68368" y="131926"/>
                    <a:pt x="152712" y="131926"/>
                  </a:cubicBezTo>
                  <a:close/>
                </a:path>
              </a:pathLst>
            </a:custGeom>
            <a:grpFill/>
            <a:ln w="2030" cap="flat">
              <a:noFill/>
              <a:prstDash val="solid"/>
              <a:miter/>
            </a:ln>
          </p:spPr>
          <p:txBody>
            <a:bodyPr rtlCol="0" anchor="ctr"/>
            <a:lstStyle/>
            <a:p>
              <a:endParaRPr lang="vi-VN" noProof="0">
                <a:latin typeface="+mj-lt"/>
              </a:endParaRPr>
            </a:p>
          </p:txBody>
        </p:sp>
        <p:sp>
          <p:nvSpPr>
            <p:cNvPr id="47" name="Freeform: Shape 46">
              <a:extLst>
                <a:ext uri="{FF2B5EF4-FFF2-40B4-BE49-F238E27FC236}">
                  <a16:creationId xmlns:a16="http://schemas.microsoft.com/office/drawing/2014/main" id="{393D0A6B-F2BE-5560-5123-B81F6F7F75BF}"/>
                </a:ext>
              </a:extLst>
            </p:cNvPr>
            <p:cNvSpPr/>
            <p:nvPr/>
          </p:nvSpPr>
          <p:spPr>
            <a:xfrm>
              <a:off x="10406411" y="4509531"/>
              <a:ext cx="43684" cy="396203"/>
            </a:xfrm>
            <a:custGeom>
              <a:avLst/>
              <a:gdLst>
                <a:gd name="connsiteX0" fmla="*/ 2192 w 43684"/>
                <a:gd name="connsiteY0" fmla="*/ 812 h 396203"/>
                <a:gd name="connsiteX1" fmla="*/ 0 w 43684"/>
                <a:gd name="connsiteY1" fmla="*/ 0 h 396203"/>
                <a:gd name="connsiteX2" fmla="*/ 0 w 43684"/>
                <a:gd name="connsiteY2" fmla="*/ 374361 h 396203"/>
                <a:gd name="connsiteX3" fmla="*/ 21842 w 43684"/>
                <a:gd name="connsiteY3" fmla="*/ 396203 h 396203"/>
                <a:gd name="connsiteX4" fmla="*/ 43684 w 43684"/>
                <a:gd name="connsiteY4" fmla="*/ 374361 h 396203"/>
                <a:gd name="connsiteX5" fmla="*/ 43684 w 43684"/>
                <a:gd name="connsiteY5" fmla="*/ 2192 h 396203"/>
                <a:gd name="connsiteX6" fmla="*/ 2192 w 43684"/>
                <a:gd name="connsiteY6" fmla="*/ 832 h 39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4" h="396203">
                  <a:moveTo>
                    <a:pt x="2192" y="812"/>
                  </a:moveTo>
                  <a:cubicBezTo>
                    <a:pt x="1360" y="548"/>
                    <a:pt x="548" y="264"/>
                    <a:pt x="0" y="0"/>
                  </a:cubicBezTo>
                  <a:lnTo>
                    <a:pt x="0" y="374361"/>
                  </a:lnTo>
                  <a:cubicBezTo>
                    <a:pt x="0" y="386378"/>
                    <a:pt x="9825" y="396203"/>
                    <a:pt x="21842" y="396203"/>
                  </a:cubicBezTo>
                  <a:cubicBezTo>
                    <a:pt x="33859" y="396203"/>
                    <a:pt x="43684" y="386378"/>
                    <a:pt x="43684" y="374361"/>
                  </a:cubicBezTo>
                  <a:lnTo>
                    <a:pt x="43684" y="2192"/>
                  </a:lnTo>
                  <a:cubicBezTo>
                    <a:pt x="30571" y="5745"/>
                    <a:pt x="16097" y="5461"/>
                    <a:pt x="2192" y="832"/>
                  </a:cubicBezTo>
                  <a:close/>
                </a:path>
              </a:pathLst>
            </a:custGeom>
            <a:grpFill/>
            <a:ln w="2030" cap="flat">
              <a:noFill/>
              <a:prstDash val="solid"/>
              <a:miter/>
            </a:ln>
          </p:spPr>
          <p:txBody>
            <a:bodyPr rtlCol="0" anchor="ctr"/>
            <a:lstStyle/>
            <a:p>
              <a:endParaRPr lang="vi-VN" noProof="0">
                <a:latin typeface="+mj-lt"/>
              </a:endParaRPr>
            </a:p>
          </p:txBody>
        </p:sp>
        <p:sp>
          <p:nvSpPr>
            <p:cNvPr id="48" name="Freeform: Shape 47">
              <a:extLst>
                <a:ext uri="{FF2B5EF4-FFF2-40B4-BE49-F238E27FC236}">
                  <a16:creationId xmlns:a16="http://schemas.microsoft.com/office/drawing/2014/main" id="{20386A83-C124-3A9B-04BA-E24B41FF795D}"/>
                </a:ext>
              </a:extLst>
            </p:cNvPr>
            <p:cNvSpPr/>
            <p:nvPr/>
          </p:nvSpPr>
          <p:spPr>
            <a:xfrm>
              <a:off x="10387371" y="4171546"/>
              <a:ext cx="520093" cy="734614"/>
            </a:xfrm>
            <a:custGeom>
              <a:avLst/>
              <a:gdLst>
                <a:gd name="connsiteX0" fmla="*/ 499851 w 520093"/>
                <a:gd name="connsiteY0" fmla="*/ 92139 h 734614"/>
                <a:gd name="connsiteX1" fmla="*/ 392164 w 520093"/>
                <a:gd name="connsiteY1" fmla="*/ 21010 h 734614"/>
                <a:gd name="connsiteX2" fmla="*/ 322212 w 520093"/>
                <a:gd name="connsiteY2" fmla="*/ 0 h 734614"/>
                <a:gd name="connsiteX3" fmla="*/ 218482 w 520093"/>
                <a:gd name="connsiteY3" fmla="*/ 0 h 734614"/>
                <a:gd name="connsiteX4" fmla="*/ 122162 w 520093"/>
                <a:gd name="connsiteY4" fmla="*/ 44232 h 734614"/>
                <a:gd name="connsiteX5" fmla="*/ 47074 w 520093"/>
                <a:gd name="connsiteY5" fmla="*/ 131662 h 734614"/>
                <a:gd name="connsiteX6" fmla="*/ 36072 w 520093"/>
                <a:gd name="connsiteY6" fmla="*/ 154032 h 734614"/>
                <a:gd name="connsiteX7" fmla="*/ 2639 w 520093"/>
                <a:gd name="connsiteY7" fmla="*/ 253215 h 734614"/>
                <a:gd name="connsiteX8" fmla="*/ 22877 w 520093"/>
                <a:gd name="connsiteY8" fmla="*/ 309850 h 734614"/>
                <a:gd name="connsiteX9" fmla="*/ 44435 w 520093"/>
                <a:gd name="connsiteY9" fmla="*/ 315351 h 734614"/>
                <a:gd name="connsiteX10" fmla="*/ 87125 w 520093"/>
                <a:gd name="connsiteY10" fmla="*/ 284679 h 734614"/>
                <a:gd name="connsiteX11" fmla="*/ 121147 w 520093"/>
                <a:gd name="connsiteY11" fmla="*/ 183730 h 734614"/>
                <a:gd name="connsiteX12" fmla="*/ 168911 w 520093"/>
                <a:gd name="connsiteY12" fmla="*/ 128109 h 734614"/>
                <a:gd name="connsiteX13" fmla="*/ 168911 w 520093"/>
                <a:gd name="connsiteY13" fmla="*/ 168383 h 734614"/>
                <a:gd name="connsiteX14" fmla="*/ 162983 w 520093"/>
                <a:gd name="connsiteY14" fmla="*/ 215600 h 734614"/>
                <a:gd name="connsiteX15" fmla="*/ 95041 w 520093"/>
                <a:gd name="connsiteY15" fmla="*/ 482171 h 734614"/>
                <a:gd name="connsiteX16" fmla="*/ 102390 w 520093"/>
                <a:gd name="connsiteY16" fmla="*/ 517431 h 734614"/>
                <a:gd name="connsiteX17" fmla="*/ 134727 w 520093"/>
                <a:gd name="connsiteY17" fmla="*/ 533265 h 734614"/>
                <a:gd name="connsiteX18" fmla="*/ 147962 w 520093"/>
                <a:gd name="connsiteY18" fmla="*/ 533265 h 734614"/>
                <a:gd name="connsiteX19" fmla="*/ 135316 w 520093"/>
                <a:gd name="connsiteY19" fmla="*/ 680639 h 734614"/>
                <a:gd name="connsiteX20" fmla="*/ 180969 w 520093"/>
                <a:gd name="connsiteY20" fmla="*/ 734493 h 734614"/>
                <a:gd name="connsiteX21" fmla="*/ 184298 w 520093"/>
                <a:gd name="connsiteY21" fmla="*/ 734615 h 734614"/>
                <a:gd name="connsiteX22" fmla="*/ 233219 w 520093"/>
                <a:gd name="connsiteY22" fmla="*/ 689651 h 734614"/>
                <a:gd name="connsiteX23" fmla="*/ 246637 w 520093"/>
                <a:gd name="connsiteY23" fmla="*/ 533265 h 734614"/>
                <a:gd name="connsiteX24" fmla="*/ 281044 w 520093"/>
                <a:gd name="connsiteY24" fmla="*/ 533265 h 734614"/>
                <a:gd name="connsiteX25" fmla="*/ 294483 w 520093"/>
                <a:gd name="connsiteY25" fmla="*/ 689651 h 734614"/>
                <a:gd name="connsiteX26" fmla="*/ 355807 w 520093"/>
                <a:gd name="connsiteY26" fmla="*/ 733072 h 734614"/>
                <a:gd name="connsiteX27" fmla="*/ 392224 w 520093"/>
                <a:gd name="connsiteY27" fmla="*/ 679035 h 734614"/>
                <a:gd name="connsiteX28" fmla="*/ 379699 w 520093"/>
                <a:gd name="connsiteY28" fmla="*/ 533265 h 734614"/>
                <a:gd name="connsiteX29" fmla="*/ 392935 w 520093"/>
                <a:gd name="connsiteY29" fmla="*/ 533265 h 734614"/>
                <a:gd name="connsiteX30" fmla="*/ 425271 w 520093"/>
                <a:gd name="connsiteY30" fmla="*/ 517431 h 734614"/>
                <a:gd name="connsiteX31" fmla="*/ 432620 w 520093"/>
                <a:gd name="connsiteY31" fmla="*/ 482171 h 734614"/>
                <a:gd name="connsiteX32" fmla="*/ 383597 w 520093"/>
                <a:gd name="connsiteY32" fmla="*/ 289855 h 734614"/>
                <a:gd name="connsiteX33" fmla="*/ 412869 w 520093"/>
                <a:gd name="connsiteY33" fmla="*/ 302603 h 734614"/>
                <a:gd name="connsiteX34" fmla="*/ 458096 w 520093"/>
                <a:gd name="connsiteY34" fmla="*/ 272702 h 734614"/>
                <a:gd name="connsiteX35" fmla="*/ 515868 w 520093"/>
                <a:gd name="connsiteY35" fmla="*/ 148774 h 734614"/>
                <a:gd name="connsiteX36" fmla="*/ 499872 w 520093"/>
                <a:gd name="connsiteY36" fmla="*/ 92159 h 734614"/>
                <a:gd name="connsiteX37" fmla="*/ 374402 w 520093"/>
                <a:gd name="connsiteY37" fmla="*/ 238964 h 734614"/>
                <a:gd name="connsiteX38" fmla="*/ 372229 w 520093"/>
                <a:gd name="connsiteY38" fmla="*/ 245217 h 734614"/>
                <a:gd name="connsiteX39" fmla="*/ 364678 w 520093"/>
                <a:gd name="connsiteY39" fmla="*/ 215580 h 734614"/>
                <a:gd name="connsiteX40" fmla="*/ 358750 w 520093"/>
                <a:gd name="connsiteY40" fmla="*/ 168363 h 734614"/>
                <a:gd name="connsiteX41" fmla="*/ 358750 w 520093"/>
                <a:gd name="connsiteY41" fmla="*/ 106917 h 734614"/>
                <a:gd name="connsiteX42" fmla="*/ 417781 w 520093"/>
                <a:gd name="connsiteY42" fmla="*/ 145912 h 734614"/>
                <a:gd name="connsiteX43" fmla="*/ 374402 w 520093"/>
                <a:gd name="connsiteY43" fmla="*/ 238964 h 73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20093" h="734614">
                  <a:moveTo>
                    <a:pt x="499851" y="92139"/>
                  </a:moveTo>
                  <a:lnTo>
                    <a:pt x="392164" y="21010"/>
                  </a:lnTo>
                  <a:cubicBezTo>
                    <a:pt x="371417" y="7308"/>
                    <a:pt x="347099" y="0"/>
                    <a:pt x="322212" y="0"/>
                  </a:cubicBezTo>
                  <a:lnTo>
                    <a:pt x="218482" y="0"/>
                  </a:lnTo>
                  <a:cubicBezTo>
                    <a:pt x="181456" y="0"/>
                    <a:pt x="146277" y="16158"/>
                    <a:pt x="122162" y="44232"/>
                  </a:cubicBezTo>
                  <a:lnTo>
                    <a:pt x="47074" y="131662"/>
                  </a:lnTo>
                  <a:cubicBezTo>
                    <a:pt x="43298" y="136067"/>
                    <a:pt x="40416" y="141142"/>
                    <a:pt x="36072" y="154032"/>
                  </a:cubicBezTo>
                  <a:lnTo>
                    <a:pt x="2639" y="253215"/>
                  </a:lnTo>
                  <a:cubicBezTo>
                    <a:pt x="-4527" y="274488"/>
                    <a:pt x="3126" y="299172"/>
                    <a:pt x="22877" y="309850"/>
                  </a:cubicBezTo>
                  <a:cubicBezTo>
                    <a:pt x="29860" y="313626"/>
                    <a:pt x="37249" y="315351"/>
                    <a:pt x="44435" y="315351"/>
                  </a:cubicBezTo>
                  <a:cubicBezTo>
                    <a:pt x="63253" y="315351"/>
                    <a:pt x="80791" y="303476"/>
                    <a:pt x="87125" y="284679"/>
                  </a:cubicBezTo>
                  <a:lnTo>
                    <a:pt x="121147" y="183730"/>
                  </a:lnTo>
                  <a:lnTo>
                    <a:pt x="168911" y="128109"/>
                  </a:lnTo>
                  <a:lnTo>
                    <a:pt x="168911" y="168383"/>
                  </a:lnTo>
                  <a:cubicBezTo>
                    <a:pt x="168911" y="184298"/>
                    <a:pt x="166921" y="200172"/>
                    <a:pt x="162983" y="215600"/>
                  </a:cubicBezTo>
                  <a:lnTo>
                    <a:pt x="95041" y="482171"/>
                  </a:lnTo>
                  <a:cubicBezTo>
                    <a:pt x="91915" y="494432"/>
                    <a:pt x="94636" y="507444"/>
                    <a:pt x="102390" y="517431"/>
                  </a:cubicBezTo>
                  <a:cubicBezTo>
                    <a:pt x="110144" y="527419"/>
                    <a:pt x="122080" y="533265"/>
                    <a:pt x="134727" y="533265"/>
                  </a:cubicBezTo>
                  <a:lnTo>
                    <a:pt x="147962" y="533265"/>
                  </a:lnTo>
                  <a:lnTo>
                    <a:pt x="135316" y="680639"/>
                  </a:lnTo>
                  <a:cubicBezTo>
                    <a:pt x="132960" y="708063"/>
                    <a:pt x="153504" y="732646"/>
                    <a:pt x="180969" y="734493"/>
                  </a:cubicBezTo>
                  <a:cubicBezTo>
                    <a:pt x="182085" y="734574"/>
                    <a:pt x="183181" y="734615"/>
                    <a:pt x="184298" y="734615"/>
                  </a:cubicBezTo>
                  <a:cubicBezTo>
                    <a:pt x="209550" y="734615"/>
                    <a:pt x="231007" y="715290"/>
                    <a:pt x="233219" y="689651"/>
                  </a:cubicBezTo>
                  <a:lnTo>
                    <a:pt x="246637" y="533265"/>
                  </a:lnTo>
                  <a:lnTo>
                    <a:pt x="281044" y="533265"/>
                  </a:lnTo>
                  <a:lnTo>
                    <a:pt x="294483" y="689651"/>
                  </a:lnTo>
                  <a:cubicBezTo>
                    <a:pt x="297020" y="719410"/>
                    <a:pt x="325480" y="740562"/>
                    <a:pt x="355807" y="733072"/>
                  </a:cubicBezTo>
                  <a:cubicBezTo>
                    <a:pt x="379496" y="727226"/>
                    <a:pt x="394315" y="703354"/>
                    <a:pt x="392224" y="679035"/>
                  </a:cubicBezTo>
                  <a:lnTo>
                    <a:pt x="379699" y="533265"/>
                  </a:lnTo>
                  <a:lnTo>
                    <a:pt x="392935" y="533265"/>
                  </a:lnTo>
                  <a:cubicBezTo>
                    <a:pt x="405581" y="533265"/>
                    <a:pt x="417517" y="527419"/>
                    <a:pt x="425271" y="517431"/>
                  </a:cubicBezTo>
                  <a:cubicBezTo>
                    <a:pt x="433026" y="507444"/>
                    <a:pt x="435746" y="494432"/>
                    <a:pt x="432620" y="482171"/>
                  </a:cubicBezTo>
                  <a:lnTo>
                    <a:pt x="383597" y="289855"/>
                  </a:lnTo>
                  <a:cubicBezTo>
                    <a:pt x="390742" y="296960"/>
                    <a:pt x="399979" y="302339"/>
                    <a:pt x="412869" y="302603"/>
                  </a:cubicBezTo>
                  <a:cubicBezTo>
                    <a:pt x="432356" y="303009"/>
                    <a:pt x="449854" y="290342"/>
                    <a:pt x="458096" y="272702"/>
                  </a:cubicBezTo>
                  <a:lnTo>
                    <a:pt x="515868" y="148774"/>
                  </a:lnTo>
                  <a:cubicBezTo>
                    <a:pt x="525307" y="128536"/>
                    <a:pt x="518487" y="104461"/>
                    <a:pt x="499872" y="92159"/>
                  </a:cubicBezTo>
                  <a:close/>
                  <a:moveTo>
                    <a:pt x="374402" y="238964"/>
                  </a:moveTo>
                  <a:cubicBezTo>
                    <a:pt x="373447" y="241015"/>
                    <a:pt x="372839" y="243126"/>
                    <a:pt x="372229" y="245217"/>
                  </a:cubicBezTo>
                  <a:lnTo>
                    <a:pt x="364678" y="215580"/>
                  </a:lnTo>
                  <a:cubicBezTo>
                    <a:pt x="360740" y="200152"/>
                    <a:pt x="358750" y="184298"/>
                    <a:pt x="358750" y="168363"/>
                  </a:cubicBezTo>
                  <a:lnTo>
                    <a:pt x="358750" y="106917"/>
                  </a:lnTo>
                  <a:lnTo>
                    <a:pt x="417781" y="145912"/>
                  </a:lnTo>
                  <a:lnTo>
                    <a:pt x="374402" y="238964"/>
                  </a:lnTo>
                  <a:close/>
                </a:path>
              </a:pathLst>
            </a:custGeom>
            <a:grpFill/>
            <a:ln w="2030" cap="flat">
              <a:noFill/>
              <a:prstDash val="solid"/>
              <a:miter/>
            </a:ln>
          </p:spPr>
          <p:txBody>
            <a:bodyPr rtlCol="0" anchor="ctr"/>
            <a:lstStyle/>
            <a:p>
              <a:endParaRPr lang="vi-VN" noProof="0">
                <a:latin typeface="+mj-lt"/>
              </a:endParaRPr>
            </a:p>
          </p:txBody>
        </p:sp>
        <p:sp>
          <p:nvSpPr>
            <p:cNvPr id="49" name="Freeform: Shape 48">
              <a:extLst>
                <a:ext uri="{FF2B5EF4-FFF2-40B4-BE49-F238E27FC236}">
                  <a16:creationId xmlns:a16="http://schemas.microsoft.com/office/drawing/2014/main" id="{4106ED90-574E-DAE5-A956-C883A8E567AC}"/>
                </a:ext>
              </a:extLst>
            </p:cNvPr>
            <p:cNvSpPr/>
            <p:nvPr/>
          </p:nvSpPr>
          <p:spPr>
            <a:xfrm>
              <a:off x="10541910" y="3866771"/>
              <a:ext cx="218563" cy="274630"/>
            </a:xfrm>
            <a:custGeom>
              <a:avLst/>
              <a:gdLst>
                <a:gd name="connsiteX0" fmla="*/ 109292 w 218563"/>
                <a:gd name="connsiteY0" fmla="*/ 274630 h 274630"/>
                <a:gd name="connsiteX1" fmla="*/ 218563 w 218563"/>
                <a:gd name="connsiteY1" fmla="*/ 165359 h 274630"/>
                <a:gd name="connsiteX2" fmla="*/ 155513 w 218563"/>
                <a:gd name="connsiteY2" fmla="*/ 66683 h 274630"/>
                <a:gd name="connsiteX3" fmla="*/ 162557 w 218563"/>
                <a:gd name="connsiteY3" fmla="*/ 44801 h 274630"/>
                <a:gd name="connsiteX4" fmla="*/ 109271 w 218563"/>
                <a:gd name="connsiteY4" fmla="*/ 0 h 274630"/>
                <a:gd name="connsiteX5" fmla="*/ 55985 w 218563"/>
                <a:gd name="connsiteY5" fmla="*/ 44801 h 274630"/>
                <a:gd name="connsiteX6" fmla="*/ 63050 w 218563"/>
                <a:gd name="connsiteY6" fmla="*/ 66683 h 274630"/>
                <a:gd name="connsiteX7" fmla="*/ 0 w 218563"/>
                <a:gd name="connsiteY7" fmla="*/ 165359 h 274630"/>
                <a:gd name="connsiteX8" fmla="*/ 109271 w 218563"/>
                <a:gd name="connsiteY8" fmla="*/ 274630 h 27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563" h="274630">
                  <a:moveTo>
                    <a:pt x="109292" y="274630"/>
                  </a:moveTo>
                  <a:cubicBezTo>
                    <a:pt x="169642" y="274630"/>
                    <a:pt x="218563" y="225709"/>
                    <a:pt x="218563" y="165359"/>
                  </a:cubicBezTo>
                  <a:cubicBezTo>
                    <a:pt x="218563" y="121593"/>
                    <a:pt x="192661" y="84121"/>
                    <a:pt x="155513" y="66683"/>
                  </a:cubicBezTo>
                  <a:cubicBezTo>
                    <a:pt x="159878" y="60188"/>
                    <a:pt x="162557" y="52799"/>
                    <a:pt x="162557" y="44801"/>
                  </a:cubicBezTo>
                  <a:cubicBezTo>
                    <a:pt x="162557" y="20056"/>
                    <a:pt x="138705" y="0"/>
                    <a:pt x="109271" y="0"/>
                  </a:cubicBezTo>
                  <a:cubicBezTo>
                    <a:pt x="79837" y="0"/>
                    <a:pt x="55985" y="20056"/>
                    <a:pt x="55985" y="44801"/>
                  </a:cubicBezTo>
                  <a:cubicBezTo>
                    <a:pt x="55985" y="52799"/>
                    <a:pt x="58685" y="60188"/>
                    <a:pt x="63050" y="66683"/>
                  </a:cubicBezTo>
                  <a:cubicBezTo>
                    <a:pt x="25902" y="84121"/>
                    <a:pt x="0" y="121593"/>
                    <a:pt x="0" y="165359"/>
                  </a:cubicBezTo>
                  <a:cubicBezTo>
                    <a:pt x="0" y="225709"/>
                    <a:pt x="48921" y="274630"/>
                    <a:pt x="109271" y="274630"/>
                  </a:cubicBezTo>
                  <a:close/>
                </a:path>
              </a:pathLst>
            </a:custGeom>
            <a:grpFill/>
            <a:ln w="2030" cap="flat">
              <a:noFill/>
              <a:prstDash val="solid"/>
              <a:miter/>
            </a:ln>
          </p:spPr>
          <p:txBody>
            <a:bodyPr rtlCol="0" anchor="ctr"/>
            <a:lstStyle/>
            <a:p>
              <a:endParaRPr lang="vi-VN" noProof="0">
                <a:latin typeface="+mj-lt"/>
              </a:endParaRPr>
            </a:p>
          </p:txBody>
        </p:sp>
      </p:grpSp>
      <p:sp>
        <p:nvSpPr>
          <p:cNvPr id="50" name="Freeform: Shape 49">
            <a:extLst>
              <a:ext uri="{FF2B5EF4-FFF2-40B4-BE49-F238E27FC236}">
                <a16:creationId xmlns:a16="http://schemas.microsoft.com/office/drawing/2014/main" id="{937DE299-1081-05E7-7129-D0684B53371D}"/>
              </a:ext>
            </a:extLst>
          </p:cNvPr>
          <p:cNvSpPr/>
          <p:nvPr/>
        </p:nvSpPr>
        <p:spPr>
          <a:xfrm>
            <a:off x="6095771" y="4347652"/>
            <a:ext cx="1174156" cy="864781"/>
          </a:xfrm>
          <a:custGeom>
            <a:avLst/>
            <a:gdLst>
              <a:gd name="connsiteX0" fmla="*/ 1014875 w 1174156"/>
              <a:gd name="connsiteY0" fmla="*/ 60776 h 864781"/>
              <a:gd name="connsiteX1" fmla="*/ 899858 w 1174156"/>
              <a:gd name="connsiteY1" fmla="*/ 0 h 864781"/>
              <a:gd name="connsiteX2" fmla="*/ 804289 w 1174156"/>
              <a:gd name="connsiteY2" fmla="*/ 0 h 864781"/>
              <a:gd name="connsiteX3" fmla="*/ 689252 w 1174156"/>
              <a:gd name="connsiteY3" fmla="*/ 60776 h 864781"/>
              <a:gd name="connsiteX4" fmla="*/ 587065 w 1174156"/>
              <a:gd name="connsiteY4" fmla="*/ 210647 h 864781"/>
              <a:gd name="connsiteX5" fmla="*/ 484858 w 1174156"/>
              <a:gd name="connsiteY5" fmla="*/ 60776 h 864781"/>
              <a:gd name="connsiteX6" fmla="*/ 369821 w 1174156"/>
              <a:gd name="connsiteY6" fmla="*/ 0 h 864781"/>
              <a:gd name="connsiteX7" fmla="*/ 274252 w 1174156"/>
              <a:gd name="connsiteY7" fmla="*/ 0 h 864781"/>
              <a:gd name="connsiteX8" fmla="*/ 159256 w 1174156"/>
              <a:gd name="connsiteY8" fmla="*/ 60776 h 864781"/>
              <a:gd name="connsiteX9" fmla="*/ 9913 w 1174156"/>
              <a:gd name="connsiteY9" fmla="*/ 279746 h 864781"/>
              <a:gd name="connsiteX10" fmla="*/ 24894 w 1174156"/>
              <a:gd name="connsiteY10" fmla="*/ 358974 h 864781"/>
              <a:gd name="connsiteX11" fmla="*/ 56968 w 1174156"/>
              <a:gd name="connsiteY11" fmla="*/ 368901 h 864781"/>
              <a:gd name="connsiteX12" fmla="*/ 104123 w 1174156"/>
              <a:gd name="connsiteY12" fmla="*/ 344014 h 864781"/>
              <a:gd name="connsiteX13" fmla="*/ 180408 w 1174156"/>
              <a:gd name="connsiteY13" fmla="*/ 232184 h 864781"/>
              <a:gd name="connsiteX14" fmla="*/ 180408 w 1174156"/>
              <a:gd name="connsiteY14" fmla="*/ 804729 h 864781"/>
              <a:gd name="connsiteX15" fmla="*/ 227848 w 1174156"/>
              <a:gd name="connsiteY15" fmla="*/ 864003 h 864781"/>
              <a:gd name="connsiteX16" fmla="*/ 294450 w 1174156"/>
              <a:gd name="connsiteY16" fmla="*/ 807753 h 864781"/>
              <a:gd name="connsiteX17" fmla="*/ 294450 w 1174156"/>
              <a:gd name="connsiteY17" fmla="*/ 466399 h 864781"/>
              <a:gd name="connsiteX18" fmla="*/ 307117 w 1174156"/>
              <a:gd name="connsiteY18" fmla="*/ 453732 h 864781"/>
              <a:gd name="connsiteX19" fmla="*/ 336997 w 1174156"/>
              <a:gd name="connsiteY19" fmla="*/ 453732 h 864781"/>
              <a:gd name="connsiteX20" fmla="*/ 349664 w 1174156"/>
              <a:gd name="connsiteY20" fmla="*/ 466399 h 864781"/>
              <a:gd name="connsiteX21" fmla="*/ 349664 w 1174156"/>
              <a:gd name="connsiteY21" fmla="*/ 804729 h 864781"/>
              <a:gd name="connsiteX22" fmla="*/ 397104 w 1174156"/>
              <a:gd name="connsiteY22" fmla="*/ 864003 h 864781"/>
              <a:gd name="connsiteX23" fmla="*/ 463706 w 1174156"/>
              <a:gd name="connsiteY23" fmla="*/ 807753 h 864781"/>
              <a:gd name="connsiteX24" fmla="*/ 463706 w 1174156"/>
              <a:gd name="connsiteY24" fmla="*/ 232164 h 864781"/>
              <a:gd name="connsiteX25" fmla="*/ 539971 w 1174156"/>
              <a:gd name="connsiteY25" fmla="*/ 343993 h 864781"/>
              <a:gd name="connsiteX26" fmla="*/ 587086 w 1174156"/>
              <a:gd name="connsiteY26" fmla="*/ 368880 h 864781"/>
              <a:gd name="connsiteX27" fmla="*/ 634200 w 1174156"/>
              <a:gd name="connsiteY27" fmla="*/ 343993 h 864781"/>
              <a:gd name="connsiteX28" fmla="*/ 726319 w 1174156"/>
              <a:gd name="connsiteY28" fmla="*/ 208921 h 864781"/>
              <a:gd name="connsiteX29" fmla="*/ 640514 w 1174156"/>
              <a:gd name="connsiteY29" fmla="*/ 469951 h 864781"/>
              <a:gd name="connsiteX30" fmla="*/ 678737 w 1174156"/>
              <a:gd name="connsiteY30" fmla="*/ 522730 h 864781"/>
              <a:gd name="connsiteX31" fmla="*/ 712718 w 1174156"/>
              <a:gd name="connsiteY31" fmla="*/ 522730 h 864781"/>
              <a:gd name="connsiteX32" fmla="*/ 698955 w 1174156"/>
              <a:gd name="connsiteY32" fmla="*/ 804932 h 864781"/>
              <a:gd name="connsiteX33" fmla="*/ 753135 w 1174156"/>
              <a:gd name="connsiteY33" fmla="*/ 864673 h 864781"/>
              <a:gd name="connsiteX34" fmla="*/ 755956 w 1174156"/>
              <a:gd name="connsiteY34" fmla="*/ 864734 h 864781"/>
              <a:gd name="connsiteX35" fmla="*/ 812855 w 1174156"/>
              <a:gd name="connsiteY35" fmla="*/ 810514 h 864781"/>
              <a:gd name="connsiteX36" fmla="*/ 826598 w 1174156"/>
              <a:gd name="connsiteY36" fmla="*/ 528758 h 864781"/>
              <a:gd name="connsiteX37" fmla="*/ 832931 w 1174156"/>
              <a:gd name="connsiteY37" fmla="*/ 522730 h 864781"/>
              <a:gd name="connsiteX38" fmla="*/ 871297 w 1174156"/>
              <a:gd name="connsiteY38" fmla="*/ 522730 h 864781"/>
              <a:gd name="connsiteX39" fmla="*/ 877631 w 1174156"/>
              <a:gd name="connsiteY39" fmla="*/ 528758 h 864781"/>
              <a:gd name="connsiteX40" fmla="*/ 891211 w 1174156"/>
              <a:gd name="connsiteY40" fmla="*/ 807428 h 864781"/>
              <a:gd name="connsiteX41" fmla="*/ 941513 w 1174156"/>
              <a:gd name="connsiteY41" fmla="*/ 864368 h 864781"/>
              <a:gd name="connsiteX42" fmla="*/ 1005273 w 1174156"/>
              <a:gd name="connsiteY42" fmla="*/ 804932 h 864781"/>
              <a:gd name="connsiteX43" fmla="*/ 991510 w 1174156"/>
              <a:gd name="connsiteY43" fmla="*/ 522730 h 864781"/>
              <a:gd name="connsiteX44" fmla="*/ 1025491 w 1174156"/>
              <a:gd name="connsiteY44" fmla="*/ 522730 h 864781"/>
              <a:gd name="connsiteX45" fmla="*/ 1063715 w 1174156"/>
              <a:gd name="connsiteY45" fmla="*/ 469951 h 864781"/>
              <a:gd name="connsiteX46" fmla="*/ 977910 w 1174156"/>
              <a:gd name="connsiteY46" fmla="*/ 208921 h 864781"/>
              <a:gd name="connsiteX47" fmla="*/ 1070028 w 1174156"/>
              <a:gd name="connsiteY47" fmla="*/ 343993 h 864781"/>
              <a:gd name="connsiteX48" fmla="*/ 1149257 w 1174156"/>
              <a:gd name="connsiteY48" fmla="*/ 358974 h 864781"/>
              <a:gd name="connsiteX49" fmla="*/ 1164238 w 1174156"/>
              <a:gd name="connsiteY49" fmla="*/ 279746 h 864781"/>
              <a:gd name="connsiteX50" fmla="*/ 1014915 w 1174156"/>
              <a:gd name="connsiteY50" fmla="*/ 60776 h 86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74156" h="864781">
                <a:moveTo>
                  <a:pt x="1014875" y="60776"/>
                </a:moveTo>
                <a:cubicBezTo>
                  <a:pt x="988912" y="22735"/>
                  <a:pt x="945918" y="0"/>
                  <a:pt x="899858" y="0"/>
                </a:cubicBezTo>
                <a:lnTo>
                  <a:pt x="804289" y="0"/>
                </a:lnTo>
                <a:cubicBezTo>
                  <a:pt x="758209" y="0"/>
                  <a:pt x="715195" y="22735"/>
                  <a:pt x="689252" y="60776"/>
                </a:cubicBezTo>
                <a:lnTo>
                  <a:pt x="587065" y="210647"/>
                </a:lnTo>
                <a:lnTo>
                  <a:pt x="484858" y="60776"/>
                </a:lnTo>
                <a:cubicBezTo>
                  <a:pt x="458915" y="22735"/>
                  <a:pt x="415901" y="0"/>
                  <a:pt x="369821" y="0"/>
                </a:cubicBezTo>
                <a:lnTo>
                  <a:pt x="274252" y="0"/>
                </a:lnTo>
                <a:cubicBezTo>
                  <a:pt x="228193" y="0"/>
                  <a:pt x="185178" y="22735"/>
                  <a:pt x="159256" y="60776"/>
                </a:cubicBezTo>
                <a:lnTo>
                  <a:pt x="9913" y="279746"/>
                </a:lnTo>
                <a:cubicBezTo>
                  <a:pt x="-7828" y="305749"/>
                  <a:pt x="-1109" y="341212"/>
                  <a:pt x="24894" y="358974"/>
                </a:cubicBezTo>
                <a:cubicBezTo>
                  <a:pt x="34719" y="365673"/>
                  <a:pt x="45904" y="368901"/>
                  <a:pt x="56968" y="368901"/>
                </a:cubicBezTo>
                <a:cubicBezTo>
                  <a:pt x="75196" y="368901"/>
                  <a:pt x="93100" y="360172"/>
                  <a:pt x="104123" y="344014"/>
                </a:cubicBezTo>
                <a:lnTo>
                  <a:pt x="180408" y="232184"/>
                </a:lnTo>
                <a:lnTo>
                  <a:pt x="180408" y="804729"/>
                </a:lnTo>
                <a:cubicBezTo>
                  <a:pt x="180408" y="833127"/>
                  <a:pt x="199814" y="859456"/>
                  <a:pt x="227848" y="864003"/>
                </a:cubicBezTo>
                <a:cubicBezTo>
                  <a:pt x="263574" y="869808"/>
                  <a:pt x="294450" y="842384"/>
                  <a:pt x="294450" y="807753"/>
                </a:cubicBezTo>
                <a:lnTo>
                  <a:pt x="294450" y="466399"/>
                </a:lnTo>
                <a:cubicBezTo>
                  <a:pt x="294450" y="459395"/>
                  <a:pt x="300113" y="453732"/>
                  <a:pt x="307117" y="453732"/>
                </a:cubicBezTo>
                <a:lnTo>
                  <a:pt x="336997" y="453732"/>
                </a:lnTo>
                <a:cubicBezTo>
                  <a:pt x="343980" y="453732"/>
                  <a:pt x="349664" y="459395"/>
                  <a:pt x="349664" y="466399"/>
                </a:cubicBezTo>
                <a:lnTo>
                  <a:pt x="349664" y="804729"/>
                </a:lnTo>
                <a:cubicBezTo>
                  <a:pt x="349664" y="833107"/>
                  <a:pt x="369070" y="859436"/>
                  <a:pt x="397104" y="864003"/>
                </a:cubicBezTo>
                <a:cubicBezTo>
                  <a:pt x="432831" y="869808"/>
                  <a:pt x="463706" y="842384"/>
                  <a:pt x="463706" y="807753"/>
                </a:cubicBezTo>
                <a:lnTo>
                  <a:pt x="463706" y="232164"/>
                </a:lnTo>
                <a:lnTo>
                  <a:pt x="539971" y="343993"/>
                </a:lnTo>
                <a:cubicBezTo>
                  <a:pt x="550608" y="359563"/>
                  <a:pt x="568227" y="368880"/>
                  <a:pt x="587086" y="368880"/>
                </a:cubicBezTo>
                <a:cubicBezTo>
                  <a:pt x="605944" y="368880"/>
                  <a:pt x="623543" y="359583"/>
                  <a:pt x="634200" y="343993"/>
                </a:cubicBezTo>
                <a:lnTo>
                  <a:pt x="726319" y="208921"/>
                </a:lnTo>
                <a:lnTo>
                  <a:pt x="640514" y="469951"/>
                </a:lnTo>
                <a:cubicBezTo>
                  <a:pt x="631947" y="495975"/>
                  <a:pt x="651333" y="522730"/>
                  <a:pt x="678737" y="522730"/>
                </a:cubicBezTo>
                <a:lnTo>
                  <a:pt x="712718" y="522730"/>
                </a:lnTo>
                <a:lnTo>
                  <a:pt x="698955" y="804932"/>
                </a:lnTo>
                <a:cubicBezTo>
                  <a:pt x="697413" y="836396"/>
                  <a:pt x="721671" y="863130"/>
                  <a:pt x="753135" y="864673"/>
                </a:cubicBezTo>
                <a:cubicBezTo>
                  <a:pt x="754089" y="864713"/>
                  <a:pt x="755022" y="864734"/>
                  <a:pt x="755956" y="864734"/>
                </a:cubicBezTo>
                <a:cubicBezTo>
                  <a:pt x="786162" y="864734"/>
                  <a:pt x="811373" y="841024"/>
                  <a:pt x="812855" y="810514"/>
                </a:cubicBezTo>
                <a:lnTo>
                  <a:pt x="826598" y="528758"/>
                </a:lnTo>
                <a:cubicBezTo>
                  <a:pt x="826760" y="525409"/>
                  <a:pt x="829562" y="522730"/>
                  <a:pt x="832931" y="522730"/>
                </a:cubicBezTo>
                <a:lnTo>
                  <a:pt x="871297" y="522730"/>
                </a:lnTo>
                <a:cubicBezTo>
                  <a:pt x="874667" y="522730"/>
                  <a:pt x="877448" y="525409"/>
                  <a:pt x="877631" y="528758"/>
                </a:cubicBezTo>
                <a:lnTo>
                  <a:pt x="891211" y="807428"/>
                </a:lnTo>
                <a:cubicBezTo>
                  <a:pt x="892591" y="835807"/>
                  <a:pt x="913276" y="861161"/>
                  <a:pt x="941513" y="864368"/>
                </a:cubicBezTo>
                <a:cubicBezTo>
                  <a:pt x="977463" y="868428"/>
                  <a:pt x="1006978" y="839542"/>
                  <a:pt x="1005273" y="804932"/>
                </a:cubicBezTo>
                <a:lnTo>
                  <a:pt x="991510" y="522730"/>
                </a:lnTo>
                <a:lnTo>
                  <a:pt x="1025491" y="522730"/>
                </a:lnTo>
                <a:cubicBezTo>
                  <a:pt x="1052895" y="522730"/>
                  <a:pt x="1072261" y="495975"/>
                  <a:pt x="1063715" y="469951"/>
                </a:cubicBezTo>
                <a:lnTo>
                  <a:pt x="977910" y="208921"/>
                </a:lnTo>
                <a:lnTo>
                  <a:pt x="1070028" y="343993"/>
                </a:lnTo>
                <a:cubicBezTo>
                  <a:pt x="1087749" y="370017"/>
                  <a:pt x="1123233" y="376696"/>
                  <a:pt x="1149257" y="358974"/>
                </a:cubicBezTo>
                <a:cubicBezTo>
                  <a:pt x="1175280" y="341212"/>
                  <a:pt x="1181979" y="305749"/>
                  <a:pt x="1164238" y="279746"/>
                </a:cubicBezTo>
                <a:lnTo>
                  <a:pt x="1014915" y="60776"/>
                </a:lnTo>
                <a:close/>
              </a:path>
            </a:pathLst>
          </a:custGeom>
          <a:solidFill>
            <a:srgbClr val="E97132"/>
          </a:solidFill>
          <a:ln w="2030" cap="flat">
            <a:noFill/>
            <a:prstDash val="solid"/>
            <a:miter/>
          </a:ln>
        </p:spPr>
        <p:txBody>
          <a:bodyPr rtlCol="0" anchor="ctr"/>
          <a:lstStyle/>
          <a:p>
            <a:endParaRPr lang="vi-VN" noProof="0">
              <a:latin typeface="+mj-lt"/>
            </a:endParaRPr>
          </a:p>
        </p:txBody>
      </p:sp>
      <p:sp>
        <p:nvSpPr>
          <p:cNvPr id="51" name="Freeform: Shape 50">
            <a:extLst>
              <a:ext uri="{FF2B5EF4-FFF2-40B4-BE49-F238E27FC236}">
                <a16:creationId xmlns:a16="http://schemas.microsoft.com/office/drawing/2014/main" id="{56EE3143-E336-3DE9-23F0-4E8DFE4CB51A}"/>
              </a:ext>
            </a:extLst>
          </p:cNvPr>
          <p:cNvSpPr/>
          <p:nvPr/>
        </p:nvSpPr>
        <p:spPr>
          <a:xfrm>
            <a:off x="6291018" y="4061959"/>
            <a:ext cx="253559" cy="253539"/>
          </a:xfrm>
          <a:custGeom>
            <a:avLst/>
            <a:gdLst>
              <a:gd name="connsiteX0" fmla="*/ 126790 w 253559"/>
              <a:gd name="connsiteY0" fmla="*/ 0 h 253539"/>
              <a:gd name="connsiteX1" fmla="*/ 0 w 253559"/>
              <a:gd name="connsiteY1" fmla="*/ 126770 h 253539"/>
              <a:gd name="connsiteX2" fmla="*/ 126790 w 253559"/>
              <a:gd name="connsiteY2" fmla="*/ 253539 h 253539"/>
              <a:gd name="connsiteX3" fmla="*/ 253559 w 253559"/>
              <a:gd name="connsiteY3" fmla="*/ 126770 h 253539"/>
              <a:gd name="connsiteX4" fmla="*/ 126790 w 253559"/>
              <a:gd name="connsiteY4" fmla="*/ 0 h 25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559" h="253539">
                <a:moveTo>
                  <a:pt x="126790" y="0"/>
                </a:moveTo>
                <a:cubicBezTo>
                  <a:pt x="56757" y="0"/>
                  <a:pt x="0" y="56757"/>
                  <a:pt x="0" y="126770"/>
                </a:cubicBezTo>
                <a:cubicBezTo>
                  <a:pt x="0" y="196782"/>
                  <a:pt x="56757" y="253539"/>
                  <a:pt x="126790" y="253539"/>
                </a:cubicBezTo>
                <a:cubicBezTo>
                  <a:pt x="196823" y="253539"/>
                  <a:pt x="253559" y="196782"/>
                  <a:pt x="253559" y="126770"/>
                </a:cubicBezTo>
                <a:cubicBezTo>
                  <a:pt x="253559" y="56757"/>
                  <a:pt x="196782" y="0"/>
                  <a:pt x="126790" y="0"/>
                </a:cubicBezTo>
                <a:close/>
              </a:path>
            </a:pathLst>
          </a:custGeom>
          <a:solidFill>
            <a:srgbClr val="E97132"/>
          </a:solidFill>
          <a:ln w="2030" cap="flat">
            <a:noFill/>
            <a:prstDash val="solid"/>
            <a:miter/>
          </a:ln>
        </p:spPr>
        <p:txBody>
          <a:bodyPr rtlCol="0" anchor="ctr"/>
          <a:lstStyle/>
          <a:p>
            <a:endParaRPr lang="vi-VN" noProof="0">
              <a:latin typeface="+mj-lt"/>
            </a:endParaRPr>
          </a:p>
        </p:txBody>
      </p:sp>
      <p:sp>
        <p:nvSpPr>
          <p:cNvPr id="52" name="Freeform: Shape 51">
            <a:extLst>
              <a:ext uri="{FF2B5EF4-FFF2-40B4-BE49-F238E27FC236}">
                <a16:creationId xmlns:a16="http://schemas.microsoft.com/office/drawing/2014/main" id="{3857DDEF-7CAD-9379-F1C5-C07BBA1B82AB}"/>
              </a:ext>
            </a:extLst>
          </p:cNvPr>
          <p:cNvSpPr/>
          <p:nvPr/>
        </p:nvSpPr>
        <p:spPr>
          <a:xfrm>
            <a:off x="6821054" y="4061959"/>
            <a:ext cx="253559" cy="253539"/>
          </a:xfrm>
          <a:custGeom>
            <a:avLst/>
            <a:gdLst>
              <a:gd name="connsiteX0" fmla="*/ 126770 w 253559"/>
              <a:gd name="connsiteY0" fmla="*/ 253539 h 253539"/>
              <a:gd name="connsiteX1" fmla="*/ 253560 w 253559"/>
              <a:gd name="connsiteY1" fmla="*/ 126770 h 253539"/>
              <a:gd name="connsiteX2" fmla="*/ 126770 w 253559"/>
              <a:gd name="connsiteY2" fmla="*/ 0 h 253539"/>
              <a:gd name="connsiteX3" fmla="*/ 0 w 253559"/>
              <a:gd name="connsiteY3" fmla="*/ 126770 h 253539"/>
              <a:gd name="connsiteX4" fmla="*/ 126770 w 253559"/>
              <a:gd name="connsiteY4" fmla="*/ 253539 h 25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559" h="253539">
                <a:moveTo>
                  <a:pt x="126770" y="253539"/>
                </a:moveTo>
                <a:cubicBezTo>
                  <a:pt x="196803" y="253539"/>
                  <a:pt x="253560" y="196782"/>
                  <a:pt x="253560" y="126770"/>
                </a:cubicBezTo>
                <a:cubicBezTo>
                  <a:pt x="253560" y="56757"/>
                  <a:pt x="196803" y="0"/>
                  <a:pt x="126770" y="0"/>
                </a:cubicBezTo>
                <a:cubicBezTo>
                  <a:pt x="56737" y="0"/>
                  <a:pt x="0" y="56757"/>
                  <a:pt x="0" y="126770"/>
                </a:cubicBezTo>
                <a:cubicBezTo>
                  <a:pt x="0" y="196782"/>
                  <a:pt x="56778" y="253539"/>
                  <a:pt x="126770" y="253539"/>
                </a:cubicBezTo>
                <a:close/>
              </a:path>
            </a:pathLst>
          </a:custGeom>
          <a:solidFill>
            <a:srgbClr val="E97132"/>
          </a:solidFill>
          <a:ln w="2030" cap="flat">
            <a:noFill/>
            <a:prstDash val="solid"/>
            <a:miter/>
          </a:ln>
        </p:spPr>
        <p:txBody>
          <a:bodyPr rtlCol="0" anchor="ctr"/>
          <a:lstStyle/>
          <a:p>
            <a:endParaRPr lang="vi-VN" noProof="0">
              <a:latin typeface="+mj-lt"/>
            </a:endParaRPr>
          </a:p>
        </p:txBody>
      </p:sp>
    </p:spTree>
    <p:extLst>
      <p:ext uri="{BB962C8B-B14F-4D97-AF65-F5344CB8AC3E}">
        <p14:creationId xmlns:p14="http://schemas.microsoft.com/office/powerpoint/2010/main" val="22863284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829C78-9FD6-C67A-F62C-EEDBCC335424}"/>
              </a:ext>
            </a:extLst>
          </p:cNvPr>
          <p:cNvSpPr>
            <a:spLocks noGrp="1"/>
          </p:cNvSpPr>
          <p:nvPr>
            <p:ph type="title"/>
          </p:nvPr>
        </p:nvSpPr>
        <p:spPr/>
        <p:txBody>
          <a:bodyPr/>
          <a:lstStyle/>
          <a:p>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LÃO HÓA MIỄN DỊCH VÀ TÌNH TRẠNG SGMD LÀM TĂNG NGUY CƠ </a:t>
            </a:r>
            <a:b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TÁI HOẠT VI RÚT VARICELLA ZOSTER </a:t>
            </a:r>
            <a:r>
              <a:rPr lang="vi-VN" noProof="0"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vi-VN" baseline="30000" noProof="0" dirty="0">
                <a:solidFill>
                  <a:srgbClr val="002060"/>
                </a:solidFill>
                <a:latin typeface="Calibri" panose="020F0502020204030204" pitchFamily="34" charset="0"/>
                <a:ea typeface="Calibri" panose="020F0502020204030204" pitchFamily="34" charset="0"/>
                <a:cs typeface="Calibri" panose="020F0502020204030204" pitchFamily="34" charset="0"/>
              </a:rPr>
              <a:t>1–3</a:t>
            </a:r>
            <a:endParaRPr lang="vi-VN" noProof="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6">
            <a:extLst>
              <a:ext uri="{FF2B5EF4-FFF2-40B4-BE49-F238E27FC236}">
                <a16:creationId xmlns:a16="http://schemas.microsoft.com/office/drawing/2014/main" id="{C667C50E-9C28-9ACC-250B-659EA88F48A7}"/>
              </a:ext>
            </a:extLst>
          </p:cNvPr>
          <p:cNvSpPr>
            <a:spLocks noGrp="1"/>
          </p:cNvSpPr>
          <p:nvPr>
            <p:ph type="body" sz="quarter" idx="10"/>
          </p:nvPr>
        </p:nvSpPr>
        <p:spPr/>
        <p:txBody>
          <a:bodyPr>
            <a:noAutofit/>
          </a:bodyPr>
          <a:lstStyle/>
          <a:p>
            <a:r>
              <a:rPr lang="vi-VN" sz="933" noProof="0">
                <a:solidFill>
                  <a:srgbClr val="000000"/>
                </a:solidFill>
                <a:latin typeface="Arial"/>
                <a:cs typeface="Noto Sans"/>
              </a:rPr>
              <a:t>*Tình trạng suy giảm miễn dịch do bệnh lý hoặc dùng thuốc ức chế miễn dịch cũng có thể làm tăng nguy cơ nhiễm HZ</a:t>
            </a:r>
            <a:r>
              <a:rPr lang="vi-VN" sz="933" baseline="30000" noProof="0">
                <a:solidFill>
                  <a:srgbClr val="000000"/>
                </a:solidFill>
                <a:latin typeface="Arial"/>
                <a:cs typeface="Noto Sans"/>
              </a:rPr>
              <a:t>1</a:t>
            </a:r>
            <a:r>
              <a:rPr lang="vi-VN" sz="933" noProof="0">
                <a:solidFill>
                  <a:srgbClr val="000000"/>
                </a:solidFill>
                <a:latin typeface="Arial"/>
                <a:cs typeface="Noto Sans"/>
              </a:rPr>
              <a:t> </a:t>
            </a:r>
            <a:br>
              <a:rPr lang="vi-VN" sz="933" noProof="0">
                <a:solidFill>
                  <a:srgbClr val="000000"/>
                </a:solidFill>
                <a:latin typeface="Arial"/>
                <a:cs typeface="Noto Sans"/>
              </a:rPr>
            </a:br>
            <a:r>
              <a:rPr lang="vi-VN" sz="933" noProof="0">
                <a:solidFill>
                  <a:srgbClr val="000000"/>
                </a:solidFill>
                <a:latin typeface="Arial"/>
                <a:cs typeface="Noto Sans"/>
              </a:rPr>
              <a:t>HZ: Herpes zoster; IC: Suy giảm miễn dịch (SGMD) VZV: Virus varicella zoster.</a:t>
            </a:r>
            <a:br>
              <a:rPr lang="vi-VN" sz="933" noProof="0">
                <a:solidFill>
                  <a:srgbClr val="000000"/>
                </a:solidFill>
                <a:latin typeface="Arial"/>
                <a:cs typeface="Noto Sans"/>
              </a:rPr>
            </a:br>
            <a:br>
              <a:rPr lang="vi-VN" sz="933" noProof="0">
                <a:solidFill>
                  <a:srgbClr val="000000"/>
                </a:solidFill>
                <a:latin typeface="Arial"/>
                <a:cs typeface="Noto Sans"/>
              </a:rPr>
            </a:br>
            <a:r>
              <a:rPr lang="vi-VN" sz="933" noProof="0">
                <a:solidFill>
                  <a:srgbClr val="000000"/>
                </a:solidFill>
                <a:latin typeface="Arial"/>
                <a:cs typeface="Noto Sans"/>
              </a:rPr>
              <a:t>1. Harpaz R </a:t>
            </a:r>
            <a:r>
              <a:rPr lang="vi-VN" sz="933" i="1" noProof="0">
                <a:solidFill>
                  <a:srgbClr val="000000"/>
                </a:solidFill>
                <a:latin typeface="Arial"/>
                <a:cs typeface="Noto Sans"/>
              </a:rPr>
              <a:t>et al</a:t>
            </a:r>
            <a:r>
              <a:rPr lang="vi-VN" sz="933" noProof="0">
                <a:solidFill>
                  <a:srgbClr val="000000"/>
                </a:solidFill>
                <a:latin typeface="Arial"/>
                <a:cs typeface="Noto Sans"/>
              </a:rPr>
              <a:t>. </a:t>
            </a:r>
            <a:r>
              <a:rPr lang="vi-VN" sz="933" i="1" noProof="0">
                <a:solidFill>
                  <a:srgbClr val="000000"/>
                </a:solidFill>
                <a:latin typeface="Arial"/>
                <a:cs typeface="Noto Sans"/>
              </a:rPr>
              <a:t>MMWR Recomm Rep </a:t>
            </a:r>
            <a:r>
              <a:rPr lang="vi-VN" sz="933" noProof="0">
                <a:solidFill>
                  <a:srgbClr val="000000"/>
                </a:solidFill>
                <a:latin typeface="Arial"/>
                <a:cs typeface="Noto Sans"/>
              </a:rPr>
              <a:t>2008;57:1–30; 2. Arvin A. </a:t>
            </a:r>
            <a:r>
              <a:rPr lang="vi-VN" sz="933" i="1" noProof="0">
                <a:solidFill>
                  <a:srgbClr val="000000"/>
                </a:solidFill>
                <a:latin typeface="Arial"/>
                <a:cs typeface="Noto Sans"/>
              </a:rPr>
              <a:t>N Engl J Med </a:t>
            </a:r>
            <a:r>
              <a:rPr lang="vi-VN" sz="933" noProof="0">
                <a:solidFill>
                  <a:srgbClr val="000000"/>
                </a:solidFill>
                <a:latin typeface="Arial"/>
                <a:cs typeface="Noto Sans"/>
              </a:rPr>
              <a:t>2005;352:2266–2267; 3. Tseng HF </a:t>
            </a:r>
            <a:r>
              <a:rPr lang="vi-VN" sz="933" i="1" noProof="0">
                <a:solidFill>
                  <a:srgbClr val="000000"/>
                </a:solidFill>
                <a:latin typeface="Arial"/>
                <a:cs typeface="Noto Sans"/>
              </a:rPr>
              <a:t>et al</a:t>
            </a:r>
            <a:r>
              <a:rPr lang="vi-VN" sz="933" noProof="0">
                <a:solidFill>
                  <a:srgbClr val="000000"/>
                </a:solidFill>
                <a:latin typeface="Arial"/>
                <a:cs typeface="Noto Sans"/>
              </a:rPr>
              <a:t>. </a:t>
            </a:r>
            <a:r>
              <a:rPr lang="vi-VN" sz="933" i="1" noProof="0">
                <a:solidFill>
                  <a:srgbClr val="000000"/>
                </a:solidFill>
                <a:latin typeface="Arial"/>
                <a:cs typeface="Noto Sans"/>
              </a:rPr>
              <a:t>J Infect Dis </a:t>
            </a:r>
            <a:r>
              <a:rPr lang="vi-VN" sz="933" noProof="0">
                <a:solidFill>
                  <a:srgbClr val="000000"/>
                </a:solidFill>
                <a:latin typeface="Arial"/>
                <a:cs typeface="Noto Sans"/>
              </a:rPr>
              <a:t>2016;213:1872–1875</a:t>
            </a:r>
          </a:p>
        </p:txBody>
      </p:sp>
      <p:sp>
        <p:nvSpPr>
          <p:cNvPr id="72" name="Rectangle 71">
            <a:extLst>
              <a:ext uri="{FF2B5EF4-FFF2-40B4-BE49-F238E27FC236}">
                <a16:creationId xmlns:a16="http://schemas.microsoft.com/office/drawing/2014/main" id="{F01FB190-205A-4822-8F71-EA215B93E88C}"/>
              </a:ext>
            </a:extLst>
          </p:cNvPr>
          <p:cNvSpPr/>
          <p:nvPr/>
        </p:nvSpPr>
        <p:spPr bwMode="auto">
          <a:xfrm>
            <a:off x="1395901" y="4409286"/>
            <a:ext cx="9917011" cy="906316"/>
          </a:xfrm>
          <a:prstGeom prst="rect">
            <a:avLst/>
          </a:prstGeom>
          <a:solidFill>
            <a:sysClr val="window" lastClr="FFFFFF">
              <a:lumMod val="85000"/>
            </a:sysClr>
          </a:solidFill>
          <a:ln w="9525" cap="flat" cmpd="sng" algn="ctr">
            <a:noFill/>
            <a:prstDash val="solid"/>
            <a:headEnd/>
            <a:tailEnd/>
          </a:ln>
          <a:effectLst/>
        </p:spPr>
        <p:txBody>
          <a:bodyPr rot="0" spcFirstLastPara="0" vertOverflow="overflow" horzOverflow="overflow" vert="horz" wrap="square" lIns="71981" tIns="71981" rIns="71981" bIns="71981" numCol="1" spcCol="0" rtlCol="0" fromWordArt="0" anchor="t" anchorCtr="0" forceAA="0" compatLnSpc="1">
            <a:prstTxWarp prst="textNoShape">
              <a:avLst/>
            </a:prstTxWarp>
            <a:noAutofit/>
          </a:bodyPr>
          <a:lstStyle/>
          <a:p>
            <a:pPr marL="180913" indent="-180913" algn="ctr" defTabSz="1219140" eaLnBrk="0" hangingPunct="0">
              <a:buClr>
                <a:srgbClr val="FFFFFF"/>
              </a:buClr>
              <a:buFont typeface="Arial" pitchFamily="34" charset="0"/>
              <a:buChar char="–"/>
              <a:defRPr/>
            </a:pPr>
            <a:endParaRPr lang="vi-VN" sz="1200" b="1" kern="0" noProof="0">
              <a:solidFill>
                <a:srgbClr val="000000"/>
              </a:solidFill>
              <a:latin typeface="Arial"/>
              <a:cs typeface="Noto Sans"/>
            </a:endParaRPr>
          </a:p>
        </p:txBody>
      </p:sp>
      <p:sp>
        <p:nvSpPr>
          <p:cNvPr id="73" name="Freeform 54">
            <a:extLst>
              <a:ext uri="{FF2B5EF4-FFF2-40B4-BE49-F238E27FC236}">
                <a16:creationId xmlns:a16="http://schemas.microsoft.com/office/drawing/2014/main" id="{81BF844F-5538-45B0-9B1E-F1E42BE0FE62}"/>
              </a:ext>
            </a:extLst>
          </p:cNvPr>
          <p:cNvSpPr/>
          <p:nvPr/>
        </p:nvSpPr>
        <p:spPr bwMode="auto">
          <a:xfrm>
            <a:off x="1379611" y="2161468"/>
            <a:ext cx="9933301" cy="3159043"/>
          </a:xfrm>
          <a:custGeom>
            <a:avLst/>
            <a:gdLst>
              <a:gd name="connsiteX0" fmla="*/ 8792 w 7148146"/>
              <a:gd name="connsiteY0" fmla="*/ 0 h 2593731"/>
              <a:gd name="connsiteX1" fmla="*/ 0 w 7148146"/>
              <a:gd name="connsiteY1" fmla="*/ 2593731 h 2593731"/>
              <a:gd name="connsiteX2" fmla="*/ 7148146 w 7148146"/>
              <a:gd name="connsiteY2" fmla="*/ 2593731 h 2593731"/>
              <a:gd name="connsiteX3" fmla="*/ 7148146 w 7148146"/>
              <a:gd name="connsiteY3" fmla="*/ 2593731 h 2593731"/>
            </a:gdLst>
            <a:ahLst/>
            <a:cxnLst>
              <a:cxn ang="0">
                <a:pos x="connsiteX0" y="connsiteY0"/>
              </a:cxn>
              <a:cxn ang="0">
                <a:pos x="connsiteX1" y="connsiteY1"/>
              </a:cxn>
              <a:cxn ang="0">
                <a:pos x="connsiteX2" y="connsiteY2"/>
              </a:cxn>
              <a:cxn ang="0">
                <a:pos x="connsiteX3" y="connsiteY3"/>
              </a:cxn>
            </a:cxnLst>
            <a:rect l="l" t="t" r="r" b="b"/>
            <a:pathLst>
              <a:path w="7148146" h="2593731">
                <a:moveTo>
                  <a:pt x="8792" y="0"/>
                </a:moveTo>
                <a:cubicBezTo>
                  <a:pt x="5861" y="864577"/>
                  <a:pt x="2931" y="1729154"/>
                  <a:pt x="0" y="2593731"/>
                </a:cubicBezTo>
                <a:lnTo>
                  <a:pt x="7148146" y="2593731"/>
                </a:lnTo>
                <a:lnTo>
                  <a:pt x="7148146" y="2593731"/>
                </a:lnTo>
              </a:path>
            </a:pathLst>
          </a:custGeom>
          <a:noFill/>
          <a:ln w="9525" cap="flat" cmpd="sng" algn="ctr">
            <a:solidFill>
              <a:srgbClr val="000000"/>
            </a:solidFill>
            <a:prstDash val="solid"/>
            <a:headEnd/>
            <a:tailEnd/>
          </a:ln>
          <a:effectLst/>
        </p:spPr>
        <p:txBody>
          <a:bodyPr rtlCol="0" anchor="ctr"/>
          <a:lstStyle/>
          <a:p>
            <a:pPr algn="ctr" defTabSz="1219140">
              <a:defRPr/>
            </a:pPr>
            <a:endParaRPr lang="vi-VN" sz="1799" kern="0" noProof="0">
              <a:solidFill>
                <a:srgbClr val="000000"/>
              </a:solidFill>
              <a:latin typeface="Arial"/>
              <a:cs typeface="Noto Sans"/>
            </a:endParaRPr>
          </a:p>
        </p:txBody>
      </p:sp>
      <p:sp>
        <p:nvSpPr>
          <p:cNvPr id="74" name="Rectangle 73">
            <a:extLst>
              <a:ext uri="{FF2B5EF4-FFF2-40B4-BE49-F238E27FC236}">
                <a16:creationId xmlns:a16="http://schemas.microsoft.com/office/drawing/2014/main" id="{9720CABB-FB41-416D-83D3-EFF0F5E98103}"/>
              </a:ext>
            </a:extLst>
          </p:cNvPr>
          <p:cNvSpPr/>
          <p:nvPr/>
        </p:nvSpPr>
        <p:spPr>
          <a:xfrm>
            <a:off x="1255982" y="5651712"/>
            <a:ext cx="6287820" cy="230832"/>
          </a:xfrm>
          <a:prstGeom prst="rect">
            <a:avLst/>
          </a:prstGeom>
        </p:spPr>
        <p:txBody>
          <a:bodyPr wrap="square">
            <a:spAutoFit/>
          </a:bodyPr>
          <a:lstStyle/>
          <a:p>
            <a:pPr defTabSz="1219140">
              <a:defRPr/>
            </a:pPr>
            <a:r>
              <a:rPr lang="vi-VN" sz="900" noProof="0">
                <a:solidFill>
                  <a:srgbClr val="000000"/>
                </a:solidFill>
                <a:cs typeface="Noto Sans"/>
              </a:rPr>
              <a:t>Mô tả khái quát về tình trạng bệnh. Phỏng từ Arvin. Aging, Immunity, and the Varicella–Zoster Virus. 2005 </a:t>
            </a:r>
            <a:r>
              <a:rPr lang="vi-VN" sz="900" baseline="30000" noProof="0">
                <a:solidFill>
                  <a:srgbClr val="000000"/>
                </a:solidFill>
                <a:cs typeface="Noto Sans"/>
              </a:rPr>
              <a:t>2</a:t>
            </a:r>
            <a:endParaRPr lang="vi-VN" sz="900" noProof="0">
              <a:solidFill>
                <a:srgbClr val="000000"/>
              </a:solidFill>
              <a:cs typeface="Noto Sans"/>
            </a:endParaRPr>
          </a:p>
        </p:txBody>
      </p:sp>
      <p:sp>
        <p:nvSpPr>
          <p:cNvPr id="75" name="Rounded Rectangle 59">
            <a:extLst>
              <a:ext uri="{FF2B5EF4-FFF2-40B4-BE49-F238E27FC236}">
                <a16:creationId xmlns:a16="http://schemas.microsoft.com/office/drawing/2014/main" id="{C1587ED9-E949-4A50-AC42-01BED9AAB775}"/>
              </a:ext>
            </a:extLst>
          </p:cNvPr>
          <p:cNvSpPr/>
          <p:nvPr/>
        </p:nvSpPr>
        <p:spPr bwMode="auto">
          <a:xfrm>
            <a:off x="1163057" y="1943088"/>
            <a:ext cx="1832529" cy="893049"/>
          </a:xfrm>
          <a:prstGeom prst="roundRect">
            <a:avLst/>
          </a:prstGeom>
          <a:solidFill>
            <a:sysClr val="window" lastClr="FFFFFF"/>
          </a:solidFill>
          <a:ln w="19050" cap="flat" cmpd="sng" algn="ctr">
            <a:solidFill>
              <a:srgbClr val="F36633"/>
            </a:solidFill>
            <a:prstDash val="solid"/>
            <a:headEnd/>
            <a:tailEnd/>
          </a:ln>
          <a:effectLst/>
        </p:spPr>
        <p:txBody>
          <a:bodyPr rot="0" spcFirstLastPara="0" vertOverflow="overflow" horzOverflow="overflow" vert="horz" wrap="square" lIns="71981" tIns="71981" rIns="71981" bIns="71981" numCol="1" spcCol="0" rtlCol="0" fromWordArt="0" anchor="t" anchorCtr="0" forceAA="0" compatLnSpc="1">
            <a:prstTxWarp prst="textNoShape">
              <a:avLst/>
            </a:prstTxWarp>
            <a:noAutofit/>
          </a:bodyPr>
          <a:lstStyle/>
          <a:p>
            <a:pPr marL="180913" indent="-180913" algn="ctr" defTabSz="1219140" eaLnBrk="0" hangingPunct="0">
              <a:buClr>
                <a:srgbClr val="FFFFFF"/>
              </a:buClr>
              <a:buFont typeface="Arial" pitchFamily="34" charset="0"/>
              <a:buChar char="–"/>
              <a:defRPr/>
            </a:pPr>
            <a:endParaRPr lang="vi-VN" sz="1200" b="1" kern="0" noProof="0">
              <a:solidFill>
                <a:srgbClr val="000000"/>
              </a:solidFill>
              <a:latin typeface="Arial"/>
              <a:cs typeface="Noto Sans"/>
            </a:endParaRPr>
          </a:p>
        </p:txBody>
      </p:sp>
      <p:sp>
        <p:nvSpPr>
          <p:cNvPr id="76" name="Rounded Rectangle 61">
            <a:extLst>
              <a:ext uri="{FF2B5EF4-FFF2-40B4-BE49-F238E27FC236}">
                <a16:creationId xmlns:a16="http://schemas.microsoft.com/office/drawing/2014/main" id="{CDC4890D-61AE-4E24-8990-2656421024CD}"/>
              </a:ext>
            </a:extLst>
          </p:cNvPr>
          <p:cNvSpPr/>
          <p:nvPr/>
        </p:nvSpPr>
        <p:spPr bwMode="auto">
          <a:xfrm>
            <a:off x="3065489" y="1934461"/>
            <a:ext cx="2616675" cy="888169"/>
          </a:xfrm>
          <a:prstGeom prst="roundRect">
            <a:avLst/>
          </a:prstGeom>
          <a:solidFill>
            <a:sysClr val="window" lastClr="FFFFFF"/>
          </a:solidFill>
          <a:ln w="19050" cap="flat" cmpd="sng" algn="ctr">
            <a:solidFill>
              <a:srgbClr val="F36633"/>
            </a:solidFill>
            <a:prstDash val="solid"/>
            <a:headEnd/>
            <a:tailEnd/>
          </a:ln>
          <a:effectLst/>
        </p:spPr>
        <p:txBody>
          <a:bodyPr rot="0" spcFirstLastPara="0" vertOverflow="overflow" horzOverflow="overflow" vert="horz" wrap="square" lIns="71981" tIns="71981" rIns="71981" bIns="71981" numCol="1" spcCol="0" rtlCol="0" fromWordArt="0" anchor="t" anchorCtr="0" forceAA="0" compatLnSpc="1">
            <a:prstTxWarp prst="textNoShape">
              <a:avLst/>
            </a:prstTxWarp>
            <a:noAutofit/>
          </a:bodyPr>
          <a:lstStyle/>
          <a:p>
            <a:pPr marL="180913" indent="-180913" algn="ctr" defTabSz="1219140" eaLnBrk="0" hangingPunct="0">
              <a:buClr>
                <a:srgbClr val="FFFFFF"/>
              </a:buClr>
              <a:buFont typeface="Arial" pitchFamily="34" charset="0"/>
              <a:buChar char="–"/>
              <a:defRPr/>
            </a:pPr>
            <a:endParaRPr lang="vi-VN" sz="1200" b="1" kern="0" noProof="0">
              <a:solidFill>
                <a:srgbClr val="000000"/>
              </a:solidFill>
              <a:latin typeface="Arial"/>
              <a:cs typeface="Noto Sans"/>
            </a:endParaRPr>
          </a:p>
        </p:txBody>
      </p:sp>
      <p:cxnSp>
        <p:nvCxnSpPr>
          <p:cNvPr id="77" name="Straight Connector 76">
            <a:extLst>
              <a:ext uri="{FF2B5EF4-FFF2-40B4-BE49-F238E27FC236}">
                <a16:creationId xmlns:a16="http://schemas.microsoft.com/office/drawing/2014/main" id="{463CDD12-0C2D-4488-933B-FDB1376F67A0}"/>
              </a:ext>
            </a:extLst>
          </p:cNvPr>
          <p:cNvCxnSpPr/>
          <p:nvPr/>
        </p:nvCxnSpPr>
        <p:spPr>
          <a:xfrm flipV="1">
            <a:off x="1379569" y="4428254"/>
            <a:ext cx="9903435" cy="11068"/>
          </a:xfrm>
          <a:prstGeom prst="line">
            <a:avLst/>
          </a:prstGeom>
          <a:noFill/>
          <a:ln w="22225" cap="flat" cmpd="sng" algn="ctr">
            <a:solidFill>
              <a:srgbClr val="959595"/>
            </a:solidFill>
            <a:prstDash val="sysDot"/>
            <a:headEnd/>
            <a:tailEnd/>
          </a:ln>
          <a:effectLst/>
        </p:spPr>
      </p:cxnSp>
      <p:sp>
        <p:nvSpPr>
          <p:cNvPr id="78" name="TextBox 77">
            <a:extLst>
              <a:ext uri="{FF2B5EF4-FFF2-40B4-BE49-F238E27FC236}">
                <a16:creationId xmlns:a16="http://schemas.microsoft.com/office/drawing/2014/main" id="{1449CCFF-5385-4ED3-B5A5-5FAED49D3380}"/>
              </a:ext>
            </a:extLst>
          </p:cNvPr>
          <p:cNvSpPr txBox="1"/>
          <p:nvPr/>
        </p:nvSpPr>
        <p:spPr>
          <a:xfrm>
            <a:off x="3049042" y="2025319"/>
            <a:ext cx="2721913" cy="646331"/>
          </a:xfrm>
          <a:prstGeom prst="rect">
            <a:avLst/>
          </a:prstGeom>
          <a:noFill/>
          <a:ln>
            <a:noFill/>
          </a:ln>
        </p:spPr>
        <p:txBody>
          <a:bodyPr wrap="square" rtlCol="0">
            <a:spAutoFit/>
          </a:bodyPr>
          <a:lstStyle/>
          <a:p>
            <a:pPr algn="ctr" defTabSz="1219080">
              <a:buClr>
                <a:srgbClr val="544F40"/>
              </a:buClr>
              <a:defRPr/>
            </a:pPr>
            <a:r>
              <a:rPr lang="vi-VN" sz="1200" noProof="0">
                <a:solidFill>
                  <a:srgbClr val="000000"/>
                </a:solidFill>
                <a:cs typeface="Noto Sans"/>
              </a:rPr>
              <a:t>Miễn dịch tế bào đặc hiệu cho VZV tăng trở lại qua </a:t>
            </a:r>
            <a:r>
              <a:rPr lang="vi-VN" sz="1200" b="1" noProof="0">
                <a:solidFill>
                  <a:srgbClr val="000000"/>
                </a:solidFill>
                <a:cs typeface="Noto Sans"/>
              </a:rPr>
              <a:t>tiếp xúc với VZV hoặc tái kích hoạt VZV tiềm ẩn</a:t>
            </a:r>
          </a:p>
        </p:txBody>
      </p:sp>
      <p:cxnSp>
        <p:nvCxnSpPr>
          <p:cNvPr id="79" name="Straight Arrow Connector 78">
            <a:extLst>
              <a:ext uri="{FF2B5EF4-FFF2-40B4-BE49-F238E27FC236}">
                <a16:creationId xmlns:a16="http://schemas.microsoft.com/office/drawing/2014/main" id="{6659EA2B-C5C7-4823-8438-8EA0885B07B7}"/>
              </a:ext>
            </a:extLst>
          </p:cNvPr>
          <p:cNvCxnSpPr/>
          <p:nvPr/>
        </p:nvCxnSpPr>
        <p:spPr>
          <a:xfrm flipV="1">
            <a:off x="1072983" y="2161470"/>
            <a:ext cx="0" cy="3069292"/>
          </a:xfrm>
          <a:prstGeom prst="straightConnector1">
            <a:avLst/>
          </a:prstGeom>
          <a:noFill/>
          <a:ln w="9525" cap="flat" cmpd="sng" algn="ctr">
            <a:solidFill>
              <a:srgbClr val="F36633"/>
            </a:solidFill>
            <a:prstDash val="solid"/>
            <a:tailEnd type="triangle"/>
          </a:ln>
          <a:effectLst/>
        </p:spPr>
      </p:cxnSp>
      <p:sp>
        <p:nvSpPr>
          <p:cNvPr id="80" name="TextBox 79">
            <a:extLst>
              <a:ext uri="{FF2B5EF4-FFF2-40B4-BE49-F238E27FC236}">
                <a16:creationId xmlns:a16="http://schemas.microsoft.com/office/drawing/2014/main" id="{218630B3-200B-4AB1-98EE-B5BA51BA24F2}"/>
              </a:ext>
            </a:extLst>
          </p:cNvPr>
          <p:cNvSpPr txBox="1"/>
          <p:nvPr/>
        </p:nvSpPr>
        <p:spPr>
          <a:xfrm rot="16200000">
            <a:off x="62544" y="3521205"/>
            <a:ext cx="1584087" cy="307777"/>
          </a:xfrm>
          <a:prstGeom prst="rect">
            <a:avLst/>
          </a:prstGeom>
          <a:noFill/>
        </p:spPr>
        <p:txBody>
          <a:bodyPr wrap="none" rtlCol="0">
            <a:spAutoFit/>
          </a:bodyPr>
          <a:lstStyle/>
          <a:p>
            <a:pPr algn="ctr" defTabSz="1219140">
              <a:buClr>
                <a:srgbClr val="544F40"/>
              </a:buClr>
              <a:defRPr/>
            </a:pPr>
            <a:r>
              <a:rPr lang="vi-VN" sz="1400" b="1" noProof="0">
                <a:solidFill>
                  <a:srgbClr val="000000"/>
                </a:solidFill>
                <a:cs typeface="Noto Sans"/>
              </a:rPr>
              <a:t>Miễn dịch tế bào</a:t>
            </a:r>
          </a:p>
        </p:txBody>
      </p:sp>
      <p:cxnSp>
        <p:nvCxnSpPr>
          <p:cNvPr id="81" name="Straight Arrow Connector 80">
            <a:extLst>
              <a:ext uri="{FF2B5EF4-FFF2-40B4-BE49-F238E27FC236}">
                <a16:creationId xmlns:a16="http://schemas.microsoft.com/office/drawing/2014/main" id="{889C7EF0-2767-4CDD-8196-A63CB75F4749}"/>
              </a:ext>
            </a:extLst>
          </p:cNvPr>
          <p:cNvCxnSpPr/>
          <p:nvPr/>
        </p:nvCxnSpPr>
        <p:spPr>
          <a:xfrm>
            <a:off x="1379609" y="5577936"/>
            <a:ext cx="9884432" cy="0"/>
          </a:xfrm>
          <a:prstGeom prst="straightConnector1">
            <a:avLst/>
          </a:prstGeom>
          <a:noFill/>
          <a:ln w="9525" cap="flat" cmpd="sng" algn="ctr">
            <a:solidFill>
              <a:srgbClr val="F36633"/>
            </a:solidFill>
            <a:prstDash val="solid"/>
            <a:tailEnd type="triangle"/>
          </a:ln>
          <a:effectLst/>
        </p:spPr>
      </p:cxnSp>
      <p:sp>
        <p:nvSpPr>
          <p:cNvPr id="82" name="TextBox 81">
            <a:extLst>
              <a:ext uri="{FF2B5EF4-FFF2-40B4-BE49-F238E27FC236}">
                <a16:creationId xmlns:a16="http://schemas.microsoft.com/office/drawing/2014/main" id="{3774B87B-FB8A-480F-BCAE-0CD393310D7C}"/>
              </a:ext>
            </a:extLst>
          </p:cNvPr>
          <p:cNvSpPr txBox="1"/>
          <p:nvPr/>
        </p:nvSpPr>
        <p:spPr>
          <a:xfrm>
            <a:off x="6023477" y="5280084"/>
            <a:ext cx="548034" cy="307777"/>
          </a:xfrm>
          <a:prstGeom prst="rect">
            <a:avLst/>
          </a:prstGeom>
          <a:noFill/>
        </p:spPr>
        <p:txBody>
          <a:bodyPr wrap="none" rtlCol="0">
            <a:spAutoFit/>
          </a:bodyPr>
          <a:lstStyle/>
          <a:p>
            <a:pPr algn="ctr" defTabSz="1219140">
              <a:buClr>
                <a:srgbClr val="544F40"/>
              </a:buClr>
              <a:defRPr/>
            </a:pPr>
            <a:r>
              <a:rPr lang="vi-VN" sz="1400" b="1" noProof="0">
                <a:solidFill>
                  <a:srgbClr val="000000"/>
                </a:solidFill>
                <a:cs typeface="Noto Sans"/>
              </a:rPr>
              <a:t>Tuổi</a:t>
            </a:r>
          </a:p>
        </p:txBody>
      </p:sp>
      <p:sp>
        <p:nvSpPr>
          <p:cNvPr id="83" name="TextBox 82">
            <a:extLst>
              <a:ext uri="{FF2B5EF4-FFF2-40B4-BE49-F238E27FC236}">
                <a16:creationId xmlns:a16="http://schemas.microsoft.com/office/drawing/2014/main" id="{22B12164-4FDE-4BCA-913D-77C1F8BE872B}"/>
              </a:ext>
            </a:extLst>
          </p:cNvPr>
          <p:cNvSpPr txBox="1"/>
          <p:nvPr/>
        </p:nvSpPr>
        <p:spPr>
          <a:xfrm>
            <a:off x="2250576" y="5013287"/>
            <a:ext cx="1560453" cy="246221"/>
          </a:xfrm>
          <a:prstGeom prst="rect">
            <a:avLst/>
          </a:prstGeom>
          <a:noFill/>
        </p:spPr>
        <p:txBody>
          <a:bodyPr wrap="square" rtlCol="0">
            <a:spAutoFit/>
          </a:bodyPr>
          <a:lstStyle/>
          <a:p>
            <a:pPr defTabSz="1219140">
              <a:buClr>
                <a:srgbClr val="544F40"/>
              </a:buClr>
              <a:defRPr/>
            </a:pPr>
            <a:r>
              <a:rPr lang="vi-VN" sz="1000" b="1" noProof="0">
                <a:solidFill>
                  <a:srgbClr val="000000"/>
                </a:solidFill>
                <a:cs typeface="Noto Sans"/>
              </a:rPr>
              <a:t>Thủy đậu</a:t>
            </a:r>
          </a:p>
        </p:txBody>
      </p:sp>
      <p:sp>
        <p:nvSpPr>
          <p:cNvPr id="84" name="Rectangle 83">
            <a:extLst>
              <a:ext uri="{FF2B5EF4-FFF2-40B4-BE49-F238E27FC236}">
                <a16:creationId xmlns:a16="http://schemas.microsoft.com/office/drawing/2014/main" id="{1195D502-E04F-405E-AFDC-49FF95864CF7}"/>
              </a:ext>
            </a:extLst>
          </p:cNvPr>
          <p:cNvSpPr/>
          <p:nvPr/>
        </p:nvSpPr>
        <p:spPr>
          <a:xfrm>
            <a:off x="478887" y="1934461"/>
            <a:ext cx="11417160" cy="4229337"/>
          </a:xfrm>
          <a:prstGeom prst="rect">
            <a:avLst/>
          </a:prstGeom>
          <a:noFill/>
          <a:ln w="12700" cap="flat" cmpd="sng" algn="ctr">
            <a:noFill/>
            <a:prstDash val="solid"/>
          </a:ln>
          <a:effectLst/>
        </p:spPr>
        <p:txBody>
          <a:bodyPr rtlCol="0" anchor="ctr"/>
          <a:lstStyle/>
          <a:p>
            <a:pPr algn="ctr" defTabSz="1219140">
              <a:defRPr/>
            </a:pPr>
            <a:r>
              <a:rPr lang="vi-VN" sz="1799" kern="0" noProof="0">
                <a:solidFill>
                  <a:srgbClr val="FFFFFF"/>
                </a:solidFill>
                <a:latin typeface="Arial"/>
                <a:cs typeface="Noto Sans"/>
              </a:rPr>
              <a:t>  </a:t>
            </a:r>
          </a:p>
        </p:txBody>
      </p:sp>
      <p:cxnSp>
        <p:nvCxnSpPr>
          <p:cNvPr id="85" name="Straight Arrow Connector 84">
            <a:extLst>
              <a:ext uri="{FF2B5EF4-FFF2-40B4-BE49-F238E27FC236}">
                <a16:creationId xmlns:a16="http://schemas.microsoft.com/office/drawing/2014/main" id="{749CE1A7-DAB8-420B-BB38-ED43FC780280}"/>
              </a:ext>
            </a:extLst>
          </p:cNvPr>
          <p:cNvCxnSpPr>
            <a:cxnSpLocks/>
          </p:cNvCxnSpPr>
          <p:nvPr/>
        </p:nvCxnSpPr>
        <p:spPr>
          <a:xfrm>
            <a:off x="2062374" y="2822121"/>
            <a:ext cx="1" cy="2240153"/>
          </a:xfrm>
          <a:prstGeom prst="straightConnector1">
            <a:avLst/>
          </a:prstGeom>
          <a:noFill/>
          <a:ln w="38100" cap="flat" cmpd="sng" algn="ctr">
            <a:solidFill>
              <a:srgbClr val="F36633"/>
            </a:solidFill>
            <a:prstDash val="solid"/>
            <a:tailEnd type="triangle"/>
          </a:ln>
          <a:effectLst/>
        </p:spPr>
      </p:cxnSp>
      <p:cxnSp>
        <p:nvCxnSpPr>
          <p:cNvPr id="86" name="Straight Arrow Connector 85">
            <a:extLst>
              <a:ext uri="{FF2B5EF4-FFF2-40B4-BE49-F238E27FC236}">
                <a16:creationId xmlns:a16="http://schemas.microsoft.com/office/drawing/2014/main" id="{3ED9AC77-B90A-482A-9667-A895C11B3E4A}"/>
              </a:ext>
            </a:extLst>
          </p:cNvPr>
          <p:cNvCxnSpPr>
            <a:cxnSpLocks/>
          </p:cNvCxnSpPr>
          <p:nvPr/>
        </p:nvCxnSpPr>
        <p:spPr>
          <a:xfrm>
            <a:off x="3733904" y="2825672"/>
            <a:ext cx="0" cy="528000"/>
          </a:xfrm>
          <a:prstGeom prst="straightConnector1">
            <a:avLst/>
          </a:prstGeom>
          <a:noFill/>
          <a:ln w="38100" cap="flat" cmpd="sng" algn="ctr">
            <a:solidFill>
              <a:srgbClr val="F36633"/>
            </a:solidFill>
            <a:prstDash val="solid"/>
            <a:tailEnd type="triangle"/>
          </a:ln>
          <a:effectLst/>
        </p:spPr>
      </p:cxnSp>
      <p:sp>
        <p:nvSpPr>
          <p:cNvPr id="87" name="TextBox 86">
            <a:extLst>
              <a:ext uri="{FF2B5EF4-FFF2-40B4-BE49-F238E27FC236}">
                <a16:creationId xmlns:a16="http://schemas.microsoft.com/office/drawing/2014/main" id="{CE96F38C-4647-458A-9643-BFB1F2688622}"/>
              </a:ext>
            </a:extLst>
          </p:cNvPr>
          <p:cNvSpPr txBox="1"/>
          <p:nvPr/>
        </p:nvSpPr>
        <p:spPr>
          <a:xfrm>
            <a:off x="9842318" y="4043936"/>
            <a:ext cx="1900727" cy="749179"/>
          </a:xfrm>
          <a:prstGeom prst="rect">
            <a:avLst/>
          </a:prstGeom>
          <a:solidFill>
            <a:srgbClr val="F36633"/>
          </a:solidFill>
        </p:spPr>
        <p:txBody>
          <a:bodyPr wrap="square" rtlCol="0">
            <a:spAutoFit/>
          </a:bodyPr>
          <a:lstStyle/>
          <a:p>
            <a:pPr algn="ctr" defTabSz="1219080">
              <a:defRPr/>
            </a:pPr>
            <a:r>
              <a:rPr lang="vi-VN" sz="1067" b="1" kern="0" noProof="0">
                <a:solidFill>
                  <a:prstClr val="white"/>
                </a:solidFill>
                <a:cs typeface="Noto Sans"/>
              </a:rPr>
              <a:t>Giảm miễn dịch tế bào đặc hiệu với VZV có liên quan đến việc tăng nguy cơ  mắc bệnh Zona</a:t>
            </a:r>
          </a:p>
        </p:txBody>
      </p:sp>
      <p:sp>
        <p:nvSpPr>
          <p:cNvPr id="88" name="TextBox 87">
            <a:extLst>
              <a:ext uri="{FF2B5EF4-FFF2-40B4-BE49-F238E27FC236}">
                <a16:creationId xmlns:a16="http://schemas.microsoft.com/office/drawing/2014/main" id="{03CC2DCF-67D4-4C97-84FB-5F7CAAE96DC1}"/>
              </a:ext>
            </a:extLst>
          </p:cNvPr>
          <p:cNvSpPr txBox="1"/>
          <p:nvPr/>
        </p:nvSpPr>
        <p:spPr>
          <a:xfrm>
            <a:off x="1395901" y="4436202"/>
            <a:ext cx="5357827" cy="276999"/>
          </a:xfrm>
          <a:prstGeom prst="rect">
            <a:avLst/>
          </a:prstGeom>
          <a:noFill/>
        </p:spPr>
        <p:txBody>
          <a:bodyPr wrap="square" rtlCol="0">
            <a:spAutoFit/>
          </a:bodyPr>
          <a:lstStyle/>
          <a:p>
            <a:pPr algn="ctr" defTabSz="1219140">
              <a:buClr>
                <a:srgbClr val="544F40"/>
              </a:buClr>
              <a:defRPr/>
            </a:pPr>
            <a:r>
              <a:rPr lang="vi-VN" sz="1200" b="1" noProof="0">
                <a:solidFill>
                  <a:srgbClr val="000000"/>
                </a:solidFill>
                <a:cs typeface="Noto Sans"/>
              </a:rPr>
              <a:t>Ngưỡng HZ</a:t>
            </a:r>
          </a:p>
        </p:txBody>
      </p:sp>
      <p:sp>
        <p:nvSpPr>
          <p:cNvPr id="89" name="Title 1">
            <a:extLst>
              <a:ext uri="{FF2B5EF4-FFF2-40B4-BE49-F238E27FC236}">
                <a16:creationId xmlns:a16="http://schemas.microsoft.com/office/drawing/2014/main" id="{A5A7BCAA-1837-4E5A-9F8D-A5534AF2D49B}"/>
              </a:ext>
            </a:extLst>
          </p:cNvPr>
          <p:cNvSpPr txBox="1">
            <a:spLocks/>
          </p:cNvSpPr>
          <p:nvPr/>
        </p:nvSpPr>
        <p:spPr>
          <a:xfrm>
            <a:off x="8006448" y="1632042"/>
            <a:ext cx="2158669" cy="31941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600" b="1" kern="1200" cap="all">
                <a:solidFill>
                  <a:schemeClr val="accent1"/>
                </a:solidFill>
                <a:latin typeface="+mj-lt"/>
                <a:ea typeface="+mj-ea"/>
                <a:cs typeface="+mj-cs"/>
              </a:defRPr>
            </a:lvl1pPr>
          </a:lstStyle>
          <a:p>
            <a:pPr algn="ctr" defTabSz="1219140">
              <a:defRPr/>
            </a:pPr>
            <a:r>
              <a:rPr lang="vi-VN" sz="1400" noProof="0">
                <a:solidFill>
                  <a:srgbClr val="F36633"/>
                </a:solidFill>
                <a:cs typeface="Noto Sans"/>
              </a:rPr>
              <a:t>≥50 tuổi</a:t>
            </a:r>
          </a:p>
        </p:txBody>
      </p:sp>
      <p:sp>
        <p:nvSpPr>
          <p:cNvPr id="90" name="AutoShape 8">
            <a:extLst>
              <a:ext uri="{FF2B5EF4-FFF2-40B4-BE49-F238E27FC236}">
                <a16:creationId xmlns:a16="http://schemas.microsoft.com/office/drawing/2014/main" id="{27F38A1C-F81F-4097-8628-D36B27A44401}"/>
              </a:ext>
            </a:extLst>
          </p:cNvPr>
          <p:cNvSpPr>
            <a:spLocks noChangeArrowheads="1"/>
          </p:cNvSpPr>
          <p:nvPr/>
        </p:nvSpPr>
        <p:spPr bwMode="auto">
          <a:xfrm>
            <a:off x="5777536" y="1940358"/>
            <a:ext cx="2229480" cy="871028"/>
          </a:xfrm>
          <a:prstGeom prst="rect">
            <a:avLst/>
          </a:prstGeom>
          <a:solidFill>
            <a:srgbClr val="959595"/>
          </a:solidFill>
          <a:ln w="9525" cap="flat" cmpd="sng" algn="ctr">
            <a:noFill/>
            <a:prstDash val="solid"/>
            <a:headEnd/>
            <a:tailEnd/>
          </a:ln>
          <a:effectLst/>
        </p:spPr>
        <p:txBody>
          <a:bodyPr lIns="82275" tIns="36567" rIns="82275" bIns="36567"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defTabSz="1219140" eaLnBrk="0" fontAlgn="auto" hangingPunct="0">
              <a:spcBef>
                <a:spcPts val="0"/>
              </a:spcBef>
              <a:spcAft>
                <a:spcPts val="0"/>
              </a:spcAft>
              <a:defRPr/>
            </a:pPr>
            <a:endParaRPr lang="vi-VN" sz="1799" b="1" kern="0" baseline="30000" noProof="0">
              <a:solidFill>
                <a:srgbClr val="000000"/>
              </a:solidFill>
              <a:latin typeface="Arial"/>
              <a:cs typeface="Noto Sans"/>
            </a:endParaRPr>
          </a:p>
        </p:txBody>
      </p:sp>
      <p:sp>
        <p:nvSpPr>
          <p:cNvPr id="91" name="AutoShape 8">
            <a:extLst>
              <a:ext uri="{FF2B5EF4-FFF2-40B4-BE49-F238E27FC236}">
                <a16:creationId xmlns:a16="http://schemas.microsoft.com/office/drawing/2014/main" id="{039BAEA0-C0F7-4730-923F-968AACA599A8}"/>
              </a:ext>
            </a:extLst>
          </p:cNvPr>
          <p:cNvSpPr>
            <a:spLocks noChangeArrowheads="1"/>
          </p:cNvSpPr>
          <p:nvPr/>
        </p:nvSpPr>
        <p:spPr bwMode="auto">
          <a:xfrm>
            <a:off x="8111345" y="1940358"/>
            <a:ext cx="2015168" cy="871028"/>
          </a:xfrm>
          <a:prstGeom prst="rect">
            <a:avLst/>
          </a:prstGeom>
          <a:solidFill>
            <a:srgbClr val="F36633"/>
          </a:solidFill>
          <a:ln w="9525" cap="flat" cmpd="sng" algn="ctr">
            <a:noFill/>
            <a:prstDash val="solid"/>
            <a:headEnd/>
            <a:tailEnd/>
          </a:ln>
          <a:effectLst/>
        </p:spPr>
        <p:txBody>
          <a:bodyPr lIns="82275" tIns="36567" rIns="82275" bIns="36567"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defTabSz="1219140" eaLnBrk="0" fontAlgn="auto" hangingPunct="0">
              <a:spcBef>
                <a:spcPts val="0"/>
              </a:spcBef>
              <a:spcAft>
                <a:spcPts val="0"/>
              </a:spcAft>
              <a:defRPr/>
            </a:pPr>
            <a:endParaRPr lang="vi-VN" sz="1799" b="1" kern="0" baseline="30000" noProof="0">
              <a:solidFill>
                <a:srgbClr val="000000"/>
              </a:solidFill>
              <a:latin typeface="Arial"/>
              <a:cs typeface="Noto Sans"/>
            </a:endParaRPr>
          </a:p>
        </p:txBody>
      </p:sp>
      <p:sp>
        <p:nvSpPr>
          <p:cNvPr id="92" name="TextBox 91">
            <a:extLst>
              <a:ext uri="{FF2B5EF4-FFF2-40B4-BE49-F238E27FC236}">
                <a16:creationId xmlns:a16="http://schemas.microsoft.com/office/drawing/2014/main" id="{7DC0F6BC-2276-4BD0-8B43-29660A2518B7}"/>
              </a:ext>
            </a:extLst>
          </p:cNvPr>
          <p:cNvSpPr txBox="1"/>
          <p:nvPr/>
        </p:nvSpPr>
        <p:spPr>
          <a:xfrm>
            <a:off x="8161052" y="1994573"/>
            <a:ext cx="1917283" cy="646331"/>
          </a:xfrm>
          <a:prstGeom prst="rect">
            <a:avLst/>
          </a:prstGeom>
          <a:noFill/>
        </p:spPr>
        <p:txBody>
          <a:bodyPr wrap="square" rtlCol="0">
            <a:spAutoFit/>
          </a:bodyPr>
          <a:lstStyle/>
          <a:p>
            <a:pPr algn="ctr" defTabSz="1219080">
              <a:buClr>
                <a:srgbClr val="544F40"/>
              </a:buClr>
              <a:defRPr/>
            </a:pPr>
            <a:r>
              <a:rPr lang="vi-VN" sz="1200" b="1" noProof="0">
                <a:solidFill>
                  <a:prstClr val="white"/>
                </a:solidFill>
                <a:cs typeface="Noto Sans"/>
              </a:rPr>
              <a:t>Miễn dịch tế bào đặc hiệu với VZV suy giảm theo tuổi </a:t>
            </a:r>
          </a:p>
        </p:txBody>
      </p:sp>
      <p:sp>
        <p:nvSpPr>
          <p:cNvPr id="93" name="TextBox 92">
            <a:extLst>
              <a:ext uri="{FF2B5EF4-FFF2-40B4-BE49-F238E27FC236}">
                <a16:creationId xmlns:a16="http://schemas.microsoft.com/office/drawing/2014/main" id="{B50DEB4B-7F01-4207-B906-ACC04277E0E9}"/>
              </a:ext>
            </a:extLst>
          </p:cNvPr>
          <p:cNvSpPr txBox="1"/>
          <p:nvPr/>
        </p:nvSpPr>
        <p:spPr>
          <a:xfrm>
            <a:off x="5757209" y="1934010"/>
            <a:ext cx="2289535" cy="830997"/>
          </a:xfrm>
          <a:prstGeom prst="rect">
            <a:avLst/>
          </a:prstGeom>
          <a:noFill/>
        </p:spPr>
        <p:txBody>
          <a:bodyPr wrap="square" rtlCol="0" anchor="t">
            <a:spAutoFit/>
          </a:bodyPr>
          <a:lstStyle/>
          <a:p>
            <a:pPr algn="ctr" defTabSz="1219140">
              <a:buClr>
                <a:srgbClr val="544F40"/>
              </a:buClr>
              <a:defRPr/>
            </a:pPr>
            <a:r>
              <a:rPr lang="vi-VN" sz="1200" noProof="0">
                <a:solidFill>
                  <a:prstClr val="white"/>
                </a:solidFill>
                <a:cs typeface="Noto Sans"/>
              </a:rPr>
              <a:t>Bệnh nhân bị suy giảm miễn dịch hoặc bị ức chế miễn dịch do bệnh lý hoặc liệu pháp điều trị*</a:t>
            </a:r>
            <a:endParaRPr lang="vi-VN" sz="2400" noProof="0">
              <a:solidFill>
                <a:prstClr val="white"/>
              </a:solidFill>
              <a:cs typeface="Noto Sans"/>
            </a:endParaRPr>
          </a:p>
        </p:txBody>
      </p:sp>
      <p:cxnSp>
        <p:nvCxnSpPr>
          <p:cNvPr id="94" name="Straight Arrow Connector 93">
            <a:extLst>
              <a:ext uri="{FF2B5EF4-FFF2-40B4-BE49-F238E27FC236}">
                <a16:creationId xmlns:a16="http://schemas.microsoft.com/office/drawing/2014/main" id="{F3139E53-437F-4349-86F8-0C0E30FC8131}"/>
              </a:ext>
            </a:extLst>
          </p:cNvPr>
          <p:cNvCxnSpPr>
            <a:cxnSpLocks/>
          </p:cNvCxnSpPr>
          <p:nvPr/>
        </p:nvCxnSpPr>
        <p:spPr>
          <a:xfrm flipH="1">
            <a:off x="8139558" y="2669620"/>
            <a:ext cx="1" cy="1479123"/>
          </a:xfrm>
          <a:prstGeom prst="straightConnector1">
            <a:avLst/>
          </a:prstGeom>
          <a:noFill/>
          <a:ln w="38100" cap="flat" cmpd="sng" algn="ctr">
            <a:solidFill>
              <a:srgbClr val="F36633"/>
            </a:solidFill>
            <a:prstDash val="solid"/>
            <a:tailEnd type="none"/>
          </a:ln>
          <a:effectLst/>
        </p:spPr>
      </p:cxnSp>
      <p:cxnSp>
        <p:nvCxnSpPr>
          <p:cNvPr id="95" name="Straight Arrow Connector 94">
            <a:extLst>
              <a:ext uri="{FF2B5EF4-FFF2-40B4-BE49-F238E27FC236}">
                <a16:creationId xmlns:a16="http://schemas.microsoft.com/office/drawing/2014/main" id="{5046C119-D5A9-4D53-8F48-98E563DC6289}"/>
              </a:ext>
            </a:extLst>
          </p:cNvPr>
          <p:cNvCxnSpPr>
            <a:cxnSpLocks/>
          </p:cNvCxnSpPr>
          <p:nvPr/>
        </p:nvCxnSpPr>
        <p:spPr>
          <a:xfrm flipH="1">
            <a:off x="5786995" y="2664859"/>
            <a:ext cx="18503" cy="1602975"/>
          </a:xfrm>
          <a:prstGeom prst="straightConnector1">
            <a:avLst/>
          </a:prstGeom>
          <a:noFill/>
          <a:ln w="38100" cap="flat" cmpd="sng" algn="ctr">
            <a:solidFill>
              <a:srgbClr val="959595"/>
            </a:solidFill>
            <a:prstDash val="solid"/>
            <a:tailEnd type="none"/>
          </a:ln>
          <a:effectLst/>
        </p:spPr>
      </p:cxnSp>
      <p:pic>
        <p:nvPicPr>
          <p:cNvPr id="96" name="Picture 95">
            <a:extLst>
              <a:ext uri="{FF2B5EF4-FFF2-40B4-BE49-F238E27FC236}">
                <a16:creationId xmlns:a16="http://schemas.microsoft.com/office/drawing/2014/main" id="{5BD7FBBC-B06B-4458-A7EE-A5021BB5D893}"/>
              </a:ext>
            </a:extLst>
          </p:cNvPr>
          <p:cNvPicPr>
            <a:picLocks noChangeAspect="1"/>
          </p:cNvPicPr>
          <p:nvPr/>
        </p:nvPicPr>
        <p:blipFill>
          <a:blip r:embed="rId2">
            <a:grayscl/>
          </a:blip>
          <a:stretch>
            <a:fillRect/>
          </a:stretch>
        </p:blipFill>
        <p:spPr>
          <a:xfrm>
            <a:off x="5027978" y="3758168"/>
            <a:ext cx="3682652" cy="1472251"/>
          </a:xfrm>
          <a:prstGeom prst="rect">
            <a:avLst/>
          </a:prstGeom>
        </p:spPr>
      </p:pic>
      <p:sp>
        <p:nvSpPr>
          <p:cNvPr id="97" name="Title 1">
            <a:extLst>
              <a:ext uri="{FF2B5EF4-FFF2-40B4-BE49-F238E27FC236}">
                <a16:creationId xmlns:a16="http://schemas.microsoft.com/office/drawing/2014/main" id="{4A4EFD2E-6262-4768-A38A-17603A454FFD}"/>
              </a:ext>
            </a:extLst>
          </p:cNvPr>
          <p:cNvSpPr txBox="1">
            <a:spLocks/>
          </p:cNvSpPr>
          <p:nvPr/>
        </p:nvSpPr>
        <p:spPr>
          <a:xfrm>
            <a:off x="5727423" y="1632042"/>
            <a:ext cx="2383956" cy="3260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600" b="1" kern="1200" cap="all">
                <a:solidFill>
                  <a:schemeClr val="accent1"/>
                </a:solidFill>
                <a:latin typeface="+mj-lt"/>
                <a:ea typeface="+mj-ea"/>
                <a:cs typeface="+mj-cs"/>
              </a:defRPr>
            </a:lvl1pPr>
          </a:lstStyle>
          <a:p>
            <a:pPr algn="ctr" defTabSz="1219140">
              <a:defRPr/>
            </a:pPr>
            <a:r>
              <a:rPr lang="vi-VN" sz="1400" kern="0" cap="none" noProof="0">
                <a:solidFill>
                  <a:srgbClr val="000000"/>
                </a:solidFill>
                <a:cs typeface="Noto Sans"/>
              </a:rPr>
              <a:t>Suy giảm miễn dịch</a:t>
            </a:r>
            <a:endParaRPr lang="vi-VN" sz="1400" cap="none" noProof="0">
              <a:solidFill>
                <a:srgbClr val="000000"/>
              </a:solidFill>
              <a:cs typeface="Noto Sans"/>
            </a:endParaRPr>
          </a:p>
        </p:txBody>
      </p:sp>
      <p:sp>
        <p:nvSpPr>
          <p:cNvPr id="98" name="Right Triangle 97">
            <a:extLst>
              <a:ext uri="{FF2B5EF4-FFF2-40B4-BE49-F238E27FC236}">
                <a16:creationId xmlns:a16="http://schemas.microsoft.com/office/drawing/2014/main" id="{075F8A96-D163-4F42-B27A-CB378F01075A}"/>
              </a:ext>
            </a:extLst>
          </p:cNvPr>
          <p:cNvSpPr/>
          <p:nvPr/>
        </p:nvSpPr>
        <p:spPr>
          <a:xfrm rot="10800000" flipH="1">
            <a:off x="8117696" y="4139839"/>
            <a:ext cx="189571" cy="284357"/>
          </a:xfrm>
          <a:prstGeom prst="rtTriangle">
            <a:avLst/>
          </a:prstGeom>
          <a:solidFill>
            <a:srgbClr val="F36633"/>
          </a:solidFill>
          <a:ln w="25400" cap="flat" cmpd="sng" algn="ctr">
            <a:noFill/>
            <a:prstDash val="solid"/>
          </a:ln>
          <a:effectLst/>
        </p:spPr>
        <p:txBody>
          <a:bodyPr rtlCol="0" anchor="ctr"/>
          <a:lstStyle/>
          <a:p>
            <a:pPr algn="ctr" defTabSz="1219140">
              <a:defRPr/>
            </a:pPr>
            <a:endParaRPr lang="vi-VN" kern="0" noProof="0">
              <a:solidFill>
                <a:srgbClr val="000000"/>
              </a:solidFill>
              <a:latin typeface="Arial"/>
              <a:cs typeface="Noto Sans"/>
            </a:endParaRPr>
          </a:p>
        </p:txBody>
      </p:sp>
      <p:sp>
        <p:nvSpPr>
          <p:cNvPr id="99" name="Right Triangle 98">
            <a:extLst>
              <a:ext uri="{FF2B5EF4-FFF2-40B4-BE49-F238E27FC236}">
                <a16:creationId xmlns:a16="http://schemas.microsoft.com/office/drawing/2014/main" id="{ECE61AEC-A90F-4915-A550-2E6B1341A998}"/>
              </a:ext>
            </a:extLst>
          </p:cNvPr>
          <p:cNvSpPr/>
          <p:nvPr/>
        </p:nvSpPr>
        <p:spPr>
          <a:xfrm rot="10800000" flipH="1">
            <a:off x="5770953" y="4125655"/>
            <a:ext cx="189571" cy="284357"/>
          </a:xfrm>
          <a:prstGeom prst="rtTriangle">
            <a:avLst/>
          </a:prstGeom>
          <a:solidFill>
            <a:srgbClr val="959595"/>
          </a:solidFill>
          <a:ln w="25400" cap="flat" cmpd="sng" algn="ctr">
            <a:noFill/>
            <a:prstDash val="solid"/>
          </a:ln>
          <a:effectLst/>
        </p:spPr>
        <p:txBody>
          <a:bodyPr rtlCol="0" anchor="ctr"/>
          <a:lstStyle/>
          <a:p>
            <a:pPr algn="ctr" defTabSz="1219140">
              <a:defRPr/>
            </a:pPr>
            <a:endParaRPr lang="vi-VN" kern="0" noProof="0">
              <a:solidFill>
                <a:srgbClr val="000000"/>
              </a:solidFill>
              <a:latin typeface="Arial"/>
              <a:cs typeface="Noto Sans"/>
            </a:endParaRPr>
          </a:p>
        </p:txBody>
      </p:sp>
      <p:sp>
        <p:nvSpPr>
          <p:cNvPr id="100" name="Rectangle 99">
            <a:extLst>
              <a:ext uri="{FF2B5EF4-FFF2-40B4-BE49-F238E27FC236}">
                <a16:creationId xmlns:a16="http://schemas.microsoft.com/office/drawing/2014/main" id="{777924BB-F51F-4AF3-A934-5761808AB8EE}"/>
              </a:ext>
            </a:extLst>
          </p:cNvPr>
          <p:cNvSpPr/>
          <p:nvPr/>
        </p:nvSpPr>
        <p:spPr>
          <a:xfrm>
            <a:off x="324852" y="5530358"/>
            <a:ext cx="5257800" cy="527580"/>
          </a:xfrm>
          <a:prstGeom prst="rect">
            <a:avLst/>
          </a:prstGeom>
        </p:spPr>
        <p:txBody>
          <a:bodyPr wrap="square" lIns="0" bIns="0" numCol="1" spcCol="0" anchor="b">
            <a:noAutofit/>
          </a:bodyPr>
          <a:lstStyle/>
          <a:p>
            <a:pPr defTabSz="1219140">
              <a:defRPr/>
            </a:pPr>
            <a:endParaRPr lang="vi-VN" sz="900" baseline="30000" noProof="0">
              <a:solidFill>
                <a:srgbClr val="544F40"/>
              </a:solidFill>
              <a:cs typeface="Noto Sans"/>
            </a:endParaRPr>
          </a:p>
        </p:txBody>
      </p:sp>
      <p:sp>
        <p:nvSpPr>
          <p:cNvPr id="101" name="AutoShape 3">
            <a:extLst>
              <a:ext uri="{FF2B5EF4-FFF2-40B4-BE49-F238E27FC236}">
                <a16:creationId xmlns:a16="http://schemas.microsoft.com/office/drawing/2014/main" id="{1506D3BB-0470-4A03-9C92-D1BC2257979A}"/>
              </a:ext>
            </a:extLst>
          </p:cNvPr>
          <p:cNvSpPr>
            <a:spLocks noChangeAspect="1" noChangeArrowheads="1" noTextEdit="1"/>
          </p:cNvSpPr>
          <p:nvPr/>
        </p:nvSpPr>
        <p:spPr bwMode="auto">
          <a:xfrm>
            <a:off x="1585386" y="3069347"/>
            <a:ext cx="9273116" cy="2154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40">
              <a:defRPr/>
            </a:pPr>
            <a:endParaRPr lang="vi-VN" sz="2400" noProof="0">
              <a:solidFill>
                <a:srgbClr val="544F40"/>
              </a:solidFill>
              <a:cs typeface="Noto Sans"/>
            </a:endParaRPr>
          </a:p>
        </p:txBody>
      </p:sp>
      <p:sp>
        <p:nvSpPr>
          <p:cNvPr id="102" name="Freeform 5">
            <a:extLst>
              <a:ext uri="{FF2B5EF4-FFF2-40B4-BE49-F238E27FC236}">
                <a16:creationId xmlns:a16="http://schemas.microsoft.com/office/drawing/2014/main" id="{2F9D0EDF-8FE5-4D20-B5B3-703AE615D42F}"/>
              </a:ext>
            </a:extLst>
          </p:cNvPr>
          <p:cNvSpPr>
            <a:spLocks/>
          </p:cNvSpPr>
          <p:nvPr/>
        </p:nvSpPr>
        <p:spPr bwMode="auto">
          <a:xfrm>
            <a:off x="1585386" y="3156130"/>
            <a:ext cx="9290049" cy="2019300"/>
          </a:xfrm>
          <a:custGeom>
            <a:avLst/>
            <a:gdLst>
              <a:gd name="T0" fmla="*/ 0 w 8066"/>
              <a:gd name="T1" fmla="*/ 1933 h 1933"/>
              <a:gd name="T2" fmla="*/ 0 w 8066"/>
              <a:gd name="T3" fmla="*/ 1933 h 1933"/>
              <a:gd name="T4" fmla="*/ 479 w 8066"/>
              <a:gd name="T5" fmla="*/ 1933 h 1933"/>
              <a:gd name="T6" fmla="*/ 1186 w 8066"/>
              <a:gd name="T7" fmla="*/ 0 h 1933"/>
              <a:gd name="T8" fmla="*/ 1653 w 8066"/>
              <a:gd name="T9" fmla="*/ 560 h 1933"/>
              <a:gd name="T10" fmla="*/ 1866 w 8066"/>
              <a:gd name="T11" fmla="*/ 306 h 1933"/>
              <a:gd name="T12" fmla="*/ 2066 w 8066"/>
              <a:gd name="T13" fmla="*/ 560 h 1933"/>
              <a:gd name="T14" fmla="*/ 4813 w 8066"/>
              <a:gd name="T15" fmla="*/ 560 h 1933"/>
              <a:gd name="T16" fmla="*/ 6279 w 8066"/>
              <a:gd name="T17" fmla="*/ 1933 h 1933"/>
              <a:gd name="T18" fmla="*/ 8066 w 8066"/>
              <a:gd name="T19" fmla="*/ 193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66" h="1933">
                <a:moveTo>
                  <a:pt x="0" y="1933"/>
                </a:moveTo>
                <a:lnTo>
                  <a:pt x="0" y="1933"/>
                </a:lnTo>
                <a:lnTo>
                  <a:pt x="479" y="1933"/>
                </a:lnTo>
                <a:lnTo>
                  <a:pt x="1186" y="0"/>
                </a:lnTo>
                <a:lnTo>
                  <a:pt x="1653" y="560"/>
                </a:lnTo>
                <a:lnTo>
                  <a:pt x="1866" y="306"/>
                </a:lnTo>
                <a:lnTo>
                  <a:pt x="2066" y="560"/>
                </a:lnTo>
                <a:lnTo>
                  <a:pt x="4813" y="560"/>
                </a:lnTo>
                <a:lnTo>
                  <a:pt x="6279" y="1933"/>
                </a:lnTo>
                <a:lnTo>
                  <a:pt x="8066" y="1933"/>
                </a:lnTo>
              </a:path>
            </a:pathLst>
          </a:custGeom>
          <a:noFill/>
          <a:ln w="80963" cap="flat">
            <a:solidFill>
              <a:srgbClr val="F366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40">
              <a:defRPr/>
            </a:pPr>
            <a:endParaRPr lang="vi-VN" sz="2400" kern="0" noProof="0">
              <a:solidFill>
                <a:srgbClr val="000000"/>
              </a:solidFill>
              <a:cs typeface="Noto Sans"/>
            </a:endParaRPr>
          </a:p>
        </p:txBody>
      </p:sp>
      <p:sp>
        <p:nvSpPr>
          <p:cNvPr id="103" name="TextBox 102">
            <a:extLst>
              <a:ext uri="{FF2B5EF4-FFF2-40B4-BE49-F238E27FC236}">
                <a16:creationId xmlns:a16="http://schemas.microsoft.com/office/drawing/2014/main" id="{9BC7B3BB-D570-4076-BB11-50D6D0A50C43}"/>
              </a:ext>
            </a:extLst>
          </p:cNvPr>
          <p:cNvSpPr txBox="1"/>
          <p:nvPr/>
        </p:nvSpPr>
        <p:spPr>
          <a:xfrm>
            <a:off x="1163056" y="1999458"/>
            <a:ext cx="1832529" cy="830997"/>
          </a:xfrm>
          <a:prstGeom prst="rect">
            <a:avLst/>
          </a:prstGeom>
          <a:noFill/>
          <a:ln>
            <a:noFill/>
          </a:ln>
        </p:spPr>
        <p:txBody>
          <a:bodyPr wrap="square" rtlCol="0" anchor="ctr">
            <a:spAutoFit/>
          </a:bodyPr>
          <a:lstStyle/>
          <a:p>
            <a:pPr algn="ctr" defTabSz="1219080">
              <a:buClr>
                <a:srgbClr val="544F40"/>
              </a:buClr>
              <a:defRPr/>
            </a:pPr>
            <a:r>
              <a:rPr lang="vi-VN" sz="1200" b="1" noProof="0">
                <a:solidFill>
                  <a:srgbClr val="000000"/>
                </a:solidFill>
                <a:cs typeface="Noto Sans"/>
              </a:rPr>
              <a:t>Nhiễm VZV lần đầu: bệnh thủy đậu tạo miễn dịch tế bào đặc hiệu với VZV</a:t>
            </a:r>
          </a:p>
        </p:txBody>
      </p:sp>
      <p:sp>
        <p:nvSpPr>
          <p:cNvPr id="104" name="TextBox 103">
            <a:extLst>
              <a:ext uri="{FF2B5EF4-FFF2-40B4-BE49-F238E27FC236}">
                <a16:creationId xmlns:a16="http://schemas.microsoft.com/office/drawing/2014/main" id="{FE5F4BFD-5258-B368-5232-2C8E7953C022}"/>
              </a:ext>
            </a:extLst>
          </p:cNvPr>
          <p:cNvSpPr txBox="1"/>
          <p:nvPr/>
        </p:nvSpPr>
        <p:spPr>
          <a:xfrm>
            <a:off x="6230408" y="4434566"/>
            <a:ext cx="1560453" cy="246221"/>
          </a:xfrm>
          <a:prstGeom prst="rect">
            <a:avLst/>
          </a:prstGeom>
          <a:noFill/>
        </p:spPr>
        <p:txBody>
          <a:bodyPr wrap="square" rtlCol="0">
            <a:spAutoFit/>
          </a:bodyPr>
          <a:lstStyle/>
          <a:p>
            <a:pPr defTabSz="1219140">
              <a:buClr>
                <a:srgbClr val="544F40"/>
              </a:buClr>
              <a:defRPr/>
            </a:pPr>
            <a:r>
              <a:rPr lang="vi-VN" sz="1000" b="1" noProof="0">
                <a:solidFill>
                  <a:srgbClr val="000000"/>
                </a:solidFill>
                <a:cs typeface="Noto Sans"/>
              </a:rPr>
              <a:t>Bệnh Zona</a:t>
            </a:r>
          </a:p>
        </p:txBody>
      </p:sp>
      <p:sp>
        <p:nvSpPr>
          <p:cNvPr id="105" name="TextBox 104">
            <a:extLst>
              <a:ext uri="{FF2B5EF4-FFF2-40B4-BE49-F238E27FC236}">
                <a16:creationId xmlns:a16="http://schemas.microsoft.com/office/drawing/2014/main" id="{004CE523-F68A-992A-933F-C0EC3DC5C0EB}"/>
              </a:ext>
            </a:extLst>
          </p:cNvPr>
          <p:cNvSpPr txBox="1"/>
          <p:nvPr/>
        </p:nvSpPr>
        <p:spPr>
          <a:xfrm>
            <a:off x="8221971" y="4424199"/>
            <a:ext cx="1560453" cy="246221"/>
          </a:xfrm>
          <a:prstGeom prst="rect">
            <a:avLst/>
          </a:prstGeom>
          <a:noFill/>
        </p:spPr>
        <p:txBody>
          <a:bodyPr wrap="square" rtlCol="0">
            <a:spAutoFit/>
          </a:bodyPr>
          <a:lstStyle/>
          <a:p>
            <a:pPr defTabSz="1219140">
              <a:buClr>
                <a:srgbClr val="544F40"/>
              </a:buClr>
              <a:defRPr/>
            </a:pPr>
            <a:r>
              <a:rPr lang="vi-VN" sz="1000" b="1" noProof="0">
                <a:solidFill>
                  <a:srgbClr val="000000"/>
                </a:solidFill>
                <a:cs typeface="Noto Sans"/>
              </a:rPr>
              <a:t>Bệnh Zona</a:t>
            </a:r>
          </a:p>
        </p:txBody>
      </p:sp>
    </p:spTree>
    <p:extLst>
      <p:ext uri="{BB962C8B-B14F-4D97-AF65-F5344CB8AC3E}">
        <p14:creationId xmlns:p14="http://schemas.microsoft.com/office/powerpoint/2010/main" val="210997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6B082-1868-7F5A-DA5D-BA754B89C880}"/>
              </a:ext>
            </a:extLst>
          </p:cNvPr>
          <p:cNvSpPr>
            <a:spLocks noGrp="1"/>
          </p:cNvSpPr>
          <p:nvPr>
            <p:ph type="title"/>
          </p:nvPr>
        </p:nvSpPr>
        <p:spPr/>
        <p:txBody>
          <a:bodyPr/>
          <a:lstStyle/>
          <a:p>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BIẾN CHỨNG CỦA BỆNH ZONA (HZ)</a:t>
            </a:r>
            <a:b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vi-VN" noProof="0" dirty="0">
                <a:solidFill>
                  <a:srgbClr val="002060"/>
                </a:solidFill>
                <a:latin typeface="Calibri" panose="020F0502020204030204" pitchFamily="34" charset="0"/>
                <a:ea typeface="Calibri" panose="020F0502020204030204" pitchFamily="34" charset="0"/>
                <a:cs typeface="Calibri" panose="020F0502020204030204" pitchFamily="34" charset="0"/>
              </a:rPr>
              <a:t>Zona</a:t>
            </a:r>
            <a:r>
              <a:rPr lang="vi-VN" b="0" noProof="0" dirty="0">
                <a:solidFill>
                  <a:srgbClr val="002060"/>
                </a:solidFill>
                <a:latin typeface="Calibri" panose="020F0502020204030204" pitchFamily="34" charset="0"/>
                <a:ea typeface="Calibri" panose="020F0502020204030204" pitchFamily="34" charset="0"/>
                <a:cs typeface="Calibri" panose="020F0502020204030204" pitchFamily="34" charset="0"/>
              </a:rPr>
              <a:t> có thể dẫn đến nhiều biến chứng khác nhau ở bệnh nhân</a:t>
            </a:r>
            <a:r>
              <a:rPr lang="vi-VN" b="0" baseline="30000" noProof="0" dirty="0">
                <a:solidFill>
                  <a:srgbClr val="002060"/>
                </a:solidFill>
                <a:latin typeface="Calibri" panose="020F0502020204030204" pitchFamily="34" charset="0"/>
                <a:ea typeface="Calibri" panose="020F0502020204030204" pitchFamily="34" charset="0"/>
                <a:cs typeface="Calibri" panose="020F0502020204030204" pitchFamily="34" charset="0"/>
              </a:rPr>
              <a:t>1–9</a:t>
            </a:r>
            <a:r>
              <a:rPr lang="vi-VN" b="0" noProof="0" dirty="0">
                <a:solidFill>
                  <a:srgbClr val="002060"/>
                </a:solidFill>
                <a:latin typeface="Calibri" panose="020F0502020204030204" pitchFamily="34" charset="0"/>
                <a:ea typeface="Calibri" panose="020F0502020204030204" pitchFamily="34" charset="0"/>
                <a:cs typeface="Calibri" panose="020F0502020204030204" pitchFamily="34" charset="0"/>
              </a:rPr>
              <a:t>*</a:t>
            </a:r>
          </a:p>
        </p:txBody>
      </p:sp>
      <p:sp>
        <p:nvSpPr>
          <p:cNvPr id="4" name="Text Placeholder 3">
            <a:extLst>
              <a:ext uri="{FF2B5EF4-FFF2-40B4-BE49-F238E27FC236}">
                <a16:creationId xmlns:a16="http://schemas.microsoft.com/office/drawing/2014/main" id="{9E595C40-73B8-A974-AADF-E24154CACB6F}"/>
              </a:ext>
            </a:extLst>
          </p:cNvPr>
          <p:cNvSpPr>
            <a:spLocks noGrp="1"/>
          </p:cNvSpPr>
          <p:nvPr>
            <p:ph type="body" sz="quarter" idx="10"/>
          </p:nvPr>
        </p:nvSpPr>
        <p:spPr>
          <a:xfrm>
            <a:off x="190500" y="6381496"/>
            <a:ext cx="11163300" cy="476504"/>
          </a:xfrm>
        </p:spPr>
        <p:txBody>
          <a:bodyPr>
            <a:noAutofit/>
          </a:bodyPr>
          <a:lstStyle/>
          <a:p>
            <a:r>
              <a:rPr lang="vi-VN" sz="667" noProof="0"/>
              <a:t>*Study design, settings and sample sizes varied between included studies below; </a:t>
            </a:r>
            <a:r>
              <a:rPr lang="vi-VN" sz="667" baseline="30000" noProof="0"/>
              <a:t>†</a:t>
            </a:r>
            <a:r>
              <a:rPr lang="vi-VN" sz="667" noProof="0"/>
              <a:t>Data collected across 26 countries; the risk of PHN may have differed across countries due to the varying prevalence of disability and other underlying comorbidities in the elderly population;</a:t>
            </a:r>
            <a:r>
              <a:rPr lang="vi-VN" sz="667" baseline="30000" noProof="0"/>
              <a:t>3</a:t>
            </a:r>
            <a:r>
              <a:rPr lang="vi-VN" sz="667" noProof="0"/>
              <a:t> </a:t>
            </a:r>
            <a:r>
              <a:rPr lang="vi-VN" sz="667" baseline="30000" noProof="0"/>
              <a:t>‡</a:t>
            </a:r>
            <a:r>
              <a:rPr lang="vi-VN" sz="667" noProof="0"/>
              <a:t>Cumulative incidence up to 3 months after HZ. Only cohort studies with a control group included. Note, the risk of HZ-associated vascular events has been shown to persist for longer than 3 months post-HZ; </a:t>
            </a:r>
            <a:r>
              <a:rPr lang="vi-VN" sz="667" baseline="30000" noProof="0">
                <a:solidFill>
                  <a:schemeClr val="tx1"/>
                </a:solidFill>
              </a:rPr>
              <a:t>§</a:t>
            </a:r>
            <a:r>
              <a:rPr lang="vi-VN" sz="667" noProof="0"/>
              <a:t>Common ocular complications can include keratitis, uveitis/iritis, and conjunctivitis.</a:t>
            </a:r>
            <a:r>
              <a:rPr lang="vi-VN" sz="667" baseline="30000" noProof="0"/>
              <a:t>3 </a:t>
            </a:r>
            <a:br>
              <a:rPr lang="vi-VN" sz="667" noProof="0"/>
            </a:br>
            <a:r>
              <a:rPr lang="vi-VN" sz="667" noProof="0"/>
              <a:t>CVD, cardiovascular disease; HZ, herpes zoster; HZO, herpes zoster ophthalmicus; MI, myocardial infarction; PHN, post-herpetic neuralgia; TIA, transient ischaemic attack.</a:t>
            </a:r>
            <a:br>
              <a:rPr lang="vi-VN" sz="667" noProof="0"/>
            </a:br>
            <a:r>
              <a:rPr lang="vi-VN" sz="667" noProof="0"/>
              <a:t>1. Cohen JI et al. </a:t>
            </a:r>
            <a:r>
              <a:rPr lang="vi-VN" sz="667" i="1" noProof="0"/>
              <a:t>N Engl J Med</a:t>
            </a:r>
            <a:r>
              <a:rPr lang="vi-VN" sz="667" noProof="0"/>
              <a:t> 2013;369:255–263; 2. Harpaz R et al. </a:t>
            </a:r>
            <a:r>
              <a:rPr lang="vi-VN" sz="667" i="1" noProof="0"/>
              <a:t>MMWR Recomm Rep</a:t>
            </a:r>
            <a:r>
              <a:rPr lang="vi-VN" sz="667" noProof="0"/>
              <a:t> 2008;57:1–30; 3. Kawai K et al. </a:t>
            </a:r>
            <a:r>
              <a:rPr lang="vi-VN" sz="667" i="1" noProof="0"/>
              <a:t>BMJ Open</a:t>
            </a:r>
            <a:r>
              <a:rPr lang="vi-VN" sz="667" noProof="0"/>
              <a:t> 2014;4:e004833; 4. Yawn BP et al. </a:t>
            </a:r>
            <a:r>
              <a:rPr lang="vi-VN" sz="667" i="1" noProof="0"/>
              <a:t>Mayo Clin Proc</a:t>
            </a:r>
            <a:r>
              <a:rPr lang="vi-VN" sz="667" noProof="0"/>
              <a:t> 2007;82:1341–1349; 5. Forbes HJ et al. </a:t>
            </a:r>
            <a:r>
              <a:rPr lang="vi-VN" sz="667" i="1" noProof="0"/>
              <a:t>Br J Dermatol</a:t>
            </a:r>
            <a:r>
              <a:rPr lang="vi-VN" sz="667" noProof="0"/>
              <a:t> 2021;184:1077–1084; </a:t>
            </a:r>
            <a:br>
              <a:rPr lang="vi-VN" sz="667" noProof="0"/>
            </a:br>
            <a:r>
              <a:rPr lang="vi-VN" sz="667" noProof="0"/>
              <a:t>6. Patterson BJ et al. </a:t>
            </a:r>
            <a:r>
              <a:rPr lang="vi-VN" sz="667" i="1" noProof="0"/>
              <a:t>Mayo Clin Proc</a:t>
            </a:r>
            <a:r>
              <a:rPr lang="vi-VN" sz="667" noProof="0"/>
              <a:t> 2019;94:763–775; 7. Wang CC et al. </a:t>
            </a:r>
            <a:r>
              <a:rPr lang="vi-VN" sz="667" i="1" noProof="0"/>
              <a:t>Br J Dermatol</a:t>
            </a:r>
            <a:r>
              <a:rPr lang="vi-VN" sz="667" noProof="0"/>
              <a:t> 2014;170:1122–1129; 8. Parameswaran GI et al. </a:t>
            </a:r>
            <a:r>
              <a:rPr lang="vi-VN" sz="667" i="1" noProof="0"/>
              <a:t>Open Forum Infect Dis</a:t>
            </a:r>
            <a:r>
              <a:rPr lang="vi-VN" sz="667" noProof="0"/>
              <a:t> 2023;10:ofad137; 9. Giannelos N et al. </a:t>
            </a:r>
            <a:r>
              <a:rPr lang="vi-VN" sz="667" i="1" noProof="0"/>
              <a:t>Infect Dis Ther </a:t>
            </a:r>
            <a:r>
              <a:rPr lang="vi-VN" sz="667" noProof="0"/>
              <a:t>2024;doi:10.1007/s40121-024-01002-4. Online ahead of print.</a:t>
            </a:r>
          </a:p>
        </p:txBody>
      </p:sp>
      <p:grpSp>
        <p:nvGrpSpPr>
          <p:cNvPr id="18" name="Group 17">
            <a:extLst>
              <a:ext uri="{FF2B5EF4-FFF2-40B4-BE49-F238E27FC236}">
                <a16:creationId xmlns:a16="http://schemas.microsoft.com/office/drawing/2014/main" id="{B7BD4AF0-B6AE-F36E-C60D-825C68B1A2A0}"/>
              </a:ext>
            </a:extLst>
          </p:cNvPr>
          <p:cNvGrpSpPr/>
          <p:nvPr/>
        </p:nvGrpSpPr>
        <p:grpSpPr>
          <a:xfrm>
            <a:off x="373099" y="3489419"/>
            <a:ext cx="3600000" cy="1440000"/>
            <a:chOff x="373098" y="2647566"/>
            <a:chExt cx="3600000" cy="1440000"/>
          </a:xfrm>
        </p:grpSpPr>
        <p:sp>
          <p:nvSpPr>
            <p:cNvPr id="15" name="TextBox 14">
              <a:extLst>
                <a:ext uri="{FF2B5EF4-FFF2-40B4-BE49-F238E27FC236}">
                  <a16:creationId xmlns:a16="http://schemas.microsoft.com/office/drawing/2014/main" id="{70B1653F-E3DA-EF4B-BD34-51E35CA9FF7B}"/>
                </a:ext>
              </a:extLst>
            </p:cNvPr>
            <p:cNvSpPr txBox="1"/>
            <p:nvPr/>
          </p:nvSpPr>
          <p:spPr>
            <a:xfrm>
              <a:off x="373098" y="2647566"/>
              <a:ext cx="3600000" cy="1440000"/>
            </a:xfrm>
            <a:prstGeom prst="rect">
              <a:avLst/>
            </a:prstGeom>
            <a:solidFill>
              <a:schemeClr val="bg1">
                <a:lumMod val="95000"/>
              </a:schemeClr>
            </a:solidFill>
            <a:ln w="12700">
              <a:noFill/>
            </a:ln>
          </p:spPr>
          <p:txBody>
            <a:bodyPr wrap="square" lIns="72000" tIns="72000" rIns="72000" bIns="72000" rtlCol="0" anchor="ctr">
              <a:noAutofit/>
            </a:bodyPr>
            <a:lstStyle/>
            <a:p>
              <a:pPr algn="ctr" defTabSz="1219140">
                <a:spcBef>
                  <a:spcPts val="300"/>
                </a:spcBef>
                <a:spcAft>
                  <a:spcPts val="300"/>
                </a:spcAft>
                <a:buClr>
                  <a:srgbClr val="F36633"/>
                </a:buClr>
                <a:buSzPct val="110000"/>
                <a:defRPr/>
              </a:pP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noProof="0">
                  <a:solidFill>
                    <a:srgbClr val="000000"/>
                  </a:solidFill>
                  <a:latin typeface="Arial"/>
                  <a:cs typeface="Arial"/>
                </a:rPr>
                <a:t>Đột quỵ, TIA, nhồi máu cơ tim và các bệnh lý tim mạch khác</a:t>
              </a:r>
            </a:p>
            <a:p>
              <a:pPr algn="ctr" defTabSz="1219140">
                <a:spcBef>
                  <a:spcPts val="300"/>
                </a:spcBef>
                <a:spcAft>
                  <a:spcPts val="300"/>
                </a:spcAft>
                <a:buClr>
                  <a:srgbClr val="F36633"/>
                </a:buClr>
                <a:buSzPct val="110000"/>
                <a:defRPr/>
              </a:pPr>
              <a:r>
                <a:rPr lang="vi-VN" b="1" noProof="0">
                  <a:solidFill>
                    <a:srgbClr val="69B445">
                      <a:lumMod val="75000"/>
                    </a:srgbClr>
                  </a:solidFill>
                  <a:latin typeface="Arial"/>
                  <a:cs typeface="Arial"/>
                </a:rPr>
                <a:t>0.1–0.74%</a:t>
              </a:r>
              <a:br>
                <a:rPr lang="vi-VN" sz="1400" b="1" noProof="0">
                  <a:solidFill>
                    <a:srgbClr val="6658A6"/>
                  </a:solidFill>
                  <a:latin typeface="Arial"/>
                  <a:cs typeface="Arial"/>
                </a:rPr>
              </a:br>
              <a:r>
                <a:rPr lang="vi-VN" sz="1200" noProof="0">
                  <a:solidFill>
                    <a:srgbClr val="000000"/>
                  </a:solidFill>
                  <a:latin typeface="Arial"/>
                  <a:cs typeface="Arial"/>
                </a:rPr>
                <a:t>bệnh nhân tiến triển đột quỵ hoặc MI</a:t>
              </a:r>
              <a:br>
                <a:rPr lang="vi-VN" sz="1200" noProof="0">
                  <a:solidFill>
                    <a:srgbClr val="000000"/>
                  </a:solidFill>
                  <a:latin typeface="Arial"/>
                  <a:cs typeface="Arial"/>
                </a:rPr>
              </a:br>
              <a:r>
                <a:rPr lang="vi-VN" sz="1200" noProof="0">
                  <a:solidFill>
                    <a:srgbClr val="000000"/>
                  </a:solidFill>
                  <a:latin typeface="Arial"/>
                  <a:cs typeface="Arial"/>
                </a:rPr>
                <a:t>trong vòng 3 tháng sau HZ</a:t>
              </a:r>
              <a:r>
                <a:rPr lang="vi-VN" sz="1200" baseline="30000" noProof="0">
                  <a:solidFill>
                    <a:srgbClr val="000000"/>
                  </a:solidFill>
                  <a:latin typeface="Arial"/>
                  <a:cs typeface="Arial"/>
                </a:rPr>
                <a:t>4–8‡</a:t>
              </a:r>
            </a:p>
          </p:txBody>
        </p:sp>
        <p:pic>
          <p:nvPicPr>
            <p:cNvPr id="35" name="Graphic 34" descr="Heart organ with solid fill">
              <a:extLst>
                <a:ext uri="{FF2B5EF4-FFF2-40B4-BE49-F238E27FC236}">
                  <a16:creationId xmlns:a16="http://schemas.microsoft.com/office/drawing/2014/main" id="{D3D6D689-FAAF-BF91-95FF-87BD703092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9242" y="3494769"/>
              <a:ext cx="500543" cy="500543"/>
            </a:xfrm>
            <a:prstGeom prst="rect">
              <a:avLst/>
            </a:prstGeom>
          </p:spPr>
        </p:pic>
        <p:sp>
          <p:nvSpPr>
            <p:cNvPr id="45" name="TextBox 44">
              <a:extLst>
                <a:ext uri="{FF2B5EF4-FFF2-40B4-BE49-F238E27FC236}">
                  <a16:creationId xmlns:a16="http://schemas.microsoft.com/office/drawing/2014/main" id="{C56EFE95-E999-469D-8338-4CDF4880490F}"/>
                </a:ext>
              </a:extLst>
            </p:cNvPr>
            <p:cNvSpPr txBox="1"/>
            <p:nvPr/>
          </p:nvSpPr>
          <p:spPr>
            <a:xfrm>
              <a:off x="1510769" y="2667753"/>
              <a:ext cx="1342785" cy="307777"/>
            </a:xfrm>
            <a:prstGeom prst="rect">
              <a:avLst/>
            </a:prstGeom>
            <a:noFill/>
            <a:ln>
              <a:noFill/>
            </a:ln>
          </p:spPr>
          <p:txBody>
            <a:bodyPr wrap="square">
              <a:spAutoFit/>
            </a:bodyPr>
            <a:lstStyle/>
            <a:p>
              <a:pPr algn="ctr" defTabSz="1219140">
                <a:defRPr/>
              </a:pPr>
              <a:r>
                <a:rPr lang="vi-VN" sz="1400" b="1" kern="0" noProof="0" dirty="0">
                  <a:solidFill>
                    <a:srgbClr val="69B445">
                      <a:lumMod val="75000"/>
                    </a:srgbClr>
                  </a:solidFill>
                  <a:highlight>
                    <a:srgbClr val="FFFF00"/>
                  </a:highlight>
                  <a:latin typeface="Arial"/>
                  <a:cs typeface="Arial"/>
                </a:rPr>
                <a:t>Mạch máu</a:t>
              </a:r>
              <a:endParaRPr lang="vi-VN" sz="1400" noProof="0" dirty="0">
                <a:solidFill>
                  <a:srgbClr val="69B445">
                    <a:lumMod val="75000"/>
                  </a:srgbClr>
                </a:solidFill>
                <a:highlight>
                  <a:srgbClr val="FFFF00"/>
                </a:highlight>
                <a:latin typeface="Arial"/>
                <a:cs typeface="Arial"/>
              </a:endParaRPr>
            </a:p>
          </p:txBody>
        </p:sp>
      </p:grpSp>
      <p:grpSp>
        <p:nvGrpSpPr>
          <p:cNvPr id="7" name="Group 6">
            <a:extLst>
              <a:ext uri="{FF2B5EF4-FFF2-40B4-BE49-F238E27FC236}">
                <a16:creationId xmlns:a16="http://schemas.microsoft.com/office/drawing/2014/main" id="{ACD136B2-94CF-F94A-10E8-0500FAB3A2B6}"/>
              </a:ext>
            </a:extLst>
          </p:cNvPr>
          <p:cNvGrpSpPr/>
          <p:nvPr/>
        </p:nvGrpSpPr>
        <p:grpSpPr>
          <a:xfrm>
            <a:off x="8142759" y="3492271"/>
            <a:ext cx="3600000" cy="1495239"/>
            <a:chOff x="8142758" y="2650419"/>
            <a:chExt cx="3600000" cy="1495238"/>
          </a:xfrm>
        </p:grpSpPr>
        <p:sp>
          <p:nvSpPr>
            <p:cNvPr id="17" name="TextBox 16">
              <a:extLst>
                <a:ext uri="{FF2B5EF4-FFF2-40B4-BE49-F238E27FC236}">
                  <a16:creationId xmlns:a16="http://schemas.microsoft.com/office/drawing/2014/main" id="{EB2A2B65-E195-D502-6573-010FE3389D6C}"/>
                </a:ext>
              </a:extLst>
            </p:cNvPr>
            <p:cNvSpPr txBox="1"/>
            <p:nvPr/>
          </p:nvSpPr>
          <p:spPr>
            <a:xfrm>
              <a:off x="8142758" y="2650419"/>
              <a:ext cx="3600000" cy="1440000"/>
            </a:xfrm>
            <a:prstGeom prst="rect">
              <a:avLst/>
            </a:prstGeom>
            <a:solidFill>
              <a:schemeClr val="bg1">
                <a:lumMod val="95000"/>
              </a:schemeClr>
            </a:solidFill>
            <a:ln w="12700">
              <a:noFill/>
            </a:ln>
          </p:spPr>
          <p:txBody>
            <a:bodyPr wrap="square" lIns="72000" tIns="432000" rIns="72000" bIns="432000" numCol="2" rtlCol="0" anchor="ctr">
              <a:noAutofit/>
            </a:bodyPr>
            <a:lstStyle/>
            <a:p>
              <a:pPr algn="ctr" defTabSz="1219140">
                <a:spcBef>
                  <a:spcPts val="300"/>
                </a:spcBef>
                <a:spcAft>
                  <a:spcPts val="300"/>
                </a:spcAft>
                <a:buClr>
                  <a:srgbClr val="F36633"/>
                </a:buClr>
                <a:buSzPct val="110000"/>
                <a:defRPr/>
              </a:pP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noProof="0">
                  <a:solidFill>
                    <a:srgbClr val="000000"/>
                  </a:solidFill>
                  <a:latin typeface="Arial"/>
                  <a:cs typeface="Arial"/>
                </a:rPr>
                <a:t>HZO xảy ra ở</a:t>
              </a:r>
              <a:br>
                <a:rPr lang="vi-VN" sz="1200" noProof="0">
                  <a:solidFill>
                    <a:srgbClr val="000000"/>
                  </a:solidFill>
                  <a:latin typeface="Arial"/>
                  <a:cs typeface="Arial"/>
                </a:rPr>
              </a:br>
              <a:r>
                <a:rPr lang="vi-VN" b="1" noProof="0">
                  <a:solidFill>
                    <a:srgbClr val="E21860">
                      <a:lumMod val="75000"/>
                    </a:srgbClr>
                  </a:solidFill>
                  <a:latin typeface="Arial"/>
                  <a:cs typeface="Arial"/>
                </a:rPr>
                <a:t>1.4–15.9%</a:t>
              </a:r>
              <a:br>
                <a:rPr lang="vi-VN" sz="1400" b="1" noProof="0">
                  <a:solidFill>
                    <a:srgbClr val="6658A6"/>
                  </a:solidFill>
                  <a:latin typeface="Arial"/>
                  <a:cs typeface="Arial"/>
                </a:rPr>
              </a:br>
              <a:r>
                <a:rPr lang="vi-VN" sz="1200" noProof="0">
                  <a:solidFill>
                    <a:srgbClr val="000000"/>
                  </a:solidFill>
                  <a:latin typeface="Arial"/>
                  <a:cs typeface="Arial"/>
                </a:rPr>
                <a:t>trường hợp bệnh nhân mắc HZ</a:t>
              </a:r>
              <a:r>
                <a:rPr lang="vi-VN" sz="1200" baseline="30000" noProof="0">
                  <a:solidFill>
                    <a:srgbClr val="000000"/>
                  </a:solidFill>
                  <a:latin typeface="Arial"/>
                  <a:cs typeface="Arial"/>
                </a:rPr>
                <a:t>9</a:t>
              </a:r>
            </a:p>
            <a:p>
              <a:pPr algn="ctr" defTabSz="1219140">
                <a:spcBef>
                  <a:spcPts val="300"/>
                </a:spcBef>
                <a:spcAft>
                  <a:spcPts val="300"/>
                </a:spcAft>
                <a:buClr>
                  <a:srgbClr val="F36633"/>
                </a:buClr>
                <a:buSzPct val="110000"/>
                <a:defRPr/>
              </a:pPr>
              <a:endParaRPr lang="vi-VN" sz="1200" kern="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kern="0" noProof="0">
                  <a:solidFill>
                    <a:srgbClr val="000000"/>
                  </a:solidFill>
                  <a:latin typeface="Arial"/>
                  <a:cs typeface="Arial"/>
                </a:rPr>
                <a:t>Các biến chứng mắt</a:t>
              </a:r>
              <a:br>
                <a:rPr lang="vi-VN" sz="1200" kern="0" noProof="0">
                  <a:solidFill>
                    <a:srgbClr val="000000"/>
                  </a:solidFill>
                  <a:latin typeface="Arial"/>
                  <a:cs typeface="Arial"/>
                </a:rPr>
              </a:br>
              <a:r>
                <a:rPr lang="vi-VN" sz="1200" kern="0" noProof="0">
                  <a:solidFill>
                    <a:srgbClr val="000000"/>
                  </a:solidFill>
                  <a:latin typeface="Arial"/>
                  <a:cs typeface="Arial"/>
                </a:rPr>
                <a:t>xảy ra ở</a:t>
              </a:r>
              <a:br>
                <a:rPr lang="vi-VN" sz="1200" kern="0" noProof="0">
                  <a:solidFill>
                    <a:srgbClr val="000000"/>
                  </a:solidFill>
                  <a:latin typeface="Arial"/>
                  <a:cs typeface="Arial"/>
                </a:rPr>
              </a:br>
              <a:r>
                <a:rPr lang="vi-VN" b="1" kern="0" noProof="0">
                  <a:solidFill>
                    <a:srgbClr val="E21860">
                      <a:lumMod val="75000"/>
                    </a:srgbClr>
                  </a:solidFill>
                  <a:latin typeface="Arial"/>
                  <a:cs typeface="Arial"/>
                </a:rPr>
                <a:t>30–78%</a:t>
              </a:r>
              <a:r>
                <a:rPr lang="vi-VN" sz="1200" b="1" kern="0" noProof="0">
                  <a:solidFill>
                    <a:srgbClr val="E21860">
                      <a:lumMod val="75000"/>
                    </a:srgbClr>
                  </a:solidFill>
                  <a:latin typeface="Arial"/>
                  <a:cs typeface="Arial"/>
                </a:rPr>
                <a:t> </a:t>
              </a:r>
              <a:br>
                <a:rPr lang="vi-VN" sz="1200" b="1" kern="0" noProof="0">
                  <a:solidFill>
                    <a:srgbClr val="959595"/>
                  </a:solidFill>
                  <a:latin typeface="Arial"/>
                  <a:cs typeface="Arial"/>
                </a:rPr>
              </a:br>
              <a:r>
                <a:rPr lang="vi-VN" sz="1200" kern="0" noProof="0">
                  <a:solidFill>
                    <a:srgbClr val="000000"/>
                  </a:solidFill>
                  <a:latin typeface="Arial"/>
                  <a:cs typeface="Arial"/>
                </a:rPr>
                <a:t>trường hợp bệnh nhân mắc HZO</a:t>
              </a:r>
              <a:r>
                <a:rPr lang="vi-VN" sz="1200" kern="0" baseline="30000" noProof="0">
                  <a:solidFill>
                    <a:srgbClr val="000000"/>
                  </a:solidFill>
                  <a:latin typeface="Arial"/>
                  <a:cs typeface="Arial"/>
                </a:rPr>
                <a:t>3</a:t>
              </a:r>
              <a:r>
                <a:rPr lang="vi-VN" sz="1200" baseline="30000" noProof="0">
                  <a:solidFill>
                    <a:srgbClr val="000000"/>
                  </a:solidFill>
                  <a:latin typeface="Arial"/>
                  <a:cs typeface="Arial"/>
                </a:rPr>
                <a:t>§</a:t>
              </a:r>
              <a:r>
                <a:rPr lang="vi-VN" sz="1200" noProof="0">
                  <a:solidFill>
                    <a:srgbClr val="000000"/>
                  </a:solidFill>
                  <a:latin typeface="Arial"/>
                  <a:cs typeface="Arial"/>
                </a:rPr>
                <a:t> </a:t>
              </a:r>
            </a:p>
          </p:txBody>
        </p:sp>
        <p:cxnSp>
          <p:nvCxnSpPr>
            <p:cNvPr id="24" name="Straight Connector 23">
              <a:extLst>
                <a:ext uri="{FF2B5EF4-FFF2-40B4-BE49-F238E27FC236}">
                  <a16:creationId xmlns:a16="http://schemas.microsoft.com/office/drawing/2014/main" id="{390C6E21-0D20-F18E-B1D0-5D1AA4D0542E}"/>
                </a:ext>
              </a:extLst>
            </p:cNvPr>
            <p:cNvCxnSpPr>
              <a:cxnSpLocks/>
            </p:cNvCxnSpPr>
            <p:nvPr/>
          </p:nvCxnSpPr>
          <p:spPr>
            <a:xfrm>
              <a:off x="9942758" y="3016679"/>
              <a:ext cx="0" cy="989835"/>
            </a:xfrm>
            <a:prstGeom prst="line">
              <a:avLst/>
            </a:prstGeom>
            <a:ln w="9525" cap="rnd">
              <a:noFill/>
            </a:ln>
          </p:spPr>
          <p:style>
            <a:lnRef idx="1">
              <a:schemeClr val="accent1"/>
            </a:lnRef>
            <a:fillRef idx="0">
              <a:schemeClr val="accent1"/>
            </a:fillRef>
            <a:effectRef idx="0">
              <a:schemeClr val="accent1"/>
            </a:effectRef>
            <a:fontRef idx="minor">
              <a:schemeClr val="tx1"/>
            </a:fontRef>
          </p:style>
        </p:cxnSp>
        <p:pic>
          <p:nvPicPr>
            <p:cNvPr id="36" name="Graphic 35" descr="Eye with solid fill">
              <a:extLst>
                <a:ext uri="{FF2B5EF4-FFF2-40B4-BE49-F238E27FC236}">
                  <a16:creationId xmlns:a16="http://schemas.microsoft.com/office/drawing/2014/main" id="{A4D37E3A-861A-2021-DA97-7DA60B3C97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92769" y="3645114"/>
              <a:ext cx="500543" cy="500543"/>
            </a:xfrm>
            <a:prstGeom prst="rect">
              <a:avLst/>
            </a:prstGeom>
          </p:spPr>
        </p:pic>
        <p:sp>
          <p:nvSpPr>
            <p:cNvPr id="46" name="TextBox 45">
              <a:extLst>
                <a:ext uri="{FF2B5EF4-FFF2-40B4-BE49-F238E27FC236}">
                  <a16:creationId xmlns:a16="http://schemas.microsoft.com/office/drawing/2014/main" id="{E7D34DEC-0A8B-43EB-B550-621FF91A0372}"/>
                </a:ext>
              </a:extLst>
            </p:cNvPr>
            <p:cNvSpPr txBox="1"/>
            <p:nvPr/>
          </p:nvSpPr>
          <p:spPr>
            <a:xfrm>
              <a:off x="9538794" y="2663252"/>
              <a:ext cx="807931" cy="307777"/>
            </a:xfrm>
            <a:prstGeom prst="rect">
              <a:avLst/>
            </a:prstGeom>
            <a:noFill/>
            <a:ln>
              <a:noFill/>
            </a:ln>
          </p:spPr>
          <p:txBody>
            <a:bodyPr wrap="square">
              <a:spAutoFit/>
            </a:bodyPr>
            <a:lstStyle/>
            <a:p>
              <a:pPr algn="ctr" defTabSz="1219140">
                <a:defRPr/>
              </a:pPr>
              <a:r>
                <a:rPr lang="vi-VN" sz="1400" b="1" kern="0" noProof="0">
                  <a:solidFill>
                    <a:srgbClr val="E21860">
                      <a:lumMod val="75000"/>
                    </a:srgbClr>
                  </a:solidFill>
                  <a:latin typeface="Arial"/>
                  <a:cs typeface="Arial"/>
                </a:rPr>
                <a:t>Mắt</a:t>
              </a:r>
              <a:endParaRPr lang="vi-VN" sz="1400" noProof="0">
                <a:solidFill>
                  <a:srgbClr val="E21860">
                    <a:lumMod val="75000"/>
                  </a:srgbClr>
                </a:solidFill>
                <a:latin typeface="Arial"/>
                <a:cs typeface="Arial"/>
              </a:endParaRPr>
            </a:p>
          </p:txBody>
        </p:sp>
      </p:grpSp>
      <p:grpSp>
        <p:nvGrpSpPr>
          <p:cNvPr id="16" name="Group 15">
            <a:extLst>
              <a:ext uri="{FF2B5EF4-FFF2-40B4-BE49-F238E27FC236}">
                <a16:creationId xmlns:a16="http://schemas.microsoft.com/office/drawing/2014/main" id="{A5B3FEA8-7026-BF57-E817-8283B8832440}"/>
              </a:ext>
            </a:extLst>
          </p:cNvPr>
          <p:cNvGrpSpPr/>
          <p:nvPr/>
        </p:nvGrpSpPr>
        <p:grpSpPr>
          <a:xfrm>
            <a:off x="348355" y="1654889"/>
            <a:ext cx="3600000" cy="1411092"/>
            <a:chOff x="348355" y="1133355"/>
            <a:chExt cx="3600000" cy="1411092"/>
          </a:xfrm>
        </p:grpSpPr>
        <p:sp>
          <p:nvSpPr>
            <p:cNvPr id="21" name="TextBox 20">
              <a:extLst>
                <a:ext uri="{FF2B5EF4-FFF2-40B4-BE49-F238E27FC236}">
                  <a16:creationId xmlns:a16="http://schemas.microsoft.com/office/drawing/2014/main" id="{95CB7802-D364-07A0-4658-6A953906098D}"/>
                </a:ext>
              </a:extLst>
            </p:cNvPr>
            <p:cNvSpPr txBox="1"/>
            <p:nvPr/>
          </p:nvSpPr>
          <p:spPr>
            <a:xfrm>
              <a:off x="348355" y="1133355"/>
              <a:ext cx="3600000" cy="1411092"/>
            </a:xfrm>
            <a:prstGeom prst="rect">
              <a:avLst/>
            </a:prstGeom>
            <a:solidFill>
              <a:schemeClr val="bg1">
                <a:lumMod val="95000"/>
              </a:schemeClr>
            </a:solidFill>
            <a:ln w="12700">
              <a:noFill/>
            </a:ln>
          </p:spPr>
          <p:txBody>
            <a:bodyPr wrap="square" lIns="72000" tIns="72000" rIns="72000" bIns="72000" rtlCol="0" anchor="ctr">
              <a:noAutofit/>
            </a:bodyPr>
            <a:lstStyle/>
            <a:p>
              <a:pPr algn="ctr" defTabSz="1219140">
                <a:spcBef>
                  <a:spcPts val="300"/>
                </a:spcBef>
                <a:spcAft>
                  <a:spcPts val="300"/>
                </a:spcAft>
                <a:buClr>
                  <a:srgbClr val="F36633"/>
                </a:buClr>
                <a:buSzPct val="110000"/>
                <a:defRPr/>
              </a:pP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noProof="0">
                  <a:solidFill>
                    <a:srgbClr val="000000"/>
                  </a:solidFill>
                  <a:latin typeface="Arial"/>
                  <a:cs typeface="Arial"/>
                </a:rPr>
                <a:t>Đau thần kinh kéo dài ≥90 ngày</a:t>
              </a:r>
              <a:br>
                <a:rPr lang="vi-VN" sz="1200" noProof="0">
                  <a:solidFill>
                    <a:srgbClr val="000000"/>
                  </a:solidFill>
                  <a:latin typeface="Arial"/>
                  <a:cs typeface="Arial"/>
                </a:rPr>
              </a:br>
              <a:r>
                <a:rPr lang="vi-VN" sz="1200" noProof="0">
                  <a:solidFill>
                    <a:srgbClr val="000000"/>
                  </a:solidFill>
                  <a:latin typeface="Arial"/>
                  <a:cs typeface="Arial"/>
                </a:rPr>
                <a:t>sau khi khởi phát ban zona</a:t>
              </a:r>
              <a:r>
                <a:rPr lang="vi-VN" sz="1200" baseline="30000" noProof="0">
                  <a:solidFill>
                    <a:srgbClr val="000000"/>
                  </a:solidFill>
                  <a:latin typeface="Arial"/>
                  <a:cs typeface="Arial"/>
                </a:rPr>
                <a:t>1,2</a:t>
              </a:r>
            </a:p>
            <a:p>
              <a:pPr algn="ctr" defTabSz="1219140">
                <a:spcBef>
                  <a:spcPts val="300"/>
                </a:spcBef>
                <a:spcAft>
                  <a:spcPts val="300"/>
                </a:spcAft>
                <a:buClr>
                  <a:srgbClr val="F36633"/>
                </a:buClr>
                <a:buSzPct val="110000"/>
                <a:defRPr/>
              </a:pPr>
              <a:r>
                <a:rPr lang="vi-VN" b="1" noProof="0">
                  <a:solidFill>
                    <a:srgbClr val="6658A6">
                      <a:lumMod val="75000"/>
                    </a:srgbClr>
                  </a:solidFill>
                  <a:latin typeface="Arial"/>
                  <a:cs typeface="Arial"/>
                </a:rPr>
                <a:t>5% đến &gt;30%</a:t>
              </a:r>
              <a:r>
                <a:rPr lang="vi-VN" b="1" baseline="30000" noProof="0">
                  <a:solidFill>
                    <a:srgbClr val="6658A6">
                      <a:lumMod val="75000"/>
                    </a:srgbClr>
                  </a:solidFill>
                  <a:latin typeface="Arial"/>
                  <a:cs typeface="Arial"/>
                </a:rPr>
                <a:t>†</a:t>
              </a:r>
              <a:br>
                <a:rPr lang="vi-VN" sz="1400" b="1" noProof="0">
                  <a:solidFill>
                    <a:srgbClr val="6658A6"/>
                  </a:solidFill>
                  <a:latin typeface="Arial"/>
                  <a:cs typeface="Arial"/>
                </a:rPr>
              </a:br>
              <a:r>
                <a:rPr lang="vi-VN" sz="1200" noProof="0">
                  <a:solidFill>
                    <a:srgbClr val="000000"/>
                  </a:solidFill>
                  <a:latin typeface="Arial"/>
                  <a:cs typeface="Arial"/>
                </a:rPr>
                <a:t>trường hợp bệnh nhân mắc HZ</a:t>
              </a:r>
              <a:r>
                <a:rPr lang="vi-VN" sz="1200" baseline="30000" noProof="0">
                  <a:solidFill>
                    <a:srgbClr val="000000"/>
                  </a:solidFill>
                  <a:latin typeface="Arial"/>
                  <a:cs typeface="Arial"/>
                </a:rPr>
                <a:t>3</a:t>
              </a:r>
              <a:r>
                <a:rPr lang="vi-VN" sz="1200" noProof="0">
                  <a:solidFill>
                    <a:srgbClr val="000000"/>
                  </a:solidFill>
                  <a:latin typeface="Arial"/>
                  <a:cs typeface="Arial"/>
                </a:rPr>
                <a:t> </a:t>
              </a:r>
            </a:p>
          </p:txBody>
        </p:sp>
        <p:pic>
          <p:nvPicPr>
            <p:cNvPr id="31" name="Graphic 30" descr="Nerve with solid fill">
              <a:extLst>
                <a:ext uri="{FF2B5EF4-FFF2-40B4-BE49-F238E27FC236}">
                  <a16:creationId xmlns:a16="http://schemas.microsoft.com/office/drawing/2014/main" id="{0080257D-E564-FC91-845B-CE17E9C614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5036" y="1907993"/>
              <a:ext cx="500543" cy="500543"/>
            </a:xfrm>
            <a:prstGeom prst="rect">
              <a:avLst/>
            </a:prstGeom>
          </p:spPr>
        </p:pic>
        <p:sp>
          <p:nvSpPr>
            <p:cNvPr id="47" name="TextBox 46">
              <a:extLst>
                <a:ext uri="{FF2B5EF4-FFF2-40B4-BE49-F238E27FC236}">
                  <a16:creationId xmlns:a16="http://schemas.microsoft.com/office/drawing/2014/main" id="{AA8D69A9-8D66-B32C-BB56-B75E2B7007AD}"/>
                </a:ext>
              </a:extLst>
            </p:cNvPr>
            <p:cNvSpPr txBox="1"/>
            <p:nvPr/>
          </p:nvSpPr>
          <p:spPr>
            <a:xfrm>
              <a:off x="740664" y="1150416"/>
              <a:ext cx="2981162" cy="307777"/>
            </a:xfrm>
            <a:prstGeom prst="rect">
              <a:avLst/>
            </a:prstGeom>
            <a:noFill/>
          </p:spPr>
          <p:txBody>
            <a:bodyPr wrap="square">
              <a:spAutoFit/>
            </a:bodyPr>
            <a:lstStyle/>
            <a:p>
              <a:pPr algn="ctr" defTabSz="1219140">
                <a:defRPr/>
              </a:pPr>
              <a:r>
                <a:rPr lang="vi-VN" sz="1400" b="1" kern="0" noProof="0">
                  <a:solidFill>
                    <a:srgbClr val="6658A6">
                      <a:lumMod val="75000"/>
                    </a:srgbClr>
                  </a:solidFill>
                  <a:latin typeface="Arial"/>
                  <a:cs typeface="Arial"/>
                </a:rPr>
                <a:t>Đau thần kinh sau zona (PHN)</a:t>
              </a:r>
              <a:endParaRPr lang="vi-VN" sz="1400" noProof="0">
                <a:solidFill>
                  <a:srgbClr val="6658A6">
                    <a:lumMod val="75000"/>
                  </a:srgbClr>
                </a:solidFill>
                <a:latin typeface="Arial"/>
                <a:cs typeface="Arial"/>
              </a:endParaRPr>
            </a:p>
          </p:txBody>
        </p:sp>
      </p:grpSp>
      <p:grpSp>
        <p:nvGrpSpPr>
          <p:cNvPr id="10" name="Group 9">
            <a:extLst>
              <a:ext uri="{FF2B5EF4-FFF2-40B4-BE49-F238E27FC236}">
                <a16:creationId xmlns:a16="http://schemas.microsoft.com/office/drawing/2014/main" id="{AA6043F5-8C7D-782C-8420-25C5438C999D}"/>
              </a:ext>
            </a:extLst>
          </p:cNvPr>
          <p:cNvGrpSpPr/>
          <p:nvPr/>
        </p:nvGrpSpPr>
        <p:grpSpPr>
          <a:xfrm>
            <a:off x="7876419" y="1654908"/>
            <a:ext cx="3866340" cy="1431699"/>
            <a:chOff x="7876418" y="1133374"/>
            <a:chExt cx="3866340" cy="1431699"/>
          </a:xfrm>
        </p:grpSpPr>
        <p:sp>
          <p:nvSpPr>
            <p:cNvPr id="19" name="TextBox 18">
              <a:extLst>
                <a:ext uri="{FF2B5EF4-FFF2-40B4-BE49-F238E27FC236}">
                  <a16:creationId xmlns:a16="http://schemas.microsoft.com/office/drawing/2014/main" id="{3DC3B445-22FA-233F-9144-FE39D2E05404}"/>
                </a:ext>
              </a:extLst>
            </p:cNvPr>
            <p:cNvSpPr txBox="1"/>
            <p:nvPr/>
          </p:nvSpPr>
          <p:spPr>
            <a:xfrm>
              <a:off x="7876418" y="1133374"/>
              <a:ext cx="3866340" cy="1416778"/>
            </a:xfrm>
            <a:prstGeom prst="rect">
              <a:avLst/>
            </a:prstGeom>
            <a:solidFill>
              <a:schemeClr val="bg1">
                <a:lumMod val="95000"/>
              </a:schemeClr>
            </a:solidFill>
            <a:ln w="12700">
              <a:noFill/>
            </a:ln>
          </p:spPr>
          <p:txBody>
            <a:bodyPr wrap="square" lIns="72000" tIns="72000" rIns="72000" bIns="72000" rtlCol="0" anchor="ctr">
              <a:noAutofit/>
            </a:bodyPr>
            <a:lstStyle/>
            <a:p>
              <a:pPr algn="ctr" defTabSz="1219140">
                <a:spcBef>
                  <a:spcPts val="300"/>
                </a:spcBef>
                <a:spcAft>
                  <a:spcPts val="300"/>
                </a:spcAft>
                <a:buClr>
                  <a:srgbClr val="F36633"/>
                </a:buClr>
                <a:buSzPct val="110000"/>
                <a:defRPr/>
              </a:pP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noProof="0"/>
                <a:t>Viêm não, viêm màng não, liệt dây thần kinh, hội chứng Ramsay Hunt, liệt nửa người, yếu vận động, mất thính lực đột ngột và các biến chứng khác</a:t>
              </a: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b="1" noProof="0">
                  <a:solidFill>
                    <a:srgbClr val="244EA2">
                      <a:lumMod val="75000"/>
                    </a:srgbClr>
                  </a:solidFill>
                  <a:latin typeface="Arial"/>
                  <a:cs typeface="Arial"/>
                </a:rPr>
                <a:t>0.6–3.24%</a:t>
              </a:r>
              <a:br>
                <a:rPr lang="vi-VN" sz="1600" b="1" noProof="0">
                  <a:solidFill>
                    <a:srgbClr val="244EA2"/>
                  </a:solidFill>
                  <a:latin typeface="Arial"/>
                  <a:cs typeface="Arial"/>
                </a:rPr>
              </a:br>
              <a:r>
                <a:rPr lang="vi-VN" sz="1200" noProof="0">
                  <a:solidFill>
                    <a:srgbClr val="000000"/>
                  </a:solidFill>
                  <a:latin typeface="Arial"/>
                  <a:cs typeface="Arial"/>
                </a:rPr>
                <a:t>trường hợp bệnh nhân mắc HZ</a:t>
              </a:r>
              <a:r>
                <a:rPr lang="vi-VN" sz="1200" baseline="30000" noProof="0">
                  <a:solidFill>
                    <a:srgbClr val="000000"/>
                  </a:solidFill>
                  <a:latin typeface="Arial"/>
                  <a:cs typeface="Arial"/>
                </a:rPr>
                <a:t>9</a:t>
              </a:r>
              <a:endParaRPr lang="vi-VN" sz="1200" noProof="0">
                <a:solidFill>
                  <a:srgbClr val="000000"/>
                </a:solidFill>
                <a:latin typeface="Arial"/>
                <a:cs typeface="Arial"/>
              </a:endParaRPr>
            </a:p>
          </p:txBody>
        </p:sp>
        <p:pic>
          <p:nvPicPr>
            <p:cNvPr id="33" name="Graphic 32" descr="Brain in head with solid fill">
              <a:extLst>
                <a:ext uri="{FF2B5EF4-FFF2-40B4-BE49-F238E27FC236}">
                  <a16:creationId xmlns:a16="http://schemas.microsoft.com/office/drawing/2014/main" id="{3F10B64A-7EB3-1C27-0153-401E7B248E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53838" y="2064530"/>
              <a:ext cx="500543" cy="500543"/>
            </a:xfrm>
            <a:prstGeom prst="rect">
              <a:avLst/>
            </a:prstGeom>
          </p:spPr>
        </p:pic>
        <p:sp>
          <p:nvSpPr>
            <p:cNvPr id="48" name="TextBox 47">
              <a:extLst>
                <a:ext uri="{FF2B5EF4-FFF2-40B4-BE49-F238E27FC236}">
                  <a16:creationId xmlns:a16="http://schemas.microsoft.com/office/drawing/2014/main" id="{2A29C0A6-C0EE-8CB3-ADBC-45658248BDF6}"/>
                </a:ext>
              </a:extLst>
            </p:cNvPr>
            <p:cNvSpPr txBox="1"/>
            <p:nvPr/>
          </p:nvSpPr>
          <p:spPr>
            <a:xfrm>
              <a:off x="9271366" y="1156993"/>
              <a:ext cx="1342785" cy="307777"/>
            </a:xfrm>
            <a:prstGeom prst="rect">
              <a:avLst/>
            </a:prstGeom>
            <a:noFill/>
          </p:spPr>
          <p:txBody>
            <a:bodyPr wrap="square">
              <a:spAutoFit/>
            </a:bodyPr>
            <a:lstStyle/>
            <a:p>
              <a:pPr algn="ctr" defTabSz="1219140">
                <a:defRPr/>
              </a:pPr>
              <a:r>
                <a:rPr lang="vi-VN" sz="1400" b="1" kern="0" noProof="0">
                  <a:solidFill>
                    <a:srgbClr val="244EA2">
                      <a:lumMod val="75000"/>
                    </a:srgbClr>
                  </a:solidFill>
                  <a:latin typeface="Arial"/>
                  <a:cs typeface="Arial"/>
                </a:rPr>
                <a:t>Thần kinh</a:t>
              </a:r>
              <a:endParaRPr lang="vi-VN" sz="1400" noProof="0">
                <a:solidFill>
                  <a:srgbClr val="244EA2">
                    <a:lumMod val="75000"/>
                  </a:srgbClr>
                </a:solidFill>
                <a:latin typeface="Arial"/>
                <a:cs typeface="Arial"/>
              </a:endParaRPr>
            </a:p>
          </p:txBody>
        </p:sp>
      </p:grpSp>
      <p:sp>
        <p:nvSpPr>
          <p:cNvPr id="5" name="Shape 31117">
            <a:extLst>
              <a:ext uri="{FF2B5EF4-FFF2-40B4-BE49-F238E27FC236}">
                <a16:creationId xmlns:a16="http://schemas.microsoft.com/office/drawing/2014/main" id="{B54FD9D0-54FD-E2D9-4598-E63C4A034751}"/>
              </a:ext>
            </a:extLst>
          </p:cNvPr>
          <p:cNvSpPr/>
          <p:nvPr/>
        </p:nvSpPr>
        <p:spPr>
          <a:xfrm>
            <a:off x="4986095" y="1417221"/>
            <a:ext cx="2219811" cy="4418881"/>
          </a:xfrm>
          <a:custGeom>
            <a:avLst/>
            <a:gdLst/>
            <a:ahLst/>
            <a:cxnLst>
              <a:cxn ang="0">
                <a:pos x="wd2" y="hd2"/>
              </a:cxn>
              <a:cxn ang="5400000">
                <a:pos x="wd2" y="hd2"/>
              </a:cxn>
              <a:cxn ang="10800000">
                <a:pos x="wd2" y="hd2"/>
              </a:cxn>
              <a:cxn ang="16200000">
                <a:pos x="wd2" y="hd2"/>
              </a:cxn>
            </a:cxnLst>
            <a:rect l="0" t="0" r="r" b="b"/>
            <a:pathLst>
              <a:path w="21405" h="21589" extrusionOk="0">
                <a:moveTo>
                  <a:pt x="20749" y="11025"/>
                </a:moveTo>
                <a:cubicBezTo>
                  <a:pt x="20553" y="10853"/>
                  <a:pt x="20508" y="10859"/>
                  <a:pt x="20263" y="10723"/>
                </a:cubicBezTo>
                <a:cubicBezTo>
                  <a:pt x="19984" y="10586"/>
                  <a:pt x="19774" y="10559"/>
                  <a:pt x="19542" y="10393"/>
                </a:cubicBezTo>
                <a:cubicBezTo>
                  <a:pt x="19310" y="10226"/>
                  <a:pt x="19106" y="9814"/>
                  <a:pt x="19005" y="9637"/>
                </a:cubicBezTo>
                <a:cubicBezTo>
                  <a:pt x="18905" y="9460"/>
                  <a:pt x="18804" y="9184"/>
                  <a:pt x="18529" y="8743"/>
                </a:cubicBezTo>
                <a:cubicBezTo>
                  <a:pt x="18228" y="8262"/>
                  <a:pt x="17801" y="7716"/>
                  <a:pt x="17644" y="7540"/>
                </a:cubicBezTo>
                <a:cubicBezTo>
                  <a:pt x="17343" y="7202"/>
                  <a:pt x="17427" y="6596"/>
                  <a:pt x="17312" y="6194"/>
                </a:cubicBezTo>
                <a:cubicBezTo>
                  <a:pt x="17296" y="6115"/>
                  <a:pt x="17412" y="5253"/>
                  <a:pt x="17410" y="5010"/>
                </a:cubicBezTo>
                <a:cubicBezTo>
                  <a:pt x="17409" y="4767"/>
                  <a:pt x="17065" y="4209"/>
                  <a:pt x="16705" y="3998"/>
                </a:cubicBezTo>
                <a:cubicBezTo>
                  <a:pt x="16345" y="3786"/>
                  <a:pt x="15577" y="3606"/>
                  <a:pt x="15232" y="3575"/>
                </a:cubicBezTo>
                <a:cubicBezTo>
                  <a:pt x="14887" y="3543"/>
                  <a:pt x="14010" y="3483"/>
                  <a:pt x="13673" y="3449"/>
                </a:cubicBezTo>
                <a:cubicBezTo>
                  <a:pt x="13336" y="3415"/>
                  <a:pt x="12641" y="3368"/>
                  <a:pt x="12355" y="3226"/>
                </a:cubicBezTo>
                <a:cubicBezTo>
                  <a:pt x="12105" y="3101"/>
                  <a:pt x="11967" y="2985"/>
                  <a:pt x="11998" y="2814"/>
                </a:cubicBezTo>
                <a:cubicBezTo>
                  <a:pt x="11998" y="2814"/>
                  <a:pt x="12271" y="2666"/>
                  <a:pt x="12346" y="2616"/>
                </a:cubicBezTo>
                <a:cubicBezTo>
                  <a:pt x="12421" y="2567"/>
                  <a:pt x="12600" y="2441"/>
                  <a:pt x="12675" y="2365"/>
                </a:cubicBezTo>
                <a:lnTo>
                  <a:pt x="12919" y="2067"/>
                </a:lnTo>
                <a:cubicBezTo>
                  <a:pt x="13164" y="1988"/>
                  <a:pt x="13503" y="1372"/>
                  <a:pt x="13353" y="1323"/>
                </a:cubicBezTo>
                <a:cubicBezTo>
                  <a:pt x="13257" y="1291"/>
                  <a:pt x="13099" y="1350"/>
                  <a:pt x="13099" y="1350"/>
                </a:cubicBezTo>
                <a:cubicBezTo>
                  <a:pt x="13164" y="1278"/>
                  <a:pt x="13240" y="1248"/>
                  <a:pt x="13240" y="981"/>
                </a:cubicBezTo>
                <a:cubicBezTo>
                  <a:pt x="13240" y="713"/>
                  <a:pt x="13014" y="1"/>
                  <a:pt x="10705" y="0"/>
                </a:cubicBezTo>
                <a:lnTo>
                  <a:pt x="10705" y="0"/>
                </a:lnTo>
                <a:cubicBezTo>
                  <a:pt x="10704" y="0"/>
                  <a:pt x="10703" y="0"/>
                  <a:pt x="10702" y="0"/>
                </a:cubicBezTo>
                <a:cubicBezTo>
                  <a:pt x="10701" y="0"/>
                  <a:pt x="10700" y="0"/>
                  <a:pt x="10699" y="0"/>
                </a:cubicBezTo>
                <a:lnTo>
                  <a:pt x="10699" y="0"/>
                </a:lnTo>
                <a:cubicBezTo>
                  <a:pt x="8390" y="1"/>
                  <a:pt x="8132" y="795"/>
                  <a:pt x="8164" y="981"/>
                </a:cubicBezTo>
                <a:cubicBezTo>
                  <a:pt x="8196" y="1166"/>
                  <a:pt x="8240" y="1278"/>
                  <a:pt x="8305" y="1350"/>
                </a:cubicBezTo>
                <a:cubicBezTo>
                  <a:pt x="8305" y="1350"/>
                  <a:pt x="8147" y="1291"/>
                  <a:pt x="8051" y="1323"/>
                </a:cubicBezTo>
                <a:cubicBezTo>
                  <a:pt x="7901" y="1372"/>
                  <a:pt x="8240" y="1988"/>
                  <a:pt x="8486" y="2067"/>
                </a:cubicBezTo>
                <a:lnTo>
                  <a:pt x="8729" y="2365"/>
                </a:lnTo>
                <a:cubicBezTo>
                  <a:pt x="8804" y="2441"/>
                  <a:pt x="8983" y="2567"/>
                  <a:pt x="9058" y="2616"/>
                </a:cubicBezTo>
                <a:cubicBezTo>
                  <a:pt x="9134" y="2666"/>
                  <a:pt x="9406" y="2814"/>
                  <a:pt x="9406" y="2814"/>
                </a:cubicBezTo>
                <a:cubicBezTo>
                  <a:pt x="9437" y="2985"/>
                  <a:pt x="9299" y="3101"/>
                  <a:pt x="9049" y="3226"/>
                </a:cubicBezTo>
                <a:cubicBezTo>
                  <a:pt x="8764" y="3368"/>
                  <a:pt x="8068" y="3415"/>
                  <a:pt x="7731" y="3449"/>
                </a:cubicBezTo>
                <a:cubicBezTo>
                  <a:pt x="7395" y="3483"/>
                  <a:pt x="6518" y="3543"/>
                  <a:pt x="6172" y="3575"/>
                </a:cubicBezTo>
                <a:cubicBezTo>
                  <a:pt x="5827" y="3606"/>
                  <a:pt x="5059" y="3786"/>
                  <a:pt x="4699" y="3998"/>
                </a:cubicBezTo>
                <a:cubicBezTo>
                  <a:pt x="4339" y="4209"/>
                  <a:pt x="3995" y="4767"/>
                  <a:pt x="3994" y="5010"/>
                </a:cubicBezTo>
                <a:cubicBezTo>
                  <a:pt x="3993" y="5253"/>
                  <a:pt x="4109" y="6115"/>
                  <a:pt x="4092" y="6194"/>
                </a:cubicBezTo>
                <a:cubicBezTo>
                  <a:pt x="3977" y="6596"/>
                  <a:pt x="4061" y="7202"/>
                  <a:pt x="3760" y="7540"/>
                </a:cubicBezTo>
                <a:cubicBezTo>
                  <a:pt x="3603" y="7716"/>
                  <a:pt x="3176" y="8262"/>
                  <a:pt x="2876" y="8743"/>
                </a:cubicBezTo>
                <a:cubicBezTo>
                  <a:pt x="2600" y="9184"/>
                  <a:pt x="2499" y="9460"/>
                  <a:pt x="2399" y="9637"/>
                </a:cubicBezTo>
                <a:cubicBezTo>
                  <a:pt x="2298" y="9814"/>
                  <a:pt x="2095" y="10226"/>
                  <a:pt x="1863" y="10393"/>
                </a:cubicBezTo>
                <a:cubicBezTo>
                  <a:pt x="1630" y="10559"/>
                  <a:pt x="1421" y="10586"/>
                  <a:pt x="1142" y="10723"/>
                </a:cubicBezTo>
                <a:cubicBezTo>
                  <a:pt x="896" y="10859"/>
                  <a:pt x="851" y="10853"/>
                  <a:pt x="655" y="11025"/>
                </a:cubicBezTo>
                <a:cubicBezTo>
                  <a:pt x="442" y="11212"/>
                  <a:pt x="-98" y="11437"/>
                  <a:pt x="15" y="11495"/>
                </a:cubicBezTo>
                <a:cubicBezTo>
                  <a:pt x="128" y="11553"/>
                  <a:pt x="279" y="11528"/>
                  <a:pt x="448" y="11470"/>
                </a:cubicBezTo>
                <a:cubicBezTo>
                  <a:pt x="617" y="11412"/>
                  <a:pt x="956" y="11202"/>
                  <a:pt x="1163" y="11161"/>
                </a:cubicBezTo>
                <a:cubicBezTo>
                  <a:pt x="1370" y="11120"/>
                  <a:pt x="1361" y="11169"/>
                  <a:pt x="1257" y="11314"/>
                </a:cubicBezTo>
                <a:lnTo>
                  <a:pt x="1088" y="11569"/>
                </a:lnTo>
                <a:cubicBezTo>
                  <a:pt x="1006" y="11691"/>
                  <a:pt x="767" y="11878"/>
                  <a:pt x="636" y="12072"/>
                </a:cubicBezTo>
                <a:cubicBezTo>
                  <a:pt x="456" y="12308"/>
                  <a:pt x="388" y="12388"/>
                  <a:pt x="617" y="12410"/>
                </a:cubicBezTo>
                <a:cubicBezTo>
                  <a:pt x="847" y="12424"/>
                  <a:pt x="1009" y="12173"/>
                  <a:pt x="1107" y="12080"/>
                </a:cubicBezTo>
                <a:cubicBezTo>
                  <a:pt x="1304" y="11893"/>
                  <a:pt x="1434" y="11732"/>
                  <a:pt x="1615" y="11610"/>
                </a:cubicBezTo>
                <a:cubicBezTo>
                  <a:pt x="1598" y="11632"/>
                  <a:pt x="1587" y="11771"/>
                  <a:pt x="1587" y="11814"/>
                </a:cubicBezTo>
                <a:cubicBezTo>
                  <a:pt x="1587" y="11857"/>
                  <a:pt x="1450" y="12246"/>
                  <a:pt x="1347" y="12500"/>
                </a:cubicBezTo>
                <a:cubicBezTo>
                  <a:pt x="1276" y="12673"/>
                  <a:pt x="1587" y="12642"/>
                  <a:pt x="1657" y="12580"/>
                </a:cubicBezTo>
                <a:cubicBezTo>
                  <a:pt x="1728" y="12519"/>
                  <a:pt x="1798" y="12309"/>
                  <a:pt x="1897" y="12148"/>
                </a:cubicBezTo>
                <a:cubicBezTo>
                  <a:pt x="2010" y="11964"/>
                  <a:pt x="2032" y="11765"/>
                  <a:pt x="2179" y="11672"/>
                </a:cubicBezTo>
                <a:cubicBezTo>
                  <a:pt x="2147" y="11701"/>
                  <a:pt x="2193" y="11808"/>
                  <a:pt x="2137" y="12105"/>
                </a:cubicBezTo>
                <a:cubicBezTo>
                  <a:pt x="2097" y="12313"/>
                  <a:pt x="1989" y="12574"/>
                  <a:pt x="2229" y="12574"/>
                </a:cubicBezTo>
                <a:cubicBezTo>
                  <a:pt x="2469" y="12574"/>
                  <a:pt x="2518" y="12241"/>
                  <a:pt x="2589" y="12086"/>
                </a:cubicBezTo>
                <a:cubicBezTo>
                  <a:pt x="2659" y="11932"/>
                  <a:pt x="2673" y="11799"/>
                  <a:pt x="2730" y="11703"/>
                </a:cubicBezTo>
                <a:cubicBezTo>
                  <a:pt x="2765" y="11814"/>
                  <a:pt x="2772" y="11969"/>
                  <a:pt x="2782" y="12109"/>
                </a:cubicBezTo>
                <a:cubicBezTo>
                  <a:pt x="2796" y="12327"/>
                  <a:pt x="2760" y="12468"/>
                  <a:pt x="2923" y="12471"/>
                </a:cubicBezTo>
                <a:cubicBezTo>
                  <a:pt x="3218" y="12477"/>
                  <a:pt x="3175" y="12083"/>
                  <a:pt x="3196" y="11728"/>
                </a:cubicBezTo>
                <a:cubicBezTo>
                  <a:pt x="3238" y="11495"/>
                  <a:pt x="3417" y="11319"/>
                  <a:pt x="3478" y="11211"/>
                </a:cubicBezTo>
                <a:cubicBezTo>
                  <a:pt x="3539" y="11103"/>
                  <a:pt x="3428" y="10868"/>
                  <a:pt x="3403" y="10679"/>
                </a:cubicBezTo>
                <a:cubicBezTo>
                  <a:pt x="3354" y="10586"/>
                  <a:pt x="3521" y="10372"/>
                  <a:pt x="3817" y="10135"/>
                </a:cubicBezTo>
                <a:cubicBezTo>
                  <a:pt x="3866" y="10092"/>
                  <a:pt x="4830" y="9517"/>
                  <a:pt x="4961" y="9388"/>
                </a:cubicBezTo>
                <a:cubicBezTo>
                  <a:pt x="5109" y="9251"/>
                  <a:pt x="5404" y="8979"/>
                  <a:pt x="5551" y="8756"/>
                </a:cubicBezTo>
                <a:cubicBezTo>
                  <a:pt x="5633" y="8649"/>
                  <a:pt x="5699" y="8570"/>
                  <a:pt x="5765" y="8397"/>
                </a:cubicBezTo>
                <a:cubicBezTo>
                  <a:pt x="5863" y="8146"/>
                  <a:pt x="5872" y="7984"/>
                  <a:pt x="5937" y="7704"/>
                </a:cubicBezTo>
                <a:cubicBezTo>
                  <a:pt x="5954" y="7654"/>
                  <a:pt x="6226" y="7259"/>
                  <a:pt x="6301" y="6946"/>
                </a:cubicBezTo>
                <a:cubicBezTo>
                  <a:pt x="6376" y="6633"/>
                  <a:pt x="6386" y="6345"/>
                  <a:pt x="6386" y="6345"/>
                </a:cubicBezTo>
                <a:cubicBezTo>
                  <a:pt x="6433" y="6468"/>
                  <a:pt x="6809" y="8607"/>
                  <a:pt x="6650" y="9194"/>
                </a:cubicBezTo>
                <a:cubicBezTo>
                  <a:pt x="6491" y="9781"/>
                  <a:pt x="6047" y="10189"/>
                  <a:pt x="5849" y="10955"/>
                </a:cubicBezTo>
                <a:cubicBezTo>
                  <a:pt x="5652" y="11721"/>
                  <a:pt x="5907" y="13063"/>
                  <a:pt x="6021" y="13663"/>
                </a:cubicBezTo>
                <a:cubicBezTo>
                  <a:pt x="6093" y="14042"/>
                  <a:pt x="6245" y="14164"/>
                  <a:pt x="6320" y="14666"/>
                </a:cubicBezTo>
                <a:cubicBezTo>
                  <a:pt x="6320" y="14666"/>
                  <a:pt x="6438" y="15870"/>
                  <a:pt x="6162" y="16124"/>
                </a:cubicBezTo>
                <a:cubicBezTo>
                  <a:pt x="5657" y="16569"/>
                  <a:pt x="5562" y="17279"/>
                  <a:pt x="5631" y="17672"/>
                </a:cubicBezTo>
                <a:cubicBezTo>
                  <a:pt x="5679" y="17949"/>
                  <a:pt x="6160" y="18977"/>
                  <a:pt x="6238" y="19181"/>
                </a:cubicBezTo>
                <a:cubicBezTo>
                  <a:pt x="6316" y="19385"/>
                  <a:pt x="6446" y="19497"/>
                  <a:pt x="6456" y="19774"/>
                </a:cubicBezTo>
                <a:cubicBezTo>
                  <a:pt x="6463" y="19938"/>
                  <a:pt x="6333" y="20102"/>
                  <a:pt x="6315" y="20151"/>
                </a:cubicBezTo>
                <a:cubicBezTo>
                  <a:pt x="6268" y="20283"/>
                  <a:pt x="6274" y="20455"/>
                  <a:pt x="6160" y="20577"/>
                </a:cubicBezTo>
                <a:cubicBezTo>
                  <a:pt x="5923" y="20832"/>
                  <a:pt x="5849" y="21057"/>
                  <a:pt x="5623" y="21152"/>
                </a:cubicBezTo>
                <a:cubicBezTo>
                  <a:pt x="5466" y="21218"/>
                  <a:pt x="5561" y="21343"/>
                  <a:pt x="5964" y="21311"/>
                </a:cubicBezTo>
                <a:cubicBezTo>
                  <a:pt x="5931" y="21310"/>
                  <a:pt x="6038" y="21481"/>
                  <a:pt x="6540" y="21382"/>
                </a:cubicBezTo>
                <a:lnTo>
                  <a:pt x="6628" y="21429"/>
                </a:lnTo>
                <a:cubicBezTo>
                  <a:pt x="6806" y="21510"/>
                  <a:pt x="6954" y="21510"/>
                  <a:pt x="7151" y="21447"/>
                </a:cubicBezTo>
                <a:cubicBezTo>
                  <a:pt x="7117" y="21452"/>
                  <a:pt x="7345" y="21600"/>
                  <a:pt x="7669" y="21485"/>
                </a:cubicBezTo>
                <a:cubicBezTo>
                  <a:pt x="7615" y="21504"/>
                  <a:pt x="7831" y="21565"/>
                  <a:pt x="7878" y="21574"/>
                </a:cubicBezTo>
                <a:cubicBezTo>
                  <a:pt x="8005" y="21595"/>
                  <a:pt x="8154" y="21595"/>
                  <a:pt x="8291" y="21572"/>
                </a:cubicBezTo>
                <a:cubicBezTo>
                  <a:pt x="8481" y="21538"/>
                  <a:pt x="8559" y="21419"/>
                  <a:pt x="8559" y="21419"/>
                </a:cubicBezTo>
                <a:lnTo>
                  <a:pt x="8563" y="21405"/>
                </a:lnTo>
                <a:cubicBezTo>
                  <a:pt x="8596" y="21269"/>
                  <a:pt x="8381" y="21201"/>
                  <a:pt x="8439" y="21103"/>
                </a:cubicBezTo>
                <a:cubicBezTo>
                  <a:pt x="8469" y="21046"/>
                  <a:pt x="8469" y="20982"/>
                  <a:pt x="8433" y="20922"/>
                </a:cubicBezTo>
                <a:cubicBezTo>
                  <a:pt x="8362" y="20810"/>
                  <a:pt x="8205" y="20709"/>
                  <a:pt x="8238" y="20574"/>
                </a:cubicBezTo>
                <a:cubicBezTo>
                  <a:pt x="8282" y="20395"/>
                  <a:pt x="8362" y="20204"/>
                  <a:pt x="8194" y="20016"/>
                </a:cubicBezTo>
                <a:lnTo>
                  <a:pt x="8220" y="19909"/>
                </a:lnTo>
                <a:cubicBezTo>
                  <a:pt x="8243" y="19744"/>
                  <a:pt x="8065" y="19570"/>
                  <a:pt x="8061" y="19410"/>
                </a:cubicBezTo>
                <a:cubicBezTo>
                  <a:pt x="8057" y="19251"/>
                  <a:pt x="8130" y="18930"/>
                  <a:pt x="8160" y="18737"/>
                </a:cubicBezTo>
                <a:cubicBezTo>
                  <a:pt x="8218" y="18364"/>
                  <a:pt x="8436" y="18013"/>
                  <a:pt x="8535" y="17809"/>
                </a:cubicBezTo>
                <a:cubicBezTo>
                  <a:pt x="8747" y="17414"/>
                  <a:pt x="8823" y="17172"/>
                  <a:pt x="8710" y="16826"/>
                </a:cubicBezTo>
                <a:cubicBezTo>
                  <a:pt x="8641" y="16615"/>
                  <a:pt x="8724" y="16294"/>
                  <a:pt x="8821" y="16104"/>
                </a:cubicBezTo>
                <a:cubicBezTo>
                  <a:pt x="8922" y="15892"/>
                  <a:pt x="9033" y="15775"/>
                  <a:pt x="9199" y="15566"/>
                </a:cubicBezTo>
                <a:cubicBezTo>
                  <a:pt x="9697" y="14898"/>
                  <a:pt x="9687" y="14011"/>
                  <a:pt x="9886" y="13637"/>
                </a:cubicBezTo>
                <a:cubicBezTo>
                  <a:pt x="10068" y="13296"/>
                  <a:pt x="10566" y="12623"/>
                  <a:pt x="10696" y="12305"/>
                </a:cubicBezTo>
                <a:cubicBezTo>
                  <a:pt x="10826" y="12622"/>
                  <a:pt x="11336" y="13295"/>
                  <a:pt x="11518" y="13637"/>
                </a:cubicBezTo>
                <a:cubicBezTo>
                  <a:pt x="11717" y="14011"/>
                  <a:pt x="11708" y="14898"/>
                  <a:pt x="12205" y="15566"/>
                </a:cubicBezTo>
                <a:cubicBezTo>
                  <a:pt x="12372" y="15775"/>
                  <a:pt x="12483" y="15892"/>
                  <a:pt x="12584" y="16104"/>
                </a:cubicBezTo>
                <a:cubicBezTo>
                  <a:pt x="12680" y="16294"/>
                  <a:pt x="12763" y="16615"/>
                  <a:pt x="12694" y="16826"/>
                </a:cubicBezTo>
                <a:cubicBezTo>
                  <a:pt x="12581" y="17172"/>
                  <a:pt x="12657" y="17414"/>
                  <a:pt x="12869" y="17809"/>
                </a:cubicBezTo>
                <a:cubicBezTo>
                  <a:pt x="12968" y="18013"/>
                  <a:pt x="13186" y="18364"/>
                  <a:pt x="13244" y="18737"/>
                </a:cubicBezTo>
                <a:cubicBezTo>
                  <a:pt x="13275" y="18930"/>
                  <a:pt x="13347" y="19251"/>
                  <a:pt x="13343" y="19410"/>
                </a:cubicBezTo>
                <a:cubicBezTo>
                  <a:pt x="13339" y="19570"/>
                  <a:pt x="13161" y="19744"/>
                  <a:pt x="13185" y="19909"/>
                </a:cubicBezTo>
                <a:lnTo>
                  <a:pt x="13211" y="20016"/>
                </a:lnTo>
                <a:cubicBezTo>
                  <a:pt x="13043" y="20204"/>
                  <a:pt x="13122" y="20395"/>
                  <a:pt x="13166" y="20574"/>
                </a:cubicBezTo>
                <a:cubicBezTo>
                  <a:pt x="13199" y="20709"/>
                  <a:pt x="13043" y="20810"/>
                  <a:pt x="12971" y="20922"/>
                </a:cubicBezTo>
                <a:cubicBezTo>
                  <a:pt x="12935" y="20982"/>
                  <a:pt x="12935" y="21046"/>
                  <a:pt x="12965" y="21103"/>
                </a:cubicBezTo>
                <a:cubicBezTo>
                  <a:pt x="13023" y="21201"/>
                  <a:pt x="12808" y="21269"/>
                  <a:pt x="12841" y="21405"/>
                </a:cubicBezTo>
                <a:lnTo>
                  <a:pt x="12845" y="21419"/>
                </a:lnTo>
                <a:cubicBezTo>
                  <a:pt x="12845" y="21419"/>
                  <a:pt x="12924" y="21538"/>
                  <a:pt x="13113" y="21572"/>
                </a:cubicBezTo>
                <a:cubicBezTo>
                  <a:pt x="13250" y="21595"/>
                  <a:pt x="13399" y="21595"/>
                  <a:pt x="13526" y="21574"/>
                </a:cubicBezTo>
                <a:cubicBezTo>
                  <a:pt x="13573" y="21565"/>
                  <a:pt x="13789" y="21504"/>
                  <a:pt x="13735" y="21485"/>
                </a:cubicBezTo>
                <a:cubicBezTo>
                  <a:pt x="14060" y="21600"/>
                  <a:pt x="14287" y="21452"/>
                  <a:pt x="14253" y="21447"/>
                </a:cubicBezTo>
                <a:cubicBezTo>
                  <a:pt x="14450" y="21510"/>
                  <a:pt x="14598" y="21510"/>
                  <a:pt x="14776" y="21429"/>
                </a:cubicBezTo>
                <a:lnTo>
                  <a:pt x="14864" y="21382"/>
                </a:lnTo>
                <a:cubicBezTo>
                  <a:pt x="15366" y="21481"/>
                  <a:pt x="15473" y="21310"/>
                  <a:pt x="15440" y="21311"/>
                </a:cubicBezTo>
                <a:cubicBezTo>
                  <a:pt x="15843" y="21343"/>
                  <a:pt x="15938" y="21218"/>
                  <a:pt x="15781" y="21152"/>
                </a:cubicBezTo>
                <a:cubicBezTo>
                  <a:pt x="15555" y="21057"/>
                  <a:pt x="15481" y="20832"/>
                  <a:pt x="15244" y="20577"/>
                </a:cubicBezTo>
                <a:cubicBezTo>
                  <a:pt x="15130" y="20455"/>
                  <a:pt x="15136" y="20283"/>
                  <a:pt x="15089" y="20151"/>
                </a:cubicBezTo>
                <a:cubicBezTo>
                  <a:pt x="15071" y="20102"/>
                  <a:pt x="14942" y="19938"/>
                  <a:pt x="14948" y="19774"/>
                </a:cubicBezTo>
                <a:cubicBezTo>
                  <a:pt x="14958" y="19497"/>
                  <a:pt x="15088" y="19385"/>
                  <a:pt x="15166" y="19181"/>
                </a:cubicBezTo>
                <a:cubicBezTo>
                  <a:pt x="15244" y="18977"/>
                  <a:pt x="15725" y="17949"/>
                  <a:pt x="15773" y="17672"/>
                </a:cubicBezTo>
                <a:cubicBezTo>
                  <a:pt x="15842" y="17279"/>
                  <a:pt x="15748" y="16569"/>
                  <a:pt x="15243" y="16124"/>
                </a:cubicBezTo>
                <a:cubicBezTo>
                  <a:pt x="14966" y="15870"/>
                  <a:pt x="15084" y="14666"/>
                  <a:pt x="15084" y="14666"/>
                </a:cubicBezTo>
                <a:cubicBezTo>
                  <a:pt x="15159" y="14164"/>
                  <a:pt x="15311" y="14042"/>
                  <a:pt x="15383" y="13663"/>
                </a:cubicBezTo>
                <a:cubicBezTo>
                  <a:pt x="15497" y="13063"/>
                  <a:pt x="15753" y="11721"/>
                  <a:pt x="15555" y="10955"/>
                </a:cubicBezTo>
                <a:cubicBezTo>
                  <a:pt x="15357" y="10189"/>
                  <a:pt x="14913" y="9781"/>
                  <a:pt x="14754" y="9194"/>
                </a:cubicBezTo>
                <a:cubicBezTo>
                  <a:pt x="14595" y="8607"/>
                  <a:pt x="14972" y="6468"/>
                  <a:pt x="15019" y="6345"/>
                </a:cubicBezTo>
                <a:cubicBezTo>
                  <a:pt x="15019" y="6345"/>
                  <a:pt x="15028" y="6633"/>
                  <a:pt x="15103" y="6946"/>
                </a:cubicBezTo>
                <a:cubicBezTo>
                  <a:pt x="15178" y="7259"/>
                  <a:pt x="15450" y="7654"/>
                  <a:pt x="15467" y="7704"/>
                </a:cubicBezTo>
                <a:cubicBezTo>
                  <a:pt x="15533" y="7984"/>
                  <a:pt x="15542" y="8146"/>
                  <a:pt x="15640" y="8397"/>
                </a:cubicBezTo>
                <a:cubicBezTo>
                  <a:pt x="15705" y="8570"/>
                  <a:pt x="15771" y="8649"/>
                  <a:pt x="15853" y="8756"/>
                </a:cubicBezTo>
                <a:cubicBezTo>
                  <a:pt x="16000" y="8979"/>
                  <a:pt x="16295" y="9251"/>
                  <a:pt x="16443" y="9388"/>
                </a:cubicBezTo>
                <a:cubicBezTo>
                  <a:pt x="16574" y="9517"/>
                  <a:pt x="17538" y="10092"/>
                  <a:pt x="17588" y="10135"/>
                </a:cubicBezTo>
                <a:cubicBezTo>
                  <a:pt x="17883" y="10372"/>
                  <a:pt x="18051" y="10586"/>
                  <a:pt x="18001" y="10679"/>
                </a:cubicBezTo>
                <a:cubicBezTo>
                  <a:pt x="17976" y="10868"/>
                  <a:pt x="17865" y="11103"/>
                  <a:pt x="17926" y="11211"/>
                </a:cubicBezTo>
                <a:cubicBezTo>
                  <a:pt x="17987" y="11319"/>
                  <a:pt x="18166" y="11495"/>
                  <a:pt x="18208" y="11728"/>
                </a:cubicBezTo>
                <a:cubicBezTo>
                  <a:pt x="18230" y="12083"/>
                  <a:pt x="18186" y="12477"/>
                  <a:pt x="18481" y="12471"/>
                </a:cubicBezTo>
                <a:cubicBezTo>
                  <a:pt x="18644" y="12468"/>
                  <a:pt x="18608" y="12327"/>
                  <a:pt x="18623" y="12109"/>
                </a:cubicBezTo>
                <a:cubicBezTo>
                  <a:pt x="18632" y="11969"/>
                  <a:pt x="18639" y="11814"/>
                  <a:pt x="18674" y="11703"/>
                </a:cubicBezTo>
                <a:cubicBezTo>
                  <a:pt x="18731" y="11799"/>
                  <a:pt x="18745" y="11932"/>
                  <a:pt x="18815" y="12086"/>
                </a:cubicBezTo>
                <a:cubicBezTo>
                  <a:pt x="18886" y="12241"/>
                  <a:pt x="18935" y="12574"/>
                  <a:pt x="19175" y="12574"/>
                </a:cubicBezTo>
                <a:cubicBezTo>
                  <a:pt x="19415" y="12574"/>
                  <a:pt x="19307" y="12313"/>
                  <a:pt x="19267" y="12105"/>
                </a:cubicBezTo>
                <a:cubicBezTo>
                  <a:pt x="19211" y="11808"/>
                  <a:pt x="19257" y="11701"/>
                  <a:pt x="19225" y="11672"/>
                </a:cubicBezTo>
                <a:cubicBezTo>
                  <a:pt x="19372" y="11765"/>
                  <a:pt x="19394" y="11964"/>
                  <a:pt x="19507" y="12148"/>
                </a:cubicBezTo>
                <a:cubicBezTo>
                  <a:pt x="19606" y="12309"/>
                  <a:pt x="19676" y="12519"/>
                  <a:pt x="19747" y="12580"/>
                </a:cubicBezTo>
                <a:cubicBezTo>
                  <a:pt x="19818" y="12642"/>
                  <a:pt x="20128" y="12673"/>
                  <a:pt x="20058" y="12500"/>
                </a:cubicBezTo>
                <a:cubicBezTo>
                  <a:pt x="19954" y="12246"/>
                  <a:pt x="19818" y="11857"/>
                  <a:pt x="19818" y="11814"/>
                </a:cubicBezTo>
                <a:cubicBezTo>
                  <a:pt x="19818" y="11771"/>
                  <a:pt x="19806" y="11632"/>
                  <a:pt x="19789" y="11610"/>
                </a:cubicBezTo>
                <a:cubicBezTo>
                  <a:pt x="19970" y="11732"/>
                  <a:pt x="20101" y="11893"/>
                  <a:pt x="20298" y="12080"/>
                </a:cubicBezTo>
                <a:cubicBezTo>
                  <a:pt x="20396" y="12173"/>
                  <a:pt x="20557" y="12424"/>
                  <a:pt x="20787" y="12410"/>
                </a:cubicBezTo>
                <a:cubicBezTo>
                  <a:pt x="21017" y="12388"/>
                  <a:pt x="20949" y="12308"/>
                  <a:pt x="20768" y="12072"/>
                </a:cubicBezTo>
                <a:cubicBezTo>
                  <a:pt x="20637" y="11878"/>
                  <a:pt x="20398" y="11691"/>
                  <a:pt x="20316" y="11569"/>
                </a:cubicBezTo>
                <a:lnTo>
                  <a:pt x="20147" y="11314"/>
                </a:lnTo>
                <a:cubicBezTo>
                  <a:pt x="20043" y="11169"/>
                  <a:pt x="20034" y="11120"/>
                  <a:pt x="20241" y="11161"/>
                </a:cubicBezTo>
                <a:cubicBezTo>
                  <a:pt x="20448" y="11202"/>
                  <a:pt x="20787" y="11412"/>
                  <a:pt x="20956" y="11470"/>
                </a:cubicBezTo>
                <a:cubicBezTo>
                  <a:pt x="21125" y="11528"/>
                  <a:pt x="21276" y="11553"/>
                  <a:pt x="21389" y="11495"/>
                </a:cubicBezTo>
                <a:cubicBezTo>
                  <a:pt x="21502" y="11437"/>
                  <a:pt x="20963" y="11212"/>
                  <a:pt x="20749" y="11025"/>
                </a:cubicBezTo>
                <a:close/>
              </a:path>
            </a:pathLst>
          </a:custGeom>
          <a:solidFill>
            <a:schemeClr val="bg1">
              <a:lumMod val="85000"/>
            </a:schemeClr>
          </a:solidFill>
          <a:ln w="12700" cap="flat">
            <a:noFill/>
            <a:miter lim="400000"/>
          </a:ln>
          <a:effectLst/>
          <a:extLst>
            <a:ext uri="{C572A759-6A51-4108-AA02-DFA0A04FC94B}">
              <ma14:wrappingTextBoxFlag xmlns:ma14="http://schemas.microsoft.com/office/mac/drawingml/2011/main" xmlns="" val="1"/>
            </a:ext>
          </a:extLst>
        </p:spPr>
        <p:txBody>
          <a:bodyPr wrap="square" lIns="71439" tIns="71439" rIns="71439" bIns="71439" numCol="1" anchor="ctr">
            <a:noAutofit/>
          </a:bodyPr>
          <a:lstStyle/>
          <a:p>
            <a:pPr defTabSz="1219140">
              <a:defRPr/>
            </a:pPr>
            <a:r>
              <a:rPr lang="vi-VN" sz="5063" noProof="0">
                <a:solidFill>
                  <a:srgbClr val="000000"/>
                </a:solidFill>
                <a:latin typeface="Arial" panose="020B0604020202020204" pitchFamily="34" charset="0"/>
                <a:cs typeface="Arial"/>
              </a:rPr>
              <a:t> </a:t>
            </a:r>
          </a:p>
        </p:txBody>
      </p:sp>
      <p:cxnSp>
        <p:nvCxnSpPr>
          <p:cNvPr id="23" name="Straight Connector 22">
            <a:extLst>
              <a:ext uri="{FF2B5EF4-FFF2-40B4-BE49-F238E27FC236}">
                <a16:creationId xmlns:a16="http://schemas.microsoft.com/office/drawing/2014/main" id="{8858BBFD-6BCB-0568-156D-6AFA763F1F99}"/>
              </a:ext>
            </a:extLst>
          </p:cNvPr>
          <p:cNvCxnSpPr>
            <a:cxnSpLocks/>
            <a:endCxn id="37" idx="0"/>
          </p:cNvCxnSpPr>
          <p:nvPr/>
        </p:nvCxnSpPr>
        <p:spPr>
          <a:xfrm flipH="1" flipV="1">
            <a:off x="6260407" y="1747581"/>
            <a:ext cx="1882352" cy="2464691"/>
          </a:xfrm>
          <a:prstGeom prst="line">
            <a:avLst/>
          </a:prstGeom>
          <a:ln w="19050" cap="rnd">
            <a:solidFill>
              <a:schemeClr val="accent2">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0D0A0FC-B60B-7052-8820-942DC4F6677A}"/>
              </a:ext>
            </a:extLst>
          </p:cNvPr>
          <p:cNvCxnSpPr>
            <a:cxnSpLocks/>
            <a:stCxn id="38" idx="0"/>
          </p:cNvCxnSpPr>
          <p:nvPr/>
        </p:nvCxnSpPr>
        <p:spPr>
          <a:xfrm flipH="1">
            <a:off x="3982161" y="2308182"/>
            <a:ext cx="1672027" cy="52253"/>
          </a:xfrm>
          <a:prstGeom prst="line">
            <a:avLst/>
          </a:prstGeom>
          <a:ln w="19050" cap="rnd">
            <a:solidFill>
              <a:schemeClr val="accent1">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6D20000-F65C-1A51-63C7-A2A94E43EFE5}"/>
              </a:ext>
            </a:extLst>
          </p:cNvPr>
          <p:cNvCxnSpPr>
            <a:cxnSpLocks/>
            <a:stCxn id="49" idx="0"/>
            <a:endCxn id="19" idx="1"/>
          </p:cNvCxnSpPr>
          <p:nvPr/>
        </p:nvCxnSpPr>
        <p:spPr>
          <a:xfrm>
            <a:off x="6092800" y="1527057"/>
            <a:ext cx="1783619" cy="836240"/>
          </a:xfrm>
          <a:prstGeom prst="line">
            <a:avLst/>
          </a:prstGeom>
          <a:ln w="19050" cap="rnd">
            <a:solidFill>
              <a:schemeClr val="accent4">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64685A3-AF52-D00C-FEC2-B947DFE686AA}"/>
              </a:ext>
            </a:extLst>
          </p:cNvPr>
          <p:cNvCxnSpPr>
            <a:cxnSpLocks/>
            <a:endCxn id="42" idx="0"/>
          </p:cNvCxnSpPr>
          <p:nvPr/>
        </p:nvCxnSpPr>
        <p:spPr>
          <a:xfrm flipV="1">
            <a:off x="3973099" y="2502733"/>
            <a:ext cx="2296671" cy="1706687"/>
          </a:xfrm>
          <a:prstGeom prst="line">
            <a:avLst/>
          </a:prstGeom>
          <a:ln w="19050" cap="rnd">
            <a:solidFill>
              <a:schemeClr val="accent3">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Shape 34467">
            <a:extLst>
              <a:ext uri="{FF2B5EF4-FFF2-40B4-BE49-F238E27FC236}">
                <a16:creationId xmlns:a16="http://schemas.microsoft.com/office/drawing/2014/main" id="{798510D2-DF63-9109-CBD7-05C02D5AF73E}"/>
              </a:ext>
            </a:extLst>
          </p:cNvPr>
          <p:cNvSpPr/>
          <p:nvPr/>
        </p:nvSpPr>
        <p:spPr>
          <a:xfrm>
            <a:off x="6128043" y="1615163"/>
            <a:ext cx="264727" cy="264839"/>
          </a:xfrm>
          <a:custGeom>
            <a:avLst/>
            <a:gdLst/>
            <a:ahLst/>
            <a:cxnLst>
              <a:cxn ang="0">
                <a:pos x="wd2" y="hd2"/>
              </a:cxn>
              <a:cxn ang="5400000">
                <a:pos x="wd2" y="hd2"/>
              </a:cxn>
              <a:cxn ang="10800000">
                <a:pos x="wd2" y="hd2"/>
              </a:cxn>
              <a:cxn ang="16200000">
                <a:pos x="wd2" y="hd2"/>
              </a:cxn>
            </a:cxnLst>
            <a:rect l="0" t="0" r="r" b="b"/>
            <a:pathLst>
              <a:path w="19678" h="20595" extrusionOk="0">
                <a:moveTo>
                  <a:pt x="9844" y="0"/>
                </a:moveTo>
                <a:cubicBezTo>
                  <a:pt x="7325" y="0"/>
                  <a:pt x="4805" y="1003"/>
                  <a:pt x="2883" y="3014"/>
                </a:cubicBezTo>
                <a:cubicBezTo>
                  <a:pt x="-961" y="7035"/>
                  <a:pt x="-961" y="13558"/>
                  <a:pt x="2883" y="17579"/>
                </a:cubicBezTo>
                <a:cubicBezTo>
                  <a:pt x="6726" y="21600"/>
                  <a:pt x="12952" y="21600"/>
                  <a:pt x="16795" y="17579"/>
                </a:cubicBezTo>
                <a:cubicBezTo>
                  <a:pt x="20639" y="13558"/>
                  <a:pt x="20639" y="7035"/>
                  <a:pt x="16795" y="3014"/>
                </a:cubicBezTo>
                <a:cubicBezTo>
                  <a:pt x="14873" y="1003"/>
                  <a:pt x="12363" y="0"/>
                  <a:pt x="9844" y="0"/>
                </a:cubicBezTo>
                <a:close/>
                <a:moveTo>
                  <a:pt x="9844" y="1716"/>
                </a:moveTo>
                <a:cubicBezTo>
                  <a:pt x="11943" y="1716"/>
                  <a:pt x="14035" y="2550"/>
                  <a:pt x="15637" y="4226"/>
                </a:cubicBezTo>
                <a:cubicBezTo>
                  <a:pt x="18840" y="7577"/>
                  <a:pt x="18840" y="13016"/>
                  <a:pt x="15637" y="16367"/>
                </a:cubicBezTo>
                <a:cubicBezTo>
                  <a:pt x="12434" y="19718"/>
                  <a:pt x="7244" y="19718"/>
                  <a:pt x="4041" y="16367"/>
                </a:cubicBezTo>
                <a:cubicBezTo>
                  <a:pt x="838" y="13016"/>
                  <a:pt x="838" y="7577"/>
                  <a:pt x="4041" y="4226"/>
                </a:cubicBezTo>
                <a:cubicBezTo>
                  <a:pt x="5643" y="2550"/>
                  <a:pt x="7745" y="1716"/>
                  <a:pt x="9844" y="1716"/>
                </a:cubicBezTo>
                <a:close/>
                <a:moveTo>
                  <a:pt x="9844" y="3432"/>
                </a:moveTo>
                <a:cubicBezTo>
                  <a:pt x="8165" y="3432"/>
                  <a:pt x="6481" y="4097"/>
                  <a:pt x="5200" y="5438"/>
                </a:cubicBezTo>
                <a:cubicBezTo>
                  <a:pt x="2637" y="8118"/>
                  <a:pt x="2637" y="12474"/>
                  <a:pt x="5200" y="15155"/>
                </a:cubicBezTo>
                <a:cubicBezTo>
                  <a:pt x="7762" y="17836"/>
                  <a:pt x="11916" y="17836"/>
                  <a:pt x="14478" y="15155"/>
                </a:cubicBezTo>
                <a:cubicBezTo>
                  <a:pt x="17041" y="12474"/>
                  <a:pt x="17041" y="8118"/>
                  <a:pt x="14478" y="5438"/>
                </a:cubicBezTo>
                <a:cubicBezTo>
                  <a:pt x="13197" y="4097"/>
                  <a:pt x="11523" y="3432"/>
                  <a:pt x="9844" y="3432"/>
                </a:cubicBezTo>
                <a:close/>
                <a:moveTo>
                  <a:pt x="9844" y="5148"/>
                </a:moveTo>
                <a:cubicBezTo>
                  <a:pt x="11104" y="5148"/>
                  <a:pt x="12359" y="5655"/>
                  <a:pt x="13320" y="6661"/>
                </a:cubicBezTo>
                <a:cubicBezTo>
                  <a:pt x="15242" y="8671"/>
                  <a:pt x="15242" y="11922"/>
                  <a:pt x="13320" y="13932"/>
                </a:cubicBezTo>
                <a:cubicBezTo>
                  <a:pt x="11398" y="15943"/>
                  <a:pt x="8280" y="15943"/>
                  <a:pt x="6358" y="13932"/>
                </a:cubicBezTo>
                <a:cubicBezTo>
                  <a:pt x="4436" y="11922"/>
                  <a:pt x="4436" y="8671"/>
                  <a:pt x="6358" y="6661"/>
                </a:cubicBezTo>
                <a:cubicBezTo>
                  <a:pt x="7319" y="5655"/>
                  <a:pt x="8585" y="5148"/>
                  <a:pt x="9844" y="5148"/>
                </a:cubicBezTo>
                <a:close/>
                <a:moveTo>
                  <a:pt x="9844" y="6864"/>
                </a:moveTo>
                <a:cubicBezTo>
                  <a:pt x="9005" y="6864"/>
                  <a:pt x="8157" y="7202"/>
                  <a:pt x="7517" y="7872"/>
                </a:cubicBezTo>
                <a:cubicBezTo>
                  <a:pt x="6236" y="9213"/>
                  <a:pt x="6236" y="11380"/>
                  <a:pt x="7517" y="12720"/>
                </a:cubicBezTo>
                <a:cubicBezTo>
                  <a:pt x="8798" y="14061"/>
                  <a:pt x="10880" y="14061"/>
                  <a:pt x="12161" y="12720"/>
                </a:cubicBezTo>
                <a:cubicBezTo>
                  <a:pt x="13442" y="11380"/>
                  <a:pt x="13442" y="9213"/>
                  <a:pt x="12161" y="7872"/>
                </a:cubicBezTo>
                <a:cubicBezTo>
                  <a:pt x="11521" y="7202"/>
                  <a:pt x="10684" y="6864"/>
                  <a:pt x="9844" y="6864"/>
                </a:cubicBezTo>
                <a:close/>
              </a:path>
            </a:pathLst>
          </a:custGeom>
          <a:solidFill>
            <a:schemeClr val="accent2">
              <a:lumMod val="75000"/>
            </a:schemeClr>
          </a:solidFill>
          <a:ln w="12700" cap="flat">
            <a:noFill/>
            <a:miter lim="400000"/>
          </a:ln>
          <a:effectLst/>
        </p:spPr>
        <p:txBody>
          <a:bodyPr wrap="square" lIns="0" tIns="0" rIns="0" bIns="0" numCol="1" anchor="ctr">
            <a:noAutofit/>
          </a:bodyPr>
          <a:lstStyle/>
          <a:p>
            <a:pPr defTabSz="1219140">
              <a:defRPr/>
            </a:pPr>
            <a:endParaRPr lang="vi-VN" sz="5063" noProof="0">
              <a:solidFill>
                <a:srgbClr val="000000"/>
              </a:solidFill>
              <a:latin typeface="Arial" panose="020B0604020202020204" pitchFamily="34" charset="0"/>
              <a:cs typeface="Arial"/>
            </a:endParaRPr>
          </a:p>
        </p:txBody>
      </p:sp>
      <p:sp>
        <p:nvSpPr>
          <p:cNvPr id="38" name="Shape 34467">
            <a:extLst>
              <a:ext uri="{FF2B5EF4-FFF2-40B4-BE49-F238E27FC236}">
                <a16:creationId xmlns:a16="http://schemas.microsoft.com/office/drawing/2014/main" id="{150ED4E6-F813-07BB-3DA1-8ED7AC5432E9}"/>
              </a:ext>
            </a:extLst>
          </p:cNvPr>
          <p:cNvSpPr/>
          <p:nvPr/>
        </p:nvSpPr>
        <p:spPr>
          <a:xfrm>
            <a:off x="5521826" y="2175763"/>
            <a:ext cx="264727" cy="264839"/>
          </a:xfrm>
          <a:custGeom>
            <a:avLst/>
            <a:gdLst/>
            <a:ahLst/>
            <a:cxnLst>
              <a:cxn ang="0">
                <a:pos x="wd2" y="hd2"/>
              </a:cxn>
              <a:cxn ang="5400000">
                <a:pos x="wd2" y="hd2"/>
              </a:cxn>
              <a:cxn ang="10800000">
                <a:pos x="wd2" y="hd2"/>
              </a:cxn>
              <a:cxn ang="16200000">
                <a:pos x="wd2" y="hd2"/>
              </a:cxn>
            </a:cxnLst>
            <a:rect l="0" t="0" r="r" b="b"/>
            <a:pathLst>
              <a:path w="19678" h="20595" extrusionOk="0">
                <a:moveTo>
                  <a:pt x="9844" y="0"/>
                </a:moveTo>
                <a:cubicBezTo>
                  <a:pt x="7325" y="0"/>
                  <a:pt x="4805" y="1003"/>
                  <a:pt x="2883" y="3014"/>
                </a:cubicBezTo>
                <a:cubicBezTo>
                  <a:pt x="-961" y="7035"/>
                  <a:pt x="-961" y="13558"/>
                  <a:pt x="2883" y="17579"/>
                </a:cubicBezTo>
                <a:cubicBezTo>
                  <a:pt x="6726" y="21600"/>
                  <a:pt x="12952" y="21600"/>
                  <a:pt x="16795" y="17579"/>
                </a:cubicBezTo>
                <a:cubicBezTo>
                  <a:pt x="20639" y="13558"/>
                  <a:pt x="20639" y="7035"/>
                  <a:pt x="16795" y="3014"/>
                </a:cubicBezTo>
                <a:cubicBezTo>
                  <a:pt x="14873" y="1003"/>
                  <a:pt x="12363" y="0"/>
                  <a:pt x="9844" y="0"/>
                </a:cubicBezTo>
                <a:close/>
                <a:moveTo>
                  <a:pt x="9844" y="1716"/>
                </a:moveTo>
                <a:cubicBezTo>
                  <a:pt x="11943" y="1716"/>
                  <a:pt x="14035" y="2550"/>
                  <a:pt x="15637" y="4226"/>
                </a:cubicBezTo>
                <a:cubicBezTo>
                  <a:pt x="18840" y="7577"/>
                  <a:pt x="18840" y="13016"/>
                  <a:pt x="15637" y="16367"/>
                </a:cubicBezTo>
                <a:cubicBezTo>
                  <a:pt x="12434" y="19718"/>
                  <a:pt x="7244" y="19718"/>
                  <a:pt x="4041" y="16367"/>
                </a:cubicBezTo>
                <a:cubicBezTo>
                  <a:pt x="838" y="13016"/>
                  <a:pt x="838" y="7577"/>
                  <a:pt x="4041" y="4226"/>
                </a:cubicBezTo>
                <a:cubicBezTo>
                  <a:pt x="5643" y="2550"/>
                  <a:pt x="7745" y="1716"/>
                  <a:pt x="9844" y="1716"/>
                </a:cubicBezTo>
                <a:close/>
                <a:moveTo>
                  <a:pt x="9844" y="3432"/>
                </a:moveTo>
                <a:cubicBezTo>
                  <a:pt x="8165" y="3432"/>
                  <a:pt x="6481" y="4097"/>
                  <a:pt x="5200" y="5438"/>
                </a:cubicBezTo>
                <a:cubicBezTo>
                  <a:pt x="2637" y="8118"/>
                  <a:pt x="2637" y="12474"/>
                  <a:pt x="5200" y="15155"/>
                </a:cubicBezTo>
                <a:cubicBezTo>
                  <a:pt x="7762" y="17836"/>
                  <a:pt x="11916" y="17836"/>
                  <a:pt x="14478" y="15155"/>
                </a:cubicBezTo>
                <a:cubicBezTo>
                  <a:pt x="17041" y="12474"/>
                  <a:pt x="17041" y="8118"/>
                  <a:pt x="14478" y="5438"/>
                </a:cubicBezTo>
                <a:cubicBezTo>
                  <a:pt x="13197" y="4097"/>
                  <a:pt x="11523" y="3432"/>
                  <a:pt x="9844" y="3432"/>
                </a:cubicBezTo>
                <a:close/>
                <a:moveTo>
                  <a:pt x="9844" y="5148"/>
                </a:moveTo>
                <a:cubicBezTo>
                  <a:pt x="11104" y="5148"/>
                  <a:pt x="12359" y="5655"/>
                  <a:pt x="13320" y="6661"/>
                </a:cubicBezTo>
                <a:cubicBezTo>
                  <a:pt x="15242" y="8671"/>
                  <a:pt x="15242" y="11922"/>
                  <a:pt x="13320" y="13932"/>
                </a:cubicBezTo>
                <a:cubicBezTo>
                  <a:pt x="11398" y="15943"/>
                  <a:pt x="8280" y="15943"/>
                  <a:pt x="6358" y="13932"/>
                </a:cubicBezTo>
                <a:cubicBezTo>
                  <a:pt x="4436" y="11922"/>
                  <a:pt x="4436" y="8671"/>
                  <a:pt x="6358" y="6661"/>
                </a:cubicBezTo>
                <a:cubicBezTo>
                  <a:pt x="7319" y="5655"/>
                  <a:pt x="8585" y="5148"/>
                  <a:pt x="9844" y="5148"/>
                </a:cubicBezTo>
                <a:close/>
                <a:moveTo>
                  <a:pt x="9844" y="6864"/>
                </a:moveTo>
                <a:cubicBezTo>
                  <a:pt x="9005" y="6864"/>
                  <a:pt x="8157" y="7202"/>
                  <a:pt x="7517" y="7872"/>
                </a:cubicBezTo>
                <a:cubicBezTo>
                  <a:pt x="6236" y="9213"/>
                  <a:pt x="6236" y="11380"/>
                  <a:pt x="7517" y="12720"/>
                </a:cubicBezTo>
                <a:cubicBezTo>
                  <a:pt x="8798" y="14061"/>
                  <a:pt x="10880" y="14061"/>
                  <a:pt x="12161" y="12720"/>
                </a:cubicBezTo>
                <a:cubicBezTo>
                  <a:pt x="13442" y="11380"/>
                  <a:pt x="13442" y="9213"/>
                  <a:pt x="12161" y="7872"/>
                </a:cubicBezTo>
                <a:cubicBezTo>
                  <a:pt x="11521" y="7202"/>
                  <a:pt x="10684" y="6864"/>
                  <a:pt x="9844" y="6864"/>
                </a:cubicBezTo>
                <a:close/>
              </a:path>
            </a:pathLst>
          </a:custGeom>
          <a:solidFill>
            <a:schemeClr val="accent1">
              <a:lumMod val="75000"/>
            </a:schemeClr>
          </a:solidFill>
          <a:ln w="12700" cap="flat">
            <a:noFill/>
            <a:miter lim="400000"/>
          </a:ln>
          <a:effectLst/>
        </p:spPr>
        <p:txBody>
          <a:bodyPr wrap="square" lIns="0" tIns="0" rIns="0" bIns="0" numCol="1" anchor="ctr">
            <a:noAutofit/>
          </a:bodyPr>
          <a:lstStyle/>
          <a:p>
            <a:pPr defTabSz="1219140">
              <a:defRPr/>
            </a:pPr>
            <a:endParaRPr lang="vi-VN" sz="5063" noProof="0">
              <a:solidFill>
                <a:srgbClr val="000000"/>
              </a:solidFill>
              <a:latin typeface="Arial" panose="020B0604020202020204" pitchFamily="34" charset="0"/>
              <a:cs typeface="Arial"/>
            </a:endParaRPr>
          </a:p>
        </p:txBody>
      </p:sp>
      <p:sp>
        <p:nvSpPr>
          <p:cNvPr id="42" name="Shape 34467">
            <a:extLst>
              <a:ext uri="{FF2B5EF4-FFF2-40B4-BE49-F238E27FC236}">
                <a16:creationId xmlns:a16="http://schemas.microsoft.com/office/drawing/2014/main" id="{68B499FD-2F35-8ACB-943B-2B8457E9592F}"/>
              </a:ext>
            </a:extLst>
          </p:cNvPr>
          <p:cNvSpPr/>
          <p:nvPr/>
        </p:nvSpPr>
        <p:spPr>
          <a:xfrm>
            <a:off x="6137406" y="2370314"/>
            <a:ext cx="264727" cy="264839"/>
          </a:xfrm>
          <a:custGeom>
            <a:avLst/>
            <a:gdLst/>
            <a:ahLst/>
            <a:cxnLst>
              <a:cxn ang="0">
                <a:pos x="wd2" y="hd2"/>
              </a:cxn>
              <a:cxn ang="5400000">
                <a:pos x="wd2" y="hd2"/>
              </a:cxn>
              <a:cxn ang="10800000">
                <a:pos x="wd2" y="hd2"/>
              </a:cxn>
              <a:cxn ang="16200000">
                <a:pos x="wd2" y="hd2"/>
              </a:cxn>
            </a:cxnLst>
            <a:rect l="0" t="0" r="r" b="b"/>
            <a:pathLst>
              <a:path w="19678" h="20595" extrusionOk="0">
                <a:moveTo>
                  <a:pt x="9844" y="0"/>
                </a:moveTo>
                <a:cubicBezTo>
                  <a:pt x="7325" y="0"/>
                  <a:pt x="4805" y="1003"/>
                  <a:pt x="2883" y="3014"/>
                </a:cubicBezTo>
                <a:cubicBezTo>
                  <a:pt x="-961" y="7035"/>
                  <a:pt x="-961" y="13558"/>
                  <a:pt x="2883" y="17579"/>
                </a:cubicBezTo>
                <a:cubicBezTo>
                  <a:pt x="6726" y="21600"/>
                  <a:pt x="12952" y="21600"/>
                  <a:pt x="16795" y="17579"/>
                </a:cubicBezTo>
                <a:cubicBezTo>
                  <a:pt x="20639" y="13558"/>
                  <a:pt x="20639" y="7035"/>
                  <a:pt x="16795" y="3014"/>
                </a:cubicBezTo>
                <a:cubicBezTo>
                  <a:pt x="14873" y="1003"/>
                  <a:pt x="12363" y="0"/>
                  <a:pt x="9844" y="0"/>
                </a:cubicBezTo>
                <a:close/>
                <a:moveTo>
                  <a:pt x="9844" y="1716"/>
                </a:moveTo>
                <a:cubicBezTo>
                  <a:pt x="11943" y="1716"/>
                  <a:pt x="14035" y="2550"/>
                  <a:pt x="15637" y="4226"/>
                </a:cubicBezTo>
                <a:cubicBezTo>
                  <a:pt x="18840" y="7577"/>
                  <a:pt x="18840" y="13016"/>
                  <a:pt x="15637" y="16367"/>
                </a:cubicBezTo>
                <a:cubicBezTo>
                  <a:pt x="12434" y="19718"/>
                  <a:pt x="7244" y="19718"/>
                  <a:pt x="4041" y="16367"/>
                </a:cubicBezTo>
                <a:cubicBezTo>
                  <a:pt x="838" y="13016"/>
                  <a:pt x="838" y="7577"/>
                  <a:pt x="4041" y="4226"/>
                </a:cubicBezTo>
                <a:cubicBezTo>
                  <a:pt x="5643" y="2550"/>
                  <a:pt x="7745" y="1716"/>
                  <a:pt x="9844" y="1716"/>
                </a:cubicBezTo>
                <a:close/>
                <a:moveTo>
                  <a:pt x="9844" y="3432"/>
                </a:moveTo>
                <a:cubicBezTo>
                  <a:pt x="8165" y="3432"/>
                  <a:pt x="6481" y="4097"/>
                  <a:pt x="5200" y="5438"/>
                </a:cubicBezTo>
                <a:cubicBezTo>
                  <a:pt x="2637" y="8118"/>
                  <a:pt x="2637" y="12474"/>
                  <a:pt x="5200" y="15155"/>
                </a:cubicBezTo>
                <a:cubicBezTo>
                  <a:pt x="7762" y="17836"/>
                  <a:pt x="11916" y="17836"/>
                  <a:pt x="14478" y="15155"/>
                </a:cubicBezTo>
                <a:cubicBezTo>
                  <a:pt x="17041" y="12474"/>
                  <a:pt x="17041" y="8118"/>
                  <a:pt x="14478" y="5438"/>
                </a:cubicBezTo>
                <a:cubicBezTo>
                  <a:pt x="13197" y="4097"/>
                  <a:pt x="11523" y="3432"/>
                  <a:pt x="9844" y="3432"/>
                </a:cubicBezTo>
                <a:close/>
                <a:moveTo>
                  <a:pt x="9844" y="5148"/>
                </a:moveTo>
                <a:cubicBezTo>
                  <a:pt x="11104" y="5148"/>
                  <a:pt x="12359" y="5655"/>
                  <a:pt x="13320" y="6661"/>
                </a:cubicBezTo>
                <a:cubicBezTo>
                  <a:pt x="15242" y="8671"/>
                  <a:pt x="15242" y="11922"/>
                  <a:pt x="13320" y="13932"/>
                </a:cubicBezTo>
                <a:cubicBezTo>
                  <a:pt x="11398" y="15943"/>
                  <a:pt x="8280" y="15943"/>
                  <a:pt x="6358" y="13932"/>
                </a:cubicBezTo>
                <a:cubicBezTo>
                  <a:pt x="4436" y="11922"/>
                  <a:pt x="4436" y="8671"/>
                  <a:pt x="6358" y="6661"/>
                </a:cubicBezTo>
                <a:cubicBezTo>
                  <a:pt x="7319" y="5655"/>
                  <a:pt x="8585" y="5148"/>
                  <a:pt x="9844" y="5148"/>
                </a:cubicBezTo>
                <a:close/>
                <a:moveTo>
                  <a:pt x="9844" y="6864"/>
                </a:moveTo>
                <a:cubicBezTo>
                  <a:pt x="9005" y="6864"/>
                  <a:pt x="8157" y="7202"/>
                  <a:pt x="7517" y="7872"/>
                </a:cubicBezTo>
                <a:cubicBezTo>
                  <a:pt x="6236" y="9213"/>
                  <a:pt x="6236" y="11380"/>
                  <a:pt x="7517" y="12720"/>
                </a:cubicBezTo>
                <a:cubicBezTo>
                  <a:pt x="8798" y="14061"/>
                  <a:pt x="10880" y="14061"/>
                  <a:pt x="12161" y="12720"/>
                </a:cubicBezTo>
                <a:cubicBezTo>
                  <a:pt x="13442" y="11380"/>
                  <a:pt x="13442" y="9213"/>
                  <a:pt x="12161" y="7872"/>
                </a:cubicBezTo>
                <a:cubicBezTo>
                  <a:pt x="11521" y="7202"/>
                  <a:pt x="10684" y="6864"/>
                  <a:pt x="9844" y="6864"/>
                </a:cubicBezTo>
                <a:close/>
              </a:path>
            </a:pathLst>
          </a:custGeom>
          <a:solidFill>
            <a:schemeClr val="accent3">
              <a:lumMod val="75000"/>
            </a:schemeClr>
          </a:solidFill>
          <a:ln w="12700" cap="flat">
            <a:noFill/>
            <a:miter lim="400000"/>
          </a:ln>
          <a:effectLst/>
        </p:spPr>
        <p:txBody>
          <a:bodyPr wrap="square" lIns="0" tIns="0" rIns="0" bIns="0" numCol="1" anchor="ctr">
            <a:noAutofit/>
          </a:bodyPr>
          <a:lstStyle/>
          <a:p>
            <a:pPr defTabSz="1219140">
              <a:defRPr/>
            </a:pPr>
            <a:endParaRPr lang="vi-VN" sz="5063" noProof="0">
              <a:solidFill>
                <a:srgbClr val="000000"/>
              </a:solidFill>
              <a:latin typeface="Arial" panose="020B0604020202020204" pitchFamily="34" charset="0"/>
              <a:cs typeface="Arial"/>
            </a:endParaRPr>
          </a:p>
        </p:txBody>
      </p:sp>
      <p:sp>
        <p:nvSpPr>
          <p:cNvPr id="43" name="Shape 34467">
            <a:extLst>
              <a:ext uri="{FF2B5EF4-FFF2-40B4-BE49-F238E27FC236}">
                <a16:creationId xmlns:a16="http://schemas.microsoft.com/office/drawing/2014/main" id="{5E378C39-33A5-7D00-9D32-1FF4A476D593}"/>
              </a:ext>
            </a:extLst>
          </p:cNvPr>
          <p:cNvSpPr/>
          <p:nvPr/>
        </p:nvSpPr>
        <p:spPr>
          <a:xfrm>
            <a:off x="6260406" y="3466095"/>
            <a:ext cx="264727" cy="264839"/>
          </a:xfrm>
          <a:custGeom>
            <a:avLst/>
            <a:gdLst/>
            <a:ahLst/>
            <a:cxnLst>
              <a:cxn ang="0">
                <a:pos x="wd2" y="hd2"/>
              </a:cxn>
              <a:cxn ang="5400000">
                <a:pos x="wd2" y="hd2"/>
              </a:cxn>
              <a:cxn ang="10800000">
                <a:pos x="wd2" y="hd2"/>
              </a:cxn>
              <a:cxn ang="16200000">
                <a:pos x="wd2" y="hd2"/>
              </a:cxn>
            </a:cxnLst>
            <a:rect l="0" t="0" r="r" b="b"/>
            <a:pathLst>
              <a:path w="19678" h="20595" extrusionOk="0">
                <a:moveTo>
                  <a:pt x="9844" y="0"/>
                </a:moveTo>
                <a:cubicBezTo>
                  <a:pt x="7325" y="0"/>
                  <a:pt x="4805" y="1003"/>
                  <a:pt x="2883" y="3014"/>
                </a:cubicBezTo>
                <a:cubicBezTo>
                  <a:pt x="-961" y="7035"/>
                  <a:pt x="-961" y="13558"/>
                  <a:pt x="2883" y="17579"/>
                </a:cubicBezTo>
                <a:cubicBezTo>
                  <a:pt x="6726" y="21600"/>
                  <a:pt x="12952" y="21600"/>
                  <a:pt x="16795" y="17579"/>
                </a:cubicBezTo>
                <a:cubicBezTo>
                  <a:pt x="20639" y="13558"/>
                  <a:pt x="20639" y="7035"/>
                  <a:pt x="16795" y="3014"/>
                </a:cubicBezTo>
                <a:cubicBezTo>
                  <a:pt x="14873" y="1003"/>
                  <a:pt x="12363" y="0"/>
                  <a:pt x="9844" y="0"/>
                </a:cubicBezTo>
                <a:close/>
                <a:moveTo>
                  <a:pt x="9844" y="1716"/>
                </a:moveTo>
                <a:cubicBezTo>
                  <a:pt x="11943" y="1716"/>
                  <a:pt x="14035" y="2550"/>
                  <a:pt x="15637" y="4226"/>
                </a:cubicBezTo>
                <a:cubicBezTo>
                  <a:pt x="18840" y="7577"/>
                  <a:pt x="18840" y="13016"/>
                  <a:pt x="15637" y="16367"/>
                </a:cubicBezTo>
                <a:cubicBezTo>
                  <a:pt x="12434" y="19718"/>
                  <a:pt x="7244" y="19718"/>
                  <a:pt x="4041" y="16367"/>
                </a:cubicBezTo>
                <a:cubicBezTo>
                  <a:pt x="838" y="13016"/>
                  <a:pt x="838" y="7577"/>
                  <a:pt x="4041" y="4226"/>
                </a:cubicBezTo>
                <a:cubicBezTo>
                  <a:pt x="5643" y="2550"/>
                  <a:pt x="7745" y="1716"/>
                  <a:pt x="9844" y="1716"/>
                </a:cubicBezTo>
                <a:close/>
                <a:moveTo>
                  <a:pt x="9844" y="3432"/>
                </a:moveTo>
                <a:cubicBezTo>
                  <a:pt x="8165" y="3432"/>
                  <a:pt x="6481" y="4097"/>
                  <a:pt x="5200" y="5438"/>
                </a:cubicBezTo>
                <a:cubicBezTo>
                  <a:pt x="2637" y="8118"/>
                  <a:pt x="2637" y="12474"/>
                  <a:pt x="5200" y="15155"/>
                </a:cubicBezTo>
                <a:cubicBezTo>
                  <a:pt x="7762" y="17836"/>
                  <a:pt x="11916" y="17836"/>
                  <a:pt x="14478" y="15155"/>
                </a:cubicBezTo>
                <a:cubicBezTo>
                  <a:pt x="17041" y="12474"/>
                  <a:pt x="17041" y="8118"/>
                  <a:pt x="14478" y="5438"/>
                </a:cubicBezTo>
                <a:cubicBezTo>
                  <a:pt x="13197" y="4097"/>
                  <a:pt x="11523" y="3432"/>
                  <a:pt x="9844" y="3432"/>
                </a:cubicBezTo>
                <a:close/>
                <a:moveTo>
                  <a:pt x="9844" y="5148"/>
                </a:moveTo>
                <a:cubicBezTo>
                  <a:pt x="11104" y="5148"/>
                  <a:pt x="12359" y="5655"/>
                  <a:pt x="13320" y="6661"/>
                </a:cubicBezTo>
                <a:cubicBezTo>
                  <a:pt x="15242" y="8671"/>
                  <a:pt x="15242" y="11922"/>
                  <a:pt x="13320" y="13932"/>
                </a:cubicBezTo>
                <a:cubicBezTo>
                  <a:pt x="11398" y="15943"/>
                  <a:pt x="8280" y="15943"/>
                  <a:pt x="6358" y="13932"/>
                </a:cubicBezTo>
                <a:cubicBezTo>
                  <a:pt x="4436" y="11922"/>
                  <a:pt x="4436" y="8671"/>
                  <a:pt x="6358" y="6661"/>
                </a:cubicBezTo>
                <a:cubicBezTo>
                  <a:pt x="7319" y="5655"/>
                  <a:pt x="8585" y="5148"/>
                  <a:pt x="9844" y="5148"/>
                </a:cubicBezTo>
                <a:close/>
                <a:moveTo>
                  <a:pt x="9844" y="6864"/>
                </a:moveTo>
                <a:cubicBezTo>
                  <a:pt x="9005" y="6864"/>
                  <a:pt x="8157" y="7202"/>
                  <a:pt x="7517" y="7872"/>
                </a:cubicBezTo>
                <a:cubicBezTo>
                  <a:pt x="6236" y="9213"/>
                  <a:pt x="6236" y="11380"/>
                  <a:pt x="7517" y="12720"/>
                </a:cubicBezTo>
                <a:cubicBezTo>
                  <a:pt x="8798" y="14061"/>
                  <a:pt x="10880" y="14061"/>
                  <a:pt x="12161" y="12720"/>
                </a:cubicBezTo>
                <a:cubicBezTo>
                  <a:pt x="13442" y="11380"/>
                  <a:pt x="13442" y="9213"/>
                  <a:pt x="12161" y="7872"/>
                </a:cubicBezTo>
                <a:cubicBezTo>
                  <a:pt x="11521" y="7202"/>
                  <a:pt x="10684" y="6864"/>
                  <a:pt x="9844" y="6864"/>
                </a:cubicBezTo>
                <a:close/>
              </a:path>
            </a:pathLst>
          </a:custGeom>
          <a:solidFill>
            <a:schemeClr val="accent5">
              <a:lumMod val="75000"/>
            </a:schemeClr>
          </a:solidFill>
          <a:ln w="12700" cap="flat">
            <a:noFill/>
            <a:miter lim="400000"/>
          </a:ln>
          <a:effectLst/>
        </p:spPr>
        <p:txBody>
          <a:bodyPr wrap="square" lIns="0" tIns="0" rIns="0" bIns="0" numCol="1" anchor="ctr">
            <a:noAutofit/>
          </a:bodyPr>
          <a:lstStyle/>
          <a:p>
            <a:pPr defTabSz="1219140">
              <a:defRPr/>
            </a:pPr>
            <a:endParaRPr lang="vi-VN" sz="5063" noProof="0">
              <a:solidFill>
                <a:srgbClr val="000000"/>
              </a:solidFill>
              <a:latin typeface="Arial" panose="020B0604020202020204" pitchFamily="34" charset="0"/>
              <a:cs typeface="Arial"/>
            </a:endParaRPr>
          </a:p>
        </p:txBody>
      </p:sp>
      <p:sp>
        <p:nvSpPr>
          <p:cNvPr id="49" name="Shape 34467">
            <a:extLst>
              <a:ext uri="{FF2B5EF4-FFF2-40B4-BE49-F238E27FC236}">
                <a16:creationId xmlns:a16="http://schemas.microsoft.com/office/drawing/2014/main" id="{B8C8F450-00A8-EC2E-1FE7-6E946BBCD612}"/>
              </a:ext>
            </a:extLst>
          </p:cNvPr>
          <p:cNvSpPr/>
          <p:nvPr/>
        </p:nvSpPr>
        <p:spPr>
          <a:xfrm>
            <a:off x="5960437" y="1394638"/>
            <a:ext cx="264727" cy="264839"/>
          </a:xfrm>
          <a:custGeom>
            <a:avLst/>
            <a:gdLst/>
            <a:ahLst/>
            <a:cxnLst>
              <a:cxn ang="0">
                <a:pos x="wd2" y="hd2"/>
              </a:cxn>
              <a:cxn ang="5400000">
                <a:pos x="wd2" y="hd2"/>
              </a:cxn>
              <a:cxn ang="10800000">
                <a:pos x="wd2" y="hd2"/>
              </a:cxn>
              <a:cxn ang="16200000">
                <a:pos x="wd2" y="hd2"/>
              </a:cxn>
            </a:cxnLst>
            <a:rect l="0" t="0" r="r" b="b"/>
            <a:pathLst>
              <a:path w="19678" h="20595" extrusionOk="0">
                <a:moveTo>
                  <a:pt x="9844" y="0"/>
                </a:moveTo>
                <a:cubicBezTo>
                  <a:pt x="7325" y="0"/>
                  <a:pt x="4805" y="1003"/>
                  <a:pt x="2883" y="3014"/>
                </a:cubicBezTo>
                <a:cubicBezTo>
                  <a:pt x="-961" y="7035"/>
                  <a:pt x="-961" y="13558"/>
                  <a:pt x="2883" y="17579"/>
                </a:cubicBezTo>
                <a:cubicBezTo>
                  <a:pt x="6726" y="21600"/>
                  <a:pt x="12952" y="21600"/>
                  <a:pt x="16795" y="17579"/>
                </a:cubicBezTo>
                <a:cubicBezTo>
                  <a:pt x="20639" y="13558"/>
                  <a:pt x="20639" y="7035"/>
                  <a:pt x="16795" y="3014"/>
                </a:cubicBezTo>
                <a:cubicBezTo>
                  <a:pt x="14873" y="1003"/>
                  <a:pt x="12363" y="0"/>
                  <a:pt x="9844" y="0"/>
                </a:cubicBezTo>
                <a:close/>
                <a:moveTo>
                  <a:pt x="9844" y="1716"/>
                </a:moveTo>
                <a:cubicBezTo>
                  <a:pt x="11943" y="1716"/>
                  <a:pt x="14035" y="2550"/>
                  <a:pt x="15637" y="4226"/>
                </a:cubicBezTo>
                <a:cubicBezTo>
                  <a:pt x="18840" y="7577"/>
                  <a:pt x="18840" y="13016"/>
                  <a:pt x="15637" y="16367"/>
                </a:cubicBezTo>
                <a:cubicBezTo>
                  <a:pt x="12434" y="19718"/>
                  <a:pt x="7244" y="19718"/>
                  <a:pt x="4041" y="16367"/>
                </a:cubicBezTo>
                <a:cubicBezTo>
                  <a:pt x="838" y="13016"/>
                  <a:pt x="838" y="7577"/>
                  <a:pt x="4041" y="4226"/>
                </a:cubicBezTo>
                <a:cubicBezTo>
                  <a:pt x="5643" y="2550"/>
                  <a:pt x="7745" y="1716"/>
                  <a:pt x="9844" y="1716"/>
                </a:cubicBezTo>
                <a:close/>
                <a:moveTo>
                  <a:pt x="9844" y="3432"/>
                </a:moveTo>
                <a:cubicBezTo>
                  <a:pt x="8165" y="3432"/>
                  <a:pt x="6481" y="4097"/>
                  <a:pt x="5200" y="5438"/>
                </a:cubicBezTo>
                <a:cubicBezTo>
                  <a:pt x="2637" y="8118"/>
                  <a:pt x="2637" y="12474"/>
                  <a:pt x="5200" y="15155"/>
                </a:cubicBezTo>
                <a:cubicBezTo>
                  <a:pt x="7762" y="17836"/>
                  <a:pt x="11916" y="17836"/>
                  <a:pt x="14478" y="15155"/>
                </a:cubicBezTo>
                <a:cubicBezTo>
                  <a:pt x="17041" y="12474"/>
                  <a:pt x="17041" y="8118"/>
                  <a:pt x="14478" y="5438"/>
                </a:cubicBezTo>
                <a:cubicBezTo>
                  <a:pt x="13197" y="4097"/>
                  <a:pt x="11523" y="3432"/>
                  <a:pt x="9844" y="3432"/>
                </a:cubicBezTo>
                <a:close/>
                <a:moveTo>
                  <a:pt x="9844" y="5148"/>
                </a:moveTo>
                <a:cubicBezTo>
                  <a:pt x="11104" y="5148"/>
                  <a:pt x="12359" y="5655"/>
                  <a:pt x="13320" y="6661"/>
                </a:cubicBezTo>
                <a:cubicBezTo>
                  <a:pt x="15242" y="8671"/>
                  <a:pt x="15242" y="11922"/>
                  <a:pt x="13320" y="13932"/>
                </a:cubicBezTo>
                <a:cubicBezTo>
                  <a:pt x="11398" y="15943"/>
                  <a:pt x="8280" y="15943"/>
                  <a:pt x="6358" y="13932"/>
                </a:cubicBezTo>
                <a:cubicBezTo>
                  <a:pt x="4436" y="11922"/>
                  <a:pt x="4436" y="8671"/>
                  <a:pt x="6358" y="6661"/>
                </a:cubicBezTo>
                <a:cubicBezTo>
                  <a:pt x="7319" y="5655"/>
                  <a:pt x="8585" y="5148"/>
                  <a:pt x="9844" y="5148"/>
                </a:cubicBezTo>
                <a:close/>
                <a:moveTo>
                  <a:pt x="9844" y="6864"/>
                </a:moveTo>
                <a:cubicBezTo>
                  <a:pt x="9005" y="6864"/>
                  <a:pt x="8157" y="7202"/>
                  <a:pt x="7517" y="7872"/>
                </a:cubicBezTo>
                <a:cubicBezTo>
                  <a:pt x="6236" y="9213"/>
                  <a:pt x="6236" y="11380"/>
                  <a:pt x="7517" y="12720"/>
                </a:cubicBezTo>
                <a:cubicBezTo>
                  <a:pt x="8798" y="14061"/>
                  <a:pt x="10880" y="14061"/>
                  <a:pt x="12161" y="12720"/>
                </a:cubicBezTo>
                <a:cubicBezTo>
                  <a:pt x="13442" y="11380"/>
                  <a:pt x="13442" y="9213"/>
                  <a:pt x="12161" y="7872"/>
                </a:cubicBezTo>
                <a:cubicBezTo>
                  <a:pt x="11521" y="7202"/>
                  <a:pt x="10684" y="6864"/>
                  <a:pt x="9844" y="6864"/>
                </a:cubicBezTo>
                <a:close/>
              </a:path>
            </a:pathLst>
          </a:custGeom>
          <a:solidFill>
            <a:schemeClr val="accent4">
              <a:lumMod val="75000"/>
            </a:schemeClr>
          </a:solidFill>
          <a:ln w="12700" cap="flat">
            <a:noFill/>
            <a:miter lim="400000"/>
          </a:ln>
          <a:effectLst/>
        </p:spPr>
        <p:txBody>
          <a:bodyPr wrap="square" lIns="0" tIns="0" rIns="0" bIns="0" numCol="1" anchor="ctr">
            <a:noAutofit/>
          </a:bodyPr>
          <a:lstStyle/>
          <a:p>
            <a:pPr defTabSz="1219140">
              <a:defRPr/>
            </a:pPr>
            <a:endParaRPr lang="vi-VN" sz="5063" noProof="0">
              <a:solidFill>
                <a:srgbClr val="000000"/>
              </a:solidFill>
              <a:latin typeface="Arial" panose="020B0604020202020204" pitchFamily="34" charset="0"/>
              <a:cs typeface="Arial"/>
            </a:endParaRPr>
          </a:p>
        </p:txBody>
      </p:sp>
      <p:grpSp>
        <p:nvGrpSpPr>
          <p:cNvPr id="6" name="Group 5">
            <a:extLst>
              <a:ext uri="{FF2B5EF4-FFF2-40B4-BE49-F238E27FC236}">
                <a16:creationId xmlns:a16="http://schemas.microsoft.com/office/drawing/2014/main" id="{4C1E0B48-87CC-83F4-CD99-584197A377BF}"/>
              </a:ext>
            </a:extLst>
          </p:cNvPr>
          <p:cNvGrpSpPr/>
          <p:nvPr/>
        </p:nvGrpSpPr>
        <p:grpSpPr>
          <a:xfrm>
            <a:off x="4084311" y="4710176"/>
            <a:ext cx="3944364" cy="1130827"/>
            <a:chOff x="7928937" y="4190686"/>
            <a:chExt cx="3944364" cy="1130827"/>
          </a:xfrm>
        </p:grpSpPr>
        <p:sp>
          <p:nvSpPr>
            <p:cNvPr id="9" name="TextBox 8">
              <a:extLst>
                <a:ext uri="{FF2B5EF4-FFF2-40B4-BE49-F238E27FC236}">
                  <a16:creationId xmlns:a16="http://schemas.microsoft.com/office/drawing/2014/main" id="{44CD9482-AD43-7AD3-8792-3FEED5D7ACB5}"/>
                </a:ext>
              </a:extLst>
            </p:cNvPr>
            <p:cNvSpPr txBox="1"/>
            <p:nvPr/>
          </p:nvSpPr>
          <p:spPr>
            <a:xfrm>
              <a:off x="7976786" y="4190686"/>
              <a:ext cx="3896515" cy="1130827"/>
            </a:xfrm>
            <a:prstGeom prst="rect">
              <a:avLst/>
            </a:prstGeom>
            <a:solidFill>
              <a:schemeClr val="bg1">
                <a:lumMod val="95000"/>
              </a:schemeClr>
            </a:solidFill>
            <a:ln w="12700">
              <a:noFill/>
            </a:ln>
          </p:spPr>
          <p:txBody>
            <a:bodyPr wrap="square" lIns="72000" tIns="432000" rIns="72000" bIns="432000" numCol="1" rtlCol="0" anchor="ctr">
              <a:noAutofit/>
            </a:bodyPr>
            <a:lstStyle/>
            <a:p>
              <a:pPr algn="ctr" defTabSz="1219140">
                <a:spcBef>
                  <a:spcPts val="300"/>
                </a:spcBef>
                <a:spcAft>
                  <a:spcPts val="300"/>
                </a:spcAft>
                <a:buClr>
                  <a:srgbClr val="F36633"/>
                </a:buClr>
                <a:buSzPct val="110000"/>
                <a:defRPr/>
              </a:pPr>
              <a:endParaRPr lang="vi-VN" sz="1200" noProof="0">
                <a:solidFill>
                  <a:srgbClr val="000000"/>
                </a:solidFill>
                <a:latin typeface="Arial"/>
                <a:cs typeface="Arial"/>
              </a:endParaRPr>
            </a:p>
            <a:p>
              <a:pPr algn="ctr" defTabSz="1219140">
                <a:spcBef>
                  <a:spcPts val="300"/>
                </a:spcBef>
                <a:spcAft>
                  <a:spcPts val="300"/>
                </a:spcAft>
                <a:buClr>
                  <a:srgbClr val="F36633"/>
                </a:buClr>
                <a:buSzPct val="110000"/>
                <a:defRPr/>
              </a:pPr>
              <a:r>
                <a:rPr lang="vi-VN" sz="1200" noProof="0">
                  <a:solidFill>
                    <a:srgbClr val="000000"/>
                  </a:solidFill>
                  <a:latin typeface="Arial"/>
                  <a:cs typeface="Arial"/>
                </a:rPr>
                <a:t>Bệnh zona lan tỏa, bội nhiễm vi khuẩn, viêm mô tế bào, sẹo, tăng sắc tố da,...</a:t>
              </a:r>
              <a:br>
                <a:rPr lang="vi-VN" sz="1200" noProof="0">
                  <a:solidFill>
                    <a:srgbClr val="000000"/>
                  </a:solidFill>
                  <a:latin typeface="Arial"/>
                  <a:cs typeface="Arial"/>
                </a:rPr>
              </a:br>
              <a:r>
                <a:rPr lang="vi-VN" b="1" kern="0" noProof="0">
                  <a:solidFill>
                    <a:srgbClr val="FFC709">
                      <a:lumMod val="75000"/>
                    </a:srgbClr>
                  </a:solidFill>
                  <a:latin typeface="Arial"/>
                  <a:cs typeface="Arial"/>
                </a:rPr>
                <a:t>0.7–10.5%</a:t>
              </a:r>
              <a:br>
                <a:rPr lang="vi-VN" sz="1400" b="1" noProof="0">
                  <a:solidFill>
                    <a:srgbClr val="6658A6"/>
                  </a:solidFill>
                  <a:latin typeface="Arial"/>
                  <a:cs typeface="Arial"/>
                </a:rPr>
              </a:br>
              <a:r>
                <a:rPr lang="vi-VN" sz="1200" noProof="0">
                  <a:solidFill>
                    <a:srgbClr val="000000"/>
                  </a:solidFill>
                  <a:latin typeface="Arial"/>
                  <a:cs typeface="Arial"/>
                </a:rPr>
                <a:t>trường hợp bệnh nhân mắc HZ</a:t>
              </a:r>
              <a:r>
                <a:rPr lang="vi-VN" sz="1200" baseline="30000" noProof="0">
                  <a:solidFill>
                    <a:srgbClr val="000000"/>
                  </a:solidFill>
                  <a:latin typeface="Arial"/>
                  <a:cs typeface="Arial"/>
                </a:rPr>
                <a:t>9</a:t>
              </a:r>
            </a:p>
          </p:txBody>
        </p:sp>
        <p:pic>
          <p:nvPicPr>
            <p:cNvPr id="34" name="Graphic 33" descr="Man with solid fill">
              <a:extLst>
                <a:ext uri="{FF2B5EF4-FFF2-40B4-BE49-F238E27FC236}">
                  <a16:creationId xmlns:a16="http://schemas.microsoft.com/office/drawing/2014/main" id="{2C42807A-958E-EC95-7DA0-625B8DAF12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28937" y="4747756"/>
              <a:ext cx="500543" cy="500543"/>
            </a:xfrm>
            <a:prstGeom prst="rect">
              <a:avLst/>
            </a:prstGeom>
          </p:spPr>
        </p:pic>
        <p:sp>
          <p:nvSpPr>
            <p:cNvPr id="44" name="TextBox 43">
              <a:extLst>
                <a:ext uri="{FF2B5EF4-FFF2-40B4-BE49-F238E27FC236}">
                  <a16:creationId xmlns:a16="http://schemas.microsoft.com/office/drawing/2014/main" id="{71A3C06C-1723-B2FC-899D-381D344501B5}"/>
                </a:ext>
              </a:extLst>
            </p:cNvPr>
            <p:cNvSpPr txBox="1"/>
            <p:nvPr/>
          </p:nvSpPr>
          <p:spPr>
            <a:xfrm>
              <a:off x="9157770" y="4200398"/>
              <a:ext cx="1569977" cy="307777"/>
            </a:xfrm>
            <a:prstGeom prst="rect">
              <a:avLst/>
            </a:prstGeom>
            <a:noFill/>
          </p:spPr>
          <p:txBody>
            <a:bodyPr wrap="square">
              <a:spAutoFit/>
            </a:bodyPr>
            <a:lstStyle/>
            <a:p>
              <a:pPr algn="ctr" defTabSz="1219140">
                <a:defRPr/>
              </a:pPr>
              <a:r>
                <a:rPr lang="vi-VN" sz="1400" b="1" kern="0" noProof="0">
                  <a:solidFill>
                    <a:srgbClr val="FFC709">
                      <a:lumMod val="75000"/>
                    </a:srgbClr>
                  </a:solidFill>
                  <a:latin typeface="Arial"/>
                  <a:cs typeface="Arial"/>
                </a:rPr>
                <a:t>Da</a:t>
              </a:r>
              <a:endParaRPr lang="vi-VN" sz="1400" noProof="0">
                <a:solidFill>
                  <a:srgbClr val="FFC709">
                    <a:lumMod val="75000"/>
                  </a:srgbClr>
                </a:solidFill>
                <a:latin typeface="Arial"/>
                <a:cs typeface="Arial"/>
              </a:endParaRPr>
            </a:p>
          </p:txBody>
        </p:sp>
      </p:grpSp>
      <p:cxnSp>
        <p:nvCxnSpPr>
          <p:cNvPr id="30" name="Straight Connector 29">
            <a:extLst>
              <a:ext uri="{FF2B5EF4-FFF2-40B4-BE49-F238E27FC236}">
                <a16:creationId xmlns:a16="http://schemas.microsoft.com/office/drawing/2014/main" id="{0EF63841-8AE1-E6C9-F1B5-0F50A4F35C8E}"/>
              </a:ext>
            </a:extLst>
          </p:cNvPr>
          <p:cNvCxnSpPr>
            <a:cxnSpLocks/>
            <a:stCxn id="43" idx="0"/>
          </p:cNvCxnSpPr>
          <p:nvPr/>
        </p:nvCxnSpPr>
        <p:spPr>
          <a:xfrm flipH="1">
            <a:off x="6080419" y="3598515"/>
            <a:ext cx="312351" cy="1111661"/>
          </a:xfrm>
          <a:prstGeom prst="line">
            <a:avLst/>
          </a:prstGeom>
          <a:ln w="19050" cap="rnd">
            <a:solidFill>
              <a:schemeClr val="accent5">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650B3D7-E562-4795-9012-0B74A882FD07}"/>
              </a:ext>
            </a:extLst>
          </p:cNvPr>
          <p:cNvSpPr/>
          <p:nvPr/>
        </p:nvSpPr>
        <p:spPr bwMode="auto">
          <a:xfrm>
            <a:off x="0" y="5866005"/>
            <a:ext cx="12192000" cy="468000"/>
          </a:xfrm>
          <a:prstGeom prst="roundRect">
            <a:avLst>
              <a:gd name="adj" fmla="val 0"/>
            </a:avLst>
          </a:prstGeom>
          <a:solidFill>
            <a:schemeClr val="accent2"/>
          </a:solidFill>
          <a:ln w="12700" cap="flat" cmpd="sng" algn="ctr">
            <a:noFill/>
            <a:prstDash val="solid"/>
            <a:headEnd/>
            <a:tailEnd/>
          </a:ln>
          <a:effectLst/>
        </p:spPr>
        <p:style>
          <a:lnRef idx="1">
            <a:schemeClr val="accent1"/>
          </a:lnRef>
          <a:fillRef idx="3">
            <a:schemeClr val="accent1"/>
          </a:fillRef>
          <a:effectRef idx="2">
            <a:schemeClr val="accent1"/>
          </a:effectRef>
          <a:fontRef idx="minor">
            <a:schemeClr val="lt1"/>
          </a:fontRef>
        </p:style>
        <p:txBody>
          <a:bodyPr lIns="108000" tIns="72000" rIns="108000" bIns="72000" rtlCol="0" anchor="ctr"/>
          <a:lstStyle/>
          <a:p>
            <a:pPr marL="91438" algn="ctr" defTabSz="1219140">
              <a:defRPr/>
            </a:pPr>
            <a:r>
              <a:rPr lang="vi-VN" sz="1400" b="1" noProof="0">
                <a:solidFill>
                  <a:srgbClr val="FFFFFF"/>
                </a:solidFill>
                <a:latin typeface="Arial"/>
                <a:cs typeface="Arial"/>
              </a:rPr>
              <a:t>Khoảng 10% bệnh nhân ≥50 tuổi mắc HZ có ≥1 biến chứng không-PHN</a:t>
            </a:r>
            <a:r>
              <a:rPr lang="vi-VN" sz="1400" b="1" baseline="30000" noProof="0">
                <a:solidFill>
                  <a:srgbClr val="FFFFFF"/>
                </a:solidFill>
                <a:latin typeface="Arial"/>
                <a:cs typeface="Arial"/>
              </a:rPr>
              <a:t>3</a:t>
            </a:r>
            <a:endParaRPr lang="vi-VN" sz="1400" b="1" noProof="0">
              <a:solidFill>
                <a:srgbClr val="FFFFFF"/>
              </a:solidFill>
              <a:latin typeface="Arial"/>
              <a:cs typeface="Arial"/>
            </a:endParaRPr>
          </a:p>
        </p:txBody>
      </p:sp>
    </p:spTree>
    <p:extLst>
      <p:ext uri="{BB962C8B-B14F-4D97-AF65-F5344CB8AC3E}">
        <p14:creationId xmlns:p14="http://schemas.microsoft.com/office/powerpoint/2010/main" val="317965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a:extLst>
              <a:ext uri="{FF2B5EF4-FFF2-40B4-BE49-F238E27FC236}">
                <a16:creationId xmlns:a16="http://schemas.microsoft.com/office/drawing/2014/main" id="{B269268E-B1E9-21AB-B534-E0B70A072D9E}"/>
              </a:ext>
            </a:extLst>
          </p:cNvPr>
          <p:cNvSpPr>
            <a:spLocks noGrp="1"/>
          </p:cNvSpPr>
          <p:nvPr>
            <p:ph type="title"/>
          </p:nvPr>
        </p:nvSpPr>
        <p:spPr/>
        <p:txBody>
          <a:bodyPr/>
          <a:lstStyle/>
          <a:p>
            <a:pPr defTabSz="1219201">
              <a:defRPr/>
            </a:pPr>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ĐAU DO ZONA CÓ THỂ GÂY SUY NHƯỢC</a:t>
            </a:r>
            <a:b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vi-VN" b="1" noProof="0" dirty="0">
                <a:solidFill>
                  <a:srgbClr val="002060"/>
                </a:solidFill>
                <a:latin typeface="Calibri" panose="020F0502020204030204" pitchFamily="34" charset="0"/>
                <a:ea typeface="Calibri" panose="020F0502020204030204" pitchFamily="34" charset="0"/>
                <a:cs typeface="Calibri" panose="020F0502020204030204" pitchFamily="34" charset="0"/>
              </a:rPr>
              <a:t>VÀ ẢNH HƯỞNG NGHIÊM TRỌNG TỚI CHẤT LƯỢNG CUỘC SỐNG</a:t>
            </a:r>
            <a:r>
              <a:rPr lang="vi-VN" b="1" baseline="30000" noProof="0" dirty="0">
                <a:solidFill>
                  <a:srgbClr val="002060"/>
                </a:solidFill>
                <a:latin typeface="Calibri" panose="020F0502020204030204" pitchFamily="34" charset="0"/>
                <a:ea typeface="Calibri" panose="020F0502020204030204" pitchFamily="34" charset="0"/>
                <a:cs typeface="Calibri" panose="020F0502020204030204" pitchFamily="34" charset="0"/>
              </a:rPr>
              <a:t>1–3 </a:t>
            </a:r>
          </a:p>
        </p:txBody>
      </p:sp>
      <p:sp>
        <p:nvSpPr>
          <p:cNvPr id="4" name="Slide Number Placeholder 4">
            <a:extLst>
              <a:ext uri="{FF2B5EF4-FFF2-40B4-BE49-F238E27FC236}">
                <a16:creationId xmlns:a16="http://schemas.microsoft.com/office/drawing/2014/main" id="{7FE6EFF2-8868-6333-699C-978A63F5E6B9}"/>
              </a:ext>
            </a:extLst>
          </p:cNvPr>
          <p:cNvSpPr txBox="1">
            <a:spLocks/>
          </p:cNvSpPr>
          <p:nvPr/>
        </p:nvSpPr>
        <p:spPr>
          <a:xfrm>
            <a:off x="11285288" y="6343652"/>
            <a:ext cx="540000" cy="269875"/>
          </a:xfrm>
          <a:prstGeom prst="rect">
            <a:avLst/>
          </a:prstGeom>
        </p:spPr>
        <p:txBody>
          <a:bodyPr vert="horz" lIns="0" tIns="0" rIns="0" bIns="0" rtlCol="0" anchor="b" anchorCtr="0">
            <a:normAutofit/>
          </a:bodyP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defRPr/>
            </a:pPr>
            <a:fld id="{9F9F533D-B52E-4A2F-BF72-0ADD2D94BD75}" type="slidenum">
              <a:rPr lang="vi-VN" noProof="0" smtClean="0">
                <a:solidFill>
                  <a:srgbClr val="000000"/>
                </a:solidFill>
                <a:latin typeface="Arial"/>
                <a:cs typeface="Noto Sans"/>
              </a:rPr>
              <a:pPr defTabSz="914423">
                <a:defRPr/>
              </a:pPr>
              <a:t>37</a:t>
            </a:fld>
            <a:endParaRPr lang="vi-VN" noProof="0">
              <a:solidFill>
                <a:srgbClr val="000000"/>
              </a:solidFill>
              <a:latin typeface="Arial"/>
              <a:cs typeface="Noto Sans"/>
            </a:endParaRPr>
          </a:p>
        </p:txBody>
      </p:sp>
      <p:grpSp>
        <p:nvGrpSpPr>
          <p:cNvPr id="6" name="Group 5">
            <a:extLst>
              <a:ext uri="{FF2B5EF4-FFF2-40B4-BE49-F238E27FC236}">
                <a16:creationId xmlns:a16="http://schemas.microsoft.com/office/drawing/2014/main" id="{D10D6C4B-A838-C3EC-BA61-DE4A169BBE3B}"/>
              </a:ext>
            </a:extLst>
          </p:cNvPr>
          <p:cNvGrpSpPr/>
          <p:nvPr/>
        </p:nvGrpSpPr>
        <p:grpSpPr>
          <a:xfrm>
            <a:off x="143384" y="1455339"/>
            <a:ext cx="6565665" cy="4361990"/>
            <a:chOff x="-10762" y="1218707"/>
            <a:chExt cx="6287824" cy="2849428"/>
          </a:xfrm>
        </p:grpSpPr>
        <p:sp>
          <p:nvSpPr>
            <p:cNvPr id="7" name="Rectangle 6">
              <a:extLst>
                <a:ext uri="{FF2B5EF4-FFF2-40B4-BE49-F238E27FC236}">
                  <a16:creationId xmlns:a16="http://schemas.microsoft.com/office/drawing/2014/main" id="{3DA1A2B2-5698-A238-7D30-C0ACCF4F6310}"/>
                </a:ext>
              </a:extLst>
            </p:cNvPr>
            <p:cNvSpPr/>
            <p:nvPr/>
          </p:nvSpPr>
          <p:spPr>
            <a:xfrm>
              <a:off x="84614" y="1218707"/>
              <a:ext cx="5098304" cy="341788"/>
            </a:xfrm>
            <a:prstGeom prst="rect">
              <a:avLst/>
            </a:prstGeom>
          </p:spPr>
          <p:txBody>
            <a:bodyPr wrap="square">
              <a:spAutoFit/>
            </a:bodyPr>
            <a:lstStyle/>
            <a:p>
              <a:pPr algn="ctr" defTabSz="914423">
                <a:defRPr/>
              </a:pPr>
              <a:r>
                <a:rPr lang="vi-VN" sz="1400" b="1" kern="0" noProof="0">
                  <a:solidFill>
                    <a:srgbClr val="F37022"/>
                  </a:solidFill>
                  <a:latin typeface="Arial" panose="020B0604020202020204" pitchFamily="34" charset="0"/>
                  <a:cs typeface="Arial" panose="020B0604020202020204" pitchFamily="34" charset="0"/>
                </a:rPr>
                <a:t>Mức độ đau được báo cáo cho các tình trạng khác nhau bằng cách sử dụng Bảng câu hỏi McGill Pain rút gọn </a:t>
              </a:r>
              <a:r>
                <a:rPr lang="vi-VN" sz="1400" b="1" kern="0" baseline="30000" noProof="0">
                  <a:solidFill>
                    <a:srgbClr val="F37022"/>
                  </a:solidFill>
                  <a:latin typeface="Arial" panose="020B0604020202020204" pitchFamily="34" charset="0"/>
                  <a:cs typeface="Noto Sans"/>
                </a:rPr>
                <a:t>4</a:t>
              </a:r>
              <a:endParaRPr lang="vi-VN" sz="1400" b="1" kern="0" noProof="0">
                <a:solidFill>
                  <a:srgbClr val="F37022"/>
                </a:solidFill>
                <a:latin typeface="Arial"/>
                <a:cs typeface="Noto Sans"/>
              </a:endParaRPr>
            </a:p>
          </p:txBody>
        </p:sp>
        <p:sp>
          <p:nvSpPr>
            <p:cNvPr id="8" name="TextBox 7">
              <a:extLst>
                <a:ext uri="{FF2B5EF4-FFF2-40B4-BE49-F238E27FC236}">
                  <a16:creationId xmlns:a16="http://schemas.microsoft.com/office/drawing/2014/main" id="{205D959F-493D-1E21-E1D0-EC52A704C3C9}"/>
                </a:ext>
              </a:extLst>
            </p:cNvPr>
            <p:cNvSpPr txBox="1"/>
            <p:nvPr/>
          </p:nvSpPr>
          <p:spPr>
            <a:xfrm>
              <a:off x="713272" y="1709138"/>
              <a:ext cx="1973548" cy="341788"/>
            </a:xfrm>
            <a:prstGeom prst="rect">
              <a:avLst/>
            </a:prstGeom>
            <a:noFill/>
          </p:spPr>
          <p:txBody>
            <a:bodyPr wrap="square" rtlCol="0">
              <a:spAutoFit/>
            </a:bodyPr>
            <a:lstStyle/>
            <a:p>
              <a:pPr algn="ctr" defTabSz="914423">
                <a:defRPr/>
              </a:pPr>
              <a:r>
                <a:rPr lang="vi-VN" sz="1400" b="1" kern="0" noProof="0">
                  <a:solidFill>
                    <a:srgbClr val="000000"/>
                  </a:solidFill>
                  <a:latin typeface="Arial" panose="020B0604020202020204" pitchFamily="34" charset="0"/>
                  <a:cs typeface="Noto Sans"/>
                </a:rPr>
                <a:t>Tình trạng đau cấp tính</a:t>
              </a:r>
            </a:p>
          </p:txBody>
        </p:sp>
        <p:sp>
          <p:nvSpPr>
            <p:cNvPr id="9" name="TextBox 8">
              <a:extLst>
                <a:ext uri="{FF2B5EF4-FFF2-40B4-BE49-F238E27FC236}">
                  <a16:creationId xmlns:a16="http://schemas.microsoft.com/office/drawing/2014/main" id="{C0EDF644-672E-7C72-838E-D34A045E0AD3}"/>
                </a:ext>
              </a:extLst>
            </p:cNvPr>
            <p:cNvSpPr txBox="1"/>
            <p:nvPr/>
          </p:nvSpPr>
          <p:spPr>
            <a:xfrm>
              <a:off x="2845173" y="1709138"/>
              <a:ext cx="2196214" cy="201052"/>
            </a:xfrm>
            <a:prstGeom prst="rect">
              <a:avLst/>
            </a:prstGeom>
            <a:noFill/>
          </p:spPr>
          <p:txBody>
            <a:bodyPr wrap="square" rtlCol="0">
              <a:spAutoFit/>
            </a:bodyPr>
            <a:lstStyle/>
            <a:p>
              <a:pPr algn="ctr" defTabSz="914423">
                <a:defRPr/>
              </a:pPr>
              <a:r>
                <a:rPr lang="vi-VN" sz="1400" b="1" kern="0" noProof="0">
                  <a:solidFill>
                    <a:srgbClr val="000000"/>
                  </a:solidFill>
                  <a:latin typeface="Arial" panose="020B0604020202020204" pitchFamily="34" charset="0"/>
                  <a:cs typeface="Noto Sans"/>
                </a:rPr>
                <a:t>Tình trạng đau mạn tính</a:t>
              </a:r>
            </a:p>
          </p:txBody>
        </p:sp>
        <p:sp>
          <p:nvSpPr>
            <p:cNvPr id="10" name="Rectangle 9">
              <a:extLst>
                <a:ext uri="{FF2B5EF4-FFF2-40B4-BE49-F238E27FC236}">
                  <a16:creationId xmlns:a16="http://schemas.microsoft.com/office/drawing/2014/main" id="{11DE1AA0-89A2-11E8-18C7-5C72F1DABCF0}"/>
                </a:ext>
              </a:extLst>
            </p:cNvPr>
            <p:cNvSpPr/>
            <p:nvPr/>
          </p:nvSpPr>
          <p:spPr>
            <a:xfrm>
              <a:off x="123777" y="3199312"/>
              <a:ext cx="1672106" cy="245326"/>
            </a:xfrm>
            <a:prstGeom prst="rect">
              <a:avLst/>
            </a:prstGeom>
          </p:spPr>
          <p:txBody>
            <a:bodyPr wrap="none">
              <a:spAutoFit/>
            </a:bodyPr>
            <a:lstStyle/>
            <a:p>
              <a:pPr algn="r" defTabSz="914423">
                <a:lnSpc>
                  <a:spcPct val="150000"/>
                </a:lnSpc>
                <a:defRPr/>
              </a:pPr>
              <a:r>
                <a:rPr lang="vi-VN" sz="1400" kern="0" noProof="0">
                  <a:solidFill>
                    <a:srgbClr val="000000"/>
                  </a:solidFill>
                  <a:latin typeface="Arial" panose="020B0604020202020204" pitchFamily="34" charset="0"/>
                  <a:cs typeface="Noto Sans"/>
                </a:rPr>
                <a:t>Đau sau phẫu thuật</a:t>
              </a:r>
            </a:p>
          </p:txBody>
        </p:sp>
        <p:sp>
          <p:nvSpPr>
            <p:cNvPr id="11" name="Rectangle 10">
              <a:extLst>
                <a:ext uri="{FF2B5EF4-FFF2-40B4-BE49-F238E27FC236}">
                  <a16:creationId xmlns:a16="http://schemas.microsoft.com/office/drawing/2014/main" id="{5E354968-4B80-9EA0-CF5B-C5DF152C5A66}"/>
                </a:ext>
              </a:extLst>
            </p:cNvPr>
            <p:cNvSpPr/>
            <p:nvPr/>
          </p:nvSpPr>
          <p:spPr>
            <a:xfrm>
              <a:off x="1664300" y="3041981"/>
              <a:ext cx="729512" cy="245326"/>
            </a:xfrm>
            <a:prstGeom prst="rect">
              <a:avLst/>
            </a:prstGeom>
          </p:spPr>
          <p:txBody>
            <a:bodyPr wrap="none">
              <a:spAutoFit/>
            </a:bodyPr>
            <a:lstStyle/>
            <a:p>
              <a:pPr algn="r" defTabSz="914423">
                <a:lnSpc>
                  <a:spcPct val="150000"/>
                </a:lnSpc>
                <a:defRPr/>
              </a:pPr>
              <a:r>
                <a:rPr lang="vi-VN" sz="1400" kern="0" noProof="0">
                  <a:solidFill>
                    <a:srgbClr val="000000"/>
                  </a:solidFill>
                  <a:latin typeface="Arial" panose="020B0604020202020204" pitchFamily="34" charset="0"/>
                  <a:cs typeface="Noto Sans"/>
                </a:rPr>
                <a:t>Đau đẻ</a:t>
              </a:r>
            </a:p>
          </p:txBody>
        </p:sp>
        <p:sp>
          <p:nvSpPr>
            <p:cNvPr id="12" name="Rectangle 11">
              <a:extLst>
                <a:ext uri="{FF2B5EF4-FFF2-40B4-BE49-F238E27FC236}">
                  <a16:creationId xmlns:a16="http://schemas.microsoft.com/office/drawing/2014/main" id="{08C74E96-1037-F9E3-54C3-6C182E1A11B4}"/>
                </a:ext>
              </a:extLst>
            </p:cNvPr>
            <p:cNvSpPr/>
            <p:nvPr/>
          </p:nvSpPr>
          <p:spPr>
            <a:xfrm>
              <a:off x="-10762" y="2838327"/>
              <a:ext cx="1365073" cy="271755"/>
            </a:xfrm>
            <a:prstGeom prst="rect">
              <a:avLst/>
            </a:prstGeom>
          </p:spPr>
          <p:txBody>
            <a:bodyPr wrap="none">
              <a:spAutoFit/>
            </a:bodyPr>
            <a:lstStyle/>
            <a:p>
              <a:pPr algn="r" defTabSz="914423">
                <a:lnSpc>
                  <a:spcPct val="150000"/>
                </a:lnSpc>
                <a:defRPr/>
              </a:pPr>
              <a:r>
                <a:rPr lang="vi-VN" sz="1600" b="1" kern="0" noProof="0">
                  <a:solidFill>
                    <a:srgbClr val="F37022"/>
                  </a:solidFill>
                  <a:latin typeface="Arial" panose="020B0604020202020204" pitchFamily="34" charset="0"/>
                  <a:cs typeface="Noto Sans"/>
                </a:rPr>
                <a:t>Đau do Zona</a:t>
              </a:r>
            </a:p>
          </p:txBody>
        </p:sp>
        <p:sp>
          <p:nvSpPr>
            <p:cNvPr id="13" name="Rectangle 12">
              <a:extLst>
                <a:ext uri="{FF2B5EF4-FFF2-40B4-BE49-F238E27FC236}">
                  <a16:creationId xmlns:a16="http://schemas.microsoft.com/office/drawing/2014/main" id="{1B575141-88BD-FDE3-E885-02C94A1926D4}"/>
                </a:ext>
              </a:extLst>
            </p:cNvPr>
            <p:cNvSpPr/>
            <p:nvPr/>
          </p:nvSpPr>
          <p:spPr>
            <a:xfrm>
              <a:off x="3845047" y="3151002"/>
              <a:ext cx="1724301" cy="245326"/>
            </a:xfrm>
            <a:prstGeom prst="rect">
              <a:avLst/>
            </a:prstGeom>
          </p:spPr>
          <p:txBody>
            <a:bodyPr wrap="none">
              <a:spAutoFit/>
            </a:bodyPr>
            <a:lstStyle/>
            <a:p>
              <a:pPr defTabSz="914423">
                <a:lnSpc>
                  <a:spcPct val="150000"/>
                </a:lnSpc>
                <a:defRPr/>
              </a:pPr>
              <a:r>
                <a:rPr lang="vi-VN" sz="1400" kern="0" noProof="0">
                  <a:solidFill>
                    <a:srgbClr val="000000"/>
                  </a:solidFill>
                  <a:latin typeface="Arial" panose="020B0604020202020204" pitchFamily="34" charset="0"/>
                  <a:cs typeface="Noto Sans"/>
                </a:rPr>
                <a:t>Đau cơ xương khớp</a:t>
              </a:r>
              <a:endParaRPr lang="vi-VN" sz="1400" b="1" kern="0" noProof="0">
                <a:solidFill>
                  <a:srgbClr val="000000"/>
                </a:solidFill>
                <a:latin typeface="Arial"/>
                <a:cs typeface="Noto Sans"/>
              </a:endParaRPr>
            </a:p>
          </p:txBody>
        </p:sp>
        <p:sp>
          <p:nvSpPr>
            <p:cNvPr id="14" name="Rectangle 13">
              <a:extLst>
                <a:ext uri="{FF2B5EF4-FFF2-40B4-BE49-F238E27FC236}">
                  <a16:creationId xmlns:a16="http://schemas.microsoft.com/office/drawing/2014/main" id="{C25F3E4C-E710-DCD6-1337-37A15DE4CC59}"/>
                </a:ext>
              </a:extLst>
            </p:cNvPr>
            <p:cNvSpPr/>
            <p:nvPr/>
          </p:nvSpPr>
          <p:spPr>
            <a:xfrm>
              <a:off x="3222298" y="2987481"/>
              <a:ext cx="2091207" cy="245326"/>
            </a:xfrm>
            <a:prstGeom prst="rect">
              <a:avLst/>
            </a:prstGeom>
          </p:spPr>
          <p:txBody>
            <a:bodyPr wrap="none">
              <a:spAutoFit/>
            </a:bodyPr>
            <a:lstStyle/>
            <a:p>
              <a:pPr defTabSz="914423">
                <a:lnSpc>
                  <a:spcPct val="150000"/>
                </a:lnSpc>
                <a:defRPr/>
              </a:pPr>
              <a:r>
                <a:rPr lang="vi-VN" sz="1400" kern="0" noProof="0">
                  <a:solidFill>
                    <a:srgbClr val="000000"/>
                  </a:solidFill>
                  <a:latin typeface="Arial" panose="020B0604020202020204" pitchFamily="34" charset="0"/>
                  <a:cs typeface="Noto Sans"/>
                </a:rPr>
                <a:t>Đau mặt không điển hình</a:t>
              </a:r>
            </a:p>
          </p:txBody>
        </p:sp>
        <p:sp>
          <p:nvSpPr>
            <p:cNvPr id="15" name="Rectangle 14">
              <a:extLst>
                <a:ext uri="{FF2B5EF4-FFF2-40B4-BE49-F238E27FC236}">
                  <a16:creationId xmlns:a16="http://schemas.microsoft.com/office/drawing/2014/main" id="{AC0C3FD6-FB34-8BEE-E6C1-BA64199DBB8F}"/>
                </a:ext>
              </a:extLst>
            </p:cNvPr>
            <p:cNvSpPr/>
            <p:nvPr/>
          </p:nvSpPr>
          <p:spPr>
            <a:xfrm>
              <a:off x="3897243" y="2708690"/>
              <a:ext cx="2379819" cy="221157"/>
            </a:xfrm>
            <a:prstGeom prst="rect">
              <a:avLst/>
            </a:prstGeom>
          </p:spPr>
          <p:txBody>
            <a:bodyPr wrap="none">
              <a:spAutoFit/>
            </a:bodyPr>
            <a:lstStyle/>
            <a:p>
              <a:pPr defTabSz="914423">
                <a:defRPr/>
              </a:pPr>
              <a:r>
                <a:rPr lang="vi-VN" sz="1600" b="1" kern="0" noProof="0">
                  <a:solidFill>
                    <a:srgbClr val="F37022"/>
                  </a:solidFill>
                  <a:latin typeface="Arial" panose="020B0604020202020204" pitchFamily="34" charset="0"/>
                  <a:cs typeface="Noto Sans"/>
                </a:rPr>
                <a:t>Đau TK sau Zona (PHN)</a:t>
              </a:r>
            </a:p>
          </p:txBody>
        </p:sp>
        <p:sp>
          <p:nvSpPr>
            <p:cNvPr id="16" name="Rectangle 15">
              <a:extLst>
                <a:ext uri="{FF2B5EF4-FFF2-40B4-BE49-F238E27FC236}">
                  <a16:creationId xmlns:a16="http://schemas.microsoft.com/office/drawing/2014/main" id="{3825A35B-174D-AE1E-1570-A422050CBC97}"/>
                </a:ext>
              </a:extLst>
            </p:cNvPr>
            <p:cNvSpPr/>
            <p:nvPr/>
          </p:nvSpPr>
          <p:spPr>
            <a:xfrm>
              <a:off x="3116700" y="2592905"/>
              <a:ext cx="1286779" cy="201052"/>
            </a:xfrm>
            <a:prstGeom prst="rect">
              <a:avLst/>
            </a:prstGeom>
          </p:spPr>
          <p:txBody>
            <a:bodyPr wrap="none">
              <a:spAutoFit/>
            </a:bodyPr>
            <a:lstStyle/>
            <a:p>
              <a:pPr defTabSz="914423">
                <a:defRPr/>
              </a:pPr>
              <a:r>
                <a:rPr lang="vi-VN" sz="1400" kern="0" noProof="0">
                  <a:solidFill>
                    <a:srgbClr val="000000"/>
                  </a:solidFill>
                  <a:latin typeface="Arial" panose="020B0604020202020204" pitchFamily="34" charset="0"/>
                  <a:cs typeface="Noto Sans"/>
                </a:rPr>
                <a:t>đau cơ xơ hóa</a:t>
              </a:r>
            </a:p>
          </p:txBody>
        </p:sp>
        <p:sp>
          <p:nvSpPr>
            <p:cNvPr id="17" name="Rectangle 16">
              <a:extLst>
                <a:ext uri="{FF2B5EF4-FFF2-40B4-BE49-F238E27FC236}">
                  <a16:creationId xmlns:a16="http://schemas.microsoft.com/office/drawing/2014/main" id="{A57F799B-F5F4-08C0-88E5-E2EEF8206DD7}"/>
                </a:ext>
              </a:extLst>
            </p:cNvPr>
            <p:cNvSpPr/>
            <p:nvPr/>
          </p:nvSpPr>
          <p:spPr>
            <a:xfrm>
              <a:off x="509880" y="2561848"/>
              <a:ext cx="2349875" cy="201052"/>
            </a:xfrm>
            <a:prstGeom prst="rect">
              <a:avLst/>
            </a:prstGeom>
          </p:spPr>
          <p:txBody>
            <a:bodyPr wrap="square">
              <a:spAutoFit/>
            </a:bodyPr>
            <a:lstStyle/>
            <a:p>
              <a:pPr algn="ctr" defTabSz="914423">
                <a:defRPr/>
              </a:pPr>
              <a:r>
                <a:rPr lang="vi-VN" sz="1400" kern="0" noProof="0">
                  <a:solidFill>
                    <a:srgbClr val="000000"/>
                  </a:solidFill>
                  <a:latin typeface="Arial" panose="020B0604020202020204" pitchFamily="34" charset="0"/>
                  <a:cs typeface="Arial" panose="020B0604020202020204" pitchFamily="34" charset="0"/>
                </a:rPr>
                <a:t>Cắt tử cung </a:t>
              </a:r>
              <a:r>
                <a:rPr lang="vi-VN" sz="1400" kern="0" noProof="0">
                  <a:solidFill>
                    <a:srgbClr val="000000"/>
                  </a:solidFill>
                  <a:latin typeface="Calibri" panose="020F0502020204030204" pitchFamily="34" charset="0"/>
                  <a:cs typeface="Calibri" panose="020F0502020204030204" pitchFamily="34" charset="0"/>
                </a:rPr>
                <a:t>mổ mở</a:t>
              </a:r>
            </a:p>
          </p:txBody>
        </p:sp>
        <p:sp>
          <p:nvSpPr>
            <p:cNvPr id="18" name="Arrow: Up 17">
              <a:extLst>
                <a:ext uri="{FF2B5EF4-FFF2-40B4-BE49-F238E27FC236}">
                  <a16:creationId xmlns:a16="http://schemas.microsoft.com/office/drawing/2014/main" id="{FD39A90B-C8D2-3E31-25F2-A95619278083}"/>
                </a:ext>
              </a:extLst>
            </p:cNvPr>
            <p:cNvSpPr/>
            <p:nvPr/>
          </p:nvSpPr>
          <p:spPr bwMode="auto">
            <a:xfrm>
              <a:off x="2563525" y="1598544"/>
              <a:ext cx="418926" cy="2436982"/>
            </a:xfrm>
            <a:prstGeom prst="upArrow">
              <a:avLst/>
            </a:prstGeom>
            <a:gradFill flip="none" rotWithShape="1">
              <a:gsLst>
                <a:gs pos="0">
                  <a:srgbClr val="244EA2">
                    <a:lumMod val="75000"/>
                  </a:srgbClr>
                </a:gs>
                <a:gs pos="50000">
                  <a:srgbClr val="244EA2">
                    <a:lumMod val="75000"/>
                  </a:srgbClr>
                </a:gs>
                <a:gs pos="100000">
                  <a:srgbClr val="244EA2">
                    <a:lumMod val="40000"/>
                    <a:lumOff val="60000"/>
                  </a:srgbClr>
                </a:gs>
              </a:gsLst>
              <a:lin ang="5400000" scaled="1"/>
              <a:tileRect/>
            </a:gradFill>
            <a:ln w="12700" cap="flat" cmpd="sng" algn="ctr">
              <a:noFill/>
              <a:prstDash val="solid"/>
              <a:headEnd/>
              <a:tailEnd/>
            </a:ln>
            <a:effectLst/>
          </p:spPr>
          <p:txBody>
            <a:bodyPr rtlCol="0" anchor="ctr"/>
            <a:lstStyle/>
            <a:p>
              <a:pPr algn="ctr" defTabSz="914423">
                <a:defRPr/>
              </a:pPr>
              <a:endParaRPr lang="vi-VN" sz="1867" kern="0" noProof="0">
                <a:solidFill>
                  <a:prstClr val="white"/>
                </a:solidFill>
                <a:latin typeface="Arial"/>
                <a:cs typeface="Noto Sans"/>
              </a:endParaRPr>
            </a:p>
          </p:txBody>
        </p:sp>
        <p:sp>
          <p:nvSpPr>
            <p:cNvPr id="19" name="TextBox 18">
              <a:extLst>
                <a:ext uri="{FF2B5EF4-FFF2-40B4-BE49-F238E27FC236}">
                  <a16:creationId xmlns:a16="http://schemas.microsoft.com/office/drawing/2014/main" id="{70A80520-B25B-2047-2DBB-740562008B4F}"/>
                </a:ext>
              </a:extLst>
            </p:cNvPr>
            <p:cNvSpPr txBox="1"/>
            <p:nvPr/>
          </p:nvSpPr>
          <p:spPr>
            <a:xfrm>
              <a:off x="2553920" y="1618917"/>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50</a:t>
              </a:r>
            </a:p>
          </p:txBody>
        </p:sp>
        <p:sp>
          <p:nvSpPr>
            <p:cNvPr id="20" name="TextBox 19">
              <a:extLst>
                <a:ext uri="{FF2B5EF4-FFF2-40B4-BE49-F238E27FC236}">
                  <a16:creationId xmlns:a16="http://schemas.microsoft.com/office/drawing/2014/main" id="{ED7FF511-584B-F198-4D46-9B8F75D0F589}"/>
                </a:ext>
              </a:extLst>
            </p:cNvPr>
            <p:cNvSpPr txBox="1"/>
            <p:nvPr/>
          </p:nvSpPr>
          <p:spPr>
            <a:xfrm>
              <a:off x="2553920" y="2052344"/>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40</a:t>
              </a:r>
            </a:p>
          </p:txBody>
        </p:sp>
        <p:sp>
          <p:nvSpPr>
            <p:cNvPr id="21" name="TextBox 20">
              <a:extLst>
                <a:ext uri="{FF2B5EF4-FFF2-40B4-BE49-F238E27FC236}">
                  <a16:creationId xmlns:a16="http://schemas.microsoft.com/office/drawing/2014/main" id="{18273941-09C6-501F-EF0C-9E1EBDFC1397}"/>
                </a:ext>
              </a:extLst>
            </p:cNvPr>
            <p:cNvSpPr txBox="1"/>
            <p:nvPr/>
          </p:nvSpPr>
          <p:spPr>
            <a:xfrm>
              <a:off x="2553920" y="2501536"/>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30</a:t>
              </a:r>
            </a:p>
          </p:txBody>
        </p:sp>
        <p:sp>
          <p:nvSpPr>
            <p:cNvPr id="22" name="TextBox 21">
              <a:extLst>
                <a:ext uri="{FF2B5EF4-FFF2-40B4-BE49-F238E27FC236}">
                  <a16:creationId xmlns:a16="http://schemas.microsoft.com/office/drawing/2014/main" id="{5182FC53-3895-71A1-23B0-5ACA889D9AF9}"/>
                </a:ext>
              </a:extLst>
            </p:cNvPr>
            <p:cNvSpPr txBox="1"/>
            <p:nvPr/>
          </p:nvSpPr>
          <p:spPr>
            <a:xfrm>
              <a:off x="2553920" y="2950728"/>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20</a:t>
              </a:r>
            </a:p>
          </p:txBody>
        </p:sp>
        <p:sp>
          <p:nvSpPr>
            <p:cNvPr id="23" name="TextBox 22">
              <a:extLst>
                <a:ext uri="{FF2B5EF4-FFF2-40B4-BE49-F238E27FC236}">
                  <a16:creationId xmlns:a16="http://schemas.microsoft.com/office/drawing/2014/main" id="{33EBD160-E6C8-E533-5A94-4736613970DC}"/>
                </a:ext>
              </a:extLst>
            </p:cNvPr>
            <p:cNvSpPr txBox="1"/>
            <p:nvPr/>
          </p:nvSpPr>
          <p:spPr>
            <a:xfrm>
              <a:off x="2553920" y="3399920"/>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10</a:t>
              </a:r>
            </a:p>
          </p:txBody>
        </p:sp>
        <p:sp>
          <p:nvSpPr>
            <p:cNvPr id="24" name="TextBox 23">
              <a:extLst>
                <a:ext uri="{FF2B5EF4-FFF2-40B4-BE49-F238E27FC236}">
                  <a16:creationId xmlns:a16="http://schemas.microsoft.com/office/drawing/2014/main" id="{2BF5CF6F-0BD9-245F-E081-2033AE9AA758}"/>
                </a:ext>
              </a:extLst>
            </p:cNvPr>
            <p:cNvSpPr txBox="1"/>
            <p:nvPr/>
          </p:nvSpPr>
          <p:spPr>
            <a:xfrm>
              <a:off x="2559767" y="3832987"/>
              <a:ext cx="428988" cy="204060"/>
            </a:xfrm>
            <a:prstGeom prst="rect">
              <a:avLst/>
            </a:prstGeom>
            <a:noFill/>
          </p:spPr>
          <p:txBody>
            <a:bodyPr wrap="square" lIns="96000" tIns="48000" rIns="96000" bIns="48000" rtlCol="0">
              <a:spAutoFit/>
            </a:bodyPr>
            <a:lstStyle/>
            <a:p>
              <a:pPr algn="ctr" defTabSz="914423">
                <a:buClr>
                  <a:srgbClr val="000000"/>
                </a:buClr>
                <a:defRPr/>
              </a:pPr>
              <a:r>
                <a:rPr lang="vi-VN" sz="1400" b="1" kern="0" noProof="0">
                  <a:solidFill>
                    <a:prstClr val="white"/>
                  </a:solidFill>
                  <a:latin typeface="Arial" panose="020B0604020202020204" pitchFamily="34" charset="0"/>
                  <a:cs typeface="Noto Sans"/>
                </a:rPr>
                <a:t>0</a:t>
              </a:r>
            </a:p>
          </p:txBody>
        </p:sp>
        <p:grpSp>
          <p:nvGrpSpPr>
            <p:cNvPr id="25" name="Group 24">
              <a:extLst>
                <a:ext uri="{FF2B5EF4-FFF2-40B4-BE49-F238E27FC236}">
                  <a16:creationId xmlns:a16="http://schemas.microsoft.com/office/drawing/2014/main" id="{7886B465-3C74-741F-AAF6-9817F76BFDC9}"/>
                </a:ext>
              </a:extLst>
            </p:cNvPr>
            <p:cNvGrpSpPr/>
            <p:nvPr/>
          </p:nvGrpSpPr>
          <p:grpSpPr>
            <a:xfrm flipH="1">
              <a:off x="2925788" y="2850066"/>
              <a:ext cx="1012656" cy="1009274"/>
              <a:chOff x="1568697" y="2921339"/>
              <a:chExt cx="797688" cy="795024"/>
            </a:xfrm>
          </p:grpSpPr>
          <p:cxnSp>
            <p:nvCxnSpPr>
              <p:cNvPr id="39" name="Straight Connector 38">
                <a:extLst>
                  <a:ext uri="{FF2B5EF4-FFF2-40B4-BE49-F238E27FC236}">
                    <a16:creationId xmlns:a16="http://schemas.microsoft.com/office/drawing/2014/main" id="{37014FFE-CC3E-C2F6-74B8-09234BD77F1D}"/>
                  </a:ext>
                </a:extLst>
              </p:cNvPr>
              <p:cNvCxnSpPr>
                <a:cxnSpLocks/>
              </p:cNvCxnSpPr>
              <p:nvPr/>
            </p:nvCxnSpPr>
            <p:spPr>
              <a:xfrm flipH="1" flipV="1">
                <a:off x="2170264" y="2921339"/>
                <a:ext cx="196121" cy="161753"/>
              </a:xfrm>
              <a:prstGeom prst="line">
                <a:avLst/>
              </a:prstGeom>
              <a:noFill/>
              <a:ln w="12700" cap="flat" cmpd="sng" algn="ctr">
                <a:solidFill>
                  <a:srgbClr val="959595"/>
                </a:solidFill>
                <a:prstDash val="solid"/>
                <a:headEnd type="oval" w="sm" len="sm"/>
                <a:tailEnd type="none" w="med" len="med"/>
              </a:ln>
              <a:effectLst/>
            </p:spPr>
          </p:cxnSp>
          <p:cxnSp>
            <p:nvCxnSpPr>
              <p:cNvPr id="40" name="Straight Connector 39">
                <a:extLst>
                  <a:ext uri="{FF2B5EF4-FFF2-40B4-BE49-F238E27FC236}">
                    <a16:creationId xmlns:a16="http://schemas.microsoft.com/office/drawing/2014/main" id="{10014869-378B-733A-B82F-87886870CFC5}"/>
                  </a:ext>
                </a:extLst>
              </p:cNvPr>
              <p:cNvCxnSpPr>
                <a:cxnSpLocks/>
              </p:cNvCxnSpPr>
              <p:nvPr/>
            </p:nvCxnSpPr>
            <p:spPr>
              <a:xfrm flipH="1" flipV="1">
                <a:off x="1568697" y="2960312"/>
                <a:ext cx="797688" cy="196308"/>
              </a:xfrm>
              <a:prstGeom prst="line">
                <a:avLst/>
              </a:prstGeom>
              <a:noFill/>
              <a:ln w="12700" cap="flat" cmpd="sng" algn="ctr">
                <a:solidFill>
                  <a:srgbClr val="F37022"/>
                </a:solidFill>
                <a:prstDash val="solid"/>
                <a:headEnd type="oval" w="sm" len="sm"/>
                <a:tailEnd type="none" w="med" len="med"/>
              </a:ln>
              <a:effectLst/>
            </p:spPr>
          </p:cxnSp>
          <p:cxnSp>
            <p:nvCxnSpPr>
              <p:cNvPr id="41" name="Straight Connector 40">
                <a:extLst>
                  <a:ext uri="{FF2B5EF4-FFF2-40B4-BE49-F238E27FC236}">
                    <a16:creationId xmlns:a16="http://schemas.microsoft.com/office/drawing/2014/main" id="{4D074C93-C464-3ED4-AC68-5AD3CA154006}"/>
                  </a:ext>
                </a:extLst>
              </p:cNvPr>
              <p:cNvCxnSpPr>
                <a:cxnSpLocks/>
              </p:cNvCxnSpPr>
              <p:nvPr/>
            </p:nvCxnSpPr>
            <p:spPr>
              <a:xfrm flipH="1">
                <a:off x="2090058" y="3190937"/>
                <a:ext cx="276327" cy="0"/>
              </a:xfrm>
              <a:prstGeom prst="line">
                <a:avLst/>
              </a:prstGeom>
              <a:noFill/>
              <a:ln w="12700" cap="flat" cmpd="sng" algn="ctr">
                <a:solidFill>
                  <a:srgbClr val="959595"/>
                </a:solidFill>
                <a:prstDash val="solid"/>
                <a:headEnd type="oval" w="sm" len="sm"/>
                <a:tailEnd type="none" w="med" len="med"/>
              </a:ln>
              <a:effectLst/>
            </p:spPr>
          </p:cxnSp>
          <p:cxnSp>
            <p:nvCxnSpPr>
              <p:cNvPr id="42" name="Straight Connector 41">
                <a:extLst>
                  <a:ext uri="{FF2B5EF4-FFF2-40B4-BE49-F238E27FC236}">
                    <a16:creationId xmlns:a16="http://schemas.microsoft.com/office/drawing/2014/main" id="{60AB1897-E0E6-943E-4198-2579B8BDCCC2}"/>
                  </a:ext>
                </a:extLst>
              </p:cNvPr>
              <p:cNvCxnSpPr>
                <a:cxnSpLocks/>
              </p:cNvCxnSpPr>
              <p:nvPr/>
            </p:nvCxnSpPr>
            <p:spPr>
              <a:xfrm flipH="1">
                <a:off x="1601152" y="3303934"/>
                <a:ext cx="765233" cy="0"/>
              </a:xfrm>
              <a:prstGeom prst="line">
                <a:avLst/>
              </a:prstGeom>
              <a:noFill/>
              <a:ln w="12700" cap="flat" cmpd="sng" algn="ctr">
                <a:solidFill>
                  <a:srgbClr val="959595"/>
                </a:solidFill>
                <a:prstDash val="solid"/>
                <a:headEnd type="oval" w="sm" len="sm"/>
                <a:tailEnd type="none" w="med" len="med"/>
              </a:ln>
              <a:effectLst/>
            </p:spPr>
          </p:cxnSp>
          <p:cxnSp>
            <p:nvCxnSpPr>
              <p:cNvPr id="43" name="Straight Connector 42">
                <a:extLst>
                  <a:ext uri="{FF2B5EF4-FFF2-40B4-BE49-F238E27FC236}">
                    <a16:creationId xmlns:a16="http://schemas.microsoft.com/office/drawing/2014/main" id="{5098203D-4E7A-0D47-F3E6-095231C5F275}"/>
                  </a:ext>
                </a:extLst>
              </p:cNvPr>
              <p:cNvCxnSpPr>
                <a:cxnSpLocks/>
              </p:cNvCxnSpPr>
              <p:nvPr/>
            </p:nvCxnSpPr>
            <p:spPr>
              <a:xfrm flipH="1">
                <a:off x="1997342" y="3387161"/>
                <a:ext cx="369043" cy="68182"/>
              </a:xfrm>
              <a:prstGeom prst="line">
                <a:avLst/>
              </a:prstGeom>
              <a:noFill/>
              <a:ln w="12700" cap="flat" cmpd="sng" algn="ctr">
                <a:solidFill>
                  <a:srgbClr val="959595"/>
                </a:solidFill>
                <a:prstDash val="solid"/>
                <a:headEnd type="oval" w="sm" len="sm"/>
                <a:tailEnd type="none" w="med" len="med"/>
              </a:ln>
              <a:effectLst/>
            </p:spPr>
          </p:cxnSp>
          <p:cxnSp>
            <p:nvCxnSpPr>
              <p:cNvPr id="44" name="Straight Connector 43">
                <a:extLst>
                  <a:ext uri="{FF2B5EF4-FFF2-40B4-BE49-F238E27FC236}">
                    <a16:creationId xmlns:a16="http://schemas.microsoft.com/office/drawing/2014/main" id="{26010CFB-AB4D-C6C1-983C-E8D61135FE9F}"/>
                  </a:ext>
                </a:extLst>
              </p:cNvPr>
              <p:cNvCxnSpPr>
                <a:cxnSpLocks/>
              </p:cNvCxnSpPr>
              <p:nvPr/>
            </p:nvCxnSpPr>
            <p:spPr>
              <a:xfrm flipH="1">
                <a:off x="1944163" y="3494848"/>
                <a:ext cx="422222" cy="113669"/>
              </a:xfrm>
              <a:prstGeom prst="line">
                <a:avLst/>
              </a:prstGeom>
              <a:noFill/>
              <a:ln w="12700" cap="flat" cmpd="sng" algn="ctr">
                <a:solidFill>
                  <a:srgbClr val="959595"/>
                </a:solidFill>
                <a:prstDash val="solid"/>
                <a:headEnd type="oval" w="sm" len="sm"/>
                <a:tailEnd type="none" w="med" len="med"/>
              </a:ln>
              <a:effectLst/>
            </p:spPr>
          </p:cxnSp>
          <p:cxnSp>
            <p:nvCxnSpPr>
              <p:cNvPr id="45" name="Straight Connector 44">
                <a:extLst>
                  <a:ext uri="{FF2B5EF4-FFF2-40B4-BE49-F238E27FC236}">
                    <a16:creationId xmlns:a16="http://schemas.microsoft.com/office/drawing/2014/main" id="{D602FACC-C259-36AD-3FE3-057312BEDDDD}"/>
                  </a:ext>
                </a:extLst>
              </p:cNvPr>
              <p:cNvCxnSpPr>
                <a:cxnSpLocks/>
              </p:cNvCxnSpPr>
              <p:nvPr/>
            </p:nvCxnSpPr>
            <p:spPr>
              <a:xfrm flipH="1">
                <a:off x="2123744" y="3585791"/>
                <a:ext cx="242641" cy="130572"/>
              </a:xfrm>
              <a:prstGeom prst="line">
                <a:avLst/>
              </a:prstGeom>
              <a:noFill/>
              <a:ln w="12700" cap="flat" cmpd="sng" algn="ctr">
                <a:solidFill>
                  <a:srgbClr val="959595"/>
                </a:solidFill>
                <a:prstDash val="solid"/>
                <a:headEnd type="oval" w="sm" len="sm"/>
                <a:tailEnd type="none" w="med" len="med"/>
              </a:ln>
              <a:effectLst/>
            </p:spPr>
          </p:cxnSp>
        </p:grpSp>
        <p:cxnSp>
          <p:nvCxnSpPr>
            <p:cNvPr id="26" name="Straight Connector 25">
              <a:extLst>
                <a:ext uri="{FF2B5EF4-FFF2-40B4-BE49-F238E27FC236}">
                  <a16:creationId xmlns:a16="http://schemas.microsoft.com/office/drawing/2014/main" id="{CA25A724-4894-F981-99E0-9C1D14F6F138}"/>
                </a:ext>
              </a:extLst>
            </p:cNvPr>
            <p:cNvCxnSpPr>
              <a:cxnSpLocks/>
            </p:cNvCxnSpPr>
            <p:nvPr/>
          </p:nvCxnSpPr>
          <p:spPr>
            <a:xfrm flipH="1" flipV="1">
              <a:off x="2427905" y="2727279"/>
              <a:ext cx="190883" cy="5621"/>
            </a:xfrm>
            <a:prstGeom prst="line">
              <a:avLst/>
            </a:prstGeom>
            <a:noFill/>
            <a:ln w="12700" cap="flat" cmpd="sng" algn="ctr">
              <a:solidFill>
                <a:srgbClr val="959595"/>
              </a:solidFill>
              <a:prstDash val="solid"/>
              <a:headEnd type="oval" w="sm" len="sm"/>
              <a:tailEnd type="none" w="med" len="med"/>
            </a:ln>
            <a:effectLst/>
          </p:spPr>
        </p:cxnSp>
        <p:cxnSp>
          <p:nvCxnSpPr>
            <p:cNvPr id="27" name="Straight Connector 26">
              <a:extLst>
                <a:ext uri="{FF2B5EF4-FFF2-40B4-BE49-F238E27FC236}">
                  <a16:creationId xmlns:a16="http://schemas.microsoft.com/office/drawing/2014/main" id="{C3961CE4-C32E-E8BE-C139-C8760D49B8AE}"/>
                </a:ext>
              </a:extLst>
            </p:cNvPr>
            <p:cNvCxnSpPr>
              <a:cxnSpLocks/>
            </p:cNvCxnSpPr>
            <p:nvPr/>
          </p:nvCxnSpPr>
          <p:spPr>
            <a:xfrm flipH="1" flipV="1">
              <a:off x="2394801" y="2908526"/>
              <a:ext cx="223987" cy="78955"/>
            </a:xfrm>
            <a:prstGeom prst="line">
              <a:avLst/>
            </a:prstGeom>
            <a:noFill/>
            <a:ln w="12700" cap="flat" cmpd="sng" algn="ctr">
              <a:solidFill>
                <a:srgbClr val="959595"/>
              </a:solidFill>
              <a:prstDash val="solid"/>
              <a:headEnd type="oval" w="sm" len="sm"/>
              <a:tailEnd type="none" w="med" len="med"/>
            </a:ln>
            <a:effectLst/>
          </p:spPr>
        </p:cxnSp>
        <p:cxnSp>
          <p:nvCxnSpPr>
            <p:cNvPr id="28" name="Straight Connector 27">
              <a:extLst>
                <a:ext uri="{FF2B5EF4-FFF2-40B4-BE49-F238E27FC236}">
                  <a16:creationId xmlns:a16="http://schemas.microsoft.com/office/drawing/2014/main" id="{3C3F4EB9-78F1-6A5D-E086-60C066F7965A}"/>
                </a:ext>
              </a:extLst>
            </p:cNvPr>
            <p:cNvCxnSpPr>
              <a:cxnSpLocks/>
            </p:cNvCxnSpPr>
            <p:nvPr/>
          </p:nvCxnSpPr>
          <p:spPr>
            <a:xfrm flipH="1">
              <a:off x="1354312" y="3068733"/>
              <a:ext cx="1264476" cy="0"/>
            </a:xfrm>
            <a:prstGeom prst="line">
              <a:avLst/>
            </a:prstGeom>
            <a:noFill/>
            <a:ln w="12700" cap="flat" cmpd="sng" algn="ctr">
              <a:solidFill>
                <a:srgbClr val="F37022"/>
              </a:solidFill>
              <a:prstDash val="solid"/>
              <a:headEnd type="oval" w="sm" len="sm"/>
              <a:tailEnd type="none" w="med" len="med"/>
            </a:ln>
            <a:effectLst/>
          </p:spPr>
        </p:cxnSp>
        <p:cxnSp>
          <p:nvCxnSpPr>
            <p:cNvPr id="29" name="Straight Connector 28">
              <a:extLst>
                <a:ext uri="{FF2B5EF4-FFF2-40B4-BE49-F238E27FC236}">
                  <a16:creationId xmlns:a16="http://schemas.microsoft.com/office/drawing/2014/main" id="{D7B25DE8-F7BF-37E5-1B62-58EAF88D88A4}"/>
                </a:ext>
              </a:extLst>
            </p:cNvPr>
            <p:cNvCxnSpPr>
              <a:cxnSpLocks/>
            </p:cNvCxnSpPr>
            <p:nvPr/>
          </p:nvCxnSpPr>
          <p:spPr>
            <a:xfrm flipH="1" flipV="1">
              <a:off x="2309858" y="3250496"/>
              <a:ext cx="308930" cy="0"/>
            </a:xfrm>
            <a:prstGeom prst="line">
              <a:avLst/>
            </a:prstGeom>
            <a:noFill/>
            <a:ln w="12700" cap="flat" cmpd="sng" algn="ctr">
              <a:solidFill>
                <a:srgbClr val="959595"/>
              </a:solidFill>
              <a:prstDash val="solid"/>
              <a:headEnd type="oval" w="sm" len="sm"/>
              <a:tailEnd type="none" w="med" len="med"/>
            </a:ln>
            <a:effectLst/>
          </p:spPr>
        </p:cxnSp>
        <p:cxnSp>
          <p:nvCxnSpPr>
            <p:cNvPr id="30" name="Straight Connector 29">
              <a:extLst>
                <a:ext uri="{FF2B5EF4-FFF2-40B4-BE49-F238E27FC236}">
                  <a16:creationId xmlns:a16="http://schemas.microsoft.com/office/drawing/2014/main" id="{57E9E917-8441-A1FB-EA58-2861352012B9}"/>
                </a:ext>
              </a:extLst>
            </p:cNvPr>
            <p:cNvCxnSpPr>
              <a:cxnSpLocks/>
            </p:cNvCxnSpPr>
            <p:nvPr/>
          </p:nvCxnSpPr>
          <p:spPr>
            <a:xfrm flipH="1">
              <a:off x="1795881" y="3386247"/>
              <a:ext cx="822907" cy="0"/>
            </a:xfrm>
            <a:prstGeom prst="line">
              <a:avLst/>
            </a:prstGeom>
            <a:noFill/>
            <a:ln w="12700" cap="flat" cmpd="sng" algn="ctr">
              <a:solidFill>
                <a:srgbClr val="959595"/>
              </a:solidFill>
              <a:prstDash val="solid"/>
              <a:headEnd type="oval" w="sm" len="sm"/>
              <a:tailEnd type="none" w="med" len="med"/>
            </a:ln>
            <a:effectLst/>
          </p:spPr>
        </p:cxnSp>
        <p:cxnSp>
          <p:nvCxnSpPr>
            <p:cNvPr id="31" name="Straight Connector 30">
              <a:extLst>
                <a:ext uri="{FF2B5EF4-FFF2-40B4-BE49-F238E27FC236}">
                  <a16:creationId xmlns:a16="http://schemas.microsoft.com/office/drawing/2014/main" id="{47DCB398-067F-A500-E12E-1E812BF83D83}"/>
                </a:ext>
              </a:extLst>
            </p:cNvPr>
            <p:cNvCxnSpPr>
              <a:cxnSpLocks/>
            </p:cNvCxnSpPr>
            <p:nvPr/>
          </p:nvCxnSpPr>
          <p:spPr>
            <a:xfrm flipH="1">
              <a:off x="2309858" y="3521999"/>
              <a:ext cx="308930" cy="65478"/>
            </a:xfrm>
            <a:prstGeom prst="line">
              <a:avLst/>
            </a:prstGeom>
            <a:noFill/>
            <a:ln w="12700" cap="flat" cmpd="sng" algn="ctr">
              <a:solidFill>
                <a:srgbClr val="959595"/>
              </a:solidFill>
              <a:prstDash val="solid"/>
              <a:headEnd type="oval" w="sm" len="sm"/>
              <a:tailEnd type="none" w="med" len="med"/>
            </a:ln>
            <a:effectLst/>
          </p:spPr>
        </p:cxnSp>
        <p:cxnSp>
          <p:nvCxnSpPr>
            <p:cNvPr id="32" name="Straight Connector 31">
              <a:extLst>
                <a:ext uri="{FF2B5EF4-FFF2-40B4-BE49-F238E27FC236}">
                  <a16:creationId xmlns:a16="http://schemas.microsoft.com/office/drawing/2014/main" id="{A895658A-5470-10B8-1382-9844936ECAEB}"/>
                </a:ext>
              </a:extLst>
            </p:cNvPr>
            <p:cNvCxnSpPr>
              <a:cxnSpLocks/>
            </p:cNvCxnSpPr>
            <p:nvPr/>
          </p:nvCxnSpPr>
          <p:spPr>
            <a:xfrm flipH="1">
              <a:off x="2327805" y="3738619"/>
              <a:ext cx="290983" cy="110490"/>
            </a:xfrm>
            <a:prstGeom prst="line">
              <a:avLst/>
            </a:prstGeom>
            <a:noFill/>
            <a:ln w="12700" cap="flat" cmpd="sng" algn="ctr">
              <a:solidFill>
                <a:srgbClr val="959595"/>
              </a:solidFill>
              <a:prstDash val="solid"/>
              <a:headEnd type="oval" w="sm" len="sm"/>
              <a:tailEnd type="none" w="med" len="med"/>
            </a:ln>
            <a:effectLst/>
          </p:spPr>
        </p:cxnSp>
        <p:sp>
          <p:nvSpPr>
            <p:cNvPr id="33" name="Rectangle 32">
              <a:extLst>
                <a:ext uri="{FF2B5EF4-FFF2-40B4-BE49-F238E27FC236}">
                  <a16:creationId xmlns:a16="http://schemas.microsoft.com/office/drawing/2014/main" id="{13B4F83A-E4E2-DFE4-83A7-D32D6F418678}"/>
                </a:ext>
              </a:extLst>
            </p:cNvPr>
            <p:cNvSpPr/>
            <p:nvPr/>
          </p:nvSpPr>
          <p:spPr>
            <a:xfrm>
              <a:off x="736634" y="2756857"/>
              <a:ext cx="2349875" cy="201052"/>
            </a:xfrm>
            <a:prstGeom prst="rect">
              <a:avLst/>
            </a:prstGeom>
          </p:spPr>
          <p:txBody>
            <a:bodyPr wrap="square">
              <a:spAutoFit/>
            </a:bodyPr>
            <a:lstStyle/>
            <a:p>
              <a:pPr algn="ctr" defTabSz="914423">
                <a:defRPr/>
              </a:pPr>
              <a:r>
                <a:rPr lang="vi-VN" sz="1400" kern="0" noProof="0">
                  <a:solidFill>
                    <a:srgbClr val="000000"/>
                  </a:solidFill>
                  <a:latin typeface="Arial" panose="020B0604020202020204" pitchFamily="34" charset="0"/>
                  <a:cs typeface="Noto Sans"/>
                </a:rPr>
                <a:t>Đau đầu cấp tính</a:t>
              </a:r>
            </a:p>
          </p:txBody>
        </p:sp>
        <p:sp>
          <p:nvSpPr>
            <p:cNvPr id="34" name="Rectangle 33">
              <a:extLst>
                <a:ext uri="{FF2B5EF4-FFF2-40B4-BE49-F238E27FC236}">
                  <a16:creationId xmlns:a16="http://schemas.microsoft.com/office/drawing/2014/main" id="{9280A3BF-612C-9319-E016-DE7CD7961413}"/>
                </a:ext>
              </a:extLst>
            </p:cNvPr>
            <p:cNvSpPr/>
            <p:nvPr/>
          </p:nvSpPr>
          <p:spPr>
            <a:xfrm>
              <a:off x="1394987" y="3448282"/>
              <a:ext cx="1111635" cy="341788"/>
            </a:xfrm>
            <a:prstGeom prst="rect">
              <a:avLst/>
            </a:prstGeom>
          </p:spPr>
          <p:txBody>
            <a:bodyPr wrap="square">
              <a:spAutoFit/>
            </a:bodyPr>
            <a:lstStyle/>
            <a:p>
              <a:pPr algn="ctr" defTabSz="914423">
                <a:defRPr/>
              </a:pPr>
              <a:r>
                <a:rPr lang="vi-VN" sz="1400" kern="0" noProof="0">
                  <a:solidFill>
                    <a:srgbClr val="000000"/>
                  </a:solidFill>
                  <a:latin typeface="Arial" panose="020B0604020202020204" pitchFamily="34" charset="0"/>
                  <a:cs typeface="Noto Sans"/>
                </a:rPr>
                <a:t>viêm niêm mạc</a:t>
              </a:r>
            </a:p>
          </p:txBody>
        </p:sp>
        <p:sp>
          <p:nvSpPr>
            <p:cNvPr id="35" name="Rectangle 34">
              <a:extLst>
                <a:ext uri="{FF2B5EF4-FFF2-40B4-BE49-F238E27FC236}">
                  <a16:creationId xmlns:a16="http://schemas.microsoft.com/office/drawing/2014/main" id="{DD6C4C88-BEE1-1BB4-6DBC-E268F26D85F8}"/>
                </a:ext>
              </a:extLst>
            </p:cNvPr>
            <p:cNvSpPr/>
            <p:nvPr/>
          </p:nvSpPr>
          <p:spPr>
            <a:xfrm>
              <a:off x="446150" y="3726347"/>
              <a:ext cx="2140418" cy="341788"/>
            </a:xfrm>
            <a:prstGeom prst="rect">
              <a:avLst/>
            </a:prstGeom>
          </p:spPr>
          <p:txBody>
            <a:bodyPr wrap="square">
              <a:spAutoFit/>
            </a:bodyPr>
            <a:lstStyle/>
            <a:p>
              <a:pPr algn="ctr" defTabSz="914423">
                <a:defRPr/>
              </a:pPr>
              <a:r>
                <a:rPr lang="vi-VN" sz="1400" kern="0" noProof="0">
                  <a:solidFill>
                    <a:srgbClr val="000000"/>
                  </a:solidFill>
                  <a:latin typeface="Arial" panose="020B0604020202020204" pitchFamily="34" charset="0"/>
                  <a:cs typeface="Calibri" panose="020F0502020204030204" pitchFamily="34" charset="0"/>
                </a:rPr>
                <a:t>Thảo bỏ tấm nong mạch máu</a:t>
              </a:r>
            </a:p>
          </p:txBody>
        </p:sp>
        <p:sp>
          <p:nvSpPr>
            <p:cNvPr id="36" name="Rectangle 35">
              <a:extLst>
                <a:ext uri="{FF2B5EF4-FFF2-40B4-BE49-F238E27FC236}">
                  <a16:creationId xmlns:a16="http://schemas.microsoft.com/office/drawing/2014/main" id="{7BA328EC-A39F-929E-2EB4-703AD3604233}"/>
                </a:ext>
              </a:extLst>
            </p:cNvPr>
            <p:cNvSpPr/>
            <p:nvPr/>
          </p:nvSpPr>
          <p:spPr>
            <a:xfrm>
              <a:off x="3322205" y="3360665"/>
              <a:ext cx="2401311" cy="245326"/>
            </a:xfrm>
            <a:prstGeom prst="rect">
              <a:avLst/>
            </a:prstGeom>
          </p:spPr>
          <p:txBody>
            <a:bodyPr wrap="none">
              <a:spAutoFit/>
            </a:bodyPr>
            <a:lstStyle/>
            <a:p>
              <a:pPr defTabSz="914423">
                <a:lnSpc>
                  <a:spcPct val="150000"/>
                </a:lnSpc>
                <a:defRPr/>
              </a:pPr>
              <a:r>
                <a:rPr lang="vi-VN" sz="1400" kern="0" noProof="0">
                  <a:solidFill>
                    <a:srgbClr val="000000"/>
                  </a:solidFill>
                  <a:latin typeface="Arial" panose="020B0604020202020204" pitchFamily="34" charset="0"/>
                  <a:cs typeface="Noto Sans"/>
                </a:rPr>
                <a:t>Viêm khớp/viêm xương khớp</a:t>
              </a:r>
              <a:endParaRPr lang="vi-VN" sz="1400" b="1" kern="0" noProof="0">
                <a:solidFill>
                  <a:srgbClr val="000000"/>
                </a:solidFill>
                <a:latin typeface="Arial"/>
                <a:cs typeface="Noto Sans"/>
              </a:endParaRPr>
            </a:p>
          </p:txBody>
        </p:sp>
        <p:sp>
          <p:nvSpPr>
            <p:cNvPr id="37" name="Rectangle 36">
              <a:extLst>
                <a:ext uri="{FF2B5EF4-FFF2-40B4-BE49-F238E27FC236}">
                  <a16:creationId xmlns:a16="http://schemas.microsoft.com/office/drawing/2014/main" id="{6FD993DA-909E-6F9E-9D86-E5795739C978}"/>
                </a:ext>
              </a:extLst>
            </p:cNvPr>
            <p:cNvSpPr/>
            <p:nvPr/>
          </p:nvSpPr>
          <p:spPr>
            <a:xfrm>
              <a:off x="3369577" y="3572514"/>
              <a:ext cx="1813341" cy="245326"/>
            </a:xfrm>
            <a:prstGeom prst="rect">
              <a:avLst/>
            </a:prstGeom>
          </p:spPr>
          <p:txBody>
            <a:bodyPr wrap="none">
              <a:spAutoFit/>
            </a:bodyPr>
            <a:lstStyle/>
            <a:p>
              <a:pPr defTabSz="914423">
                <a:lnSpc>
                  <a:spcPct val="150000"/>
                </a:lnSpc>
                <a:defRPr/>
              </a:pPr>
              <a:r>
                <a:rPr lang="vi-VN" sz="1400" kern="0" noProof="0">
                  <a:solidFill>
                    <a:srgbClr val="000000"/>
                  </a:solidFill>
                  <a:latin typeface="Arial" panose="020B0604020202020204" pitchFamily="34" charset="0"/>
                  <a:cs typeface="Noto Sans"/>
                </a:rPr>
                <a:t>Viêm khớp dạng thấp</a:t>
              </a:r>
              <a:endParaRPr lang="vi-VN" sz="1400" b="1" kern="0" noProof="0">
                <a:solidFill>
                  <a:srgbClr val="000000"/>
                </a:solidFill>
                <a:latin typeface="Arial"/>
                <a:cs typeface="Noto Sans"/>
              </a:endParaRPr>
            </a:p>
          </p:txBody>
        </p:sp>
        <p:sp>
          <p:nvSpPr>
            <p:cNvPr id="38" name="Rectangle 37">
              <a:extLst>
                <a:ext uri="{FF2B5EF4-FFF2-40B4-BE49-F238E27FC236}">
                  <a16:creationId xmlns:a16="http://schemas.microsoft.com/office/drawing/2014/main" id="{EFFD281A-0D25-2AB1-92A6-087124BF2A35}"/>
                </a:ext>
              </a:extLst>
            </p:cNvPr>
            <p:cNvSpPr/>
            <p:nvPr/>
          </p:nvSpPr>
          <p:spPr>
            <a:xfrm>
              <a:off x="3148804" y="3771521"/>
              <a:ext cx="1177781" cy="245326"/>
            </a:xfrm>
            <a:prstGeom prst="rect">
              <a:avLst/>
            </a:prstGeom>
          </p:spPr>
          <p:txBody>
            <a:bodyPr wrap="none">
              <a:spAutoFit/>
            </a:bodyPr>
            <a:lstStyle/>
            <a:p>
              <a:pPr defTabSz="914423">
                <a:lnSpc>
                  <a:spcPct val="150000"/>
                </a:lnSpc>
                <a:defRPr/>
              </a:pPr>
              <a:r>
                <a:rPr lang="vi-VN" sz="1400" kern="0" noProof="0">
                  <a:solidFill>
                    <a:srgbClr val="000000"/>
                  </a:solidFill>
                  <a:latin typeface="Arial" panose="020B0604020202020204" pitchFamily="34" charset="0"/>
                  <a:cs typeface="Noto Sans"/>
                </a:rPr>
                <a:t>Đau ung thư </a:t>
              </a:r>
              <a:endParaRPr lang="vi-VN" sz="1400" b="1" kern="0" noProof="0">
                <a:solidFill>
                  <a:srgbClr val="000000"/>
                </a:solidFill>
                <a:latin typeface="Arial"/>
                <a:cs typeface="Noto Sans"/>
              </a:endParaRPr>
            </a:p>
          </p:txBody>
        </p:sp>
      </p:grpSp>
      <p:sp>
        <p:nvSpPr>
          <p:cNvPr id="2" name="Speech Bubble: Rectangle 16">
            <a:extLst>
              <a:ext uri="{FF2B5EF4-FFF2-40B4-BE49-F238E27FC236}">
                <a16:creationId xmlns:a16="http://schemas.microsoft.com/office/drawing/2014/main" id="{6D111574-4B29-8B44-30D1-B56A9FD29A9E}"/>
              </a:ext>
            </a:extLst>
          </p:cNvPr>
          <p:cNvSpPr/>
          <p:nvPr/>
        </p:nvSpPr>
        <p:spPr>
          <a:xfrm>
            <a:off x="6858228" y="1613801"/>
            <a:ext cx="5139650" cy="4235424"/>
          </a:xfrm>
          <a:prstGeom prst="wedgeRectCallout">
            <a:avLst>
              <a:gd name="adj1" fmla="val -54423"/>
              <a:gd name="adj2" fmla="val 17884"/>
            </a:avLst>
          </a:prstGeom>
          <a:solidFill>
            <a:schemeClr val="bg1">
              <a:lumMod val="95000"/>
            </a:schemeClr>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446">
              <a:defRPr/>
            </a:pPr>
            <a:endParaRPr lang="vi-VN" kern="0" noProof="0">
              <a:solidFill>
                <a:prstClr val="white"/>
              </a:solidFill>
              <a:latin typeface="Arial"/>
            </a:endParaRPr>
          </a:p>
        </p:txBody>
      </p:sp>
      <p:sp>
        <p:nvSpPr>
          <p:cNvPr id="3" name="TextBox 2">
            <a:extLst>
              <a:ext uri="{FF2B5EF4-FFF2-40B4-BE49-F238E27FC236}">
                <a16:creationId xmlns:a16="http://schemas.microsoft.com/office/drawing/2014/main" id="{6E4575D2-07AF-6B85-3BBB-8283924E9AEA}"/>
              </a:ext>
            </a:extLst>
          </p:cNvPr>
          <p:cNvSpPr txBox="1"/>
          <p:nvPr/>
        </p:nvSpPr>
        <p:spPr>
          <a:xfrm>
            <a:off x="7524323" y="1744441"/>
            <a:ext cx="3942600" cy="769441"/>
          </a:xfrm>
          <a:prstGeom prst="rect">
            <a:avLst/>
          </a:prstGeom>
          <a:noFill/>
        </p:spPr>
        <p:txBody>
          <a:bodyPr wrap="square">
            <a:spAutoFit/>
          </a:bodyPr>
          <a:lstStyle/>
          <a:p>
            <a:pPr algn="ctr" defTabSz="914446">
              <a:spcAft>
                <a:spcPts val="600"/>
              </a:spcAft>
              <a:defRPr sz="2000" b="1" i="0" u="none" strike="noStrike" kern="1200" baseline="0">
                <a:solidFill>
                  <a:srgbClr val="4C4D4E"/>
                </a:solidFill>
                <a:latin typeface="+mn-lt"/>
                <a:ea typeface="+mn-ea"/>
                <a:cs typeface="+mn-cs"/>
              </a:defRPr>
            </a:pPr>
            <a:r>
              <a:rPr lang="vi-VN" sz="1400" b="1" noProof="0">
                <a:solidFill>
                  <a:srgbClr val="F37022"/>
                </a:solidFill>
                <a:latin typeface="Arial"/>
              </a:rPr>
              <a:t>%* người báo cáo có ảnh hưởng nghiêm trọng đến chất lượng cuộc sống</a:t>
            </a:r>
            <a:r>
              <a:rPr lang="vi-VN" sz="1400" b="1" baseline="30000" noProof="0">
                <a:solidFill>
                  <a:srgbClr val="F37022"/>
                </a:solidFill>
                <a:latin typeface="Arial"/>
              </a:rPr>
              <a:t>5</a:t>
            </a:r>
          </a:p>
          <a:p>
            <a:pPr algn="ctr" defTabSz="914446">
              <a:defRPr sz="2000" b="1" i="0" u="none" strike="noStrike" kern="1200" baseline="0">
                <a:solidFill>
                  <a:srgbClr val="4C4D4E"/>
                </a:solidFill>
                <a:latin typeface="+mn-lt"/>
                <a:ea typeface="+mn-ea"/>
                <a:cs typeface="+mn-cs"/>
              </a:defRPr>
            </a:pPr>
            <a:r>
              <a:rPr lang="vi-VN" sz="1100" b="1" noProof="0">
                <a:solidFill>
                  <a:srgbClr val="F37022"/>
                </a:solidFill>
                <a:latin typeface="Arial"/>
              </a:rPr>
              <a:t>(N=261)</a:t>
            </a:r>
          </a:p>
        </p:txBody>
      </p:sp>
      <p:graphicFrame>
        <p:nvGraphicFramePr>
          <p:cNvPr id="47" name="Content Placeholder 7">
            <a:extLst>
              <a:ext uri="{FF2B5EF4-FFF2-40B4-BE49-F238E27FC236}">
                <a16:creationId xmlns:a16="http://schemas.microsoft.com/office/drawing/2014/main" id="{ADAF2E89-704E-3037-1098-0882E72B16F0}"/>
              </a:ext>
            </a:extLst>
          </p:cNvPr>
          <p:cNvGraphicFramePr>
            <a:graphicFrameLocks/>
          </p:cNvGraphicFramePr>
          <p:nvPr/>
        </p:nvGraphicFramePr>
        <p:xfrm>
          <a:off x="6858440" y="2575640"/>
          <a:ext cx="4965700" cy="3444875"/>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 Placeholder 49">
            <a:extLst>
              <a:ext uri="{FF2B5EF4-FFF2-40B4-BE49-F238E27FC236}">
                <a16:creationId xmlns:a16="http://schemas.microsoft.com/office/drawing/2014/main" id="{7E6BA701-41F7-038B-64B0-457462EDFAF5}"/>
              </a:ext>
            </a:extLst>
          </p:cNvPr>
          <p:cNvSpPr>
            <a:spLocks noGrp="1"/>
          </p:cNvSpPr>
          <p:nvPr>
            <p:ph type="body" sz="quarter" idx="10"/>
          </p:nvPr>
        </p:nvSpPr>
        <p:spPr/>
        <p:txBody>
          <a:bodyPr>
            <a:noAutofit/>
          </a:bodyPr>
          <a:lstStyle/>
          <a:p>
            <a:pPr defTabSz="914423">
              <a:lnSpc>
                <a:spcPts val="1100"/>
              </a:lnSpc>
              <a:defRPr/>
            </a:pPr>
            <a:br>
              <a:rPr lang="vi-VN" sz="1050" noProof="0">
                <a:solidFill>
                  <a:srgbClr val="000000"/>
                </a:solidFill>
                <a:latin typeface="Arial"/>
                <a:cs typeface="Noto Sans"/>
              </a:rPr>
            </a:br>
            <a:r>
              <a:rPr lang="vi-VN" sz="1000" noProof="0">
                <a:solidFill>
                  <a:srgbClr val="000000"/>
                </a:solidFill>
                <a:latin typeface="Arial"/>
                <a:cs typeface="Noto Sans"/>
              </a:rPr>
              <a:t>1. Tuzi A, Watson CP</a:t>
            </a:r>
            <a:r>
              <a:rPr lang="vi-VN" sz="1000" i="1" noProof="0">
                <a:solidFill>
                  <a:srgbClr val="000000"/>
                </a:solidFill>
                <a:latin typeface="Arial"/>
                <a:cs typeface="Noto Sans"/>
              </a:rPr>
              <a:t>. </a:t>
            </a:r>
            <a:r>
              <a:rPr lang="vi-VN" sz="1000" noProof="0">
                <a:solidFill>
                  <a:srgbClr val="000000"/>
                </a:solidFill>
                <a:latin typeface="Arial"/>
                <a:cs typeface="Noto Sans"/>
              </a:rPr>
              <a:t>Herpes zoster: A patient’s perspective. In: Watson CP </a:t>
            </a:r>
            <a:r>
              <a:rPr lang="vi-VN" sz="1000" i="1" noProof="0">
                <a:solidFill>
                  <a:srgbClr val="000000"/>
                </a:solidFill>
                <a:latin typeface="Arial"/>
                <a:cs typeface="Noto Sans"/>
              </a:rPr>
              <a:t>et al. </a:t>
            </a:r>
            <a:r>
              <a:rPr lang="vi-VN" sz="1000" noProof="0">
                <a:solidFill>
                  <a:srgbClr val="000000"/>
                </a:solidFill>
                <a:latin typeface="Arial"/>
                <a:cs typeface="Noto Sans"/>
              </a:rPr>
              <a:t>(eds). Cham, Switzerland: Adis, 2017;  2. Zamula E. Immunization Action Coalition 2001.; 3. Centers for Disease Control and Prevention. Shingles (herpes zoster): Fact Sheet 20181; 4. Katz J </a:t>
            </a:r>
            <a:r>
              <a:rPr lang="vi-VN" sz="1000" i="1" noProof="0">
                <a:solidFill>
                  <a:srgbClr val="000000"/>
                </a:solidFill>
                <a:latin typeface="Arial"/>
                <a:cs typeface="Noto Sans"/>
              </a:rPr>
              <a:t>et al. Surg Clin North Am</a:t>
            </a:r>
            <a:r>
              <a:rPr lang="vi-VN" sz="1000" noProof="0">
                <a:solidFill>
                  <a:srgbClr val="000000"/>
                </a:solidFill>
                <a:latin typeface="Arial"/>
                <a:cs typeface="Noto Sans"/>
              </a:rPr>
              <a:t> 1999;79:231–252. </a:t>
            </a:r>
            <a:r>
              <a:rPr lang="vi-VN" sz="1000" noProof="0">
                <a:solidFill>
                  <a:prstClr val="black">
                    <a:lumMod val="50000"/>
                  </a:prstClr>
                </a:solidFill>
                <a:latin typeface="Arial"/>
                <a:ea typeface="+mn-lt"/>
                <a:cs typeface="Arial"/>
              </a:rPr>
              <a:t>5. Drolet M, </a:t>
            </a:r>
            <a:r>
              <a:rPr lang="vi-VN" sz="1000" i="1" noProof="0">
                <a:solidFill>
                  <a:prstClr val="black">
                    <a:lumMod val="50000"/>
                  </a:prstClr>
                </a:solidFill>
                <a:latin typeface="Arial"/>
                <a:ea typeface="+mn-lt"/>
                <a:cs typeface="Arial"/>
              </a:rPr>
              <a:t>et al. CMAJ </a:t>
            </a:r>
            <a:r>
              <a:rPr lang="vi-VN" sz="1000" noProof="0">
                <a:solidFill>
                  <a:prstClr val="black">
                    <a:lumMod val="50000"/>
                  </a:prstClr>
                </a:solidFill>
                <a:latin typeface="Arial"/>
                <a:ea typeface="+mn-lt"/>
                <a:cs typeface="Arial"/>
              </a:rPr>
              <a:t>2010;182(16):1731–1736 (appendix</a:t>
            </a:r>
            <a:endParaRPr lang="vi-VN" sz="1000" noProof="0">
              <a:solidFill>
                <a:srgbClr val="000000"/>
              </a:solidFill>
              <a:latin typeface="Arial"/>
              <a:cs typeface="Noto Sans"/>
            </a:endParaRPr>
          </a:p>
        </p:txBody>
      </p:sp>
    </p:spTree>
    <p:extLst>
      <p:ext uri="{BB962C8B-B14F-4D97-AF65-F5344CB8AC3E}">
        <p14:creationId xmlns:p14="http://schemas.microsoft.com/office/powerpoint/2010/main" val="2567609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BCB3EE2-1CBC-5296-3F76-36CD067E562D}"/>
              </a:ext>
            </a:extLst>
          </p:cNvPr>
          <p:cNvGrpSpPr/>
          <p:nvPr/>
        </p:nvGrpSpPr>
        <p:grpSpPr>
          <a:xfrm>
            <a:off x="0" y="2585253"/>
            <a:ext cx="12191999" cy="2356268"/>
            <a:chOff x="0" y="2585258"/>
            <a:chExt cx="12191999" cy="1538658"/>
          </a:xfrm>
        </p:grpSpPr>
        <p:sp>
          <p:nvSpPr>
            <p:cNvPr id="3" name="Rectangle 2">
              <a:extLst>
                <a:ext uri="{FF2B5EF4-FFF2-40B4-BE49-F238E27FC236}">
                  <a16:creationId xmlns:a16="http://schemas.microsoft.com/office/drawing/2014/main" id="{695CD746-A5B8-FF7F-76C5-F32DE2087265}"/>
                </a:ext>
              </a:extLst>
            </p:cNvPr>
            <p:cNvSpPr/>
            <p:nvPr/>
          </p:nvSpPr>
          <p:spPr>
            <a:xfrm>
              <a:off x="0" y="2585258"/>
              <a:ext cx="12191999" cy="1047404"/>
            </a:xfrm>
            <a:prstGeom prst="rect">
              <a:avLst/>
            </a:prstGeom>
            <a:solidFill>
              <a:srgbClr val="7030A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480A0D9-931F-3DC5-113C-8EBDD3A580F2}"/>
                </a:ext>
              </a:extLst>
            </p:cNvPr>
            <p:cNvSpPr txBox="1"/>
            <p:nvPr/>
          </p:nvSpPr>
          <p:spPr>
            <a:xfrm>
              <a:off x="0" y="2656762"/>
              <a:ext cx="12191999" cy="1467154"/>
            </a:xfrm>
            <a:prstGeom prst="rect">
              <a:avLst/>
            </a:prstGeom>
            <a:noFill/>
          </p:spPr>
          <p:txBody>
            <a:bodyPr wrap="square" rtlCol="0">
              <a:spAutoFit/>
            </a:bodyPr>
            <a:lstStyle/>
            <a:p>
              <a:pPr algn="ctr">
                <a:spcBef>
                  <a:spcPts val="600"/>
                </a:spcBef>
                <a:spcAft>
                  <a:spcPts val="600"/>
                </a:spcAft>
              </a:pPr>
              <a:r>
                <a:rPr lang="vi-VN" sz="4000" b="1" dirty="0">
                  <a:solidFill>
                    <a:schemeClr val="bg1"/>
                  </a:solidFill>
                  <a:latin typeface="Calibri" panose="020F0502020204030204" pitchFamily="34" charset="0"/>
                  <a:ea typeface="Calibri" panose="020F0502020204030204" pitchFamily="34" charset="0"/>
                  <a:cs typeface="Calibri" panose="020F0502020204030204" pitchFamily="34" charset="0"/>
                </a:rPr>
                <a:t>VAI TRÒ CỦA VẮC-CIN TRONG PHÒNG NGỪA </a:t>
              </a:r>
            </a:p>
            <a:p>
              <a:pPr algn="ctr">
                <a:spcBef>
                  <a:spcPts val="600"/>
                </a:spcBef>
                <a:spcAft>
                  <a:spcPts val="600"/>
                </a:spcAft>
              </a:pPr>
              <a:r>
                <a:rPr lang="vi-VN" sz="4000" b="1" dirty="0">
                  <a:solidFill>
                    <a:schemeClr val="bg1"/>
                  </a:solidFill>
                  <a:latin typeface="Calibri" panose="020F0502020204030204" pitchFamily="34" charset="0"/>
                  <a:ea typeface="Calibri" panose="020F0502020204030204" pitchFamily="34" charset="0"/>
                  <a:cs typeface="Calibri" panose="020F0502020204030204" pitchFamily="34" charset="0"/>
                </a:rPr>
                <a:t>BỆNH LÝ TIM MẠCH</a:t>
              </a:r>
              <a:endParaRPr lang="en-US" sz="4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algn="ctr">
                <a:spcBef>
                  <a:spcPts val="600"/>
                </a:spcBef>
                <a:spcAft>
                  <a:spcPts val="600"/>
                </a:spcAft>
              </a:pPr>
              <a:r>
                <a:rPr lang="vi-VN" sz="4000" b="1" dirty="0">
                  <a:solidFill>
                    <a:schemeClr val="bg1"/>
                  </a:solidFill>
                  <a:latin typeface="Calibri" panose="020F0502020204030204" pitchFamily="34" charset="0"/>
                  <a:ea typeface="Calibri" panose="020F0502020204030204" pitchFamily="34" charset="0"/>
                  <a:cs typeface="Calibri" panose="020F0502020204030204" pitchFamily="34" charset="0"/>
                </a:rPr>
                <a:t>Ở NGƯỜI CAO TUỔI</a:t>
              </a:r>
              <a:endParaRPr lang="en-US" sz="4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4325170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C2BD7-615F-8F5C-B4C4-14101AD8902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E51A2EF-CC3A-3E85-1829-04A6BE91C3BB}"/>
              </a:ext>
            </a:extLst>
          </p:cNvPr>
          <p:cNvSpPr>
            <a:spLocks noGrp="1"/>
          </p:cNvSpPr>
          <p:nvPr>
            <p:ph type="title"/>
          </p:nvPr>
        </p:nvSpPr>
        <p:spPr>
          <a:xfrm>
            <a:off x="0" y="365125"/>
            <a:ext cx="12192000" cy="708941"/>
          </a:xfrm>
        </p:spPr>
        <p:txBody>
          <a:bodyPr>
            <a:normAutofit/>
          </a:bodyPr>
          <a:lstStyle/>
          <a:p>
            <a:pPr algn="ctr"/>
            <a: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Nhiễm trùng đường hô hấp cấp tính</a:t>
            </a:r>
            <a:endParaRPr lang="en-US" sz="36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BC97C8C1-41E4-61E0-EB65-532C42E2E1CB}"/>
              </a:ext>
            </a:extLst>
          </p:cNvPr>
          <p:cNvGraphicFramePr>
            <a:graphicFrameLocks noGrp="1"/>
          </p:cNvGraphicFramePr>
          <p:nvPr/>
        </p:nvGraphicFramePr>
        <p:xfrm>
          <a:off x="518160" y="1390343"/>
          <a:ext cx="11162948" cy="4259496"/>
        </p:xfrm>
        <a:graphic>
          <a:graphicData uri="http://schemas.openxmlformats.org/drawingml/2006/table">
            <a:tbl>
              <a:tblPr firstRow="1" bandRow="1"/>
              <a:tblGrid>
                <a:gridCol w="2084295">
                  <a:extLst>
                    <a:ext uri="{9D8B030D-6E8A-4147-A177-3AD203B41FA5}">
                      <a16:colId xmlns:a16="http://schemas.microsoft.com/office/drawing/2014/main" val="1460704290"/>
                    </a:ext>
                  </a:extLst>
                </a:gridCol>
                <a:gridCol w="2140277">
                  <a:extLst>
                    <a:ext uri="{9D8B030D-6E8A-4147-A177-3AD203B41FA5}">
                      <a16:colId xmlns:a16="http://schemas.microsoft.com/office/drawing/2014/main" val="4130679588"/>
                    </a:ext>
                  </a:extLst>
                </a:gridCol>
                <a:gridCol w="2154997">
                  <a:extLst>
                    <a:ext uri="{9D8B030D-6E8A-4147-A177-3AD203B41FA5}">
                      <a16:colId xmlns:a16="http://schemas.microsoft.com/office/drawing/2014/main" val="3912067142"/>
                    </a:ext>
                  </a:extLst>
                </a:gridCol>
                <a:gridCol w="4783379">
                  <a:extLst>
                    <a:ext uri="{9D8B030D-6E8A-4147-A177-3AD203B41FA5}">
                      <a16:colId xmlns:a16="http://schemas.microsoft.com/office/drawing/2014/main" val="2714881376"/>
                    </a:ext>
                  </a:extLst>
                </a:gridCol>
              </a:tblGrid>
              <a:tr h="87621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GB" dirty="0"/>
                        <a:t>Vi </a:t>
                      </a:r>
                      <a:r>
                        <a:rPr lang="en-GB" dirty="0" err="1"/>
                        <a:t>khuẩn</a:t>
                      </a:r>
                      <a:endParaRPr lang="en-GB" dirty="0"/>
                    </a:p>
                    <a:p>
                      <a:r>
                        <a:rPr lang="en-GB" dirty="0" err="1"/>
                        <a:t>thường</a:t>
                      </a:r>
                      <a:r>
                        <a:rPr lang="en-GB" dirty="0"/>
                        <a:t> trú</a:t>
                      </a:r>
                      <a:r>
                        <a:rPr lang="en-GB" baseline="30000" dirty="0"/>
                        <a:t>13</a:t>
                      </a:r>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544237" rtl="0" eaLnBrk="1" fontAlgn="auto" latinLnBrk="0" hangingPunct="1">
                        <a:lnSpc>
                          <a:spcPct val="100000"/>
                        </a:lnSpc>
                        <a:spcBef>
                          <a:spcPts val="0"/>
                        </a:spcBef>
                        <a:spcAft>
                          <a:spcPts val="0"/>
                        </a:spcAft>
                        <a:buClrTx/>
                        <a:buSzTx/>
                        <a:buFontTx/>
                        <a:buNone/>
                        <a:tabLst/>
                        <a:defRPr/>
                      </a:pPr>
                      <a:r>
                        <a:rPr lang="en-GB" sz="2000" dirty="0"/>
                        <a:t>Vi </a:t>
                      </a:r>
                      <a:r>
                        <a:rPr lang="en-GB" sz="2000" dirty="0" err="1"/>
                        <a:t>khuẩn</a:t>
                      </a:r>
                      <a:r>
                        <a:rPr lang="en-GB" sz="2000" dirty="0"/>
                        <a:t> </a:t>
                      </a:r>
                      <a:r>
                        <a:rPr lang="en-GB" sz="2000" dirty="0" err="1"/>
                        <a:t>không</a:t>
                      </a:r>
                      <a:r>
                        <a:rPr lang="en-GB" sz="2000" dirty="0"/>
                        <a:t> </a:t>
                      </a:r>
                      <a:r>
                        <a:rPr lang="en-GB" sz="2000" dirty="0" err="1"/>
                        <a:t>thường</a:t>
                      </a:r>
                      <a:r>
                        <a:rPr lang="en-GB" sz="2000" dirty="0"/>
                        <a:t> </a:t>
                      </a:r>
                      <a:r>
                        <a:rPr lang="en-GB" sz="2000" dirty="0" err="1"/>
                        <a:t>tru</a:t>
                      </a:r>
                      <a:r>
                        <a:rPr lang="en-GB" sz="2000" dirty="0"/>
                        <a:t>́</a:t>
                      </a:r>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vi-VN" sz="2000" b="1" dirty="0">
                          <a:latin typeface="+mn-lt"/>
                          <a:cs typeface="ＭＳ Ｐゴシック" charset="-128"/>
                        </a:rPr>
                        <a:t>Ít gặp nhưng quan trọng</a:t>
                      </a:r>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vi-VN" sz="2000" b="1" dirty="0"/>
                        <a:t>Virus dịch bệnh không có khả năng cư trú</a:t>
                      </a:r>
                      <a:r>
                        <a:rPr lang="en-US" sz="2000" b="1" dirty="0"/>
                        <a:t> </a:t>
                      </a:r>
                      <a:r>
                        <a:rPr lang="en-US" sz="2000" b="1" dirty="0" err="1"/>
                        <a:t>lâu</a:t>
                      </a:r>
                      <a:r>
                        <a:rPr lang="en-US" sz="2000" b="1" dirty="0"/>
                        <a:t> </a:t>
                      </a:r>
                      <a:r>
                        <a:rPr lang="en-US" sz="2000" b="1" dirty="0" err="1"/>
                        <a:t>dài</a:t>
                      </a:r>
                      <a:r>
                        <a:rPr lang="de-DE" sz="2000" b="1" baseline="30000" dirty="0"/>
                        <a:t>20</a:t>
                      </a:r>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74720734"/>
                  </a:ext>
                </a:extLst>
              </a:tr>
              <a:tr h="279629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2000" i="1">
                          <a:solidFill>
                            <a:srgbClr val="FF0000"/>
                          </a:solidFill>
                          <a:latin typeface="+mn-lt"/>
                          <a:cs typeface="ＭＳ Ｐゴシック" charset="-128"/>
                        </a:rPr>
                        <a:t>S. pneumoniae*</a:t>
                      </a:r>
                      <a:endParaRPr lang="de-DE" sz="2000">
                        <a:solidFill>
                          <a:srgbClr val="FF0000"/>
                        </a:solidFill>
                        <a:latin typeface="+mn-lt"/>
                        <a:cs typeface="ＭＳ Ｐゴシック" charset="-128"/>
                      </a:endParaRPr>
                    </a:p>
                    <a:p>
                      <a:endParaRPr lang="de-DE" sz="2000">
                        <a:solidFill>
                          <a:srgbClr val="FF0000"/>
                        </a:solidFill>
                        <a:latin typeface="+mn-lt"/>
                      </a:endParaRPr>
                    </a:p>
                    <a:p>
                      <a:r>
                        <a:rPr lang="de-DE" sz="2000" i="1">
                          <a:solidFill>
                            <a:srgbClr val="FF0000"/>
                          </a:solidFill>
                          <a:latin typeface="+mn-lt"/>
                        </a:rPr>
                        <a:t>H. influenzae*</a:t>
                      </a:r>
                      <a:endParaRPr lang="de-DE" sz="2000">
                        <a:solidFill>
                          <a:srgbClr val="FF0000"/>
                        </a:solidFill>
                        <a:latin typeface="+mn-lt"/>
                      </a:endParaRPr>
                    </a:p>
                    <a:p>
                      <a:endParaRPr lang="de-DE" sz="2000">
                        <a:solidFill>
                          <a:srgbClr val="FF0000"/>
                        </a:solidFill>
                        <a:latin typeface="+mn-lt"/>
                      </a:endParaRPr>
                    </a:p>
                    <a:p>
                      <a:r>
                        <a:rPr lang="de-DE" sz="2000">
                          <a:solidFill>
                            <a:srgbClr val="FF0000"/>
                          </a:solidFill>
                          <a:latin typeface="+mn-lt"/>
                        </a:rPr>
                        <a:t>...</a:t>
                      </a:r>
                      <a:endParaRPr lang="en-GB" sz="200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60">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2000" i="1">
                          <a:latin typeface="+mn-lt"/>
                          <a:cs typeface="ＭＳ Ｐゴシック" charset="-128"/>
                        </a:rPr>
                        <a:t>Legionella</a:t>
                      </a:r>
                      <a:r>
                        <a:rPr lang="de-DE" sz="2000" i="1" baseline="30000">
                          <a:latin typeface="+mn-lt"/>
                          <a:cs typeface="ＭＳ Ｐゴシック" charset="-128"/>
                        </a:rPr>
                        <a:t>14</a:t>
                      </a:r>
                      <a:endParaRPr lang="de-DE" sz="2000" i="1">
                        <a:latin typeface="+mn-lt"/>
                        <a:cs typeface="ＭＳ Ｐゴシック" charset="-128"/>
                      </a:endParaRPr>
                    </a:p>
                    <a:p>
                      <a:endParaRPr lang="de-DE" sz="2000" i="1">
                        <a:latin typeface="+mn-lt"/>
                        <a:cs typeface="ＭＳ Ｐゴシック" charset="-128"/>
                      </a:endParaRPr>
                    </a:p>
                    <a:p>
                      <a:r>
                        <a:rPr lang="de-DE" sz="2000" i="1">
                          <a:latin typeface="+mn-lt"/>
                          <a:cs typeface="ＭＳ Ｐゴシック" charset="-128"/>
                        </a:rPr>
                        <a:t>Chlamydia</a:t>
                      </a:r>
                      <a:r>
                        <a:rPr lang="de-DE" sz="2000" i="1" baseline="30000">
                          <a:latin typeface="+mn-lt"/>
                          <a:cs typeface="ＭＳ Ｐゴシック" charset="-128"/>
                        </a:rPr>
                        <a:t>15</a:t>
                      </a:r>
                      <a:r>
                        <a:rPr lang="de-DE" sz="2000" i="1">
                          <a:latin typeface="+mn-lt"/>
                          <a:cs typeface="ＭＳ Ｐゴシック" charset="-128"/>
                        </a:rPr>
                        <a:t> </a:t>
                      </a:r>
                    </a:p>
                    <a:p>
                      <a:endParaRPr lang="de-DE" sz="2000" i="1">
                        <a:solidFill>
                          <a:srgbClr val="FF0000"/>
                        </a:solidFill>
                        <a:latin typeface="+mn-lt"/>
                        <a:cs typeface="ＭＳ Ｐゴシック" charset="-128"/>
                      </a:endParaRPr>
                    </a:p>
                    <a:p>
                      <a:r>
                        <a:rPr lang="de-DE" sz="2000" i="1">
                          <a:solidFill>
                            <a:srgbClr val="FF0000"/>
                          </a:solidFill>
                          <a:latin typeface="+mn-lt"/>
                          <a:cs typeface="ＭＳ Ｐゴシック" charset="-128"/>
                        </a:rPr>
                        <a:t>Bordetella*</a:t>
                      </a:r>
                      <a:r>
                        <a:rPr lang="de-DE" sz="2000" i="1" baseline="30000">
                          <a:solidFill>
                            <a:srgbClr val="FF0000"/>
                          </a:solidFill>
                          <a:latin typeface="+mn-lt"/>
                          <a:cs typeface="ＭＳ Ｐゴシック" charset="-128"/>
                        </a:rPr>
                        <a:t>16</a:t>
                      </a:r>
                      <a:r>
                        <a:rPr lang="de-DE" sz="2000" i="1">
                          <a:latin typeface="+mn-lt"/>
                          <a:cs typeface="ＭＳ Ｐゴシック" charset="-128"/>
                        </a:rPr>
                        <a:t> </a:t>
                      </a:r>
                    </a:p>
                    <a:p>
                      <a:endParaRPr lang="de-DE" sz="2000" i="1">
                        <a:latin typeface="+mn-lt"/>
                        <a:cs typeface="ＭＳ Ｐゴシック" charset="-128"/>
                      </a:endParaRPr>
                    </a:p>
                    <a:p>
                      <a:r>
                        <a:rPr lang="de-DE" sz="2000" i="1">
                          <a:latin typeface="+mn-lt"/>
                          <a:cs typeface="ＭＳ Ｐゴシック" charset="-128"/>
                        </a:rPr>
                        <a:t>Mycoplasma</a:t>
                      </a:r>
                      <a:r>
                        <a:rPr lang="de-DE" sz="2000" i="1" baseline="30000">
                          <a:latin typeface="+mn-lt"/>
                          <a:cs typeface="ＭＳ Ｐゴシック" charset="-128"/>
                        </a:rPr>
                        <a:t>17</a:t>
                      </a:r>
                      <a:endParaRPr lang="de-DE" sz="2000" i="1">
                        <a:latin typeface="+mn-lt"/>
                        <a:cs typeface="ＭＳ Ｐゴシック" charset="-128"/>
                      </a:endParaRPr>
                    </a:p>
                    <a:p>
                      <a:endParaRPr lang="de-DE" sz="2000" i="1">
                        <a:latin typeface="+mn-lt"/>
                      </a:endParaRPr>
                    </a:p>
                    <a:p>
                      <a:r>
                        <a:rPr lang="de-DE" sz="2000" i="1">
                          <a:latin typeface="+mn-lt"/>
                        </a:rPr>
                        <a:t>…</a:t>
                      </a:r>
                      <a:endParaRPr lang="en-GB" sz="200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60">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544237" rtl="0" eaLnBrk="1" fontAlgn="auto" latinLnBrk="0" hangingPunct="1">
                        <a:lnSpc>
                          <a:spcPct val="100000"/>
                        </a:lnSpc>
                        <a:spcBef>
                          <a:spcPts val="0"/>
                        </a:spcBef>
                        <a:spcAft>
                          <a:spcPts val="0"/>
                        </a:spcAft>
                        <a:buClrTx/>
                        <a:buSzTx/>
                        <a:buFontTx/>
                        <a:buNone/>
                        <a:tabLst/>
                        <a:defRPr/>
                      </a:pPr>
                      <a:r>
                        <a:rPr lang="de-DE" sz="2000" i="1" dirty="0">
                          <a:latin typeface="+mn-lt"/>
                          <a:cs typeface="ＭＳ Ｐゴシック" charset="-128"/>
                        </a:rPr>
                        <a:t>M. tuberculosis</a:t>
                      </a:r>
                      <a:r>
                        <a:rPr lang="de-DE" sz="2000" i="1" baseline="30000" dirty="0">
                          <a:latin typeface="+mn-lt"/>
                          <a:cs typeface="ＭＳ Ｐゴシック" charset="-128"/>
                        </a:rPr>
                        <a:t>18</a:t>
                      </a:r>
                      <a:endParaRPr lang="de-DE" sz="2000" i="1" dirty="0">
                        <a:latin typeface="+mn-lt"/>
                        <a:cs typeface="ＭＳ Ｐゴシック" charset="-128"/>
                      </a:endParaRPr>
                    </a:p>
                    <a:p>
                      <a:pPr marL="0" marR="0" lvl="0" indent="0" algn="l" defTabSz="544237" rtl="0" eaLnBrk="1" fontAlgn="auto" latinLnBrk="0" hangingPunct="1">
                        <a:lnSpc>
                          <a:spcPct val="100000"/>
                        </a:lnSpc>
                        <a:spcBef>
                          <a:spcPts val="0"/>
                        </a:spcBef>
                        <a:spcAft>
                          <a:spcPts val="0"/>
                        </a:spcAft>
                        <a:buClrTx/>
                        <a:buSzTx/>
                        <a:buFontTx/>
                        <a:buNone/>
                        <a:tabLst/>
                        <a:defRPr/>
                      </a:pPr>
                      <a:endParaRPr lang="de-DE" sz="2000" i="1" dirty="0">
                        <a:latin typeface="+mn-lt"/>
                        <a:cs typeface="ＭＳ Ｐゴシック" charset="-128"/>
                      </a:endParaRPr>
                    </a:p>
                    <a:p>
                      <a:pPr marL="0" marR="0" lvl="0" indent="0" algn="l" defTabSz="544237" rtl="0" eaLnBrk="1" fontAlgn="auto" latinLnBrk="0" hangingPunct="1">
                        <a:lnSpc>
                          <a:spcPct val="100000"/>
                        </a:lnSpc>
                        <a:spcBef>
                          <a:spcPts val="0"/>
                        </a:spcBef>
                        <a:spcAft>
                          <a:spcPts val="0"/>
                        </a:spcAft>
                        <a:buClrTx/>
                        <a:buSzTx/>
                        <a:buFontTx/>
                        <a:buNone/>
                        <a:tabLst/>
                        <a:defRPr/>
                      </a:pPr>
                      <a:r>
                        <a:rPr lang="de-DE" sz="2000" i="1" dirty="0">
                          <a:latin typeface="+mn-lt"/>
                          <a:cs typeface="ＭＳ Ｐゴシック" charset="-128"/>
                        </a:rPr>
                        <a:t>Leptospira</a:t>
                      </a:r>
                      <a:r>
                        <a:rPr lang="de-DE" sz="2000" i="1" baseline="30000" dirty="0">
                          <a:latin typeface="+mn-lt"/>
                          <a:cs typeface="ＭＳ Ｐゴシック" charset="-128"/>
                        </a:rPr>
                        <a:t>19</a:t>
                      </a:r>
                      <a:r>
                        <a:rPr lang="de-DE" sz="2000" i="1" dirty="0">
                          <a:latin typeface="+mn-lt"/>
                          <a:cs typeface="ＭＳ Ｐゴシック" charset="-128"/>
                        </a:rPr>
                        <a:t> </a:t>
                      </a:r>
                    </a:p>
                    <a:p>
                      <a:pPr marL="0" marR="0" lvl="0" indent="0" algn="l" defTabSz="544237" rtl="0" eaLnBrk="1" fontAlgn="auto" latinLnBrk="0" hangingPunct="1">
                        <a:lnSpc>
                          <a:spcPct val="100000"/>
                        </a:lnSpc>
                        <a:spcBef>
                          <a:spcPts val="0"/>
                        </a:spcBef>
                        <a:spcAft>
                          <a:spcPts val="0"/>
                        </a:spcAft>
                        <a:buClrTx/>
                        <a:buSzTx/>
                        <a:buFontTx/>
                        <a:buNone/>
                        <a:tabLst/>
                        <a:defRPr/>
                      </a:pPr>
                      <a:endParaRPr lang="de-DE" sz="2000" i="1" dirty="0">
                        <a:latin typeface="+mn-lt"/>
                        <a:cs typeface="ＭＳ Ｐゴシック" charset="-128"/>
                      </a:endParaRPr>
                    </a:p>
                    <a:p>
                      <a:pPr marL="0" marR="0" lvl="0" indent="0" algn="l" defTabSz="544237" rtl="0" eaLnBrk="1" fontAlgn="auto" latinLnBrk="0" hangingPunct="1">
                        <a:lnSpc>
                          <a:spcPct val="100000"/>
                        </a:lnSpc>
                        <a:spcBef>
                          <a:spcPts val="0"/>
                        </a:spcBef>
                        <a:spcAft>
                          <a:spcPts val="0"/>
                        </a:spcAft>
                        <a:buClrTx/>
                        <a:buSzTx/>
                        <a:buFontTx/>
                        <a:buNone/>
                        <a:tabLst/>
                        <a:defRPr/>
                      </a:pPr>
                      <a:r>
                        <a:rPr lang="de-DE" sz="2000" i="1" dirty="0">
                          <a:latin typeface="+mn-lt"/>
                          <a:cs typeface="ＭＳ Ｐゴシック" charset="-128"/>
                        </a:rPr>
                        <a:t>.</a:t>
                      </a:r>
                      <a:r>
                        <a:rPr lang="de-DE" sz="2000" dirty="0">
                          <a:latin typeface="+mn-lt"/>
                          <a:cs typeface="ＭＳ Ｐゴシック" charset="-128"/>
                        </a:rPr>
                        <a:t>..</a:t>
                      </a:r>
                    </a:p>
                    <a:p>
                      <a:endParaRPr lang="en-GB" sz="20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60">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buFont typeface="+mj-lt"/>
                        <a:buNone/>
                      </a:pPr>
                      <a:r>
                        <a:rPr lang="de-DE" sz="2000" i="0" dirty="0">
                          <a:solidFill>
                            <a:srgbClr val="FF0000"/>
                          </a:solidFill>
                        </a:rPr>
                        <a:t>SARS-CoV2*		</a:t>
                      </a:r>
                    </a:p>
                    <a:p>
                      <a:pPr marL="0" indent="0">
                        <a:buFont typeface="+mj-lt"/>
                        <a:buNone/>
                      </a:pPr>
                      <a:r>
                        <a:rPr lang="de-DE" sz="2000" i="0" dirty="0"/>
                        <a:t>Picornavirus (</a:t>
                      </a:r>
                      <a:r>
                        <a:rPr lang="de-DE" sz="1600" i="0" dirty="0"/>
                        <a:t>Rhinovirus, Enterovirus)		</a:t>
                      </a:r>
                      <a:endParaRPr lang="de-DE" sz="2000" i="0" dirty="0">
                        <a:solidFill>
                          <a:srgbClr val="FF0000"/>
                        </a:solidFill>
                      </a:endParaRPr>
                    </a:p>
                    <a:p>
                      <a:pPr marL="0" indent="0">
                        <a:buFont typeface="+mj-lt"/>
                        <a:buNone/>
                      </a:pPr>
                      <a:r>
                        <a:rPr lang="de-DE" sz="2000" i="0" dirty="0">
                          <a:solidFill>
                            <a:srgbClr val="FF0000"/>
                          </a:solidFill>
                        </a:rPr>
                        <a:t>RSV				          	</a:t>
                      </a:r>
                    </a:p>
                    <a:p>
                      <a:pPr marL="0" indent="0">
                        <a:buFont typeface="+mj-lt"/>
                        <a:buNone/>
                      </a:pPr>
                      <a:r>
                        <a:rPr lang="de-DE" sz="2000" i="0" dirty="0">
                          <a:solidFill>
                            <a:srgbClr val="FF0000"/>
                          </a:solidFill>
                        </a:rPr>
                        <a:t>Influenzavirus A, B*			</a:t>
                      </a:r>
                    </a:p>
                    <a:p>
                      <a:pPr marL="0" indent="0">
                        <a:buFont typeface="+mj-lt"/>
                        <a:buNone/>
                      </a:pPr>
                      <a:r>
                        <a:rPr lang="de-DE" sz="2000" i="0" dirty="0"/>
                        <a:t>Adenovirus					</a:t>
                      </a:r>
                    </a:p>
                    <a:p>
                      <a:pPr marL="0" indent="0">
                        <a:buFont typeface="+mj-lt"/>
                        <a:buNone/>
                      </a:pPr>
                      <a:r>
                        <a:rPr lang="de-DE" sz="2000" i="0" dirty="0"/>
                        <a:t>Human metapneumovirus 		</a:t>
                      </a:r>
                    </a:p>
                    <a:p>
                      <a:pPr marL="0" indent="0">
                        <a:buFont typeface="+mj-lt"/>
                        <a:buNone/>
                      </a:pPr>
                      <a:r>
                        <a:rPr lang="de-DE" sz="2000" i="0" dirty="0"/>
                        <a:t>Parainfluenzavirus 1,2,3,4		</a:t>
                      </a:r>
                    </a:p>
                    <a:p>
                      <a:pPr marL="0" indent="0">
                        <a:buFont typeface="+mj-lt"/>
                        <a:buNone/>
                      </a:pPr>
                      <a:r>
                        <a:rPr lang="de-DE" sz="2000" i="0" dirty="0"/>
                        <a:t>Seasonal coronaviruses </a:t>
                      </a:r>
                      <a:endParaRPr lang="de-DE" sz="2000" i="0" dirty="0">
                        <a:solidFill>
                          <a:srgbClr val="FF0000"/>
                        </a:solidFill>
                      </a:endParaRPr>
                    </a:p>
                    <a:p>
                      <a:endParaRPr lang="en-GB" sz="20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6600">
                        <a:lumMod val="20000"/>
                        <a:lumOff val="80000"/>
                      </a:srgbClr>
                    </a:solidFill>
                  </a:tcPr>
                </a:tc>
                <a:extLst>
                  <a:ext uri="{0D108BD9-81ED-4DB2-BD59-A6C34878D82A}">
                    <a16:rowId xmlns:a16="http://schemas.microsoft.com/office/drawing/2014/main" val="4091708308"/>
                  </a:ext>
                </a:extLst>
              </a:tr>
            </a:tbl>
          </a:graphicData>
        </a:graphic>
      </p:graphicFrame>
      <p:sp>
        <p:nvSpPr>
          <p:cNvPr id="7" name="TextBox 6">
            <a:extLst>
              <a:ext uri="{FF2B5EF4-FFF2-40B4-BE49-F238E27FC236}">
                <a16:creationId xmlns:a16="http://schemas.microsoft.com/office/drawing/2014/main" id="{AECC798F-2EC1-7089-F9CB-D7AE2A779A80}"/>
              </a:ext>
            </a:extLst>
          </p:cNvPr>
          <p:cNvSpPr txBox="1"/>
          <p:nvPr/>
        </p:nvSpPr>
        <p:spPr>
          <a:xfrm>
            <a:off x="518160" y="5769400"/>
            <a:ext cx="3657600" cy="286232"/>
          </a:xfrm>
          <a:prstGeom prst="rect">
            <a:avLst/>
          </a:prstGeom>
          <a:noFill/>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en-GB" sz="1400" b="0" i="1" u="none" strike="noStrike" kern="1200" cap="none" spc="0" normalizeH="0" baseline="0" noProof="0" dirty="0">
                <a:ln>
                  <a:noFill/>
                </a:ln>
                <a:solidFill>
                  <a:srgbClr val="FF0000"/>
                </a:solidFill>
                <a:effectLst/>
                <a:uLnTx/>
                <a:uFillTx/>
                <a:latin typeface="Arial"/>
                <a:ea typeface="MS PGothic" pitchFamily="34" charset="-128"/>
                <a:cs typeface="ＭＳ Ｐゴシック" charset="-128"/>
              </a:rPr>
              <a:t>*Vaccine-preventable</a:t>
            </a:r>
          </a:p>
        </p:txBody>
      </p:sp>
      <p:sp>
        <p:nvSpPr>
          <p:cNvPr id="8" name="Text Placeholder 9">
            <a:extLst>
              <a:ext uri="{FF2B5EF4-FFF2-40B4-BE49-F238E27FC236}">
                <a16:creationId xmlns:a16="http://schemas.microsoft.com/office/drawing/2014/main" id="{C063CC34-07F6-2EC6-D0F3-ACA911C4AFA1}"/>
              </a:ext>
            </a:extLst>
          </p:cNvPr>
          <p:cNvSpPr txBox="1">
            <a:spLocks/>
          </p:cNvSpPr>
          <p:nvPr/>
        </p:nvSpPr>
        <p:spPr bwMode="gray">
          <a:xfrm>
            <a:off x="477166" y="6024846"/>
            <a:ext cx="11203941" cy="70894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marL="0" indent="0" algn="l" defTabSz="544237" rtl="0" eaLnBrk="0" fontAlgn="base" hangingPunct="0">
              <a:lnSpc>
                <a:spcPct val="90000"/>
              </a:lnSpc>
              <a:spcBef>
                <a:spcPts val="200"/>
              </a:spcBef>
              <a:spcAft>
                <a:spcPct val="0"/>
              </a:spcAft>
              <a:buClr>
                <a:schemeClr val="tx2"/>
              </a:buClr>
              <a:buSzPct val="100000"/>
              <a:buFont typeface="Wingdings" panose="05000000000000000000" pitchFamily="2" charset="2"/>
              <a:buNone/>
              <a:defRPr sz="1000" kern="1200">
                <a:solidFill>
                  <a:schemeClr val="tx1"/>
                </a:solidFill>
                <a:latin typeface="+mn-lt"/>
                <a:ea typeface="MS PGothic" pitchFamily="34" charset="-128"/>
                <a:cs typeface="Arial" pitchFamily="34" charset="0"/>
              </a:defRPr>
            </a:lvl1pPr>
            <a:lvl2pPr marL="616045" indent="-260780" algn="l" defTabSz="544237" rtl="0" eaLnBrk="0" fontAlgn="base" hangingPunct="0">
              <a:lnSpc>
                <a:spcPct val="90000"/>
              </a:lnSpc>
              <a:spcBef>
                <a:spcPts val="1000"/>
              </a:spcBef>
              <a:spcAft>
                <a:spcPct val="0"/>
              </a:spcAft>
              <a:buClr>
                <a:schemeClr val="tx2"/>
              </a:buClr>
              <a:buFont typeface="Arial" charset="0"/>
              <a:buChar char="–"/>
              <a:defRPr sz="2000" kern="1200">
                <a:solidFill>
                  <a:schemeClr val="tx1"/>
                </a:solidFill>
                <a:latin typeface="+mn-lt"/>
                <a:ea typeface="MS PGothic" pitchFamily="34" charset="-128"/>
                <a:cs typeface="Arial"/>
              </a:defRPr>
            </a:lvl2pPr>
            <a:lvl3pPr marL="880606" indent="-194641" algn="l" defTabSz="544237" rtl="0" eaLnBrk="0" fontAlgn="base" hangingPunct="0">
              <a:lnSpc>
                <a:spcPct val="90000"/>
              </a:lnSpc>
              <a:spcBef>
                <a:spcPts val="500"/>
              </a:spcBef>
              <a:spcAft>
                <a:spcPct val="0"/>
              </a:spcAft>
              <a:buClr>
                <a:schemeClr val="tx2"/>
              </a:buClr>
              <a:buFont typeface="Wingdings" panose="05000000000000000000" pitchFamily="2" charset="2"/>
              <a:buChar char="§"/>
              <a:defRPr sz="1800" kern="1200">
                <a:solidFill>
                  <a:schemeClr val="tx1"/>
                </a:solidFill>
                <a:latin typeface="+mn-lt"/>
                <a:ea typeface="MS PGothic" pitchFamily="34" charset="-128"/>
                <a:cs typeface="Arial"/>
              </a:defRPr>
            </a:lvl3pPr>
            <a:lvl4pPr marL="1226423" indent="-272118" algn="l" defTabSz="544237" rtl="0" eaLnBrk="0" fontAlgn="base" hangingPunct="0">
              <a:lnSpc>
                <a:spcPct val="90000"/>
              </a:lnSpc>
              <a:spcBef>
                <a:spcPts val="200"/>
              </a:spcBef>
              <a:spcAft>
                <a:spcPct val="0"/>
              </a:spcAft>
              <a:buClr>
                <a:schemeClr val="tx2"/>
              </a:buClr>
              <a:buFont typeface="Arial" charset="0"/>
              <a:buChar char="–"/>
              <a:defRPr sz="1600" kern="1200">
                <a:solidFill>
                  <a:schemeClr val="tx1"/>
                </a:solidFill>
                <a:latin typeface="+mn-lt"/>
                <a:ea typeface="MS PGothic" pitchFamily="34" charset="-128"/>
                <a:cs typeface="Arial"/>
              </a:defRPr>
            </a:lvl4pPr>
            <a:lvl5pPr marL="1492872" indent="-196530" algn="l" defTabSz="544237" rtl="0" eaLnBrk="0" fontAlgn="base" hangingPunct="0">
              <a:lnSpc>
                <a:spcPct val="90000"/>
              </a:lnSpc>
              <a:spcBef>
                <a:spcPts val="100"/>
              </a:spcBef>
              <a:spcAft>
                <a:spcPct val="0"/>
              </a:spcAft>
              <a:buClr>
                <a:schemeClr val="tx2"/>
              </a:buClr>
              <a:buFont typeface="Wingdings" pitchFamily="2" charset="2"/>
              <a:buChar char="§"/>
              <a:defRPr sz="1400" kern="1200">
                <a:solidFill>
                  <a:schemeClr val="tx1"/>
                </a:solidFill>
                <a:latin typeface="+mn-lt"/>
                <a:ea typeface="MS PGothic" pitchFamily="34" charset="-128"/>
                <a:cs typeface="Arial"/>
              </a:defRPr>
            </a:lvl5pPr>
            <a:lvl6pPr marL="2993302" indent="-272118" algn="l" defTabSz="544237" rtl="0" eaLnBrk="1" latinLnBrk="0" hangingPunct="1">
              <a:spcBef>
                <a:spcPct val="20000"/>
              </a:spcBef>
              <a:buFont typeface="Arial"/>
              <a:buChar char="•"/>
              <a:defRPr sz="2417" kern="1200">
                <a:solidFill>
                  <a:schemeClr val="tx1"/>
                </a:solidFill>
                <a:latin typeface="+mn-lt"/>
                <a:ea typeface="+mn-ea"/>
                <a:cs typeface="+mn-cs"/>
              </a:defRPr>
            </a:lvl6pPr>
            <a:lvl7pPr marL="3537538" indent="-272118" algn="l" defTabSz="544237" rtl="0" eaLnBrk="1" latinLnBrk="0" hangingPunct="1">
              <a:spcBef>
                <a:spcPct val="20000"/>
              </a:spcBef>
              <a:buFont typeface="Arial"/>
              <a:buChar char="•"/>
              <a:defRPr sz="2417" kern="1200">
                <a:solidFill>
                  <a:schemeClr val="tx1"/>
                </a:solidFill>
                <a:latin typeface="+mn-lt"/>
                <a:ea typeface="+mn-ea"/>
                <a:cs typeface="+mn-cs"/>
              </a:defRPr>
            </a:lvl7pPr>
            <a:lvl8pPr marL="4081776" indent="-272118" algn="l" defTabSz="544237" rtl="0" eaLnBrk="1" latinLnBrk="0" hangingPunct="1">
              <a:spcBef>
                <a:spcPct val="20000"/>
              </a:spcBef>
              <a:buFont typeface="Arial"/>
              <a:buChar char="•"/>
              <a:defRPr sz="2417" kern="1200">
                <a:solidFill>
                  <a:schemeClr val="tx1"/>
                </a:solidFill>
                <a:latin typeface="+mn-lt"/>
                <a:ea typeface="+mn-ea"/>
                <a:cs typeface="+mn-cs"/>
              </a:defRPr>
            </a:lvl8pPr>
            <a:lvl9pPr marL="4626012" indent="-272118" algn="l" defTabSz="544237" rtl="0" eaLnBrk="1" latinLnBrk="0" hangingPunct="1">
              <a:spcBef>
                <a:spcPct val="20000"/>
              </a:spcBef>
              <a:buFont typeface="Arial"/>
              <a:buChar char="•"/>
              <a:defRPr sz="2417" kern="1200">
                <a:solidFill>
                  <a:schemeClr val="tx1"/>
                </a:solidFill>
                <a:latin typeface="+mn-lt"/>
                <a:ea typeface="+mn-ea"/>
                <a:cs typeface="+mn-cs"/>
              </a:defRPr>
            </a:lvl9pPr>
          </a:lstStyle>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3"/>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Bogaert D, De Groot R, Hermans PW. Streptococcus pneumoniae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colonisation</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the key to pneumococcal disease. Lancet Infect Dis. 2004 Mar;4(3):144-54.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doi</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10.1016/S1473-3099(04)00938-7. PMID: 14998500.</a:t>
            </a:r>
          </a:p>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3"/>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Chauhan D, Shames SR. Pathogenicity and Virulence of Legionella: Intracellular replication and host response. Virulence. 2021 Dec;12(1):1122-1144.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doi</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10.1080/21505594.2021.1903199. PMID: 33843434; PMCID: PMC8043192.</a:t>
            </a:r>
          </a:p>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3"/>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Elwell, C.,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Mirrashidi</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K. &amp; Engel, J. Chlamydia cell biology and pathogenesis. Nat Rev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Microbiol</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14, 385–400 (2016). https://doi.org/10.1038/nrmicro.2016.30</a:t>
            </a:r>
          </a:p>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3"/>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Trainor EA, Nicholson TL, Merkel TJ. Bordetella pertussis transmission.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Pathog</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Dis. 2015 Nov;73(8):ftv068.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doi</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10.1093/</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femspd</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ftv068. </a:t>
            </a:r>
            <a:r>
              <a:rPr kumimoji="0" lang="en-US" sz="600" b="0" i="0" u="none" strike="noStrike" kern="1200" cap="none" spc="0" normalizeH="0" baseline="0" noProof="0" dirty="0" err="1">
                <a:ln>
                  <a:noFill/>
                </a:ln>
                <a:solidFill>
                  <a:srgbClr val="000000">
                    <a:lumMod val="50000"/>
                    <a:lumOff val="50000"/>
                  </a:srgbClr>
                </a:solidFill>
                <a:effectLst/>
                <a:uLnTx/>
                <a:uFillTx/>
                <a:latin typeface="Arial"/>
                <a:ea typeface="MS PGothic" pitchFamily="34" charset="-128"/>
                <a:cs typeface="Arial" pitchFamily="34" charset="0"/>
              </a:rPr>
              <a:t>Epub</a:t>
            </a:r>
            <a:r>
              <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rPr>
              <a:t> 2015 Sep 14. PMID: 26374235; PMCID: PMC4626651.</a:t>
            </a:r>
          </a:p>
        </p:txBody>
      </p:sp>
      <p:sp>
        <p:nvSpPr>
          <p:cNvPr id="3" name="Rectangle 2">
            <a:extLst>
              <a:ext uri="{FF2B5EF4-FFF2-40B4-BE49-F238E27FC236}">
                <a16:creationId xmlns:a16="http://schemas.microsoft.com/office/drawing/2014/main" id="{F6D2F18D-4761-8020-F2C9-B3A4335266D5}"/>
              </a:ext>
            </a:extLst>
          </p:cNvPr>
          <p:cNvSpPr/>
          <p:nvPr/>
        </p:nvSpPr>
        <p:spPr>
          <a:xfrm>
            <a:off x="295834" y="2065695"/>
            <a:ext cx="2420471" cy="708940"/>
          </a:xfrm>
          <a:prstGeom prst="rect">
            <a:avLst/>
          </a:prstGeom>
          <a:noFill/>
          <a:ln w="57150">
            <a:solidFill>
              <a:srgbClr val="C00000"/>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09630"/>
            <a:endParaRPr lang="en-US" sz="1200">
              <a:solidFill>
                <a:prstClr val="black"/>
              </a:solidFill>
              <a:latin typeface="Aptos" panose="02110004020202020204"/>
            </a:endParaRPr>
          </a:p>
        </p:txBody>
      </p:sp>
      <p:sp>
        <p:nvSpPr>
          <p:cNvPr id="5" name="Rectangle 4">
            <a:extLst>
              <a:ext uri="{FF2B5EF4-FFF2-40B4-BE49-F238E27FC236}">
                <a16:creationId xmlns:a16="http://schemas.microsoft.com/office/drawing/2014/main" id="{EE006001-B7C3-516B-2230-999C51C3B23B}"/>
              </a:ext>
            </a:extLst>
          </p:cNvPr>
          <p:cNvSpPr/>
          <p:nvPr/>
        </p:nvSpPr>
        <p:spPr>
          <a:xfrm>
            <a:off x="6890369" y="3074530"/>
            <a:ext cx="2594290" cy="708940"/>
          </a:xfrm>
          <a:prstGeom prst="rect">
            <a:avLst/>
          </a:prstGeom>
          <a:noFill/>
          <a:ln w="57150">
            <a:solidFill>
              <a:srgbClr val="C00000"/>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09630"/>
            <a:endParaRPr lang="en-US" sz="1200">
              <a:solidFill>
                <a:prstClr val="black"/>
              </a:solidFill>
              <a:latin typeface="Aptos" panose="02110004020202020204"/>
            </a:endParaRPr>
          </a:p>
        </p:txBody>
      </p:sp>
    </p:spTree>
    <p:extLst>
      <p:ext uri="{BB962C8B-B14F-4D97-AF65-F5344CB8AC3E}">
        <p14:creationId xmlns:p14="http://schemas.microsoft.com/office/powerpoint/2010/main" val="2869894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D9BD1C1-310F-2A1B-9968-F5AE97CB88A5}"/>
              </a:ext>
            </a:extLst>
          </p:cNvPr>
          <p:cNvPicPr>
            <a:picLocks noChangeAspect="1"/>
          </p:cNvPicPr>
          <p:nvPr/>
        </p:nvPicPr>
        <p:blipFill>
          <a:blip r:embed="rId3"/>
          <a:stretch>
            <a:fillRect/>
          </a:stretch>
        </p:blipFill>
        <p:spPr>
          <a:xfrm>
            <a:off x="4710302" y="54623"/>
            <a:ext cx="229960" cy="182364"/>
          </a:xfrm>
          <a:prstGeom prst="rect">
            <a:avLst/>
          </a:prstGeom>
        </p:spPr>
      </p:pic>
      <p:sp>
        <p:nvSpPr>
          <p:cNvPr id="7" name="Title 17">
            <a:extLst>
              <a:ext uri="{FF2B5EF4-FFF2-40B4-BE49-F238E27FC236}">
                <a16:creationId xmlns:a16="http://schemas.microsoft.com/office/drawing/2014/main" id="{A4AD39D6-9708-FB94-37F0-6F850AFC568D}"/>
              </a:ext>
            </a:extLst>
          </p:cNvPr>
          <p:cNvSpPr txBox="1">
            <a:spLocks/>
          </p:cNvSpPr>
          <p:nvPr/>
        </p:nvSpPr>
        <p:spPr>
          <a:xfrm>
            <a:off x="1525318" y="353874"/>
            <a:ext cx="9141364" cy="553370"/>
          </a:xfrm>
          <a:prstGeom prst="rect">
            <a:avLst/>
          </a:prstGeom>
          <a:solidFill>
            <a:schemeClr val="bg1"/>
          </a:solidFill>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4446" fontAlgn="base">
              <a:spcAft>
                <a:spcPct val="0"/>
              </a:spcAft>
              <a:buClr>
                <a:srgbClr val="ED7D31"/>
              </a:buClr>
              <a:buSzPct val="90000"/>
              <a:defRPr/>
            </a:pPr>
            <a:r>
              <a:rPr lang="en-US" sz="3200" b="1" dirty="0">
                <a:solidFill>
                  <a:srgbClr val="002060"/>
                </a:solidFill>
                <a:latin typeface="Aptos" panose="020B0004020202020204" pitchFamily="34" charset="0"/>
                <a:ea typeface="Noto Sans" panose="020B0502040504020204" pitchFamily="34"/>
                <a:cs typeface="Arial" panose="020B0604020202020204" pitchFamily="34" charset="0"/>
              </a:rPr>
              <a:t>G</a:t>
            </a:r>
            <a:r>
              <a:rPr lang="vi-VN" sz="3200" b="1" dirty="0">
                <a:solidFill>
                  <a:srgbClr val="002060"/>
                </a:solidFill>
                <a:latin typeface="Aptos" panose="020B0004020202020204" pitchFamily="34" charset="0"/>
                <a:ea typeface="Noto Sans" panose="020B0502040504020204" pitchFamily="34"/>
                <a:cs typeface="Arial" panose="020B0604020202020204" pitchFamily="34" charset="0"/>
              </a:rPr>
              <a:t>ánh nặng </a:t>
            </a:r>
            <a:r>
              <a:rPr lang="en-US" sz="3200" b="1" dirty="0">
                <a:solidFill>
                  <a:srgbClr val="002060"/>
                </a:solidFill>
                <a:latin typeface="Aptos" panose="020B0004020202020204" pitchFamily="34" charset="0"/>
                <a:ea typeface="Noto Sans" panose="020B0502040504020204" pitchFamily="34"/>
                <a:cs typeface="Arial" panose="020B0604020202020204" pitchFamily="34" charset="0"/>
              </a:rPr>
              <a:t>LRI</a:t>
            </a:r>
            <a:r>
              <a:rPr lang="vi-VN" sz="3200" b="1" dirty="0">
                <a:solidFill>
                  <a:srgbClr val="002060"/>
                </a:solidFill>
                <a:latin typeface="Aptos" panose="020B0004020202020204" pitchFamily="34" charset="0"/>
                <a:ea typeface="Noto Sans" panose="020B0502040504020204" pitchFamily="34"/>
                <a:cs typeface="Arial" panose="020B0604020202020204" pitchFamily="34" charset="0"/>
              </a:rPr>
              <a:t> theo nguyên nhân và độ tuổi, 2019 </a:t>
            </a:r>
            <a:endParaRPr lang="en-US" sz="3200" b="1" baseline="30000" dirty="0">
              <a:solidFill>
                <a:srgbClr val="002060"/>
              </a:solidFill>
              <a:latin typeface="Aptos" panose="020B0004020202020204" pitchFamily="34" charset="0"/>
              <a:ea typeface="Noto Sans" panose="020B0502040504020204" pitchFamily="34"/>
              <a:cs typeface="Arial" panose="020B0604020202020204" pitchFamily="34" charset="0"/>
            </a:endParaRPr>
          </a:p>
        </p:txBody>
      </p:sp>
      <p:sp>
        <p:nvSpPr>
          <p:cNvPr id="30" name="TextBox 29">
            <a:extLst>
              <a:ext uri="{FF2B5EF4-FFF2-40B4-BE49-F238E27FC236}">
                <a16:creationId xmlns:a16="http://schemas.microsoft.com/office/drawing/2014/main" id="{C83521BE-D425-817D-1C6E-4C8276595CD4}"/>
              </a:ext>
            </a:extLst>
          </p:cNvPr>
          <p:cNvSpPr txBox="1"/>
          <p:nvPr/>
        </p:nvSpPr>
        <p:spPr>
          <a:xfrm>
            <a:off x="262472" y="1539538"/>
            <a:ext cx="3080170" cy="2246769"/>
          </a:xfrm>
          <a:prstGeom prst="rect">
            <a:avLst/>
          </a:prstGeom>
          <a:noFill/>
          <a:ln>
            <a:noFill/>
          </a:ln>
        </p:spPr>
        <p:txBody>
          <a:bodyPr wrap="square">
            <a:spAutoFit/>
          </a:bodyPr>
          <a:lstStyle/>
          <a:p>
            <a:pPr defTabSz="914446">
              <a:defRPr/>
            </a:pPr>
            <a:r>
              <a:rPr lang="vi-VN" sz="2000" b="1" dirty="0">
                <a:solidFill>
                  <a:prstClr val="black"/>
                </a:solidFill>
                <a:latin typeface="Aptos" panose="020B0004020202020204" pitchFamily="34" charset="0"/>
                <a:cs typeface="Arial" panose="020B0604020202020204" pitchFamily="34" charset="0"/>
              </a:rPr>
              <a:t>RSV là nguyên nhân gây tử vong đứng thứ hai </a:t>
            </a:r>
            <a:r>
              <a:rPr lang="vi-VN" sz="2000" dirty="0">
                <a:solidFill>
                  <a:prstClr val="black"/>
                </a:solidFill>
                <a:latin typeface="Aptos" panose="020B0004020202020204" pitchFamily="34" charset="0"/>
                <a:cs typeface="Arial" panose="020B0604020202020204" pitchFamily="34" charset="0"/>
              </a:rPr>
              <a:t>ở cả trẻ em và người lớn, phản ánh gánh nặng đáng kể của bệnh này trên toàn bộ phổ tuổi, đặc biệt ở nhóm trẻ nhỏ và người cao tuổi</a:t>
            </a:r>
          </a:p>
        </p:txBody>
      </p:sp>
      <p:sp>
        <p:nvSpPr>
          <p:cNvPr id="35" name="Text Placeholder 3">
            <a:extLst>
              <a:ext uri="{FF2B5EF4-FFF2-40B4-BE49-F238E27FC236}">
                <a16:creationId xmlns:a16="http://schemas.microsoft.com/office/drawing/2014/main" id="{1CDAAAD4-3D99-C67E-D9EB-2A653172F874}"/>
              </a:ext>
            </a:extLst>
          </p:cNvPr>
          <p:cNvSpPr txBox="1">
            <a:spLocks/>
          </p:cNvSpPr>
          <p:nvPr/>
        </p:nvSpPr>
        <p:spPr>
          <a:xfrm>
            <a:off x="262472" y="6504128"/>
            <a:ext cx="12139079" cy="2992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46">
              <a:defRPr/>
            </a:pPr>
            <a:r>
              <a:rPr lang="en-US" i="1" dirty="0">
                <a:solidFill>
                  <a:prstClr val="black"/>
                </a:solidFill>
                <a:latin typeface="Arial" panose="020B0604020202020204" pitchFamily="34" charset="0"/>
                <a:cs typeface="Arial" panose="020B0604020202020204" pitchFamily="34" charset="0"/>
              </a:rPr>
              <a:t>Safiri S, et al. Global burden of lower respiratory infections during the last three decades. Front. Public Health 10:1028525. </a:t>
            </a:r>
            <a:r>
              <a:rPr lang="en-US" i="1" dirty="0" err="1">
                <a:solidFill>
                  <a:prstClr val="black"/>
                </a:solidFill>
                <a:latin typeface="Arial" panose="020B0604020202020204" pitchFamily="34" charset="0"/>
                <a:cs typeface="Arial" panose="020B0604020202020204" pitchFamily="34" charset="0"/>
              </a:rPr>
              <a:t>doi</a:t>
            </a:r>
            <a:r>
              <a:rPr lang="en-US" i="1" dirty="0">
                <a:solidFill>
                  <a:prstClr val="black"/>
                </a:solidFill>
                <a:latin typeface="Arial" panose="020B0604020202020204" pitchFamily="34" charset="0"/>
                <a:cs typeface="Arial" panose="020B0604020202020204" pitchFamily="34" charset="0"/>
              </a:rPr>
              <a:t>: 10.3389/fpubh.2022.1028525</a:t>
            </a:r>
          </a:p>
        </p:txBody>
      </p:sp>
      <p:pic>
        <p:nvPicPr>
          <p:cNvPr id="40" name="Picture 39">
            <a:extLst>
              <a:ext uri="{FF2B5EF4-FFF2-40B4-BE49-F238E27FC236}">
                <a16:creationId xmlns:a16="http://schemas.microsoft.com/office/drawing/2014/main" id="{22925027-6C84-0E55-77EA-0E1B555BEBAB}"/>
              </a:ext>
            </a:extLst>
          </p:cNvPr>
          <p:cNvPicPr>
            <a:picLocks noChangeAspect="1"/>
          </p:cNvPicPr>
          <p:nvPr/>
        </p:nvPicPr>
        <p:blipFill>
          <a:blip r:embed="rId4"/>
          <a:stretch>
            <a:fillRect/>
          </a:stretch>
        </p:blipFill>
        <p:spPr>
          <a:xfrm>
            <a:off x="3528133" y="1299035"/>
            <a:ext cx="8270472" cy="4813300"/>
          </a:xfrm>
          <a:prstGeom prst="rect">
            <a:avLst/>
          </a:prstGeom>
        </p:spPr>
      </p:pic>
      <p:pic>
        <p:nvPicPr>
          <p:cNvPr id="42" name="Picture 41">
            <a:extLst>
              <a:ext uri="{FF2B5EF4-FFF2-40B4-BE49-F238E27FC236}">
                <a16:creationId xmlns:a16="http://schemas.microsoft.com/office/drawing/2014/main" id="{84554D71-8F48-4887-FFDB-D717BFF3CE21}"/>
              </a:ext>
            </a:extLst>
          </p:cNvPr>
          <p:cNvPicPr>
            <a:picLocks noChangeAspect="1"/>
          </p:cNvPicPr>
          <p:nvPr/>
        </p:nvPicPr>
        <p:blipFill>
          <a:blip r:embed="rId5"/>
          <a:stretch>
            <a:fillRect/>
          </a:stretch>
        </p:blipFill>
        <p:spPr>
          <a:xfrm>
            <a:off x="5009587" y="1539538"/>
            <a:ext cx="2428875" cy="2009775"/>
          </a:xfrm>
          <a:prstGeom prst="rect">
            <a:avLst/>
          </a:prstGeom>
        </p:spPr>
      </p:pic>
      <p:sp>
        <p:nvSpPr>
          <p:cNvPr id="44" name="TextBox 43">
            <a:extLst>
              <a:ext uri="{FF2B5EF4-FFF2-40B4-BE49-F238E27FC236}">
                <a16:creationId xmlns:a16="http://schemas.microsoft.com/office/drawing/2014/main" id="{532791C6-3047-800D-1101-F5CF0345D52C}"/>
              </a:ext>
            </a:extLst>
          </p:cNvPr>
          <p:cNvSpPr txBox="1"/>
          <p:nvPr/>
        </p:nvSpPr>
        <p:spPr>
          <a:xfrm>
            <a:off x="262472" y="5122338"/>
            <a:ext cx="3265662" cy="1015663"/>
          </a:xfrm>
          <a:prstGeom prst="rect">
            <a:avLst/>
          </a:prstGeom>
          <a:noFill/>
        </p:spPr>
        <p:txBody>
          <a:bodyPr wrap="square">
            <a:spAutoFit/>
          </a:bodyPr>
          <a:lstStyle/>
          <a:p>
            <a:pPr defTabSz="914446">
              <a:defRPr/>
            </a:pPr>
            <a:r>
              <a:rPr lang="en-US" sz="1200" b="1" dirty="0">
                <a:solidFill>
                  <a:prstClr val="black"/>
                </a:solidFill>
                <a:latin typeface="Arial" panose="020B0604020202020204" pitchFamily="34" charset="0"/>
                <a:cs typeface="Arial" panose="020B0604020202020204" pitchFamily="34" charset="0"/>
              </a:rPr>
              <a:t>FIGURE 5 </a:t>
            </a:r>
            <a:r>
              <a:rPr lang="en-US" sz="1200" dirty="0">
                <a:solidFill>
                  <a:prstClr val="black"/>
                </a:solidFill>
                <a:latin typeface="Arial" panose="020B0604020202020204" pitchFamily="34" charset="0"/>
                <a:cs typeface="Arial" panose="020B0604020202020204" pitchFamily="34" charset="0"/>
              </a:rPr>
              <a:t>Global number of deaths and death rate due to lower respiratory infections (per 100,000 population) by etiology and age in 2019 (generated from data available from http://ghdx.healthdata.org/gbd-results-tool).</a:t>
            </a:r>
          </a:p>
        </p:txBody>
      </p:sp>
    </p:spTree>
    <p:extLst>
      <p:ext uri="{BB962C8B-B14F-4D97-AF65-F5344CB8AC3E}">
        <p14:creationId xmlns:p14="http://schemas.microsoft.com/office/powerpoint/2010/main" val="38325317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C9659-99A8-ECBF-AB69-63637655E42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564D12F-324F-5EF3-6AB0-2711B5DAE0FD}"/>
              </a:ext>
            </a:extLst>
          </p:cNvPr>
          <p:cNvSpPr>
            <a:spLocks noGrp="1"/>
          </p:cNvSpPr>
          <p:nvPr>
            <p:ph type="title"/>
          </p:nvPr>
        </p:nvSpPr>
        <p:spPr>
          <a:xfrm>
            <a:off x="838199" y="258208"/>
            <a:ext cx="10515600" cy="1325563"/>
          </a:xfrm>
        </p:spPr>
        <p:txBody>
          <a:bodyPr>
            <a:normAutofit/>
          </a:bodyPr>
          <a:lstStyle/>
          <a:p>
            <a:pPr algn="ctr"/>
            <a: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Nhóm dân số có nguy cơ cao mắc bệnh truyền nhiễm </a:t>
            </a:r>
            <a:b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br>
            <a: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và diễn tiến nặng</a:t>
            </a:r>
            <a:endParaRPr lang="en-US" sz="36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8232D0B7-005C-51B0-530A-6D60E2024C6E}"/>
              </a:ext>
            </a:extLst>
          </p:cNvPr>
          <p:cNvSpPr/>
          <p:nvPr/>
        </p:nvSpPr>
        <p:spPr>
          <a:xfrm>
            <a:off x="1996751" y="1765668"/>
            <a:ext cx="9823774" cy="1093636"/>
          </a:xfrm>
          <a:prstGeom prst="rect">
            <a:avLst/>
          </a:prstGeom>
          <a:solidFill>
            <a:schemeClr val="bg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háng</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12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năm</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2023, Trung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tâm</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Kiểm</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oát</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và</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hòng</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ngừa</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Dịch</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bệnh</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Châu </a:t>
            </a:r>
            <a:r>
              <a:rPr kumimoji="0" lang="en-GB" sz="16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Âu</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ECDC) </a:t>
            </a:r>
            <a:r>
              <a:rPr kumimoji="0" lang="vi-VN" sz="1600" b="1" i="0" u="none" strike="noStrike" kern="1200" cap="none" spc="0" normalizeH="0" baseline="0" noProof="0" dirty="0">
                <a:ln>
                  <a:noFill/>
                </a:ln>
                <a:solidFill>
                  <a:srgbClr val="156082"/>
                </a:solidFill>
                <a:effectLst/>
                <a:highlight>
                  <a:srgbClr val="FFFF00"/>
                </a:highlight>
                <a:uLnTx/>
                <a:uFillTx/>
                <a:latin typeface="Arial" panose="020B0604020202020204" pitchFamily="34" charset="0"/>
                <a:ea typeface="+mn-ea"/>
                <a:cs typeface="Arial" panose="020B0604020202020204" pitchFamily="34" charset="0"/>
              </a:rPr>
              <a:t>đã khuyến nghị tiêm vắc-xin phòng SARS-CoV-2 và cúm mùa cho những nhóm dễ bị tổn thương nhất </a:t>
            </a:r>
            <a:r>
              <a:rPr kumimoji="0" lang="en-US" sz="1600" b="0" i="0" u="none" strike="noStrike" kern="1200" cap="none" spc="0" normalizeH="0" baseline="0" noProof="0" dirty="0">
                <a:ln>
                  <a:noFill/>
                </a:ln>
                <a:solidFill>
                  <a:srgbClr val="156082"/>
                </a:solidFill>
                <a:effectLst/>
                <a:highlight>
                  <a:srgbClr val="00FF00"/>
                </a:highlight>
                <a:uLnTx/>
                <a:uFillTx/>
                <a:latin typeface="Arial" panose="020B0604020202020204" pitchFamily="34" charset="0"/>
                <a:ea typeface="+mn-ea"/>
                <a:cs typeface="Arial" panose="020B0604020202020204" pitchFamily="34" charset="0"/>
              </a:rPr>
              <a:t>(</a:t>
            </a:r>
            <a:r>
              <a:rPr kumimoji="0" lang="vi-VN" sz="1600" b="0" i="0" u="none" strike="noStrike" kern="1200" cap="none" spc="0" normalizeH="0" baseline="0" noProof="0" dirty="0">
                <a:ln>
                  <a:noFill/>
                </a:ln>
                <a:solidFill>
                  <a:srgbClr val="156082"/>
                </a:solidFill>
                <a:effectLst/>
                <a:highlight>
                  <a:srgbClr val="00FF00"/>
                </a:highlight>
                <a:uLnTx/>
                <a:uFillTx/>
                <a:latin typeface="Arial" panose="020B0604020202020204" pitchFamily="34" charset="0"/>
                <a:ea typeface="+mn-ea"/>
                <a:cs typeface="Arial" panose="020B0604020202020204" pitchFamily="34" charset="0"/>
              </a:rPr>
              <a:t>cũng như vắc-xin RSV</a:t>
            </a:r>
            <a:r>
              <a:rPr kumimoji="0" lang="en-GB" sz="1600" b="0" i="0" u="none" strike="noStrike" kern="1200" cap="none" spc="0" normalizeH="0" baseline="0" noProof="0" dirty="0">
                <a:ln>
                  <a:noFill/>
                </a:ln>
                <a:solidFill>
                  <a:srgbClr val="002060"/>
                </a:solidFill>
                <a:effectLst/>
                <a:highlight>
                  <a:srgbClr val="00FF00"/>
                </a:highlight>
                <a:uLnTx/>
                <a:uFillTx/>
                <a:latin typeface="Arial" panose="020B0604020202020204" pitchFamily="34" charset="0"/>
                <a:ea typeface="+mn-ea"/>
                <a:cs typeface="Arial" panose="020B0604020202020204" pitchFamily="34" charset="0"/>
              </a:rPr>
              <a:t>) </a:t>
            </a:r>
            <a:r>
              <a:rPr kumimoji="0" lang="vi-VN"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hằm ngăn ngừa nguy cơ nhiễm bệnh tiến triển thành thể nặng</a:t>
            </a:r>
            <a:r>
              <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r>
              <a:rPr kumimoji="0" lang="en-GB" sz="1600" b="0" i="0" u="none" strike="noStrike" kern="1200" cap="none" spc="0" normalizeH="0" baseline="30000" noProof="0" dirty="0">
                <a:ln>
                  <a:noFill/>
                </a:ln>
                <a:solidFill>
                  <a:srgbClr val="002060"/>
                </a:solidFill>
                <a:effectLst/>
                <a:uLnTx/>
                <a:uFillTx/>
                <a:latin typeface="Arial" panose="020B0604020202020204" pitchFamily="34" charset="0"/>
                <a:ea typeface="+mn-ea"/>
                <a:cs typeface="Arial" panose="020B0604020202020204" pitchFamily="34" charset="0"/>
              </a:rPr>
              <a:t>18</a:t>
            </a:r>
            <a:endParaRPr kumimoji="0" lang="en-GB"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 name="Picture 2" descr="Homepage | European Centre for Disease Prevention and Control">
            <a:extLst>
              <a:ext uri="{FF2B5EF4-FFF2-40B4-BE49-F238E27FC236}">
                <a16:creationId xmlns:a16="http://schemas.microsoft.com/office/drawing/2014/main" id="{BCCE8DF1-0B5D-CACE-2C4E-1ED73AAA904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8256" y="1825173"/>
            <a:ext cx="1199026" cy="9746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B7B1F51-65F7-A989-6C40-618526B07E66}"/>
              </a:ext>
            </a:extLst>
          </p:cNvPr>
          <p:cNvSpPr/>
          <p:nvPr/>
        </p:nvSpPr>
        <p:spPr>
          <a:xfrm>
            <a:off x="371475" y="3100706"/>
            <a:ext cx="11449050" cy="5470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Nhóm đối tượng tiêm vắc-xin cúm và những người có nguy cơ cao diễn tiến bệnh nặng theo khuyến nghị của ECDC, tháng 12 năm 2023</a:t>
            </a:r>
            <a:r>
              <a:rPr kumimoji="0" lang="en-US" sz="2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200" b="1" i="0" u="none" strike="noStrike" kern="1200" cap="none" spc="0" normalizeH="0" baseline="3000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19</a:t>
            </a:r>
          </a:p>
        </p:txBody>
      </p:sp>
      <p:graphicFrame>
        <p:nvGraphicFramePr>
          <p:cNvPr id="6" name="Table 5">
            <a:extLst>
              <a:ext uri="{FF2B5EF4-FFF2-40B4-BE49-F238E27FC236}">
                <a16:creationId xmlns:a16="http://schemas.microsoft.com/office/drawing/2014/main" id="{B276D31A-6992-CC7F-DFB8-FDC259C4B784}"/>
              </a:ext>
            </a:extLst>
          </p:cNvPr>
          <p:cNvGraphicFramePr>
            <a:graphicFrameLocks noGrp="1"/>
          </p:cNvGraphicFramePr>
          <p:nvPr/>
        </p:nvGraphicFramePr>
        <p:xfrm>
          <a:off x="371475" y="4663494"/>
          <a:ext cx="11449050" cy="754380"/>
        </p:xfrm>
        <a:graphic>
          <a:graphicData uri="http://schemas.openxmlformats.org/drawingml/2006/table">
            <a:tbl>
              <a:tblPr firstRow="1" bandRow="1">
                <a:tableStyleId>{5C22544A-7EE6-4342-B048-85BDC9FD1C3A}</a:tableStyleId>
              </a:tblPr>
              <a:tblGrid>
                <a:gridCol w="2289810">
                  <a:extLst>
                    <a:ext uri="{9D8B030D-6E8A-4147-A177-3AD203B41FA5}">
                      <a16:colId xmlns:a16="http://schemas.microsoft.com/office/drawing/2014/main" val="560655979"/>
                    </a:ext>
                  </a:extLst>
                </a:gridCol>
                <a:gridCol w="2289810">
                  <a:extLst>
                    <a:ext uri="{9D8B030D-6E8A-4147-A177-3AD203B41FA5}">
                      <a16:colId xmlns:a16="http://schemas.microsoft.com/office/drawing/2014/main" val="3344302553"/>
                    </a:ext>
                  </a:extLst>
                </a:gridCol>
                <a:gridCol w="2289810">
                  <a:extLst>
                    <a:ext uri="{9D8B030D-6E8A-4147-A177-3AD203B41FA5}">
                      <a16:colId xmlns:a16="http://schemas.microsoft.com/office/drawing/2014/main" val="2884823804"/>
                    </a:ext>
                  </a:extLst>
                </a:gridCol>
                <a:gridCol w="2289810">
                  <a:extLst>
                    <a:ext uri="{9D8B030D-6E8A-4147-A177-3AD203B41FA5}">
                      <a16:colId xmlns:a16="http://schemas.microsoft.com/office/drawing/2014/main" val="363311334"/>
                    </a:ext>
                  </a:extLst>
                </a:gridCol>
                <a:gridCol w="2289810">
                  <a:extLst>
                    <a:ext uri="{9D8B030D-6E8A-4147-A177-3AD203B41FA5}">
                      <a16:colId xmlns:a16="http://schemas.microsoft.com/office/drawing/2014/main" val="1080933377"/>
                    </a:ext>
                  </a:extLst>
                </a:gridCol>
              </a:tblGrid>
              <a:tr h="637095">
                <a:tc>
                  <a:txBody>
                    <a:bodyPr/>
                    <a:lstStyle/>
                    <a:p>
                      <a:pPr algn="ctr"/>
                      <a:r>
                        <a:rPr lang="en-GB" sz="1450" dirty="0" err="1">
                          <a:solidFill>
                            <a:schemeClr val="accent1"/>
                          </a:solidFill>
                          <a:latin typeface="Arial" panose="020B0604020202020204" pitchFamily="34" charset="0"/>
                          <a:cs typeface="Arial" panose="020B0604020202020204" pitchFamily="34" charset="0"/>
                        </a:rPr>
                        <a:t>Phụ</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nữ</a:t>
                      </a:r>
                      <a:r>
                        <a:rPr lang="en-GB" sz="1450" dirty="0">
                          <a:solidFill>
                            <a:schemeClr val="accent1"/>
                          </a:solidFill>
                          <a:latin typeface="Arial" panose="020B0604020202020204" pitchFamily="34" charset="0"/>
                          <a:cs typeface="Arial" panose="020B0604020202020204" pitchFamily="34" charset="0"/>
                        </a:rPr>
                        <a:t> mang </a:t>
                      </a:r>
                      <a:r>
                        <a:rPr lang="en-GB" sz="1450" dirty="0" err="1">
                          <a:solidFill>
                            <a:schemeClr val="accent1"/>
                          </a:solidFill>
                          <a:latin typeface="Arial" panose="020B0604020202020204" pitchFamily="34" charset="0"/>
                          <a:cs typeface="Arial" panose="020B0604020202020204" pitchFamily="34" charset="0"/>
                        </a:rPr>
                        <a:t>thai</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không</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phân</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biệt</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giai</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đoạn</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thai</a:t>
                      </a:r>
                      <a:r>
                        <a:rPr lang="en-GB" sz="1450" dirty="0">
                          <a:solidFill>
                            <a:schemeClr val="accent1"/>
                          </a:solidFill>
                          <a:latin typeface="Arial" panose="020B0604020202020204" pitchFamily="34" charset="0"/>
                          <a:cs typeface="Arial" panose="020B0604020202020204" pitchFamily="34" charset="0"/>
                        </a:rPr>
                        <a:t> </a:t>
                      </a:r>
                      <a:r>
                        <a:rPr lang="en-GB" sz="1450" dirty="0" err="1">
                          <a:solidFill>
                            <a:schemeClr val="accent1"/>
                          </a:solidFill>
                          <a:latin typeface="Arial" panose="020B0604020202020204" pitchFamily="34" charset="0"/>
                          <a:cs typeface="Arial" panose="020B0604020202020204" pitchFamily="34" charset="0"/>
                        </a:rPr>
                        <a:t>kỳ</a:t>
                      </a:r>
                      <a:endParaRPr lang="en-GB" sz="1450" dirty="0">
                        <a:solidFill>
                          <a:schemeClr val="accent1"/>
                        </a:solidFill>
                        <a:latin typeface="Arial" panose="020B0604020202020204" pitchFamily="34" charset="0"/>
                        <a:cs typeface="Arial" panose="020B0604020202020204" pitchFamily="34" charset="0"/>
                      </a:endParaRPr>
                    </a:p>
                  </a:txBody>
                  <a:tcPr>
                    <a:lnR w="6350" cap="flat" cmpd="sng" algn="ctr">
                      <a:solidFill>
                        <a:schemeClr val="accent1"/>
                      </a:solidFill>
                      <a:prstDash val="solid"/>
                      <a:round/>
                      <a:headEnd type="none" w="med" len="med"/>
                      <a:tailEnd type="none" w="med" len="med"/>
                    </a:lnR>
                    <a:solidFill>
                      <a:schemeClr val="bg1"/>
                    </a:solidFill>
                  </a:tcPr>
                </a:tc>
                <a:tc>
                  <a:txBody>
                    <a:bodyPr/>
                    <a:lstStyle/>
                    <a:p>
                      <a:pPr algn="ctr"/>
                      <a:r>
                        <a:rPr lang="en-GB" sz="1450" b="1" kern="1200" dirty="0" err="1">
                          <a:solidFill>
                            <a:schemeClr val="accent1"/>
                          </a:solidFill>
                          <a:latin typeface="Arial" panose="020B0604020202020204" pitchFamily="34" charset="0"/>
                          <a:ea typeface="+mn-ea"/>
                          <a:cs typeface="Arial" panose="020B0604020202020204" pitchFamily="34" charset="0"/>
                        </a:rPr>
                        <a:t>Trẻ</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em</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từ</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sáu</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tháng</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đến</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bốn</a:t>
                      </a:r>
                      <a:r>
                        <a:rPr lang="en-GB" sz="1450" b="1" kern="1200" dirty="0">
                          <a:solidFill>
                            <a:schemeClr val="accent1"/>
                          </a:solidFill>
                          <a:latin typeface="Arial" panose="020B0604020202020204" pitchFamily="34" charset="0"/>
                          <a:ea typeface="+mn-ea"/>
                          <a:cs typeface="Arial" panose="020B0604020202020204" pitchFamily="34" charset="0"/>
                        </a:rPr>
                        <a:t> </a:t>
                      </a:r>
                      <a:r>
                        <a:rPr lang="en-GB" sz="1450" b="1" kern="1200" dirty="0" err="1">
                          <a:solidFill>
                            <a:schemeClr val="accent1"/>
                          </a:solidFill>
                          <a:latin typeface="Arial" panose="020B0604020202020204" pitchFamily="34" charset="0"/>
                          <a:ea typeface="+mn-ea"/>
                          <a:cs typeface="Arial" panose="020B0604020202020204" pitchFamily="34" charset="0"/>
                        </a:rPr>
                        <a:t>tuổi</a:t>
                      </a:r>
                      <a:endParaRPr lang="en-GB" sz="1450" b="1" kern="1200" dirty="0">
                        <a:solidFill>
                          <a:schemeClr val="accent1"/>
                        </a:solidFill>
                        <a:latin typeface="Arial" panose="020B0604020202020204" pitchFamily="34" charset="0"/>
                        <a:ea typeface="+mn-ea"/>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50" dirty="0" err="1">
                          <a:solidFill>
                            <a:schemeClr val="accent1"/>
                          </a:solidFill>
                          <a:highlight>
                            <a:srgbClr val="FFFF00"/>
                          </a:highlight>
                          <a:latin typeface="Arial" panose="020B0604020202020204" pitchFamily="34" charset="0"/>
                          <a:cs typeface="Arial" panose="020B0604020202020204" pitchFamily="34" charset="0"/>
                        </a:rPr>
                        <a:t>Người</a:t>
                      </a:r>
                      <a:r>
                        <a:rPr lang="en-GB" sz="1450" dirty="0">
                          <a:solidFill>
                            <a:schemeClr val="accent1"/>
                          </a:solidFill>
                          <a:highlight>
                            <a:srgbClr val="FFFF00"/>
                          </a:highlight>
                          <a:latin typeface="Arial" panose="020B0604020202020204" pitchFamily="34" charset="0"/>
                          <a:cs typeface="Arial" panose="020B0604020202020204" pitchFamily="34" charset="0"/>
                        </a:rPr>
                        <a:t> cao </a:t>
                      </a:r>
                      <a:r>
                        <a:rPr lang="en-GB" sz="1450" dirty="0" err="1">
                          <a:solidFill>
                            <a:schemeClr val="accent1"/>
                          </a:solidFill>
                          <a:highlight>
                            <a:srgbClr val="FFFF00"/>
                          </a:highlight>
                          <a:latin typeface="Arial" panose="020B0604020202020204" pitchFamily="34" charset="0"/>
                          <a:cs typeface="Arial" panose="020B0604020202020204" pitchFamily="34" charset="0"/>
                        </a:rPr>
                        <a:t>tuổi</a:t>
                      </a:r>
                      <a:endParaRPr lang="en-GB" sz="1450" dirty="0">
                        <a:solidFill>
                          <a:schemeClr val="accent1"/>
                        </a:solidFill>
                        <a:highlight>
                          <a:srgbClr val="FFFF00"/>
                        </a:highlight>
                        <a:latin typeface="Arial" panose="020B0604020202020204" pitchFamily="34" charset="0"/>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bg1"/>
                    </a:solidFill>
                  </a:tcPr>
                </a:tc>
                <a:tc>
                  <a:txBody>
                    <a:bodyPr/>
                    <a:lstStyle/>
                    <a:p>
                      <a:pPr algn="ctr"/>
                      <a:r>
                        <a:rPr lang="vi-VN" sz="1450" b="1" kern="1200" dirty="0">
                          <a:solidFill>
                            <a:schemeClr val="accent1"/>
                          </a:solidFill>
                          <a:highlight>
                            <a:srgbClr val="FFFF00"/>
                          </a:highlight>
                          <a:latin typeface="+mn-lt"/>
                          <a:ea typeface="+mn-ea"/>
                          <a:cs typeface="Arial" panose="020B0604020202020204" pitchFamily="34" charset="0"/>
                        </a:rPr>
                        <a:t>Người bị suy giảm miễn dịch</a:t>
                      </a:r>
                      <a:r>
                        <a:rPr lang="en-GB" sz="1450" b="1" kern="1200" dirty="0">
                          <a:solidFill>
                            <a:schemeClr val="accent1"/>
                          </a:solidFill>
                          <a:highlight>
                            <a:srgbClr val="FFFF00"/>
                          </a:highlight>
                          <a:latin typeface="Arial" panose="020B0604020202020204" pitchFamily="34" charset="0"/>
                          <a:ea typeface="+mn-ea"/>
                          <a:cs typeface="Arial" panose="020B0604020202020204" pitchFamily="34" charset="0"/>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bg1"/>
                    </a:solidFill>
                  </a:tcPr>
                </a:tc>
                <a:tc>
                  <a:txBody>
                    <a:bodyPr/>
                    <a:lstStyle/>
                    <a:p>
                      <a:pPr algn="ctr"/>
                      <a:r>
                        <a:rPr lang="vi-VN" sz="1450" b="1" kern="1200" dirty="0">
                          <a:solidFill>
                            <a:schemeClr val="accent1"/>
                          </a:solidFill>
                          <a:highlight>
                            <a:srgbClr val="FFFF00"/>
                          </a:highlight>
                          <a:latin typeface="+mn-lt"/>
                          <a:ea typeface="+mn-ea"/>
                          <a:cs typeface="Arial" panose="020B0604020202020204" pitchFamily="34" charset="0"/>
                        </a:rPr>
                        <a:t>Những người có bệnh lý nền</a:t>
                      </a:r>
                      <a:endParaRPr lang="en-GB" sz="1450" b="1" kern="1200" dirty="0">
                        <a:solidFill>
                          <a:schemeClr val="accent1"/>
                        </a:solidFill>
                        <a:highlight>
                          <a:srgbClr val="FFFF00"/>
                        </a:highlight>
                        <a:latin typeface="Arial" panose="020B0604020202020204" pitchFamily="34" charset="0"/>
                        <a:ea typeface="+mn-ea"/>
                        <a:cs typeface="Arial" panose="020B0604020202020204" pitchFamily="34" charset="0"/>
                      </a:endParaRPr>
                    </a:p>
                  </a:txBody>
                  <a:tcPr>
                    <a:lnL w="6350" cap="flat" cmpd="sng" algn="ctr">
                      <a:solidFill>
                        <a:schemeClr val="accent1"/>
                      </a:solidFill>
                      <a:prstDash val="solid"/>
                      <a:round/>
                      <a:headEnd type="none" w="med" len="med"/>
                      <a:tailEnd type="none" w="med" len="med"/>
                    </a:lnL>
                    <a:solidFill>
                      <a:schemeClr val="bg1"/>
                    </a:solidFill>
                  </a:tcPr>
                </a:tc>
                <a:extLst>
                  <a:ext uri="{0D108BD9-81ED-4DB2-BD59-A6C34878D82A}">
                    <a16:rowId xmlns:a16="http://schemas.microsoft.com/office/drawing/2014/main" val="1116418443"/>
                  </a:ext>
                </a:extLst>
              </a:tr>
            </a:tbl>
          </a:graphicData>
        </a:graphic>
      </p:graphicFrame>
      <p:sp>
        <p:nvSpPr>
          <p:cNvPr id="7" name="TextBox 6">
            <a:extLst>
              <a:ext uri="{FF2B5EF4-FFF2-40B4-BE49-F238E27FC236}">
                <a16:creationId xmlns:a16="http://schemas.microsoft.com/office/drawing/2014/main" id="{6ED37B58-F9F0-0DCB-46D1-DC3E6A2E68A1}"/>
              </a:ext>
            </a:extLst>
          </p:cNvPr>
          <p:cNvSpPr txBox="1"/>
          <p:nvPr/>
        </p:nvSpPr>
        <p:spPr>
          <a:xfrm>
            <a:off x="371475" y="5492149"/>
            <a:ext cx="11449049" cy="646331"/>
          </a:xfrm>
          <a:prstGeom prst="rect">
            <a:avLst/>
          </a:prstGeom>
          <a:noFill/>
          <a:ln w="38100">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Nhân </a:t>
            </a:r>
            <a:r>
              <a:rPr kumimoji="0" lang="en-GB" sz="1800" b="1" i="0" u="none" strike="noStrike" kern="1200" cap="none" spc="0" normalizeH="0" baseline="0" noProof="0" dirty="0" err="1">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viên</a:t>
            </a:r>
            <a:r>
              <a:rPr kumimoji="0" lang="en-GB" sz="1800" b="1"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 y </a:t>
            </a:r>
            <a:r>
              <a:rPr kumimoji="0" lang="en-GB" sz="1800" b="1" i="0" u="none" strike="noStrike" kern="1200" cap="none" spc="0" normalizeH="0" baseline="0" noProof="0" dirty="0" err="1">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tế</a:t>
            </a:r>
            <a:r>
              <a:rPr kumimoji="0" lang="en-GB" sz="1800" b="1"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err="1">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tuyến</a:t>
            </a:r>
            <a:r>
              <a:rPr kumimoji="0" lang="en-GB" sz="1800" b="1"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err="1">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đầu</a:t>
            </a:r>
            <a:r>
              <a:rPr kumimoji="0" lang="en-GB" sz="1800" b="1"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 </a:t>
            </a:r>
            <a:r>
              <a:rPr kumimoji="0" lang="vi-VN" sz="1800" b="0"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cũng thuộc nhóm có nguy cơ cao bị lây nhiễm và nên là một trong những đối tượng được tiêm vắc-xin đầu tiên, đặc biệt vì điều này còn giúp bảo vệ bệnh nhân của họ</a:t>
            </a:r>
            <a:r>
              <a:rPr kumimoji="0" lang="en-GB" sz="1800" b="0" i="0" u="none" strike="noStrike" kern="1200" cap="none" spc="0" normalizeH="0" baseline="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a:t>
            </a:r>
            <a:r>
              <a:rPr kumimoji="0" lang="en-GB" sz="1800" b="0" i="0" u="none" strike="noStrike" kern="1200" cap="none" spc="0" normalizeH="0" baseline="30000" noProof="0" dirty="0">
                <a:ln>
                  <a:noFill/>
                </a:ln>
                <a:solidFill>
                  <a:prstClr val="black"/>
                </a:solidFill>
                <a:effectLst/>
                <a:highlight>
                  <a:srgbClr val="FF9933"/>
                </a:highlight>
                <a:uLnTx/>
                <a:uFillTx/>
                <a:latin typeface="Arial" panose="020B0604020202020204" pitchFamily="34" charset="0"/>
                <a:ea typeface="+mn-ea"/>
                <a:cs typeface="Arial" panose="020B0604020202020204" pitchFamily="34" charset="0"/>
              </a:rPr>
              <a:t>20</a:t>
            </a:r>
          </a:p>
        </p:txBody>
      </p:sp>
      <p:pic>
        <p:nvPicPr>
          <p:cNvPr id="8" name="Graphic 7" descr="Immunity outline">
            <a:extLst>
              <a:ext uri="{FF2B5EF4-FFF2-40B4-BE49-F238E27FC236}">
                <a16:creationId xmlns:a16="http://schemas.microsoft.com/office/drawing/2014/main" id="{B9E1FEE5-A832-63B2-4C27-6794725F59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7650" y="3774268"/>
            <a:ext cx="829720" cy="829720"/>
          </a:xfrm>
          <a:prstGeom prst="rect">
            <a:avLst/>
          </a:prstGeom>
        </p:spPr>
      </p:pic>
      <p:pic>
        <p:nvPicPr>
          <p:cNvPr id="9" name="Graphic 8" descr="Medicine outline">
            <a:extLst>
              <a:ext uri="{FF2B5EF4-FFF2-40B4-BE49-F238E27FC236}">
                <a16:creationId xmlns:a16="http://schemas.microsoft.com/office/drawing/2014/main" id="{DF750A3E-8D29-6102-1BE7-E7E418B9DD7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283536" y="3774268"/>
            <a:ext cx="914400" cy="914400"/>
          </a:xfrm>
          <a:prstGeom prst="rect">
            <a:avLst/>
          </a:prstGeom>
        </p:spPr>
      </p:pic>
      <p:pic>
        <p:nvPicPr>
          <p:cNvPr id="11" name="Graphic 10" descr="Child with balloon with solid fill">
            <a:extLst>
              <a:ext uri="{FF2B5EF4-FFF2-40B4-BE49-F238E27FC236}">
                <a16:creationId xmlns:a16="http://schemas.microsoft.com/office/drawing/2014/main" id="{D5A25DFF-9DDA-10EC-4EEF-51714DA218E3}"/>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408384" y="3774268"/>
            <a:ext cx="870960" cy="870960"/>
          </a:xfrm>
          <a:prstGeom prst="rect">
            <a:avLst/>
          </a:prstGeom>
        </p:spPr>
      </p:pic>
      <p:pic>
        <p:nvPicPr>
          <p:cNvPr id="12" name="Graphic 11" descr="Pregnant lady with solid fill">
            <a:extLst>
              <a:ext uri="{FF2B5EF4-FFF2-40B4-BE49-F238E27FC236}">
                <a16:creationId xmlns:a16="http://schemas.microsoft.com/office/drawing/2014/main" id="{01BFD017-E820-9217-CF5E-A23F2FF097F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43522" y="3817709"/>
            <a:ext cx="827519" cy="827519"/>
          </a:xfrm>
          <a:prstGeom prst="rect">
            <a:avLst/>
          </a:prstGeom>
        </p:spPr>
      </p:pic>
      <p:pic>
        <p:nvPicPr>
          <p:cNvPr id="13" name="Graphic 12" descr="Man and woman outline">
            <a:extLst>
              <a:ext uri="{FF2B5EF4-FFF2-40B4-BE49-F238E27FC236}">
                <a16:creationId xmlns:a16="http://schemas.microsoft.com/office/drawing/2014/main" id="{E608CF4B-C848-871C-4181-02B41829369F}"/>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638800" y="3774268"/>
            <a:ext cx="914400" cy="914400"/>
          </a:xfrm>
          <a:prstGeom prst="rect">
            <a:avLst/>
          </a:prstGeom>
        </p:spPr>
      </p:pic>
      <p:sp>
        <p:nvSpPr>
          <p:cNvPr id="15" name="TextBox 14">
            <a:extLst>
              <a:ext uri="{FF2B5EF4-FFF2-40B4-BE49-F238E27FC236}">
                <a16:creationId xmlns:a16="http://schemas.microsoft.com/office/drawing/2014/main" id="{0BDEE81F-9E8B-CFEE-AF25-7928FCEBB605}"/>
              </a:ext>
            </a:extLst>
          </p:cNvPr>
          <p:cNvSpPr txBox="1"/>
          <p:nvPr/>
        </p:nvSpPr>
        <p:spPr>
          <a:xfrm>
            <a:off x="371475" y="6203428"/>
            <a:ext cx="11449049" cy="481077"/>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Times New Roman" panose="02020603050405020304" pitchFamily="18" charset="0"/>
                <a:cs typeface="Arial" panose="020B0604020202020204" pitchFamily="34" charset="0"/>
              </a:rPr>
              <a:t>18. ECDC (2023). Public health action needed to mitigate the impact of respiratory pathogens for 2023-24 winter season in Europe. Available at: https://www.ecdc.europa.eu/en/news-events/public-health-action-needed-mitigate-impact-respiratory-pathogens-2023-24-winter-season#:~:text=This%20includes%20vaccination%2C%20increasing%20hospital,testing%20and%20use%20of%20antivirals. Accessed August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Times New Roman" panose="02020603050405020304" pitchFamily="18" charset="0"/>
                <a:cs typeface="Arial" panose="020B0604020202020204" pitchFamily="34" charset="0"/>
              </a:rPr>
              <a:t>19. ECDC (2023). Acute respiratory infections in the EU/EEA: epidemiological update and current public health recommendations Available at: https://www.ecdc.europa.eu/en/news-events/acute-respiratory-infections-eueea-epidemiological-update-and-current-public-health Accessed August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Times New Roman" panose="02020603050405020304" pitchFamily="18" charset="0"/>
                <a:cs typeface="Arial" panose="020B0604020202020204" pitchFamily="34" charset="0"/>
              </a:rPr>
              <a:t>20. WHO (2023). COVID-19, influenza, and other respiratory viruses – 2023-2024 autumn and winter season. Available at https://www.who.int/europe/news-room/questions-and-answers/item/covid-19--influenza--and-other-respiratory-viruses---2023-2024-autumn-and-winter-season</a:t>
            </a:r>
          </a:p>
        </p:txBody>
      </p:sp>
    </p:spTree>
    <p:extLst>
      <p:ext uri="{BB962C8B-B14F-4D97-AF65-F5344CB8AC3E}">
        <p14:creationId xmlns:p14="http://schemas.microsoft.com/office/powerpoint/2010/main" val="34604625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4733" y="110975"/>
            <a:ext cx="11376837" cy="1325563"/>
          </a:xfrm>
        </p:spPr>
        <p:txBody>
          <a:bodyPr>
            <a:noAutofit/>
          </a:bodyPr>
          <a:lstStyle/>
          <a:p>
            <a:pPr algn="ctr"/>
            <a:r>
              <a:rPr lang="vi-VN" sz="30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Chuyển đổi mô hình chăm sóc sức khỏe từ </a:t>
            </a:r>
            <a:r>
              <a:rPr lang="vi-VN" sz="3000" b="1" spc="-50" dirty="0">
                <a:solidFill>
                  <a:srgbClr val="002060"/>
                </a:solidFill>
                <a:highlight>
                  <a:srgbClr val="FFFF00"/>
                </a:highlight>
                <a:latin typeface="Calibri" panose="020F0502020204030204" pitchFamily="34" charset="0"/>
                <a:ea typeface="Calibri" panose="020F0502020204030204" pitchFamily="34" charset="0"/>
                <a:cs typeface="Calibri" panose="020F0502020204030204" pitchFamily="34" charset="0"/>
                <a:sym typeface="+mn-ea"/>
              </a:rPr>
              <a:t>điều trị sang phòng ngừa </a:t>
            </a:r>
            <a:br>
              <a:rPr lang="vi-VN" sz="3000" b="1" spc="-50" dirty="0">
                <a:solidFill>
                  <a:srgbClr val="002060"/>
                </a:solidFill>
                <a:highlight>
                  <a:srgbClr val="FFFF00"/>
                </a:highlight>
                <a:latin typeface="Calibri" panose="020F0502020204030204" pitchFamily="34" charset="0"/>
                <a:ea typeface="Calibri" panose="020F0502020204030204" pitchFamily="34" charset="0"/>
                <a:cs typeface="Calibri" panose="020F0502020204030204" pitchFamily="34" charset="0"/>
                <a:sym typeface="+mn-ea"/>
              </a:rPr>
            </a:br>
            <a:r>
              <a:rPr lang="vi-VN" sz="30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toàn diện xuyên suốt các giai đoạn của vòng đời</a:t>
            </a:r>
            <a:endParaRPr lang="en-US" sz="3000" b="1" spc="-5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2" name="Graphic 1" descr="Office worker male outline">
            <a:extLst>
              <a:ext uri="{FF2B5EF4-FFF2-40B4-BE49-F238E27FC236}">
                <a16:creationId xmlns:a16="http://schemas.microsoft.com/office/drawing/2014/main" id="{982FDD38-BC5B-5047-A314-199DC478508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54434" y="2669362"/>
            <a:ext cx="914400" cy="914400"/>
          </a:xfrm>
          <a:prstGeom prst="rect">
            <a:avLst/>
          </a:prstGeom>
        </p:spPr>
      </p:pic>
      <p:pic>
        <p:nvPicPr>
          <p:cNvPr id="3" name="Graphic 2" descr="Pregnant lady outline">
            <a:extLst>
              <a:ext uri="{FF2B5EF4-FFF2-40B4-BE49-F238E27FC236}">
                <a16:creationId xmlns:a16="http://schemas.microsoft.com/office/drawing/2014/main" id="{9BF1D105-B9C4-DDDD-CABA-9D4DF0563C8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81241" y="5414682"/>
            <a:ext cx="914400" cy="914400"/>
          </a:xfrm>
          <a:prstGeom prst="rect">
            <a:avLst/>
          </a:prstGeom>
        </p:spPr>
      </p:pic>
      <p:pic>
        <p:nvPicPr>
          <p:cNvPr id="5" name="Graphic 4" descr="Man and woman outline">
            <a:extLst>
              <a:ext uri="{FF2B5EF4-FFF2-40B4-BE49-F238E27FC236}">
                <a16:creationId xmlns:a16="http://schemas.microsoft.com/office/drawing/2014/main" id="{F8FFB27C-EE7B-AD15-46D3-935AC585822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66499" y="5414189"/>
            <a:ext cx="914400" cy="914400"/>
          </a:xfrm>
          <a:prstGeom prst="rect">
            <a:avLst/>
          </a:prstGeom>
        </p:spPr>
      </p:pic>
      <p:pic>
        <p:nvPicPr>
          <p:cNvPr id="6" name="Graphic 5" descr="Baby outline">
            <a:extLst>
              <a:ext uri="{FF2B5EF4-FFF2-40B4-BE49-F238E27FC236}">
                <a16:creationId xmlns:a16="http://schemas.microsoft.com/office/drawing/2014/main" id="{204A24E8-0743-4E03-A5C2-68D2A284AB7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04761" y="2753258"/>
            <a:ext cx="914400" cy="914400"/>
          </a:xfrm>
          <a:prstGeom prst="rect">
            <a:avLst/>
          </a:prstGeom>
        </p:spPr>
      </p:pic>
      <p:sp>
        <p:nvSpPr>
          <p:cNvPr id="7" name="Arrow: Notched Right 6">
            <a:extLst>
              <a:ext uri="{FF2B5EF4-FFF2-40B4-BE49-F238E27FC236}">
                <a16:creationId xmlns:a16="http://schemas.microsoft.com/office/drawing/2014/main" id="{8F2C81E7-79ED-B254-4591-C4667EAE31CE}"/>
              </a:ext>
            </a:extLst>
          </p:cNvPr>
          <p:cNvSpPr/>
          <p:nvPr/>
        </p:nvSpPr>
        <p:spPr>
          <a:xfrm>
            <a:off x="1014456" y="3807142"/>
            <a:ext cx="10922540" cy="1531312"/>
          </a:xfrm>
          <a:prstGeom prst="notchedRightArrow">
            <a:avLst/>
          </a:prstGeom>
          <a:solidFill>
            <a:srgbClr val="A02B93">
              <a:tint val="40000"/>
              <a:hueOff val="0"/>
              <a:satOff val="0"/>
              <a:lumOff val="0"/>
              <a:alphaOff val="0"/>
            </a:srgbClr>
          </a:solidFill>
          <a:ln>
            <a:solidFill>
              <a:srgbClr val="156082">
                <a:lumMod val="40000"/>
                <a:lumOff val="60000"/>
              </a:srgbClr>
            </a:solid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8" name="Oval 7">
            <a:extLst>
              <a:ext uri="{FF2B5EF4-FFF2-40B4-BE49-F238E27FC236}">
                <a16:creationId xmlns:a16="http://schemas.microsoft.com/office/drawing/2014/main" id="{9B17817C-BA40-5DB4-87A0-8285C395B3E7}"/>
              </a:ext>
            </a:extLst>
          </p:cNvPr>
          <p:cNvSpPr/>
          <p:nvPr/>
        </p:nvSpPr>
        <p:spPr>
          <a:xfrm>
            <a:off x="1410680" y="4414819"/>
            <a:ext cx="382828" cy="382828"/>
          </a:xfrm>
          <a:prstGeom prst="ellipse">
            <a:avLst/>
          </a:prstGeom>
          <a:solidFill>
            <a:srgbClr val="A02B93">
              <a:hueOff val="0"/>
              <a:satOff val="0"/>
              <a:lumOff val="0"/>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sp>
        <p:nvSpPr>
          <p:cNvPr id="9" name="Oval 8">
            <a:extLst>
              <a:ext uri="{FF2B5EF4-FFF2-40B4-BE49-F238E27FC236}">
                <a16:creationId xmlns:a16="http://schemas.microsoft.com/office/drawing/2014/main" id="{96F012F9-7024-DA2A-874E-9B911D751D83}"/>
              </a:ext>
            </a:extLst>
          </p:cNvPr>
          <p:cNvSpPr/>
          <p:nvPr/>
        </p:nvSpPr>
        <p:spPr>
          <a:xfrm>
            <a:off x="3207084" y="4440362"/>
            <a:ext cx="382828" cy="382828"/>
          </a:xfrm>
          <a:prstGeom prst="ellipse">
            <a:avLst/>
          </a:prstGeom>
          <a:solidFill>
            <a:srgbClr val="A02B93">
              <a:hueOff val="-1351709"/>
              <a:satOff val="-3484"/>
              <a:lumOff val="-2353"/>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sp>
        <p:nvSpPr>
          <p:cNvPr id="10" name="Oval 9">
            <a:extLst>
              <a:ext uri="{FF2B5EF4-FFF2-40B4-BE49-F238E27FC236}">
                <a16:creationId xmlns:a16="http://schemas.microsoft.com/office/drawing/2014/main" id="{513B9464-31DD-3B4F-AB20-C936D314F4E2}"/>
              </a:ext>
            </a:extLst>
          </p:cNvPr>
          <p:cNvSpPr/>
          <p:nvPr/>
        </p:nvSpPr>
        <p:spPr>
          <a:xfrm>
            <a:off x="5003488" y="4447999"/>
            <a:ext cx="382828" cy="382828"/>
          </a:xfrm>
          <a:prstGeom prst="ellipse">
            <a:avLst/>
          </a:prstGeom>
          <a:solidFill>
            <a:srgbClr val="A02B93">
              <a:hueOff val="-2703417"/>
              <a:satOff val="-6968"/>
              <a:lumOff val="-4706"/>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sp>
        <p:nvSpPr>
          <p:cNvPr id="11" name="Oval 10">
            <a:extLst>
              <a:ext uri="{FF2B5EF4-FFF2-40B4-BE49-F238E27FC236}">
                <a16:creationId xmlns:a16="http://schemas.microsoft.com/office/drawing/2014/main" id="{5BF6A17F-C738-8A62-FBAB-A9F57FF6832B}"/>
              </a:ext>
            </a:extLst>
          </p:cNvPr>
          <p:cNvSpPr/>
          <p:nvPr/>
        </p:nvSpPr>
        <p:spPr>
          <a:xfrm>
            <a:off x="6799892" y="4434841"/>
            <a:ext cx="382828" cy="382828"/>
          </a:xfrm>
          <a:prstGeom prst="ellipse">
            <a:avLst/>
          </a:prstGeom>
          <a:solidFill>
            <a:srgbClr val="A02B93">
              <a:hueOff val="-4055126"/>
              <a:satOff val="-10451"/>
              <a:lumOff val="-7059"/>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sp>
        <p:nvSpPr>
          <p:cNvPr id="12" name="Oval 11">
            <a:extLst>
              <a:ext uri="{FF2B5EF4-FFF2-40B4-BE49-F238E27FC236}">
                <a16:creationId xmlns:a16="http://schemas.microsoft.com/office/drawing/2014/main" id="{A7DE4255-C3E3-D5B3-F766-C7B573D33FF2}"/>
              </a:ext>
            </a:extLst>
          </p:cNvPr>
          <p:cNvSpPr/>
          <p:nvPr/>
        </p:nvSpPr>
        <p:spPr>
          <a:xfrm>
            <a:off x="8596296" y="4434841"/>
            <a:ext cx="382828" cy="382828"/>
          </a:xfrm>
          <a:prstGeom prst="ellipse">
            <a:avLst/>
          </a:prstGeom>
          <a:solidFill>
            <a:srgbClr val="A02B93">
              <a:hueOff val="-5406834"/>
              <a:satOff val="-13935"/>
              <a:lumOff val="-9412"/>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sp>
        <p:nvSpPr>
          <p:cNvPr id="13" name="Oval 12">
            <a:extLst>
              <a:ext uri="{FF2B5EF4-FFF2-40B4-BE49-F238E27FC236}">
                <a16:creationId xmlns:a16="http://schemas.microsoft.com/office/drawing/2014/main" id="{9DACD540-354A-E4A0-CFBD-57359ED56844}"/>
              </a:ext>
            </a:extLst>
          </p:cNvPr>
          <p:cNvSpPr/>
          <p:nvPr/>
        </p:nvSpPr>
        <p:spPr>
          <a:xfrm>
            <a:off x="10392700" y="4434841"/>
            <a:ext cx="382828" cy="382828"/>
          </a:xfrm>
          <a:prstGeom prst="ellipse">
            <a:avLst/>
          </a:prstGeom>
          <a:solidFill>
            <a:srgbClr val="A02B93">
              <a:hueOff val="-6758543"/>
              <a:satOff val="-17419"/>
              <a:lumOff val="-11765"/>
              <a:alphaOff val="0"/>
            </a:srgbClr>
          </a:solidFill>
          <a:ln w="1905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grpSp>
        <p:nvGrpSpPr>
          <p:cNvPr id="14" name="Group 13">
            <a:extLst>
              <a:ext uri="{FF2B5EF4-FFF2-40B4-BE49-F238E27FC236}">
                <a16:creationId xmlns:a16="http://schemas.microsoft.com/office/drawing/2014/main" id="{13F3FC4F-00B5-EFB9-59B5-9BC097DA3885}"/>
              </a:ext>
            </a:extLst>
          </p:cNvPr>
          <p:cNvGrpSpPr/>
          <p:nvPr/>
        </p:nvGrpSpPr>
        <p:grpSpPr>
          <a:xfrm>
            <a:off x="-117817" y="1783971"/>
            <a:ext cx="2319171" cy="1969951"/>
            <a:chOff x="475716" y="0"/>
            <a:chExt cx="2319171" cy="1969951"/>
          </a:xfrm>
        </p:grpSpPr>
        <p:sp>
          <p:nvSpPr>
            <p:cNvPr id="15" name="Rectangle 14">
              <a:extLst>
                <a:ext uri="{FF2B5EF4-FFF2-40B4-BE49-F238E27FC236}">
                  <a16:creationId xmlns:a16="http://schemas.microsoft.com/office/drawing/2014/main" id="{061E4D36-C3E2-793C-1C92-3B69AE73D309}"/>
                </a:ext>
              </a:extLst>
            </p:cNvPr>
            <p:cNvSpPr/>
            <p:nvPr/>
          </p:nvSpPr>
          <p:spPr>
            <a:xfrm>
              <a:off x="475716" y="0"/>
              <a:ext cx="1078787"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16" name="TextBox 15">
              <a:extLst>
                <a:ext uri="{FF2B5EF4-FFF2-40B4-BE49-F238E27FC236}">
                  <a16:creationId xmlns:a16="http://schemas.microsoft.com/office/drawing/2014/main" id="{B907EF8E-2950-56C3-D98B-D8893E77E1EA}"/>
                </a:ext>
              </a:extLst>
            </p:cNvPr>
            <p:cNvSpPr txBox="1"/>
            <p:nvPr/>
          </p:nvSpPr>
          <p:spPr>
            <a:xfrm>
              <a:off x="1716100" y="438639"/>
              <a:ext cx="1078787" cy="1531312"/>
            </a:xfrm>
            <a:prstGeom prst="rect">
              <a:avLst/>
            </a:prstGeom>
            <a:noFill/>
            <a:ln>
              <a:noFill/>
            </a:ln>
            <a:effectLst/>
          </p:spPr>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5B9BD5"/>
                  </a:solidFill>
                  <a:effectLst/>
                  <a:uLnTx/>
                  <a:uFillTx/>
                  <a:latin typeface="Arial "/>
                  <a:ea typeface="+mn-ea"/>
                  <a:cs typeface="+mn-cs"/>
                </a:rPr>
                <a:t>Infants</a:t>
              </a:r>
              <a:endParaRPr kumimoji="0" lang="en-GB" sz="1600" b="1" i="0" u="none" strike="noStrike" kern="0" cap="none" spc="0" normalizeH="0" baseline="0" noProof="0">
                <a:ln>
                  <a:noFill/>
                </a:ln>
                <a:solidFill>
                  <a:srgbClr val="5B9BD5"/>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600" b="1" i="0" u="none" strike="noStrike" kern="0" cap="none" spc="0" normalizeH="0" baseline="0" noProof="0">
                <a:ln>
                  <a:noFill/>
                </a:ln>
                <a:solidFill>
                  <a:srgbClr val="5B9BD5"/>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600" b="1" i="0" u="none" strike="noStrike" kern="0" cap="none" spc="0" normalizeH="0" baseline="0" noProof="0">
                <a:ln>
                  <a:noFill/>
                </a:ln>
                <a:solidFill>
                  <a:srgbClr val="5B9BD5"/>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a:ln>
                  <a:noFill/>
                </a:ln>
                <a:solidFill>
                  <a:srgbClr val="5B9BD5"/>
                </a:solidFill>
                <a:effectLst/>
                <a:uLnTx/>
                <a:uFillTx/>
                <a:latin typeface="Arial "/>
                <a:ea typeface="+mn-ea"/>
                <a:cs typeface="+mn-cs"/>
              </a:endParaRPr>
            </a:p>
          </p:txBody>
        </p:sp>
      </p:grpSp>
      <p:grpSp>
        <p:nvGrpSpPr>
          <p:cNvPr id="17" name="Group 16">
            <a:extLst>
              <a:ext uri="{FF2B5EF4-FFF2-40B4-BE49-F238E27FC236}">
                <a16:creationId xmlns:a16="http://schemas.microsoft.com/office/drawing/2014/main" id="{857EE9C0-3572-0AA6-7F26-E8C57E0670EC}"/>
              </a:ext>
            </a:extLst>
          </p:cNvPr>
          <p:cNvGrpSpPr/>
          <p:nvPr/>
        </p:nvGrpSpPr>
        <p:grpSpPr>
          <a:xfrm>
            <a:off x="2440060" y="5034226"/>
            <a:ext cx="1924600" cy="1531312"/>
            <a:chOff x="1136819" y="2296969"/>
            <a:chExt cx="1924600" cy="1531312"/>
          </a:xfrm>
        </p:grpSpPr>
        <p:sp>
          <p:nvSpPr>
            <p:cNvPr id="18" name="Rectangle 17">
              <a:extLst>
                <a:ext uri="{FF2B5EF4-FFF2-40B4-BE49-F238E27FC236}">
                  <a16:creationId xmlns:a16="http://schemas.microsoft.com/office/drawing/2014/main" id="{0396DF5E-5BC2-8BF1-E763-BFB3985C65B5}"/>
                </a:ext>
              </a:extLst>
            </p:cNvPr>
            <p:cNvSpPr/>
            <p:nvPr/>
          </p:nvSpPr>
          <p:spPr>
            <a:xfrm>
              <a:off x="1136819" y="2296969"/>
              <a:ext cx="1924600"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19" name="TextBox 18">
              <a:extLst>
                <a:ext uri="{FF2B5EF4-FFF2-40B4-BE49-F238E27FC236}">
                  <a16:creationId xmlns:a16="http://schemas.microsoft.com/office/drawing/2014/main" id="{7FB4A2D3-3AC6-8748-6173-6BED91A1CB8E}"/>
                </a:ext>
              </a:extLst>
            </p:cNvPr>
            <p:cNvSpPr txBox="1"/>
            <p:nvPr/>
          </p:nvSpPr>
          <p:spPr>
            <a:xfrm>
              <a:off x="1136819" y="2296969"/>
              <a:ext cx="1924600" cy="1531312"/>
            </a:xfrm>
            <a:prstGeom prst="rect">
              <a:avLst/>
            </a:prstGeom>
            <a:noFill/>
            <a:ln>
              <a:noFill/>
            </a:ln>
            <a:effectLst/>
          </p:spPr>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55C3CF"/>
                  </a:solidFill>
                  <a:effectLst/>
                  <a:uLnTx/>
                  <a:uFillTx/>
                  <a:latin typeface="Arial "/>
                  <a:ea typeface="+mn-ea"/>
                  <a:cs typeface="+mn-cs"/>
                </a:rPr>
                <a:t>Paediatrics</a:t>
              </a:r>
              <a:endParaRPr kumimoji="0" lang="en-GB" sz="2000" b="1" i="0" u="none" strike="noStrike" kern="0" cap="none" spc="0" normalizeH="0" baseline="0" noProof="0">
                <a:ln>
                  <a:noFill/>
                </a:ln>
                <a:solidFill>
                  <a:srgbClr val="55C3CF"/>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400" b="1" i="0" u="none" strike="noStrike" kern="0" cap="none" spc="0" normalizeH="0" baseline="0" noProof="0">
                <a:ln>
                  <a:noFill/>
                </a:ln>
                <a:solidFill>
                  <a:srgbClr val="55C3CF"/>
                </a:solidFill>
                <a:effectLst/>
                <a:uLnTx/>
                <a:uFillTx/>
                <a:latin typeface="Arial "/>
                <a:ea typeface="+mn-ea"/>
                <a:cs typeface="+mn-cs"/>
              </a:endParaRPr>
            </a:p>
          </p:txBody>
        </p:sp>
      </p:grpSp>
      <p:grpSp>
        <p:nvGrpSpPr>
          <p:cNvPr id="20" name="Group 19">
            <a:extLst>
              <a:ext uri="{FF2B5EF4-FFF2-40B4-BE49-F238E27FC236}">
                <a16:creationId xmlns:a16="http://schemas.microsoft.com/office/drawing/2014/main" id="{266DDF1E-B30B-E7EF-DA02-3728B9987115}"/>
              </a:ext>
            </a:extLst>
          </p:cNvPr>
          <p:cNvGrpSpPr/>
          <p:nvPr/>
        </p:nvGrpSpPr>
        <p:grpSpPr>
          <a:xfrm>
            <a:off x="4176714" y="2250029"/>
            <a:ext cx="1739351" cy="1487371"/>
            <a:chOff x="3115358" y="0"/>
            <a:chExt cx="2173440" cy="1810332"/>
          </a:xfrm>
        </p:grpSpPr>
        <p:sp>
          <p:nvSpPr>
            <p:cNvPr id="21" name="Rectangle 20">
              <a:extLst>
                <a:ext uri="{FF2B5EF4-FFF2-40B4-BE49-F238E27FC236}">
                  <a16:creationId xmlns:a16="http://schemas.microsoft.com/office/drawing/2014/main" id="{C5FF0E63-3C7D-F703-FAB7-C89D46138A81}"/>
                </a:ext>
              </a:extLst>
            </p:cNvPr>
            <p:cNvSpPr/>
            <p:nvPr/>
          </p:nvSpPr>
          <p:spPr>
            <a:xfrm>
              <a:off x="3115358" y="0"/>
              <a:ext cx="1802287"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22" name="TextBox 21">
              <a:extLst>
                <a:ext uri="{FF2B5EF4-FFF2-40B4-BE49-F238E27FC236}">
                  <a16:creationId xmlns:a16="http://schemas.microsoft.com/office/drawing/2014/main" id="{47090AB7-3B32-ADBD-70A0-3706B70CA965}"/>
                </a:ext>
              </a:extLst>
            </p:cNvPr>
            <p:cNvSpPr txBox="1"/>
            <p:nvPr/>
          </p:nvSpPr>
          <p:spPr>
            <a:xfrm>
              <a:off x="3486511" y="279020"/>
              <a:ext cx="1802287" cy="1531312"/>
            </a:xfrm>
            <a:prstGeom prst="rect">
              <a:avLst/>
            </a:prstGeom>
            <a:noFill/>
            <a:ln>
              <a:noFill/>
            </a:ln>
            <a:effectLst/>
          </p:spPr>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50C8A7"/>
                  </a:solidFill>
                  <a:effectLst/>
                  <a:uLnTx/>
                  <a:uFillTx/>
                  <a:latin typeface="Arial "/>
                  <a:ea typeface="+mn-ea"/>
                  <a:cs typeface="+mn-cs"/>
                </a:rPr>
                <a:t>Adolescents</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50C8A7"/>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50C8A7"/>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50C8A7"/>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a:ln>
                    <a:noFill/>
                  </a:ln>
                  <a:solidFill>
                    <a:srgbClr val="50C8A7"/>
                  </a:solidFill>
                  <a:effectLst/>
                  <a:uLnTx/>
                  <a:uFillTx/>
                  <a:latin typeface="Arial "/>
                  <a:ea typeface="+mn-ea"/>
                  <a:cs typeface="+mn-cs"/>
                </a:rPr>
                <a:t> </a:t>
              </a:r>
            </a:p>
          </p:txBody>
        </p:sp>
      </p:grpSp>
      <p:grpSp>
        <p:nvGrpSpPr>
          <p:cNvPr id="23" name="Group 22">
            <a:extLst>
              <a:ext uri="{FF2B5EF4-FFF2-40B4-BE49-F238E27FC236}">
                <a16:creationId xmlns:a16="http://schemas.microsoft.com/office/drawing/2014/main" id="{B27E5042-58AB-9FB8-6CFC-7FEB5D52D46A}"/>
              </a:ext>
            </a:extLst>
          </p:cNvPr>
          <p:cNvGrpSpPr/>
          <p:nvPr/>
        </p:nvGrpSpPr>
        <p:grpSpPr>
          <a:xfrm>
            <a:off x="5619040" y="5028345"/>
            <a:ext cx="2397994" cy="1587615"/>
            <a:chOff x="4971585" y="2240666"/>
            <a:chExt cx="2397994" cy="1587615"/>
          </a:xfrm>
        </p:grpSpPr>
        <p:sp>
          <p:nvSpPr>
            <p:cNvPr id="24" name="Rectangle 23">
              <a:extLst>
                <a:ext uri="{FF2B5EF4-FFF2-40B4-BE49-F238E27FC236}">
                  <a16:creationId xmlns:a16="http://schemas.microsoft.com/office/drawing/2014/main" id="{4F685E89-C1CF-1CD9-D4FF-C4E7CB1C018D}"/>
                </a:ext>
              </a:extLst>
            </p:cNvPr>
            <p:cNvSpPr/>
            <p:nvPr/>
          </p:nvSpPr>
          <p:spPr>
            <a:xfrm>
              <a:off x="4971585" y="2296969"/>
              <a:ext cx="2042446"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25" name="TextBox 24">
              <a:extLst>
                <a:ext uri="{FF2B5EF4-FFF2-40B4-BE49-F238E27FC236}">
                  <a16:creationId xmlns:a16="http://schemas.microsoft.com/office/drawing/2014/main" id="{49A292CE-8371-0B38-8577-80119798A50D}"/>
                </a:ext>
              </a:extLst>
            </p:cNvPr>
            <p:cNvSpPr txBox="1"/>
            <p:nvPr/>
          </p:nvSpPr>
          <p:spPr>
            <a:xfrm>
              <a:off x="5327133" y="2240666"/>
              <a:ext cx="2042446" cy="1531312"/>
            </a:xfrm>
            <a:prstGeom prst="rect">
              <a:avLst/>
            </a:prstGeom>
            <a:noFill/>
            <a:ln>
              <a:noFill/>
            </a:ln>
            <a:effectLst/>
          </p:spPr>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4BC174"/>
                  </a:solidFill>
                  <a:effectLst/>
                  <a:uLnTx/>
                  <a:uFillTx/>
                  <a:latin typeface="Arial "/>
                  <a:ea typeface="+mn-ea"/>
                  <a:cs typeface="+mn-cs"/>
                </a:rPr>
                <a:t>Pregnancy</a:t>
              </a:r>
              <a:endParaRPr kumimoji="0" lang="en-GB" sz="1200" b="1" i="0" u="none" strike="noStrike" kern="0" cap="none" spc="0" normalizeH="0" baseline="0" noProof="0">
                <a:ln>
                  <a:noFill/>
                </a:ln>
                <a:solidFill>
                  <a:srgbClr val="4BC174"/>
                </a:solidFill>
                <a:effectLst/>
                <a:uLnTx/>
                <a:uFillTx/>
                <a:latin typeface="Arial "/>
                <a:ea typeface="+mn-ea"/>
                <a:cs typeface="+mn-cs"/>
              </a:endParaRPr>
            </a:p>
          </p:txBody>
        </p:sp>
      </p:grpSp>
      <p:grpSp>
        <p:nvGrpSpPr>
          <p:cNvPr id="26" name="Group 25">
            <a:extLst>
              <a:ext uri="{FF2B5EF4-FFF2-40B4-BE49-F238E27FC236}">
                <a16:creationId xmlns:a16="http://schemas.microsoft.com/office/drawing/2014/main" id="{C8E9AE00-7858-F4AE-6555-F51556721015}"/>
              </a:ext>
            </a:extLst>
          </p:cNvPr>
          <p:cNvGrpSpPr/>
          <p:nvPr/>
        </p:nvGrpSpPr>
        <p:grpSpPr>
          <a:xfrm>
            <a:off x="7251389" y="1889316"/>
            <a:ext cx="2057381" cy="1807394"/>
            <a:chOff x="7067971" y="0"/>
            <a:chExt cx="2057381" cy="1807394"/>
          </a:xfrm>
        </p:grpSpPr>
        <p:sp>
          <p:nvSpPr>
            <p:cNvPr id="27" name="Rectangle 26">
              <a:extLst>
                <a:ext uri="{FF2B5EF4-FFF2-40B4-BE49-F238E27FC236}">
                  <a16:creationId xmlns:a16="http://schemas.microsoft.com/office/drawing/2014/main" id="{9DA36E7F-FEA3-2A26-A30F-77C33CE8FFD8}"/>
                </a:ext>
              </a:extLst>
            </p:cNvPr>
            <p:cNvSpPr/>
            <p:nvPr/>
          </p:nvSpPr>
          <p:spPr>
            <a:xfrm>
              <a:off x="7067971" y="0"/>
              <a:ext cx="1078787"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28" name="TextBox 27">
              <a:extLst>
                <a:ext uri="{FF2B5EF4-FFF2-40B4-BE49-F238E27FC236}">
                  <a16:creationId xmlns:a16="http://schemas.microsoft.com/office/drawing/2014/main" id="{2F261B0C-0644-CEF7-B27B-A1BDD48A92A7}"/>
                </a:ext>
              </a:extLst>
            </p:cNvPr>
            <p:cNvSpPr txBox="1"/>
            <p:nvPr/>
          </p:nvSpPr>
          <p:spPr>
            <a:xfrm>
              <a:off x="8046565" y="276082"/>
              <a:ext cx="1078787" cy="1531312"/>
            </a:xfrm>
            <a:prstGeom prst="rect">
              <a:avLst/>
            </a:prstGeom>
            <a:noFill/>
            <a:ln>
              <a:noFill/>
            </a:ln>
            <a:effectLst/>
          </p:spPr>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4ABA46"/>
                  </a:solidFill>
                  <a:effectLst/>
                  <a:uLnTx/>
                  <a:uFillTx/>
                  <a:latin typeface="Arial "/>
                  <a:ea typeface="+mn-ea"/>
                  <a:cs typeface="+mn-cs"/>
                </a:rPr>
                <a:t>Adults</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4ABA46"/>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4ABA46"/>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1" i="0" u="none" strike="noStrike" kern="0" cap="none" spc="0" normalizeH="0" baseline="0" noProof="0">
                <a:ln>
                  <a:noFill/>
                </a:ln>
                <a:solidFill>
                  <a:srgbClr val="4ABA46"/>
                </a:solidFill>
                <a:effectLst/>
                <a:uLnTx/>
                <a:uFillTx/>
                <a:latin typeface="Arial "/>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GB" sz="1200" b="0" i="0" u="none" strike="noStrike" kern="0" cap="none" spc="0" normalizeH="0" baseline="0" noProof="0">
                <a:ln>
                  <a:noFill/>
                </a:ln>
                <a:solidFill>
                  <a:prstClr val="black">
                    <a:hueOff val="0"/>
                    <a:satOff val="0"/>
                    <a:lumOff val="0"/>
                    <a:alphaOff val="0"/>
                  </a:prstClr>
                </a:solidFill>
                <a:effectLst/>
                <a:uLnTx/>
                <a:uFillTx/>
                <a:latin typeface="Arial "/>
                <a:ea typeface="+mn-ea"/>
                <a:cs typeface="+mn-cs"/>
              </a:endParaRPr>
            </a:p>
          </p:txBody>
        </p:sp>
      </p:grpSp>
      <p:grpSp>
        <p:nvGrpSpPr>
          <p:cNvPr id="29" name="Group 28">
            <a:extLst>
              <a:ext uri="{FF2B5EF4-FFF2-40B4-BE49-F238E27FC236}">
                <a16:creationId xmlns:a16="http://schemas.microsoft.com/office/drawing/2014/main" id="{77E449E5-56BE-0CD5-DF74-DB93FB3F2FE9}"/>
              </a:ext>
            </a:extLst>
          </p:cNvPr>
          <p:cNvGrpSpPr/>
          <p:nvPr/>
        </p:nvGrpSpPr>
        <p:grpSpPr>
          <a:xfrm>
            <a:off x="8686663" y="5028345"/>
            <a:ext cx="2578518" cy="1540523"/>
            <a:chOff x="8200698" y="2287758"/>
            <a:chExt cx="2578518" cy="1540523"/>
          </a:xfrm>
        </p:grpSpPr>
        <p:sp>
          <p:nvSpPr>
            <p:cNvPr id="30" name="Rectangle 29">
              <a:extLst>
                <a:ext uri="{FF2B5EF4-FFF2-40B4-BE49-F238E27FC236}">
                  <a16:creationId xmlns:a16="http://schemas.microsoft.com/office/drawing/2014/main" id="{C1772BDA-525F-89AE-B202-455EFB5E4886}"/>
                </a:ext>
              </a:extLst>
            </p:cNvPr>
            <p:cNvSpPr/>
            <p:nvPr/>
          </p:nvSpPr>
          <p:spPr>
            <a:xfrm>
              <a:off x="8200698" y="2296969"/>
              <a:ext cx="1625495" cy="1531312"/>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hueOff val="0"/>
                    <a:satOff val="0"/>
                    <a:lumOff val="0"/>
                    <a:alphaOff val="0"/>
                  </a:prstClr>
                </a:solidFill>
                <a:effectLst/>
                <a:uLnTx/>
                <a:uFillTx/>
                <a:latin typeface="Aptos" panose="020B0004020202020204"/>
                <a:ea typeface="+mn-ea"/>
                <a:cs typeface="+mn-cs"/>
              </a:endParaRPr>
            </a:p>
          </p:txBody>
        </p:sp>
        <p:sp>
          <p:nvSpPr>
            <p:cNvPr id="31" name="TextBox 30">
              <a:extLst>
                <a:ext uri="{FF2B5EF4-FFF2-40B4-BE49-F238E27FC236}">
                  <a16:creationId xmlns:a16="http://schemas.microsoft.com/office/drawing/2014/main" id="{217ADCB8-248E-9D95-2B42-94E3D8C6FD09}"/>
                </a:ext>
              </a:extLst>
            </p:cNvPr>
            <p:cNvSpPr txBox="1"/>
            <p:nvPr/>
          </p:nvSpPr>
          <p:spPr>
            <a:xfrm>
              <a:off x="9153721" y="2287758"/>
              <a:ext cx="1625495" cy="1531312"/>
            </a:xfrm>
            <a:prstGeom prst="rect">
              <a:avLst/>
            </a:prstGeom>
            <a:noFill/>
            <a:ln>
              <a:noFill/>
            </a:ln>
            <a:effectLst/>
          </p:spPr>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a:ln>
                    <a:noFill/>
                  </a:ln>
                  <a:solidFill>
                    <a:srgbClr val="70AD47"/>
                  </a:solidFill>
                  <a:effectLst/>
                  <a:uLnTx/>
                  <a:uFillTx/>
                  <a:latin typeface="Arial "/>
                  <a:ea typeface="+mn-ea"/>
                  <a:cs typeface="+mn-cs"/>
                </a:rPr>
                <a:t>Older adults</a:t>
              </a:r>
            </a:p>
          </p:txBody>
        </p:sp>
      </p:grpSp>
      <p:pic>
        <p:nvPicPr>
          <p:cNvPr id="32" name="Graphic 31" descr="Child with balloon outline">
            <a:extLst>
              <a:ext uri="{FF2B5EF4-FFF2-40B4-BE49-F238E27FC236}">
                <a16:creationId xmlns:a16="http://schemas.microsoft.com/office/drawing/2014/main" id="{468BF096-D359-CD93-425F-3114F10628D6}"/>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0316" y="5414189"/>
            <a:ext cx="914400" cy="914400"/>
          </a:xfrm>
          <a:prstGeom prst="rect">
            <a:avLst/>
          </a:prstGeom>
        </p:spPr>
      </p:pic>
      <p:pic>
        <p:nvPicPr>
          <p:cNvPr id="33" name="Graphic 32" descr="Dance outline">
            <a:extLst>
              <a:ext uri="{FF2B5EF4-FFF2-40B4-BE49-F238E27FC236}">
                <a16:creationId xmlns:a16="http://schemas.microsoft.com/office/drawing/2014/main" id="{06D67C7A-F96E-0D2D-3AC1-C5A728B5FFF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738207" y="2675908"/>
            <a:ext cx="914400" cy="914400"/>
          </a:xfrm>
          <a:prstGeom prst="rect">
            <a:avLst/>
          </a:prstGeom>
        </p:spPr>
      </p:pic>
      <p:sp>
        <p:nvSpPr>
          <p:cNvPr id="34" name="TextBox 33">
            <a:extLst>
              <a:ext uri="{FF2B5EF4-FFF2-40B4-BE49-F238E27FC236}">
                <a16:creationId xmlns:a16="http://schemas.microsoft.com/office/drawing/2014/main" id="{BB6DF69B-20E2-B482-CB00-4C7DC2A765AB}"/>
              </a:ext>
            </a:extLst>
          </p:cNvPr>
          <p:cNvSpPr txBox="1"/>
          <p:nvPr/>
        </p:nvSpPr>
        <p:spPr>
          <a:xfrm>
            <a:off x="320974" y="6338724"/>
            <a:ext cx="7067483" cy="415498"/>
          </a:xfrm>
          <a:prstGeom prst="rect">
            <a:avLst/>
          </a:prstGeom>
          <a:noFill/>
        </p:spPr>
        <p:txBody>
          <a:bodyPr wrap="square" rtlCol="0">
            <a:spAutoFit/>
          </a:bodyPr>
          <a:lstStyle/>
          <a:p>
            <a:pPr marL="228600" marR="0" lvl="0" indent="-228600" algn="l" defTabSz="931774" rtl="0" eaLnBrk="1" fontAlgn="auto" latinLnBrk="0" hangingPunct="1">
              <a:lnSpc>
                <a:spcPct val="100000"/>
              </a:lnSpc>
              <a:spcBef>
                <a:spcPts val="0"/>
              </a:spcBef>
              <a:spcAft>
                <a:spcPts val="0"/>
              </a:spcAft>
              <a:buClrTx/>
              <a:buSzTx/>
              <a:buFont typeface="+mj-lt"/>
              <a:buAutoNum type="arabicPeriod"/>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WHO (2024). World Immunization Week. Available at: https://www.who.int/campaigns/world-immunization-week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t>
            </a:r>
          </a:p>
          <a:p>
            <a:pPr marL="228600" marR="0" lvl="0" indent="-228600" algn="l" defTabSz="931774" rtl="0" eaLnBrk="1" fontAlgn="auto" latinLnBrk="0" hangingPunct="1">
              <a:lnSpc>
                <a:spcPct val="100000"/>
              </a:lnSpc>
              <a:spcBef>
                <a:spcPts val="0"/>
              </a:spcBef>
              <a:spcAft>
                <a:spcPts val="0"/>
              </a:spcAft>
              <a:buClrTx/>
              <a:buSzTx/>
              <a:buFont typeface="+mj-lt"/>
              <a:buAutoNum type="arabicPeriod"/>
              <a:tabLst/>
              <a:defRPr/>
            </a:pP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Kuruvilla S, et al. A life course approach to health: synergy with sustainable development goals. </a:t>
            </a:r>
            <a:r>
              <a:rPr kumimoji="0" lang="en-CA" sz="700" b="0" i="1"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Bull World Health Organ.</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 2018;96(1):42-50. doi.org/10.2471/BLT.17.198358. Accessed August 2025</a:t>
            </a:r>
            <a:endPar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
        <p:nvSpPr>
          <p:cNvPr id="35" name="Slide Number Placeholder 9">
            <a:extLst>
              <a:ext uri="{FF2B5EF4-FFF2-40B4-BE49-F238E27FC236}">
                <a16:creationId xmlns:a16="http://schemas.microsoft.com/office/drawing/2014/main" id="{48EBCAD9-3F54-F15D-4C33-021844D61784}"/>
              </a:ext>
            </a:extLst>
          </p:cNvPr>
          <p:cNvSpPr txBox="1">
            <a:spLocks/>
          </p:cNvSpPr>
          <p:nvPr/>
        </p:nvSpPr>
        <p:spPr>
          <a:xfrm>
            <a:off x="9024668" y="65006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F6661DD-0497-4E6F-9DF5-AF6631B1F6DB}" type="slidenum">
              <a:rPr kumimoji="0" lang="en-GB" sz="1200" b="0" i="0" u="none" strike="noStrike" kern="1200" cap="none" spc="0" normalizeH="0" baseline="0" noProof="0" smtClean="0">
                <a:ln>
                  <a:noFill/>
                </a:ln>
                <a:solidFill>
                  <a:prstClr val="black">
                    <a:tint val="82000"/>
                  </a:prstClr>
                </a:solidFill>
                <a:effectLst/>
                <a:uLnTx/>
                <a:uFillTx/>
                <a:latin typeface="Aptos" panose="020B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tint val="82000"/>
                </a:prstClr>
              </a:solidFill>
              <a:effectLst/>
              <a:uLnTx/>
              <a:uFillTx/>
              <a:latin typeface="Aptos" panose="020B0004020202020204"/>
              <a:ea typeface="+mn-ea"/>
              <a:cs typeface="+mn-cs"/>
            </a:endParaRPr>
          </a:p>
        </p:txBody>
      </p:sp>
      <p:sp>
        <p:nvSpPr>
          <p:cNvPr id="36" name="TextBox 35">
            <a:extLst>
              <a:ext uri="{FF2B5EF4-FFF2-40B4-BE49-F238E27FC236}">
                <a16:creationId xmlns:a16="http://schemas.microsoft.com/office/drawing/2014/main" id="{D64C5008-7A47-B7EB-B52B-379CAEBF627F}"/>
              </a:ext>
            </a:extLst>
          </p:cNvPr>
          <p:cNvSpPr txBox="1"/>
          <p:nvPr/>
        </p:nvSpPr>
        <p:spPr>
          <a:xfrm>
            <a:off x="687784" y="1643095"/>
            <a:ext cx="9980216" cy="492443"/>
          </a:xfrm>
          <a:prstGeom prst="rect">
            <a:avLst/>
          </a:prstGeom>
          <a:noFill/>
          <a:ln w="19050">
            <a:solidFill>
              <a:srgbClr val="156082"/>
            </a:solidFill>
          </a:ln>
        </p:spPr>
        <p:txBody>
          <a:bodyPr wrap="square" rtlCol="0" anchor="ctr">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vi-VN" sz="1300" b="0" i="0" u="none" strike="noStrike" kern="0" cap="none" spc="0" normalizeH="0" baseline="0" noProof="0" dirty="0">
                <a:ln>
                  <a:noFill/>
                </a:ln>
                <a:solidFill>
                  <a:prstClr val="black"/>
                </a:solidFill>
                <a:effectLst/>
                <a:uLnTx/>
                <a:uFillTx/>
                <a:latin typeface="Arial "/>
                <a:ea typeface="+mn-ea"/>
                <a:cs typeface="+mn-cs"/>
              </a:rPr>
              <a:t>Nhu cầu tiêm chủng ở mọi độ tuổi được minh chứng rõ nét qua </a:t>
            </a:r>
            <a:r>
              <a:rPr kumimoji="0" lang="vi-VN" sz="1300" b="1" i="0" u="none" strike="noStrike" kern="0" cap="none" spc="0" normalizeH="0" baseline="0" noProof="0" dirty="0">
                <a:ln>
                  <a:noFill/>
                </a:ln>
                <a:solidFill>
                  <a:prstClr val="black"/>
                </a:solidFill>
                <a:effectLst/>
                <a:uLnTx/>
                <a:uFillTx/>
                <a:latin typeface="Arial "/>
                <a:ea typeface="+mn-ea"/>
                <a:cs typeface="+mn-cs"/>
              </a:rPr>
              <a:t>Tuần lễ Tiêm chủng Thế giới năm 2024</a:t>
            </a:r>
            <a:r>
              <a:rPr kumimoji="0" lang="vi-VN" sz="1300" b="0" i="0" u="none" strike="noStrike" kern="0" cap="none" spc="0" normalizeH="0" baseline="0" noProof="0" dirty="0">
                <a:ln>
                  <a:noFill/>
                </a:ln>
                <a:solidFill>
                  <a:prstClr val="black"/>
                </a:solidFill>
                <a:effectLst/>
                <a:uLnTx/>
                <a:uFillTx/>
                <a:latin typeface="Arial "/>
                <a:ea typeface="+mn-ea"/>
                <a:cs typeface="+mn-cs"/>
              </a:rPr>
              <a:t>, đánh dấu kỷ niệm 50 năm </a:t>
            </a:r>
            <a:r>
              <a:rPr kumimoji="0" lang="vi-VN" sz="1300" b="1" i="0" u="none" strike="noStrike" kern="0" cap="none" spc="0" normalizeH="0" baseline="0" noProof="0" dirty="0">
                <a:ln>
                  <a:noFill/>
                </a:ln>
                <a:solidFill>
                  <a:prstClr val="black"/>
                </a:solidFill>
                <a:effectLst/>
                <a:uLnTx/>
                <a:uFillTx/>
                <a:latin typeface="Arial "/>
                <a:ea typeface="+mn-ea"/>
                <a:cs typeface="+mn-cs"/>
              </a:rPr>
              <a:t>Chương trình Tiêm chủng Mở rộng (EPI)</a:t>
            </a:r>
            <a:r>
              <a:rPr kumimoji="0" lang="vi-VN" sz="1300" b="0" i="0" u="none" strike="noStrike" kern="0" cap="none" spc="0" normalizeH="0" baseline="0" noProof="0" dirty="0">
                <a:ln>
                  <a:noFill/>
                </a:ln>
                <a:solidFill>
                  <a:prstClr val="black"/>
                </a:solidFill>
                <a:effectLst/>
                <a:uLnTx/>
                <a:uFillTx/>
                <a:latin typeface="Arial "/>
                <a:ea typeface="+mn-ea"/>
                <a:cs typeface="+mn-cs"/>
              </a:rPr>
              <a:t> của Tổ chức Y tế Thế giới, với sứ mệnh bảo vệ sức khỏe con người qua nhiều thế hệ</a:t>
            </a:r>
            <a:r>
              <a:rPr kumimoji="0" lang="en-GB" sz="1300" b="0" i="0" u="none" strike="noStrike" kern="0" cap="none" spc="0" normalizeH="0" baseline="30000" noProof="0" dirty="0">
                <a:ln>
                  <a:noFill/>
                </a:ln>
                <a:solidFill>
                  <a:prstClr val="black"/>
                </a:solidFill>
                <a:effectLst/>
                <a:uLnTx/>
                <a:uFillTx/>
                <a:latin typeface="Arial "/>
                <a:ea typeface="+mn-ea"/>
                <a:cs typeface="+mn-cs"/>
              </a:rPr>
              <a:t>1</a:t>
            </a:r>
            <a:r>
              <a:rPr kumimoji="0" lang="en-GB" sz="1300" b="0" i="0" u="none" strike="noStrike" kern="0" cap="none" spc="0" normalizeH="0" baseline="0" noProof="0" dirty="0">
                <a:ln>
                  <a:noFill/>
                </a:ln>
                <a:solidFill>
                  <a:prstClr val="black"/>
                </a:solidFill>
                <a:effectLst/>
                <a:uLnTx/>
                <a:uFillTx/>
                <a:latin typeface="Arial "/>
                <a:ea typeface="+mn-ea"/>
                <a:cs typeface="+mn-cs"/>
              </a:rPr>
              <a:t> </a:t>
            </a:r>
          </a:p>
        </p:txBody>
      </p:sp>
      <p:pic>
        <p:nvPicPr>
          <p:cNvPr id="37" name="Picture 2" descr="Logo">
            <a:extLst>
              <a:ext uri="{FF2B5EF4-FFF2-40B4-BE49-F238E27FC236}">
                <a16:creationId xmlns:a16="http://schemas.microsoft.com/office/drawing/2014/main" id="{4BC88320-4534-FE70-2ADB-F9CD63AF5282}"/>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741705" y="1520943"/>
            <a:ext cx="762511" cy="687217"/>
          </a:xfrm>
          <a:prstGeom prst="rect">
            <a:avLst/>
          </a:prstGeom>
          <a:noFill/>
          <a:extLst>
            <a:ext uri="{909E8E84-426E-40DD-AFC4-6F175D3DCCD1}">
              <a14:hiddenFill xmlns:a14="http://schemas.microsoft.com/office/drawing/2010/main">
                <a:solidFill>
                  <a:srgbClr val="FFFFFF"/>
                </a:solidFill>
              </a14:hiddenFill>
            </a:ext>
          </a:extLst>
        </p:spPr>
      </p:pic>
      <p:sp>
        <p:nvSpPr>
          <p:cNvPr id="38" name="Freeform: Shape 37">
            <a:extLst>
              <a:ext uri="{FF2B5EF4-FFF2-40B4-BE49-F238E27FC236}">
                <a16:creationId xmlns:a16="http://schemas.microsoft.com/office/drawing/2014/main" id="{60FA588B-B793-ED18-089D-346F37996D56}"/>
              </a:ext>
            </a:extLst>
          </p:cNvPr>
          <p:cNvSpPr/>
          <p:nvPr/>
        </p:nvSpPr>
        <p:spPr>
          <a:xfrm>
            <a:off x="1258247" y="3667658"/>
            <a:ext cx="8482145" cy="355862"/>
          </a:xfrm>
          <a:custGeom>
            <a:avLst/>
            <a:gdLst>
              <a:gd name="connsiteX0" fmla="*/ 0 w 8506954"/>
              <a:gd name="connsiteY0" fmla="*/ 462764 h 462764"/>
              <a:gd name="connsiteX1" fmla="*/ 2920880 w 8506954"/>
              <a:gd name="connsiteY1" fmla="*/ 81402 h 462764"/>
              <a:gd name="connsiteX2" fmla="*/ 5794089 w 8506954"/>
              <a:gd name="connsiteY2" fmla="*/ 3397 h 462764"/>
              <a:gd name="connsiteX3" fmla="*/ 7557884 w 8506954"/>
              <a:gd name="connsiteY3" fmla="*/ 146407 h 462764"/>
              <a:gd name="connsiteX4" fmla="*/ 8506954 w 8506954"/>
              <a:gd name="connsiteY4" fmla="*/ 298085 h 462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6954" h="462764">
                <a:moveTo>
                  <a:pt x="0" y="462764"/>
                </a:moveTo>
                <a:cubicBezTo>
                  <a:pt x="977599" y="310363"/>
                  <a:pt x="1955199" y="157963"/>
                  <a:pt x="2920880" y="81402"/>
                </a:cubicBezTo>
                <a:cubicBezTo>
                  <a:pt x="3886561" y="4841"/>
                  <a:pt x="5021255" y="-7437"/>
                  <a:pt x="5794089" y="3397"/>
                </a:cubicBezTo>
                <a:cubicBezTo>
                  <a:pt x="6566923" y="14231"/>
                  <a:pt x="7105740" y="97292"/>
                  <a:pt x="7557884" y="146407"/>
                </a:cubicBezTo>
                <a:cubicBezTo>
                  <a:pt x="8010028" y="195522"/>
                  <a:pt x="8258491" y="246803"/>
                  <a:pt x="8506954" y="298085"/>
                </a:cubicBezTo>
              </a:path>
            </a:pathLst>
          </a:custGeom>
          <a:noFill/>
          <a:ln w="57150" cap="rnd" cmpd="sng" algn="ctr">
            <a:solidFill>
              <a:srgbClr val="4EA72E">
                <a:lumMod val="60000"/>
                <a:lumOff val="40000"/>
              </a:srgbClr>
            </a:solidFill>
            <a:prstDash val="solid"/>
            <a:roun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02B93">
                  <a:lumMod val="20000"/>
                  <a:lumOff val="80000"/>
                </a:srgbClr>
              </a:solidFill>
              <a:effectLst/>
              <a:uLnTx/>
              <a:uFillTx/>
              <a:latin typeface="Aptos" panose="020B0004020202020204"/>
              <a:ea typeface="+mn-ea"/>
              <a:cs typeface="+mn-cs"/>
            </a:endParaRPr>
          </a:p>
        </p:txBody>
      </p:sp>
      <p:sp>
        <p:nvSpPr>
          <p:cNvPr id="39" name="Freeform: Shape 38">
            <a:extLst>
              <a:ext uri="{FF2B5EF4-FFF2-40B4-BE49-F238E27FC236}">
                <a16:creationId xmlns:a16="http://schemas.microsoft.com/office/drawing/2014/main" id="{A5A61F73-B226-FEB8-5217-F82F72EB15CE}"/>
              </a:ext>
            </a:extLst>
          </p:cNvPr>
          <p:cNvSpPr/>
          <p:nvPr/>
        </p:nvSpPr>
        <p:spPr>
          <a:xfrm>
            <a:off x="1284465" y="3851183"/>
            <a:ext cx="8546960" cy="1245919"/>
          </a:xfrm>
          <a:custGeom>
            <a:avLst/>
            <a:gdLst>
              <a:gd name="connsiteX0" fmla="*/ 0 w 8571958"/>
              <a:gd name="connsiteY0" fmla="*/ 1324657 h 1623679"/>
              <a:gd name="connsiteX1" fmla="*/ 4840686 w 8571958"/>
              <a:gd name="connsiteY1" fmla="*/ 37564 h 1623679"/>
              <a:gd name="connsiteX2" fmla="*/ 7809236 w 8571958"/>
              <a:gd name="connsiteY2" fmla="*/ 457928 h 1623679"/>
              <a:gd name="connsiteX3" fmla="*/ 8571958 w 8571958"/>
              <a:gd name="connsiteY3" fmla="*/ 1623679 h 1623679"/>
              <a:gd name="connsiteX0" fmla="*/ 0 w 8571958"/>
              <a:gd name="connsiteY0" fmla="*/ 1297091 h 1596113"/>
              <a:gd name="connsiteX1" fmla="*/ 4138634 w 8571958"/>
              <a:gd name="connsiteY1" fmla="*/ 40333 h 1596113"/>
              <a:gd name="connsiteX2" fmla="*/ 7809236 w 8571958"/>
              <a:gd name="connsiteY2" fmla="*/ 430362 h 1596113"/>
              <a:gd name="connsiteX3" fmla="*/ 8571958 w 8571958"/>
              <a:gd name="connsiteY3" fmla="*/ 1596113 h 1596113"/>
              <a:gd name="connsiteX0" fmla="*/ 0 w 8571958"/>
              <a:gd name="connsiteY0" fmla="*/ 1281514 h 1580536"/>
              <a:gd name="connsiteX1" fmla="*/ 3986956 w 8571958"/>
              <a:gd name="connsiteY1" fmla="*/ 42091 h 1580536"/>
              <a:gd name="connsiteX2" fmla="*/ 7809236 w 8571958"/>
              <a:gd name="connsiteY2" fmla="*/ 414785 h 1580536"/>
              <a:gd name="connsiteX3" fmla="*/ 8571958 w 8571958"/>
              <a:gd name="connsiteY3" fmla="*/ 1580536 h 1580536"/>
              <a:gd name="connsiteX0" fmla="*/ 0 w 8571958"/>
              <a:gd name="connsiteY0" fmla="*/ 1281514 h 1580536"/>
              <a:gd name="connsiteX1" fmla="*/ 3986956 w 8571958"/>
              <a:gd name="connsiteY1" fmla="*/ 42091 h 1580536"/>
              <a:gd name="connsiteX2" fmla="*/ 7809236 w 8571958"/>
              <a:gd name="connsiteY2" fmla="*/ 414785 h 1580536"/>
              <a:gd name="connsiteX3" fmla="*/ 8571958 w 8571958"/>
              <a:gd name="connsiteY3" fmla="*/ 1580536 h 1580536"/>
              <a:gd name="connsiteX0" fmla="*/ 0 w 8571958"/>
              <a:gd name="connsiteY0" fmla="*/ 1304577 h 1581930"/>
              <a:gd name="connsiteX1" fmla="*/ 3986956 w 8571958"/>
              <a:gd name="connsiteY1" fmla="*/ 43485 h 1581930"/>
              <a:gd name="connsiteX2" fmla="*/ 7809236 w 8571958"/>
              <a:gd name="connsiteY2" fmla="*/ 416179 h 1581930"/>
              <a:gd name="connsiteX3" fmla="*/ 8571958 w 8571958"/>
              <a:gd name="connsiteY3" fmla="*/ 1581930 h 1581930"/>
              <a:gd name="connsiteX0" fmla="*/ 0 w 8571958"/>
              <a:gd name="connsiteY0" fmla="*/ 1285351 h 1562704"/>
              <a:gd name="connsiteX1" fmla="*/ 4060628 w 8571958"/>
              <a:gd name="connsiteY1" fmla="*/ 45928 h 1562704"/>
              <a:gd name="connsiteX2" fmla="*/ 7809236 w 8571958"/>
              <a:gd name="connsiteY2" fmla="*/ 396953 h 1562704"/>
              <a:gd name="connsiteX3" fmla="*/ 8571958 w 8571958"/>
              <a:gd name="connsiteY3" fmla="*/ 1562704 h 1562704"/>
              <a:gd name="connsiteX0" fmla="*/ 0 w 8571958"/>
              <a:gd name="connsiteY0" fmla="*/ 1285351 h 1562704"/>
              <a:gd name="connsiteX1" fmla="*/ 4060628 w 8571958"/>
              <a:gd name="connsiteY1" fmla="*/ 45928 h 1562704"/>
              <a:gd name="connsiteX2" fmla="*/ 7809236 w 8571958"/>
              <a:gd name="connsiteY2" fmla="*/ 396953 h 1562704"/>
              <a:gd name="connsiteX3" fmla="*/ 8571958 w 8571958"/>
              <a:gd name="connsiteY3" fmla="*/ 1562704 h 1562704"/>
              <a:gd name="connsiteX0" fmla="*/ 0 w 8571958"/>
              <a:gd name="connsiteY0" fmla="*/ 1293966 h 1571319"/>
              <a:gd name="connsiteX1" fmla="*/ 4060628 w 8571958"/>
              <a:gd name="connsiteY1" fmla="*/ 54543 h 1571319"/>
              <a:gd name="connsiteX2" fmla="*/ 7809236 w 8571958"/>
              <a:gd name="connsiteY2" fmla="*/ 405568 h 1571319"/>
              <a:gd name="connsiteX3" fmla="*/ 8571958 w 8571958"/>
              <a:gd name="connsiteY3" fmla="*/ 1571319 h 1571319"/>
              <a:gd name="connsiteX0" fmla="*/ 0 w 8571958"/>
              <a:gd name="connsiteY0" fmla="*/ 1299110 h 1576463"/>
              <a:gd name="connsiteX1" fmla="*/ 4060628 w 8571958"/>
              <a:gd name="connsiteY1" fmla="*/ 59687 h 1576463"/>
              <a:gd name="connsiteX2" fmla="*/ 7731231 w 8571958"/>
              <a:gd name="connsiteY2" fmla="*/ 389043 h 1576463"/>
              <a:gd name="connsiteX3" fmla="*/ 8571958 w 8571958"/>
              <a:gd name="connsiteY3" fmla="*/ 1576463 h 1576463"/>
              <a:gd name="connsiteX0" fmla="*/ 0 w 8571958"/>
              <a:gd name="connsiteY0" fmla="*/ 1296478 h 1573831"/>
              <a:gd name="connsiteX1" fmla="*/ 4060628 w 8571958"/>
              <a:gd name="connsiteY1" fmla="*/ 57055 h 1573831"/>
              <a:gd name="connsiteX2" fmla="*/ 7731231 w 8571958"/>
              <a:gd name="connsiteY2" fmla="*/ 386411 h 1573831"/>
              <a:gd name="connsiteX3" fmla="*/ 8571958 w 8571958"/>
              <a:gd name="connsiteY3" fmla="*/ 1573831 h 1573831"/>
              <a:gd name="connsiteX0" fmla="*/ 0 w 8571958"/>
              <a:gd name="connsiteY0" fmla="*/ 1315422 h 1592775"/>
              <a:gd name="connsiteX1" fmla="*/ 4064962 w 8571958"/>
              <a:gd name="connsiteY1" fmla="*/ 45663 h 1592775"/>
              <a:gd name="connsiteX2" fmla="*/ 7731231 w 8571958"/>
              <a:gd name="connsiteY2" fmla="*/ 405355 h 1592775"/>
              <a:gd name="connsiteX3" fmla="*/ 8571958 w 8571958"/>
              <a:gd name="connsiteY3" fmla="*/ 1592775 h 1592775"/>
              <a:gd name="connsiteX0" fmla="*/ 0 w 8571958"/>
              <a:gd name="connsiteY0" fmla="*/ 1329530 h 1606883"/>
              <a:gd name="connsiteX1" fmla="*/ 4064962 w 8571958"/>
              <a:gd name="connsiteY1" fmla="*/ 59771 h 1606883"/>
              <a:gd name="connsiteX2" fmla="*/ 7544884 w 8571958"/>
              <a:gd name="connsiteY2" fmla="*/ 350124 h 1606883"/>
              <a:gd name="connsiteX3" fmla="*/ 8571958 w 8571958"/>
              <a:gd name="connsiteY3" fmla="*/ 1606883 h 1606883"/>
              <a:gd name="connsiteX0" fmla="*/ 0 w 8571958"/>
              <a:gd name="connsiteY0" fmla="*/ 1342844 h 1620197"/>
              <a:gd name="connsiteX1" fmla="*/ 4064962 w 8571958"/>
              <a:gd name="connsiteY1" fmla="*/ 73085 h 1620197"/>
              <a:gd name="connsiteX2" fmla="*/ 7462545 w 8571958"/>
              <a:gd name="connsiteY2" fmla="*/ 311434 h 1620197"/>
              <a:gd name="connsiteX3" fmla="*/ 8571958 w 8571958"/>
              <a:gd name="connsiteY3" fmla="*/ 1620197 h 1620197"/>
            </a:gdLst>
            <a:ahLst/>
            <a:cxnLst>
              <a:cxn ang="0">
                <a:pos x="connsiteX0" y="connsiteY0"/>
              </a:cxn>
              <a:cxn ang="0">
                <a:pos x="connsiteX1" y="connsiteY1"/>
              </a:cxn>
              <a:cxn ang="0">
                <a:pos x="connsiteX2" y="connsiteY2"/>
              </a:cxn>
              <a:cxn ang="0">
                <a:pos x="connsiteX3" y="connsiteY3"/>
              </a:cxn>
            </a:cxnLst>
            <a:rect l="l" t="t" r="r" b="b"/>
            <a:pathLst>
              <a:path w="8571958" h="1620197">
                <a:moveTo>
                  <a:pt x="0" y="1342844"/>
                </a:moveTo>
                <a:cubicBezTo>
                  <a:pt x="1721903" y="676184"/>
                  <a:pt x="2821205" y="244987"/>
                  <a:pt x="4064962" y="73085"/>
                </a:cubicBezTo>
                <a:cubicBezTo>
                  <a:pt x="5308720" y="-98817"/>
                  <a:pt x="6711379" y="53582"/>
                  <a:pt x="7462545" y="311434"/>
                </a:cubicBezTo>
                <a:cubicBezTo>
                  <a:pt x="8213711" y="569286"/>
                  <a:pt x="8501536" y="1169498"/>
                  <a:pt x="8571958" y="1620197"/>
                </a:cubicBezTo>
              </a:path>
            </a:pathLst>
          </a:custGeom>
          <a:noFill/>
          <a:ln w="57150" cap="rnd" cmpd="sng" algn="ctr">
            <a:solidFill>
              <a:srgbClr val="156082">
                <a:lumMod val="75000"/>
              </a:srgbClr>
            </a:solidFill>
            <a:prstDash val="solid"/>
            <a:roun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40" name="TextBox 8">
            <a:extLst>
              <a:ext uri="{FF2B5EF4-FFF2-40B4-BE49-F238E27FC236}">
                <a16:creationId xmlns:a16="http://schemas.microsoft.com/office/drawing/2014/main" id="{B8586B57-638E-7462-4134-AF468DB222DC}"/>
              </a:ext>
            </a:extLst>
          </p:cNvPr>
          <p:cNvSpPr txBox="1"/>
          <p:nvPr/>
        </p:nvSpPr>
        <p:spPr>
          <a:xfrm>
            <a:off x="70632" y="3850186"/>
            <a:ext cx="1096638" cy="45858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4EA72E"/>
                </a:solidFill>
                <a:effectLst/>
                <a:uLnTx/>
                <a:uFillTx/>
                <a:latin typeface="Arial" panose="020B0604020202020204" pitchFamily="34" charset="0"/>
                <a:ea typeface="+mn-ea"/>
                <a:cs typeface="Arial" panose="020B0604020202020204" pitchFamily="34" charset="0"/>
              </a:rPr>
              <a:t>Functional</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4EA72E"/>
                </a:solidFill>
                <a:effectLst/>
                <a:uLnTx/>
                <a:uFillTx/>
                <a:latin typeface="Arial" panose="020B0604020202020204" pitchFamily="34" charset="0"/>
                <a:ea typeface="+mn-ea"/>
                <a:cs typeface="Arial" panose="020B0604020202020204" pitchFamily="34" charset="0"/>
              </a:rPr>
              <a:t>ability</a:t>
            </a:r>
            <a:endParaRPr kumimoji="0" lang="en-CA" sz="1400" b="1" i="0" u="none" strike="noStrike" kern="1200" cap="none" spc="0" normalizeH="0" baseline="0" noProof="0">
              <a:ln>
                <a:noFill/>
              </a:ln>
              <a:solidFill>
                <a:srgbClr val="4EA72E"/>
              </a:solidFill>
              <a:effectLst/>
              <a:uLnTx/>
              <a:uFillTx/>
              <a:latin typeface="Arial" panose="020B0604020202020204" pitchFamily="34" charset="0"/>
              <a:ea typeface="+mn-ea"/>
              <a:cs typeface="Arial" panose="020B0604020202020204" pitchFamily="34" charset="0"/>
            </a:endParaRPr>
          </a:p>
        </p:txBody>
      </p:sp>
      <p:sp>
        <p:nvSpPr>
          <p:cNvPr id="41" name="TextBox 9">
            <a:extLst>
              <a:ext uri="{FF2B5EF4-FFF2-40B4-BE49-F238E27FC236}">
                <a16:creationId xmlns:a16="http://schemas.microsoft.com/office/drawing/2014/main" id="{10687A7C-BD80-9B2E-EF47-D8CB0FCDFFD9}"/>
              </a:ext>
            </a:extLst>
          </p:cNvPr>
          <p:cNvSpPr txBox="1"/>
          <p:nvPr/>
        </p:nvSpPr>
        <p:spPr>
          <a:xfrm>
            <a:off x="47926" y="4597710"/>
            <a:ext cx="1034096" cy="45858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56082">
                    <a:lumMod val="75000"/>
                  </a:srgbClr>
                </a:solidFill>
                <a:effectLst/>
                <a:uLnTx/>
                <a:uFillTx/>
                <a:latin typeface="Arial" panose="020B0604020202020204" pitchFamily="34" charset="0"/>
                <a:ea typeface="+mn-ea"/>
                <a:cs typeface="Arial" panose="020B0604020202020204" pitchFamily="34" charset="0"/>
              </a:rPr>
              <a:t>Intrinsic</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56082">
                    <a:lumMod val="75000"/>
                  </a:srgbClr>
                </a:solidFill>
                <a:effectLst/>
                <a:uLnTx/>
                <a:uFillTx/>
                <a:latin typeface="Arial" panose="020B0604020202020204" pitchFamily="34" charset="0"/>
                <a:ea typeface="+mn-ea"/>
                <a:cs typeface="Arial" panose="020B0604020202020204" pitchFamily="34" charset="0"/>
              </a:rPr>
              <a:t>capacity</a:t>
            </a:r>
            <a:endParaRPr kumimoji="0" lang="en-CA" sz="1400" b="1" i="0" u="none" strike="noStrike" kern="1200" cap="none" spc="0" normalizeH="0" baseline="0" noProof="0">
              <a:ln>
                <a:noFill/>
              </a:ln>
              <a:solidFill>
                <a:srgbClr val="156082">
                  <a:lumMod val="75000"/>
                </a:srgbClr>
              </a:solidFill>
              <a:effectLst/>
              <a:uLnTx/>
              <a:uFillTx/>
              <a:latin typeface="Arial" panose="020B0604020202020204" pitchFamily="34" charset="0"/>
              <a:ea typeface="+mn-ea"/>
              <a:cs typeface="Arial" panose="020B0604020202020204" pitchFamily="34" charset="0"/>
            </a:endParaRPr>
          </a:p>
        </p:txBody>
      </p:sp>
      <p:sp>
        <p:nvSpPr>
          <p:cNvPr id="42" name="TextBox 7">
            <a:extLst>
              <a:ext uri="{FF2B5EF4-FFF2-40B4-BE49-F238E27FC236}">
                <a16:creationId xmlns:a16="http://schemas.microsoft.com/office/drawing/2014/main" id="{E56C1008-E59E-719F-60E8-6B35C18925FD}"/>
              </a:ext>
            </a:extLst>
          </p:cNvPr>
          <p:cNvSpPr txBox="1"/>
          <p:nvPr/>
        </p:nvSpPr>
        <p:spPr>
          <a:xfrm>
            <a:off x="9894323" y="2277120"/>
            <a:ext cx="2067173" cy="1525033"/>
          </a:xfrm>
          <a:prstGeom prst="rect">
            <a:avLst/>
          </a:prstGeom>
          <a:solidFill>
            <a:sysClr val="window" lastClr="FFFFFF"/>
          </a:solidFill>
          <a:ln w="28575">
            <a:solidFill>
              <a:srgbClr val="156082"/>
            </a:solid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b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ăng</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ực</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ức</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ăng</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ăng</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ực</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ội</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ại</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y</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ổi</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o</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ột</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ổ</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ộng</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ốt</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uộc</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ời</a:t>
            </a:r>
            <a:r>
              <a:rPr kumimoji="0" lang="en-US" sz="14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3" name="Group 42">
            <a:extLst>
              <a:ext uri="{FF2B5EF4-FFF2-40B4-BE49-F238E27FC236}">
                <a16:creationId xmlns:a16="http://schemas.microsoft.com/office/drawing/2014/main" id="{66F248C1-3523-9D93-89C6-84E11BEB3477}"/>
              </a:ext>
            </a:extLst>
          </p:cNvPr>
          <p:cNvGrpSpPr/>
          <p:nvPr/>
        </p:nvGrpSpPr>
        <p:grpSpPr>
          <a:xfrm>
            <a:off x="5496146" y="3611282"/>
            <a:ext cx="174931" cy="1397046"/>
            <a:chOff x="5561942" y="3369902"/>
            <a:chExt cx="174931" cy="1397046"/>
          </a:xfrm>
        </p:grpSpPr>
        <p:cxnSp>
          <p:nvCxnSpPr>
            <p:cNvPr id="44" name="Straight Connector 43">
              <a:extLst>
                <a:ext uri="{FF2B5EF4-FFF2-40B4-BE49-F238E27FC236}">
                  <a16:creationId xmlns:a16="http://schemas.microsoft.com/office/drawing/2014/main" id="{041944A7-E244-EE1F-11B4-F176B6C3A6E2}"/>
                </a:ext>
              </a:extLst>
            </p:cNvPr>
            <p:cNvCxnSpPr>
              <a:cxnSpLocks/>
            </p:cNvCxnSpPr>
            <p:nvPr/>
          </p:nvCxnSpPr>
          <p:spPr>
            <a:xfrm>
              <a:off x="5658462" y="3372765"/>
              <a:ext cx="0" cy="1394183"/>
            </a:xfrm>
            <a:prstGeom prst="line">
              <a:avLst/>
            </a:prstGeom>
            <a:noFill/>
            <a:ln w="22225" cap="flat" cmpd="sng" algn="ctr">
              <a:solidFill>
                <a:srgbClr val="4EA72E"/>
              </a:solidFill>
              <a:prstDash val="solid"/>
              <a:round/>
            </a:ln>
            <a:effectLst/>
          </p:spPr>
        </p:cxnSp>
        <p:cxnSp>
          <p:nvCxnSpPr>
            <p:cNvPr id="45" name="Straight Connector 44">
              <a:extLst>
                <a:ext uri="{FF2B5EF4-FFF2-40B4-BE49-F238E27FC236}">
                  <a16:creationId xmlns:a16="http://schemas.microsoft.com/office/drawing/2014/main" id="{DF6B749C-3C73-0301-7A50-4DFB1492490D}"/>
                </a:ext>
              </a:extLst>
            </p:cNvPr>
            <p:cNvCxnSpPr>
              <a:cxnSpLocks/>
            </p:cNvCxnSpPr>
            <p:nvPr/>
          </p:nvCxnSpPr>
          <p:spPr>
            <a:xfrm>
              <a:off x="5561942" y="4766948"/>
              <a:ext cx="156822" cy="0"/>
            </a:xfrm>
            <a:prstGeom prst="line">
              <a:avLst/>
            </a:prstGeom>
            <a:noFill/>
            <a:ln w="22225" cap="flat" cmpd="sng" algn="ctr">
              <a:solidFill>
                <a:srgbClr val="4EA72E"/>
              </a:solidFill>
              <a:prstDash val="solid"/>
              <a:round/>
            </a:ln>
            <a:effectLst/>
          </p:spPr>
        </p:cxnSp>
        <p:cxnSp>
          <p:nvCxnSpPr>
            <p:cNvPr id="46" name="Straight Connector 45">
              <a:extLst>
                <a:ext uri="{FF2B5EF4-FFF2-40B4-BE49-F238E27FC236}">
                  <a16:creationId xmlns:a16="http://schemas.microsoft.com/office/drawing/2014/main" id="{2AC3AA31-4936-75E8-906B-A8C88DC0319D}"/>
                </a:ext>
              </a:extLst>
            </p:cNvPr>
            <p:cNvCxnSpPr>
              <a:cxnSpLocks/>
            </p:cNvCxnSpPr>
            <p:nvPr/>
          </p:nvCxnSpPr>
          <p:spPr>
            <a:xfrm>
              <a:off x="5580051" y="3369902"/>
              <a:ext cx="156822" cy="0"/>
            </a:xfrm>
            <a:prstGeom prst="line">
              <a:avLst/>
            </a:prstGeom>
            <a:noFill/>
            <a:ln w="22225" cap="flat" cmpd="sng" algn="ctr">
              <a:solidFill>
                <a:srgbClr val="4EA72E"/>
              </a:solidFill>
              <a:prstDash val="solid"/>
              <a:round/>
            </a:ln>
            <a:effectLst/>
          </p:spPr>
        </p:cxnSp>
      </p:grpSp>
      <p:grpSp>
        <p:nvGrpSpPr>
          <p:cNvPr id="47" name="Group 46">
            <a:extLst>
              <a:ext uri="{FF2B5EF4-FFF2-40B4-BE49-F238E27FC236}">
                <a16:creationId xmlns:a16="http://schemas.microsoft.com/office/drawing/2014/main" id="{40695B77-0D03-C420-6F59-FB34CC8AC624}"/>
              </a:ext>
            </a:extLst>
          </p:cNvPr>
          <p:cNvGrpSpPr/>
          <p:nvPr/>
        </p:nvGrpSpPr>
        <p:grpSpPr>
          <a:xfrm>
            <a:off x="5771227" y="3810958"/>
            <a:ext cx="163455" cy="1111694"/>
            <a:chOff x="5837023" y="3569578"/>
            <a:chExt cx="163455" cy="1111694"/>
          </a:xfrm>
        </p:grpSpPr>
        <p:cxnSp>
          <p:nvCxnSpPr>
            <p:cNvPr id="48" name="Straight Connector 47">
              <a:extLst>
                <a:ext uri="{FF2B5EF4-FFF2-40B4-BE49-F238E27FC236}">
                  <a16:creationId xmlns:a16="http://schemas.microsoft.com/office/drawing/2014/main" id="{B32B4B2D-97E5-581D-3B25-4591E5047B04}"/>
                </a:ext>
              </a:extLst>
            </p:cNvPr>
            <p:cNvCxnSpPr>
              <a:cxnSpLocks/>
            </p:cNvCxnSpPr>
            <p:nvPr/>
          </p:nvCxnSpPr>
          <p:spPr>
            <a:xfrm>
              <a:off x="5918961" y="3569578"/>
              <a:ext cx="0" cy="1111694"/>
            </a:xfrm>
            <a:prstGeom prst="line">
              <a:avLst/>
            </a:prstGeom>
            <a:noFill/>
            <a:ln w="22225" cap="flat" cmpd="sng" algn="ctr">
              <a:solidFill>
                <a:srgbClr val="156082">
                  <a:lumMod val="75000"/>
                </a:srgbClr>
              </a:solidFill>
              <a:prstDash val="solid"/>
              <a:round/>
            </a:ln>
            <a:effectLst/>
          </p:spPr>
        </p:cxnSp>
        <p:cxnSp>
          <p:nvCxnSpPr>
            <p:cNvPr id="49" name="Straight Connector 48">
              <a:extLst>
                <a:ext uri="{FF2B5EF4-FFF2-40B4-BE49-F238E27FC236}">
                  <a16:creationId xmlns:a16="http://schemas.microsoft.com/office/drawing/2014/main" id="{906E00A2-E515-BEA2-14E4-753ADFCE181B}"/>
                </a:ext>
              </a:extLst>
            </p:cNvPr>
            <p:cNvCxnSpPr>
              <a:cxnSpLocks/>
            </p:cNvCxnSpPr>
            <p:nvPr/>
          </p:nvCxnSpPr>
          <p:spPr>
            <a:xfrm>
              <a:off x="5837023" y="4681272"/>
              <a:ext cx="156822" cy="0"/>
            </a:xfrm>
            <a:prstGeom prst="line">
              <a:avLst/>
            </a:prstGeom>
            <a:noFill/>
            <a:ln w="22225" cap="flat" cmpd="sng" algn="ctr">
              <a:solidFill>
                <a:srgbClr val="156082">
                  <a:lumMod val="75000"/>
                </a:srgbClr>
              </a:solidFill>
              <a:prstDash val="solid"/>
              <a:round/>
            </a:ln>
            <a:effectLst/>
          </p:spPr>
        </p:cxnSp>
        <p:cxnSp>
          <p:nvCxnSpPr>
            <p:cNvPr id="50" name="Straight Connector 49">
              <a:extLst>
                <a:ext uri="{FF2B5EF4-FFF2-40B4-BE49-F238E27FC236}">
                  <a16:creationId xmlns:a16="http://schemas.microsoft.com/office/drawing/2014/main" id="{4E0ABD0C-4E15-396F-D03D-BC76D7F4E344}"/>
                </a:ext>
              </a:extLst>
            </p:cNvPr>
            <p:cNvCxnSpPr>
              <a:cxnSpLocks/>
            </p:cNvCxnSpPr>
            <p:nvPr/>
          </p:nvCxnSpPr>
          <p:spPr>
            <a:xfrm>
              <a:off x="5843656" y="3569578"/>
              <a:ext cx="156822" cy="0"/>
            </a:xfrm>
            <a:prstGeom prst="line">
              <a:avLst/>
            </a:prstGeom>
            <a:noFill/>
            <a:ln w="22225" cap="flat" cmpd="sng" algn="ctr">
              <a:solidFill>
                <a:srgbClr val="156082">
                  <a:lumMod val="75000"/>
                </a:srgbClr>
              </a:solidFill>
              <a:prstDash val="solid"/>
              <a:round/>
            </a:ln>
            <a:effectLst/>
          </p:spPr>
        </p:cxn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45FB8-94C2-5536-4717-A1D3009F495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E22CEDB-87C8-9CED-23EE-5E8C7D8FFC96}"/>
              </a:ext>
            </a:extLst>
          </p:cNvPr>
          <p:cNvSpPr>
            <a:spLocks noGrp="1"/>
          </p:cNvSpPr>
          <p:nvPr>
            <p:ph type="title"/>
          </p:nvPr>
        </p:nvSpPr>
        <p:spPr>
          <a:xfrm>
            <a:off x="838200" y="365125"/>
            <a:ext cx="10515600" cy="1094421"/>
          </a:xfrm>
        </p:spPr>
        <p:txBody>
          <a:bodyPr>
            <a:normAutofit/>
          </a:bodyPr>
          <a:lstStyle/>
          <a:p>
            <a:pPr algn="ct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Vắc-xin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mang</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lại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thêm</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những</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năm</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sống</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khỏe</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mạnh</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br>
              <a:rPr lang="vi-VN"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b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và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kéo</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dài</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en-US" sz="3400" b="1" spc="-50" dirty="0" err="1">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tuổi</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thọ</a:t>
            </a:r>
            <a:r>
              <a:rPr lang="en-US" sz="34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3</a:t>
            </a:r>
            <a:endParaRPr lang="en-US" sz="34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14E2E9C3-8A82-0716-002A-3A5D144C2000}"/>
              </a:ext>
            </a:extLst>
          </p:cNvPr>
          <p:cNvSpPr txBox="1"/>
          <p:nvPr/>
        </p:nvSpPr>
        <p:spPr>
          <a:xfrm flipH="1">
            <a:off x="1887250" y="4567457"/>
            <a:ext cx="10032172" cy="830997"/>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hững</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uố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ia</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vi-VN"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đầu tư mạnh vào chương trình tiêm chủng thường đạt được mức tăng tuổi thọ trung bình cao hơn</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24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6,7</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AAE7DB2-9EF6-7258-69A4-57373122768E}"/>
              </a:ext>
            </a:extLst>
          </p:cNvPr>
          <p:cNvSpPr txBox="1"/>
          <p:nvPr/>
        </p:nvSpPr>
        <p:spPr>
          <a:xfrm>
            <a:off x="1887250" y="1902504"/>
            <a:ext cx="963559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rung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ình</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á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uố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ia</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huộ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ổ</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hứ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ợp</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ác</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và</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hát</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riển</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Kinh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ế</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OECD) chi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khoảng</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5%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ngân</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sách</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y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ế</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cho</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cô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ác</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phò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ngừa</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24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4</a:t>
            </a:r>
          </a:p>
        </p:txBody>
      </p:sp>
      <p:sp>
        <p:nvSpPr>
          <p:cNvPr id="5" name="TextBox 4">
            <a:extLst>
              <a:ext uri="{FF2B5EF4-FFF2-40B4-BE49-F238E27FC236}">
                <a16:creationId xmlns:a16="http://schemas.microsoft.com/office/drawing/2014/main" id="{6F1660D8-B21D-420C-2390-B329AE3CEAAB}"/>
              </a:ext>
            </a:extLst>
          </p:cNvPr>
          <p:cNvSpPr txBox="1"/>
          <p:nvPr/>
        </p:nvSpPr>
        <p:spPr>
          <a:xfrm>
            <a:off x="1887250" y="3073760"/>
            <a:ext cx="993327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ột</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ghiên</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ứu</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ho</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hấy</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ằ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việc</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ă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1%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ỷ</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lệ</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iêm</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vắc-xin</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cúm</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có</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liên</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quan</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đến</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mức</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ă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0,6% chi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iêu</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tru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bình</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hàng</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2400" b="1" i="0" u="none" strike="noStrike" kern="1200" cap="none" spc="0" normalizeH="0" baseline="0" noProof="0" dirty="0" err="1">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năm</a:t>
            </a:r>
            <a:r>
              <a:rPr kumimoji="0" lang="en-GB" sz="2400" b="1" i="0" u="none" strike="noStrike" kern="1200" cap="none" spc="0" normalizeH="0" baseline="0" noProof="0" dirty="0">
                <a:ln>
                  <a:noFill/>
                </a:ln>
                <a:solidFill>
                  <a:srgbClr val="156082"/>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vi-VN"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ủa người từ 60 tuổi trở lên</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24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5</a:t>
            </a: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p>
        </p:txBody>
      </p:sp>
      <p:pic>
        <p:nvPicPr>
          <p:cNvPr id="6" name="Graphic 5" descr="Money outline">
            <a:extLst>
              <a:ext uri="{FF2B5EF4-FFF2-40B4-BE49-F238E27FC236}">
                <a16:creationId xmlns:a16="http://schemas.microsoft.com/office/drawing/2014/main" id="{0C30DFA8-D584-7EBB-B773-1A54780E327A}"/>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0131" y="3145151"/>
            <a:ext cx="914400" cy="914400"/>
          </a:xfrm>
          <a:prstGeom prst="rect">
            <a:avLst/>
          </a:prstGeom>
        </p:spPr>
      </p:pic>
      <p:pic>
        <p:nvPicPr>
          <p:cNvPr id="7" name="Graphic 6" descr="Bank outline">
            <a:extLst>
              <a:ext uri="{FF2B5EF4-FFF2-40B4-BE49-F238E27FC236}">
                <a16:creationId xmlns:a16="http://schemas.microsoft.com/office/drawing/2014/main" id="{8CC1A331-9D38-6418-5562-D6E9566C2B0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0131" y="1918018"/>
            <a:ext cx="914400" cy="914400"/>
          </a:xfrm>
          <a:prstGeom prst="rect">
            <a:avLst/>
          </a:prstGeom>
        </p:spPr>
      </p:pic>
      <p:pic>
        <p:nvPicPr>
          <p:cNvPr id="8" name="Graphic 7" descr="Linear Graph outline">
            <a:extLst>
              <a:ext uri="{FF2B5EF4-FFF2-40B4-BE49-F238E27FC236}">
                <a16:creationId xmlns:a16="http://schemas.microsoft.com/office/drawing/2014/main" id="{925402A7-260B-EDB0-A209-34061671F79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0131" y="4484054"/>
            <a:ext cx="914400" cy="914400"/>
          </a:xfrm>
          <a:prstGeom prst="rect">
            <a:avLst/>
          </a:prstGeom>
        </p:spPr>
      </p:pic>
      <p:sp>
        <p:nvSpPr>
          <p:cNvPr id="9" name="TextBox 8">
            <a:extLst>
              <a:ext uri="{FF2B5EF4-FFF2-40B4-BE49-F238E27FC236}">
                <a16:creationId xmlns:a16="http://schemas.microsoft.com/office/drawing/2014/main" id="{54DE90C8-6571-42A0-7001-2E0BBA767E7F}"/>
              </a:ext>
            </a:extLst>
          </p:cNvPr>
          <p:cNvSpPr txBox="1"/>
          <p:nvPr/>
        </p:nvSpPr>
        <p:spPr>
          <a:xfrm>
            <a:off x="380132" y="6038175"/>
            <a:ext cx="11440393" cy="646331"/>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3. McKinsey Health Institute (2022) Adding years to life and life to years. Available at: https://www.mckinsey.com/mhi/our-insights/adding-years-to-life-and-life-to-years.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endPar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4. OECD (2023) Health at a Glance 2023. Available at: https://www.oecd-ilibrary.org/deliver/7a7afb35-en.pdf?itemId=%2Fcontent%2Fpublication%2F7a7afb35-en&amp;mimeType=pdf.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endPar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5. ILC UK (2020) Health equals wealth: The global longevity dividend. Available at: https://ilcuk.org.uk/wp-content/uploads/2021/04/ILC-Health-equals-wealth-The-global-longevity-dividend.pdf.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endPar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6. ILC UK (2022) Healthy Ageing and Prevention Index. Available at: https://ilcuk.org.uk/preventionindex/top-index-findings/.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endPar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7. WHO (2024) World Health Organization Global Health Expenditure Database https://apps.who.int/nha/database. Accessed </a:t>
            </a:r>
            <a:r>
              <a:rPr kumimoji="0" lang="en-CA"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ugust 2025</a:t>
            </a: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5739984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FE6FC-71CC-6020-53B6-953D2743FFE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62E80D-F130-1039-57E4-3950F641D79B}"/>
              </a:ext>
            </a:extLst>
          </p:cNvPr>
          <p:cNvSpPr>
            <a:spLocks noGrp="1"/>
          </p:cNvSpPr>
          <p:nvPr>
            <p:ph type="title"/>
          </p:nvPr>
        </p:nvSpPr>
        <p:spPr>
          <a:xfrm>
            <a:off x="799321" y="196892"/>
            <a:ext cx="10515600" cy="910299"/>
          </a:xfrm>
        </p:spPr>
        <p:txBody>
          <a:bodyPr>
            <a:normAutofit/>
          </a:bodyPr>
          <a:lstStyle/>
          <a:p>
            <a:pPr algn="ctr"/>
            <a: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Hiệu ứng có thể quan sát sau chủng ngừa</a:t>
            </a:r>
            <a:endParaRPr lang="en-US" sz="36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932985EA-F754-455A-BB64-98DC479BDF0D}"/>
              </a:ext>
            </a:extLst>
          </p:cNvPr>
          <p:cNvSpPr/>
          <p:nvPr/>
        </p:nvSpPr>
        <p:spPr>
          <a:xfrm>
            <a:off x="12552" y="6414838"/>
            <a:ext cx="12135178"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k Doherty, Philippe Buchy, Baudouin </a:t>
            </a:r>
            <a:r>
              <a:rPr kumimoji="0" lang="fr-BE"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tandaert</a:t>
            </a: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rlo Giaquinto, David Prado- </a:t>
            </a:r>
            <a:r>
              <a:rPr kumimoji="0" lang="fr-BE"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hrs</a:t>
            </a: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ccine impact: </a:t>
            </a:r>
            <a:r>
              <a:rPr kumimoji="0" lang="fr-BE"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enefits</a:t>
            </a: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r </a:t>
            </a:r>
            <a:r>
              <a:rPr kumimoji="0" lang="fr-BE"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uman</a:t>
            </a: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fr-BE"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r>
              <a:rPr kumimoji="0" 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ccine, Volume 34, Issue 52, 2016, Pages 6707-6714</a:t>
            </a:r>
            <a:r>
              <a:rPr kumimoji="0" lang="en-US" altLang="fr-BE"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ärnighausen</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 </a:t>
            </a:r>
            <a:r>
              <a:rPr kumimoji="0" lang="en-GB"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Proc Natl </a:t>
            </a:r>
            <a:r>
              <a:rPr kumimoji="0" lang="en-GB" sz="105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ad</a:t>
            </a:r>
            <a:r>
              <a:rPr kumimoji="0" lang="en-GB"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ci USA </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4;111:12313–12319</a:t>
            </a:r>
          </a:p>
        </p:txBody>
      </p:sp>
      <p:grpSp>
        <p:nvGrpSpPr>
          <p:cNvPr id="3" name="Group 2">
            <a:extLst>
              <a:ext uri="{FF2B5EF4-FFF2-40B4-BE49-F238E27FC236}">
                <a16:creationId xmlns:a16="http://schemas.microsoft.com/office/drawing/2014/main" id="{AAB522F5-E8AD-EEE6-BF20-0C589EB53934}"/>
              </a:ext>
            </a:extLst>
          </p:cNvPr>
          <p:cNvGrpSpPr/>
          <p:nvPr/>
        </p:nvGrpSpPr>
        <p:grpSpPr>
          <a:xfrm>
            <a:off x="89092" y="1698729"/>
            <a:ext cx="5719446" cy="4072890"/>
            <a:chOff x="0" y="737902"/>
            <a:chExt cx="4894945" cy="3304725"/>
          </a:xfrm>
          <a:noFill/>
        </p:grpSpPr>
        <p:sp>
          <p:nvSpPr>
            <p:cNvPr id="5" name="Rectangle 4">
              <a:extLst>
                <a:ext uri="{FF2B5EF4-FFF2-40B4-BE49-F238E27FC236}">
                  <a16:creationId xmlns:a16="http://schemas.microsoft.com/office/drawing/2014/main" id="{99E71D69-F4DD-FB95-5B62-E75F3A64037C}"/>
                </a:ext>
              </a:extLst>
            </p:cNvPr>
            <p:cNvSpPr/>
            <p:nvPr/>
          </p:nvSpPr>
          <p:spPr>
            <a:xfrm>
              <a:off x="0" y="737902"/>
              <a:ext cx="4848750" cy="3304011"/>
            </a:xfrm>
            <a:prstGeom prst="rect">
              <a:avLst/>
            </a:prstGeom>
            <a:grpFill/>
            <a:ln w="12700" cap="flat" cmpd="sng" algn="ctr">
              <a:solidFill>
                <a:srgbClr val="297FD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565A04D4-7BC7-C37C-2F54-0A4128164C38}"/>
                </a:ext>
              </a:extLst>
            </p:cNvPr>
            <p:cNvSpPr txBox="1"/>
            <p:nvPr/>
          </p:nvSpPr>
          <p:spPr>
            <a:xfrm>
              <a:off x="1408707" y="923336"/>
              <a:ext cx="3236597" cy="550893"/>
            </a:xfrm>
            <a:prstGeom prst="rect">
              <a:avLst/>
            </a:prstGeom>
            <a:grpFill/>
          </p:spPr>
          <p:txBody>
            <a:bodyPr wrap="square" lIns="0" tIns="0" rIns="0" bIns="0" rtlCol="0" anchor="ctr">
              <a:noAutofit/>
            </a:bodyPr>
            <a:lstStyle/>
            <a:p>
              <a:pPr marL="83820" marR="0" lvl="0" indent="0" algn="l" defTabSz="914400" rtl="0" eaLnBrk="1" fontAlgn="auto" latinLnBrk="0" hangingPunct="1">
                <a:lnSpc>
                  <a:spcPct val="100000"/>
                </a:lnSpc>
                <a:spcBef>
                  <a:spcPts val="0"/>
                </a:spcBef>
                <a:spcAft>
                  <a:spcPts val="0"/>
                </a:spcAft>
                <a:buClr>
                  <a:prstClr val="black"/>
                </a:buClr>
                <a:buSzTx/>
                <a:buFontTx/>
                <a:buNone/>
                <a:tabLst/>
                <a:defRPr/>
              </a:pP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ả</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ă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ắc</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endPar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DA07A49-9784-D986-224A-B6D695EEAF93}"/>
                </a:ext>
              </a:extLst>
            </p:cNvPr>
            <p:cNvSpPr txBox="1"/>
            <p:nvPr/>
          </p:nvSpPr>
          <p:spPr>
            <a:xfrm>
              <a:off x="1408707" y="1716348"/>
              <a:ext cx="3256059" cy="534155"/>
            </a:xfrm>
            <a:prstGeom prst="rect">
              <a:avLst/>
            </a:prstGeom>
            <a:grpFill/>
          </p:spPr>
          <p:txBody>
            <a:bodyPr wrap="square" lIns="0" tIns="0" rIns="0" bIns="0" rtlCol="0" anchor="ctr">
              <a:noAutofit/>
            </a:bodyPr>
            <a:lstStyle/>
            <a:p>
              <a:pPr marL="83820" marR="0" lvl="0" indent="0" algn="l" defTabSz="914400" rtl="0" eaLnBrk="1" fontAlgn="auto" latinLnBrk="0" hangingPunct="1">
                <a:lnSpc>
                  <a:spcPct val="100000"/>
                </a:lnSpc>
                <a:spcBef>
                  <a:spcPts val="0"/>
                </a:spcBef>
                <a:spcAft>
                  <a:spcPts val="0"/>
                </a:spcAft>
                <a:buClr>
                  <a:prstClr val="black"/>
                </a:buClr>
                <a:buSzTx/>
                <a:buFontTx/>
                <a:buNone/>
                <a:tabLst/>
                <a:defRPr/>
              </a:pPr>
              <a:r>
                <a:rPr kumimoji="0" lang="fr-BE"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ảo</a:t>
              </a:r>
              <a:r>
                <a:rPr kumimoji="0" lang="fr-BE"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fr-BE"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ệ</a:t>
              </a:r>
              <a:r>
                <a:rPr kumimoji="0" lang="fr-BE"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fr-BE"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ộng</a:t>
              </a:r>
              <a:r>
                <a:rPr kumimoji="0" lang="fr-BE"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fr-BE"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ồng</a:t>
              </a:r>
              <a:endParaRPr kumimoji="0" lang="fr-BE"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056AF6BE-199A-D870-4132-CD2E9A2AAF66}"/>
                </a:ext>
              </a:extLst>
            </p:cNvPr>
            <p:cNvSpPr txBox="1"/>
            <p:nvPr/>
          </p:nvSpPr>
          <p:spPr>
            <a:xfrm>
              <a:off x="1408707" y="2593699"/>
              <a:ext cx="3236595" cy="447946"/>
            </a:xfrm>
            <a:prstGeom prst="rect">
              <a:avLst/>
            </a:prstGeom>
            <a:grpFill/>
          </p:spPr>
          <p:txBody>
            <a:bodyPr wrap="square" lIns="0" tIns="0" rIns="0" bIns="0" rtlCol="0" anchor="ctr">
              <a:noAutofit/>
            </a:bodyPr>
            <a:lstStyle/>
            <a:p>
              <a:pPr marL="83820" marR="0" lvl="0" indent="0" algn="l" defTabSz="914400" rtl="0" eaLnBrk="1" fontAlgn="auto" latinLnBrk="0" hangingPunct="1">
                <a:lnSpc>
                  <a:spcPct val="100000"/>
                </a:lnSpc>
                <a:spcBef>
                  <a:spcPts val="0"/>
                </a:spcBef>
                <a:spcAft>
                  <a:spcPts val="0"/>
                </a:spcAft>
                <a:buClr>
                  <a:prstClr val="black"/>
                </a:buClr>
                <a:buSzTx/>
                <a:buFontTx/>
                <a:buNone/>
                <a:tabLst/>
                <a:defRPr/>
              </a:pP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ổ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ộ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ủa</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ảo</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ệ</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ực</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ếp</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án</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ếp</a:t>
              </a:r>
              <a:endParaRPr kumimoji="0" lang="fr-BE"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C66A4C45-2777-0B11-ECF2-3320B2D8F2AA}"/>
                </a:ext>
              </a:extLst>
            </p:cNvPr>
            <p:cNvSpPr txBox="1"/>
            <p:nvPr/>
          </p:nvSpPr>
          <p:spPr>
            <a:xfrm>
              <a:off x="1425496" y="3239374"/>
              <a:ext cx="3469449" cy="803253"/>
            </a:xfrm>
            <a:prstGeom prst="rect">
              <a:avLst/>
            </a:prstGeom>
            <a:grpFill/>
          </p:spPr>
          <p:txBody>
            <a:bodyPr wrap="square" lIns="0" tIns="0" rIns="0" bIns="0" rtlCol="0" anchor="ctr">
              <a:noAutofit/>
            </a:bodyPr>
            <a:lstStyle/>
            <a:p>
              <a:pPr marL="83820" marR="0" lvl="0" indent="0" algn="l" defTabSz="914400" rtl="0" eaLnBrk="1" fontAlgn="auto" latinLnBrk="0" hangingPunct="1">
                <a:lnSpc>
                  <a:spcPct val="100000"/>
                </a:lnSpc>
                <a:spcBef>
                  <a:spcPts val="0"/>
                </a:spcBef>
                <a:spcAft>
                  <a:spcPts val="0"/>
                </a:spcAft>
                <a:buClr>
                  <a:prstClr val="black"/>
                </a:buClr>
                <a:buSzTx/>
                <a:buFontTx/>
                <a:buNone/>
                <a:tabLst/>
                <a:defRPr/>
              </a:pP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ất</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ả</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ệu</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t>
              </a:r>
              <a:r>
                <a:rPr kumimoji="0" lang="vi-VN"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ư</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ơ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ình</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ủ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ừa</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ên dân</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ố</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ồm</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ả</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ối</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t>
              </a:r>
              <a:r>
                <a:rPr kumimoji="0" lang="vi-VN"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ư</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ợ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đã và chưa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ủng</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ừa</a:t>
              </a:r>
            </a:p>
          </p:txBody>
        </p:sp>
        <p:grpSp>
          <p:nvGrpSpPr>
            <p:cNvPr id="11" name="Group 10">
              <a:extLst>
                <a:ext uri="{FF2B5EF4-FFF2-40B4-BE49-F238E27FC236}">
                  <a16:creationId xmlns:a16="http://schemas.microsoft.com/office/drawing/2014/main" id="{DF18B95A-87A0-7B71-C34B-7FF3C707B3F6}"/>
                </a:ext>
              </a:extLst>
            </p:cNvPr>
            <p:cNvGrpSpPr/>
            <p:nvPr/>
          </p:nvGrpSpPr>
          <p:grpSpPr>
            <a:xfrm>
              <a:off x="250990" y="857854"/>
              <a:ext cx="1157164" cy="661832"/>
              <a:chOff x="525309" y="2179320"/>
              <a:chExt cx="1913091" cy="851323"/>
            </a:xfrm>
            <a:grpFill/>
          </p:grpSpPr>
          <p:sp>
            <p:nvSpPr>
              <p:cNvPr id="22" name="Rounded Rectangle 3">
                <a:extLst>
                  <a:ext uri="{FF2B5EF4-FFF2-40B4-BE49-F238E27FC236}">
                    <a16:creationId xmlns:a16="http://schemas.microsoft.com/office/drawing/2014/main" id="{3BE2DEA1-9A05-D7B2-97D3-ACD0CA93B760}"/>
                  </a:ext>
                </a:extLst>
              </p:cNvPr>
              <p:cNvSpPr/>
              <p:nvPr/>
            </p:nvSpPr>
            <p:spPr>
              <a:xfrm>
                <a:off x="525309" y="2179320"/>
                <a:ext cx="1913091" cy="851323"/>
              </a:xfrm>
              <a:prstGeom prst="roundRect">
                <a:avLst/>
              </a:prstGeom>
              <a:grpFill/>
              <a:ln w="15875" cap="flat" cmpd="sng" algn="ctr">
                <a:solidFill>
                  <a:srgbClr val="297FD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416E79D3-6C40-127F-F47A-F1EB36E98433}"/>
                  </a:ext>
                </a:extLst>
              </p:cNvPr>
              <p:cNvSpPr txBox="1"/>
              <p:nvPr/>
            </p:nvSpPr>
            <p:spPr>
              <a:xfrm>
                <a:off x="640080" y="2302629"/>
                <a:ext cx="1691640" cy="592971"/>
              </a:xfrm>
              <a:prstGeom prst="rect">
                <a:avLst/>
              </a:prstGeom>
              <a:grpFill/>
              <a:ln w="15875" cap="flat" cmpd="sng" algn="ctr">
                <a:noFill/>
                <a:prstDash val="solid"/>
              </a:ln>
              <a:effectLst/>
            </p:spPr>
            <p:txBody>
              <a:bodyPr wrap="square" lIns="0" tIns="0" rIns="0" bIns="0" rtlCol="0" anchor="ctr">
                <a:noAutofit/>
              </a:bodyPr>
              <a:lstStyle/>
              <a:p>
                <a:pPr marL="83820" marR="0" lvl="0" indent="0" algn="ctr" defTabSz="914400" rtl="0" eaLnBrk="1" fontAlgn="auto" latinLnBrk="0" hangingPunct="1">
                  <a:lnSpc>
                    <a:spcPct val="100000"/>
                  </a:lnSpc>
                  <a:spcBef>
                    <a:spcPts val="0"/>
                  </a:spcBef>
                  <a:spcAft>
                    <a:spcPts val="0"/>
                  </a:spcAft>
                  <a:buClr>
                    <a:prstClr val="black"/>
                  </a:buClr>
                  <a:buSzTx/>
                  <a:buFontTx/>
                  <a:buNone/>
                  <a:tabLst/>
                  <a:defRPr/>
                </a:pPr>
                <a:r>
                  <a:rPr kumimoji="0" lang="en-US" sz="20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Trực </a:t>
                </a:r>
                <a:r>
                  <a:rPr kumimoji="0" lang="en-US" sz="2000" b="1" i="0" u="none" strike="noStrike" kern="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tiếp</a:t>
                </a:r>
                <a:endParaRPr kumimoji="0" lang="en-US" sz="20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51A5F3F9-9426-B9A1-342A-3DA98DE5A969}"/>
                </a:ext>
              </a:extLst>
            </p:cNvPr>
            <p:cNvGrpSpPr/>
            <p:nvPr/>
          </p:nvGrpSpPr>
          <p:grpSpPr>
            <a:xfrm>
              <a:off x="239336" y="1664443"/>
              <a:ext cx="1157164" cy="661832"/>
              <a:chOff x="525309" y="2179320"/>
              <a:chExt cx="1913091" cy="851323"/>
            </a:xfrm>
            <a:grpFill/>
          </p:grpSpPr>
          <p:sp>
            <p:nvSpPr>
              <p:cNvPr id="20" name="Rounded Rectangle 20">
                <a:extLst>
                  <a:ext uri="{FF2B5EF4-FFF2-40B4-BE49-F238E27FC236}">
                    <a16:creationId xmlns:a16="http://schemas.microsoft.com/office/drawing/2014/main" id="{CCC50E27-8822-8CA0-9987-F0D9C4BC3076}"/>
                  </a:ext>
                </a:extLst>
              </p:cNvPr>
              <p:cNvSpPr/>
              <p:nvPr/>
            </p:nvSpPr>
            <p:spPr>
              <a:xfrm>
                <a:off x="525309" y="2179320"/>
                <a:ext cx="1913091" cy="851323"/>
              </a:xfrm>
              <a:prstGeom prst="roundRect">
                <a:avLst/>
              </a:prstGeom>
              <a:grpFill/>
              <a:ln w="15875" cap="flat" cmpd="sng" algn="ctr">
                <a:solidFill>
                  <a:srgbClr val="297FD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F92C4DE-F13C-2679-8E80-49AA8F5303E1}"/>
                  </a:ext>
                </a:extLst>
              </p:cNvPr>
              <p:cNvSpPr txBox="1"/>
              <p:nvPr/>
            </p:nvSpPr>
            <p:spPr>
              <a:xfrm>
                <a:off x="640080" y="2302629"/>
                <a:ext cx="1691640" cy="592971"/>
              </a:xfrm>
              <a:prstGeom prst="rect">
                <a:avLst/>
              </a:prstGeom>
              <a:grpFill/>
              <a:ln w="15875" cap="flat" cmpd="sng" algn="ctr">
                <a:noFill/>
                <a:prstDash val="solid"/>
              </a:ln>
              <a:effectLst/>
            </p:spPr>
            <p:txBody>
              <a:bodyPr wrap="square" lIns="0" tIns="0" rIns="0" bIns="0" rtlCol="0" anchor="ctr">
                <a:noAutofit/>
              </a:bodyPr>
              <a:lstStyle/>
              <a:p>
                <a:pPr marL="83820" marR="0" lvl="0" indent="0" algn="ctr" defTabSz="914400" rtl="0" eaLnBrk="1" fontAlgn="auto" latinLnBrk="0" hangingPunct="1">
                  <a:lnSpc>
                    <a:spcPct val="100000"/>
                  </a:lnSpc>
                  <a:spcBef>
                    <a:spcPts val="0"/>
                  </a:spcBef>
                  <a:spcAft>
                    <a:spcPts val="0"/>
                  </a:spcAft>
                  <a:buClr>
                    <a:prstClr val="black"/>
                  </a:buClr>
                  <a:buSzTx/>
                  <a:buFontTx/>
                  <a:buNone/>
                  <a:tabLst/>
                  <a:defRPr/>
                </a:pPr>
                <a:r>
                  <a:rPr kumimoji="0" lang="en-US" sz="2000" b="1" i="0" u="none" strike="noStrike" kern="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Gián</a:t>
                </a:r>
                <a:r>
                  <a:rPr kumimoji="0" lang="en-US" sz="20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r>
                  <a:rPr kumimoji="0" lang="en-US" sz="2000" b="1" i="0" u="none" strike="noStrike" kern="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tiếp</a:t>
                </a:r>
                <a:endParaRPr kumimoji="0" lang="en-US" sz="20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grpSp>
        <p:grpSp>
          <p:nvGrpSpPr>
            <p:cNvPr id="13" name="Group 12">
              <a:extLst>
                <a:ext uri="{FF2B5EF4-FFF2-40B4-BE49-F238E27FC236}">
                  <a16:creationId xmlns:a16="http://schemas.microsoft.com/office/drawing/2014/main" id="{324F2BAC-9A70-C376-067B-B39C5546B958}"/>
                </a:ext>
              </a:extLst>
            </p:cNvPr>
            <p:cNvGrpSpPr/>
            <p:nvPr/>
          </p:nvGrpSpPr>
          <p:grpSpPr>
            <a:xfrm>
              <a:off x="239335" y="2471032"/>
              <a:ext cx="1157164" cy="661832"/>
              <a:chOff x="525309" y="2179320"/>
              <a:chExt cx="1913091" cy="851323"/>
            </a:xfrm>
            <a:grpFill/>
          </p:grpSpPr>
          <p:sp>
            <p:nvSpPr>
              <p:cNvPr id="18" name="Rounded Rectangle 23">
                <a:extLst>
                  <a:ext uri="{FF2B5EF4-FFF2-40B4-BE49-F238E27FC236}">
                    <a16:creationId xmlns:a16="http://schemas.microsoft.com/office/drawing/2014/main" id="{BF7B5EA4-7C5B-D67A-393D-3A8FC074DC4D}"/>
                  </a:ext>
                </a:extLst>
              </p:cNvPr>
              <p:cNvSpPr/>
              <p:nvPr/>
            </p:nvSpPr>
            <p:spPr>
              <a:xfrm>
                <a:off x="525309" y="2179320"/>
                <a:ext cx="1913091" cy="851323"/>
              </a:xfrm>
              <a:prstGeom prst="roundRect">
                <a:avLst/>
              </a:prstGeom>
              <a:grpFill/>
              <a:ln w="15875" cap="flat" cmpd="sng" algn="ctr">
                <a:solidFill>
                  <a:srgbClr val="297FD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2DA70F55-A04A-DA3D-DF3A-DFB9331AB591}"/>
                  </a:ext>
                </a:extLst>
              </p:cNvPr>
              <p:cNvSpPr txBox="1"/>
              <p:nvPr/>
            </p:nvSpPr>
            <p:spPr>
              <a:xfrm>
                <a:off x="640080" y="2302629"/>
                <a:ext cx="1691640" cy="592971"/>
              </a:xfrm>
              <a:prstGeom prst="rect">
                <a:avLst/>
              </a:prstGeom>
              <a:grpFill/>
              <a:ln w="15875" cap="flat" cmpd="sng" algn="ctr">
                <a:noFill/>
                <a:prstDash val="solid"/>
              </a:ln>
              <a:effectLst/>
            </p:spPr>
            <p:txBody>
              <a:bodyPr wrap="square" lIns="0" tIns="0" rIns="0" bIns="0" rtlCol="0" anchor="ctr">
                <a:noAutofit/>
              </a:bodyPr>
              <a:lstStyle/>
              <a:p>
                <a:pPr marL="83820" marR="0" lvl="0" indent="0" algn="ctr" defTabSz="914400" rtl="0" eaLnBrk="1" fontAlgn="auto" latinLnBrk="0" hangingPunct="1">
                  <a:lnSpc>
                    <a:spcPct val="100000"/>
                  </a:lnSpc>
                  <a:spcBef>
                    <a:spcPts val="0"/>
                  </a:spcBef>
                  <a:spcAft>
                    <a:spcPts val="0"/>
                  </a:spcAft>
                  <a:buClr>
                    <a:prstClr val="black"/>
                  </a:buClr>
                  <a:buSzTx/>
                  <a:buFontTx/>
                  <a:buNone/>
                  <a:tabLst/>
                  <a:defRPr/>
                </a:pPr>
                <a:r>
                  <a:rPr kumimoji="0" lang="en-US" sz="2000" b="1" i="0" u="none" strike="noStrike" kern="0" cap="none" spc="0" normalizeH="0" baseline="0" noProof="0" dirty="0" err="1">
                    <a:ln>
                      <a:noFill/>
                    </a:ln>
                    <a:solidFill>
                      <a:srgbClr val="FFC000"/>
                    </a:solidFill>
                    <a:effectLst/>
                    <a:uLnTx/>
                    <a:uFillTx/>
                    <a:latin typeface="Arial" panose="020B0604020202020204" pitchFamily="34" charset="0"/>
                    <a:ea typeface="+mn-ea"/>
                    <a:cs typeface="Arial" panose="020B0604020202020204" pitchFamily="34" charset="0"/>
                  </a:rPr>
                  <a:t>Tổng</a:t>
                </a:r>
                <a:r>
                  <a:rPr kumimoji="0" lang="en-US" sz="2000" b="1" i="0" u="none" strike="noStrike" kern="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rPr>
                  <a:t> </a:t>
                </a:r>
                <a:r>
                  <a:rPr kumimoji="0" lang="en-US" sz="2000" b="1" i="0" u="none" strike="noStrike" kern="0" cap="none" spc="0" normalizeH="0" baseline="0" noProof="0" dirty="0" err="1">
                    <a:ln>
                      <a:noFill/>
                    </a:ln>
                    <a:solidFill>
                      <a:srgbClr val="FFC000"/>
                    </a:solidFill>
                    <a:effectLst/>
                    <a:uLnTx/>
                    <a:uFillTx/>
                    <a:latin typeface="Arial" panose="020B0604020202020204" pitchFamily="34" charset="0"/>
                    <a:ea typeface="+mn-ea"/>
                    <a:cs typeface="Arial" panose="020B0604020202020204" pitchFamily="34" charset="0"/>
                  </a:rPr>
                  <a:t>cộng</a:t>
                </a:r>
                <a:endParaRPr kumimoji="0" lang="en-US" sz="2000" b="1" i="0" u="none" strike="noStrike" kern="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endParaRPr>
              </a:p>
            </p:txBody>
          </p:sp>
        </p:grpSp>
        <p:grpSp>
          <p:nvGrpSpPr>
            <p:cNvPr id="15" name="Group 14">
              <a:extLst>
                <a:ext uri="{FF2B5EF4-FFF2-40B4-BE49-F238E27FC236}">
                  <a16:creationId xmlns:a16="http://schemas.microsoft.com/office/drawing/2014/main" id="{EC69E0ED-D9C4-0813-E242-8516736DA34A}"/>
                </a:ext>
              </a:extLst>
            </p:cNvPr>
            <p:cNvGrpSpPr/>
            <p:nvPr/>
          </p:nvGrpSpPr>
          <p:grpSpPr>
            <a:xfrm>
              <a:off x="239795" y="3277622"/>
              <a:ext cx="1157164" cy="661832"/>
              <a:chOff x="525309" y="2179320"/>
              <a:chExt cx="1913091" cy="851323"/>
            </a:xfrm>
            <a:grpFill/>
          </p:grpSpPr>
          <p:sp>
            <p:nvSpPr>
              <p:cNvPr id="16" name="Rounded Rectangle 26">
                <a:extLst>
                  <a:ext uri="{FF2B5EF4-FFF2-40B4-BE49-F238E27FC236}">
                    <a16:creationId xmlns:a16="http://schemas.microsoft.com/office/drawing/2014/main" id="{984B4894-4C88-CE00-D68D-964D17168309}"/>
                  </a:ext>
                </a:extLst>
              </p:cNvPr>
              <p:cNvSpPr/>
              <p:nvPr/>
            </p:nvSpPr>
            <p:spPr>
              <a:xfrm>
                <a:off x="525309" y="2179320"/>
                <a:ext cx="1913091" cy="851323"/>
              </a:xfrm>
              <a:prstGeom prst="roundRect">
                <a:avLst/>
              </a:prstGeom>
              <a:grpFill/>
              <a:ln w="15875" cap="flat" cmpd="sng" algn="ctr">
                <a:solidFill>
                  <a:srgbClr val="297FD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049F4D7D-F54E-E973-DE42-4E045158FD1A}"/>
                  </a:ext>
                </a:extLst>
              </p:cNvPr>
              <p:cNvSpPr txBox="1"/>
              <p:nvPr/>
            </p:nvSpPr>
            <p:spPr>
              <a:xfrm>
                <a:off x="640080" y="2302629"/>
                <a:ext cx="1691640" cy="592971"/>
              </a:xfrm>
              <a:prstGeom prst="rect">
                <a:avLst/>
              </a:prstGeom>
              <a:grpFill/>
              <a:ln w="15875" cap="flat" cmpd="sng" algn="ctr">
                <a:noFill/>
                <a:prstDash val="solid"/>
              </a:ln>
              <a:effectLst/>
            </p:spPr>
            <p:txBody>
              <a:bodyPr wrap="square" lIns="0" tIns="0" rIns="0" bIns="0" rtlCol="0" anchor="ctr">
                <a:noAutofit/>
              </a:bodyPr>
              <a:lstStyle/>
              <a:p>
                <a:pPr marL="83820" marR="0" lvl="0" indent="0" algn="ctr" defTabSz="914400" rtl="0" eaLnBrk="1" fontAlgn="auto" latinLnBrk="0" hangingPunct="1">
                  <a:lnSpc>
                    <a:spcPct val="100000"/>
                  </a:lnSpc>
                  <a:spcBef>
                    <a:spcPts val="0"/>
                  </a:spcBef>
                  <a:spcAft>
                    <a:spcPts val="0"/>
                  </a:spcAft>
                  <a:buClr>
                    <a:prstClr val="black"/>
                  </a:buClr>
                  <a:buSzTx/>
                  <a:buFontTx/>
                  <a:buNone/>
                  <a:tabLst/>
                  <a:defRPr/>
                </a:pPr>
                <a:r>
                  <a:rPr kumimoji="0" lang="en-US" sz="2000" b="1" i="0" u="none" strike="noStrike" kern="0" cap="none" spc="0" normalizeH="0" baseline="0" noProof="0" dirty="0" err="1">
                    <a:ln>
                      <a:noFill/>
                    </a:ln>
                    <a:solidFill>
                      <a:srgbClr val="33CC33"/>
                    </a:solidFill>
                    <a:effectLst/>
                    <a:uLnTx/>
                    <a:uFillTx/>
                    <a:latin typeface="Arial" panose="020B0604020202020204" pitchFamily="34" charset="0"/>
                    <a:ea typeface="+mn-ea"/>
                    <a:cs typeface="Arial" panose="020B0604020202020204" pitchFamily="34" charset="0"/>
                  </a:rPr>
                  <a:t>Tổng</a:t>
                </a:r>
                <a:r>
                  <a:rPr kumimoji="0" lang="en-US" sz="2000" b="1" i="0" u="none" strike="noStrike" kern="0" cap="none" spc="0" normalizeH="0" baseline="0" noProof="0" dirty="0">
                    <a:ln>
                      <a:noFill/>
                    </a:ln>
                    <a:solidFill>
                      <a:srgbClr val="33CC33"/>
                    </a:solidFill>
                    <a:effectLst/>
                    <a:uLnTx/>
                    <a:uFillTx/>
                    <a:latin typeface="Arial" panose="020B0604020202020204" pitchFamily="34" charset="0"/>
                    <a:ea typeface="+mn-ea"/>
                    <a:cs typeface="Arial" panose="020B0604020202020204" pitchFamily="34" charset="0"/>
                  </a:rPr>
                  <a:t> </a:t>
                </a:r>
                <a:r>
                  <a:rPr kumimoji="0" lang="en-US" sz="2000" b="1" i="0" u="none" strike="noStrike" kern="0" cap="none" spc="0" normalizeH="0" baseline="0" noProof="0" dirty="0" err="1">
                    <a:ln>
                      <a:noFill/>
                    </a:ln>
                    <a:solidFill>
                      <a:srgbClr val="33CC33"/>
                    </a:solidFill>
                    <a:effectLst/>
                    <a:uLnTx/>
                    <a:uFillTx/>
                    <a:latin typeface="Arial" panose="020B0604020202020204" pitchFamily="34" charset="0"/>
                    <a:ea typeface="+mn-ea"/>
                    <a:cs typeface="Arial" panose="020B0604020202020204" pitchFamily="34" charset="0"/>
                  </a:rPr>
                  <a:t>hợp</a:t>
                </a:r>
                <a:endParaRPr kumimoji="0" lang="en-US" sz="2000" b="1" i="0" u="none" strike="noStrike" kern="0" cap="none" spc="0" normalizeH="0" baseline="0" noProof="0" dirty="0">
                  <a:ln>
                    <a:noFill/>
                  </a:ln>
                  <a:solidFill>
                    <a:srgbClr val="33CC33"/>
                  </a:solidFill>
                  <a:effectLst/>
                  <a:uLnTx/>
                  <a:uFillTx/>
                  <a:latin typeface="Arial" panose="020B0604020202020204" pitchFamily="34" charset="0"/>
                  <a:ea typeface="+mn-ea"/>
                  <a:cs typeface="Arial" panose="020B0604020202020204" pitchFamily="34" charset="0"/>
                </a:endParaRPr>
              </a:p>
            </p:txBody>
          </p:sp>
        </p:grpSp>
      </p:grpSp>
      <p:grpSp>
        <p:nvGrpSpPr>
          <p:cNvPr id="24" name="Group 23">
            <a:extLst>
              <a:ext uri="{FF2B5EF4-FFF2-40B4-BE49-F238E27FC236}">
                <a16:creationId xmlns:a16="http://schemas.microsoft.com/office/drawing/2014/main" id="{4D52E57B-888B-A577-605B-A427E369C3E2}"/>
              </a:ext>
            </a:extLst>
          </p:cNvPr>
          <p:cNvGrpSpPr/>
          <p:nvPr/>
        </p:nvGrpSpPr>
        <p:grpSpPr>
          <a:xfrm>
            <a:off x="5768825" y="1437109"/>
            <a:ext cx="6259208" cy="4717445"/>
            <a:chOff x="1935480" y="1603045"/>
            <a:chExt cx="8343903" cy="4109070"/>
          </a:xfrm>
        </p:grpSpPr>
        <p:pic>
          <p:nvPicPr>
            <p:cNvPr id="25" name="Picture 24">
              <a:extLst>
                <a:ext uri="{FF2B5EF4-FFF2-40B4-BE49-F238E27FC236}">
                  <a16:creationId xmlns:a16="http://schemas.microsoft.com/office/drawing/2014/main" id="{C9A12108-4E77-FCDE-1593-BCFEAB6BD6E6}"/>
                </a:ext>
              </a:extLst>
            </p:cNvPr>
            <p:cNvPicPr>
              <a:picLocks noChangeAspect="1"/>
            </p:cNvPicPr>
            <p:nvPr/>
          </p:nvPicPr>
          <p:blipFill>
            <a:blip r:embed="rId2"/>
            <a:stretch>
              <a:fillRect/>
            </a:stretch>
          </p:blipFill>
          <p:spPr>
            <a:xfrm rot="10800000">
              <a:off x="1935480" y="1603045"/>
              <a:ext cx="8343903" cy="4109070"/>
            </a:xfrm>
            <a:prstGeom prst="rect">
              <a:avLst/>
            </a:prstGeom>
            <a:ln>
              <a:noFill/>
            </a:ln>
          </p:spPr>
        </p:pic>
        <p:sp>
          <p:nvSpPr>
            <p:cNvPr id="26" name="Content Placeholder 2">
              <a:extLst>
                <a:ext uri="{FF2B5EF4-FFF2-40B4-BE49-F238E27FC236}">
                  <a16:creationId xmlns:a16="http://schemas.microsoft.com/office/drawing/2014/main" id="{DBE36914-4F1D-70EE-C94E-0169F2298950}"/>
                </a:ext>
              </a:extLst>
            </p:cNvPr>
            <p:cNvSpPr txBox="1"/>
            <p:nvPr/>
          </p:nvSpPr>
          <p:spPr>
            <a:xfrm>
              <a:off x="3821750" y="2813912"/>
              <a:ext cx="993294" cy="518373"/>
            </a:xfrm>
            <a:prstGeom prst="rect">
              <a:avLst/>
            </a:prstGeom>
            <a:ln>
              <a:no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vention </a:t>
              </a:r>
              <a:b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illness</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7" name="Content Placeholder 2">
              <a:extLst>
                <a:ext uri="{FF2B5EF4-FFF2-40B4-BE49-F238E27FC236}">
                  <a16:creationId xmlns:a16="http://schemas.microsoft.com/office/drawing/2014/main" id="{531FB1F9-69D9-068C-4757-28E5BB7B622E}"/>
                </a:ext>
              </a:extLst>
            </p:cNvPr>
            <p:cNvSpPr txBox="1"/>
            <p:nvPr/>
          </p:nvSpPr>
          <p:spPr>
            <a:xfrm>
              <a:off x="5405063" y="4349078"/>
              <a:ext cx="1339241" cy="459530"/>
            </a:xfrm>
            <a:prstGeom prst="rect">
              <a:avLst/>
            </a:prstGeom>
            <a:ln>
              <a:no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d labour productivity</a:t>
              </a:r>
              <a:endParaRPr kumimoji="0" lang="en-GB" sz="9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8" name="Content Placeholder 2">
              <a:extLst>
                <a:ext uri="{FF2B5EF4-FFF2-40B4-BE49-F238E27FC236}">
                  <a16:creationId xmlns:a16="http://schemas.microsoft.com/office/drawing/2014/main" id="{0925014F-B1FF-A082-A87E-8DA9333A1673}"/>
                </a:ext>
              </a:extLst>
            </p:cNvPr>
            <p:cNvSpPr txBox="1"/>
            <p:nvPr/>
          </p:nvSpPr>
          <p:spPr>
            <a:xfrm>
              <a:off x="5969950" y="2802930"/>
              <a:ext cx="1311729" cy="540338"/>
            </a:xfrm>
            <a:prstGeom prst="rect">
              <a:avLst/>
            </a:prstGeom>
            <a:ln>
              <a:no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ments to physical and mental health</a:t>
              </a:r>
              <a:endParaRPr kumimoji="0" lang="en-GB" sz="9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9" name="Content Placeholder 2">
              <a:extLst>
                <a:ext uri="{FF2B5EF4-FFF2-40B4-BE49-F238E27FC236}">
                  <a16:creationId xmlns:a16="http://schemas.microsoft.com/office/drawing/2014/main" id="{4808C74D-FA06-3C4A-D437-C8184328B298}"/>
                </a:ext>
              </a:extLst>
            </p:cNvPr>
            <p:cNvSpPr txBox="1"/>
            <p:nvPr/>
          </p:nvSpPr>
          <p:spPr>
            <a:xfrm>
              <a:off x="2511890" y="3937431"/>
              <a:ext cx="1642191" cy="521797"/>
            </a:xfrm>
            <a:prstGeom prst="rect">
              <a:avLst/>
            </a:prstGeom>
            <a:ln>
              <a:noFill/>
            </a:ln>
          </p:spPr>
          <p:txBody>
            <a:bodyPr vert="horz" lIns="91440" tIns="45720" rIns="91440" bIns="45720" rtlCol="0">
              <a:normAutofit/>
            </a:bodyPr>
            <a:lstStyle>
              <a:defPPr>
                <a:defRPr lang="en-US"/>
              </a:defPPr>
              <a:lvl1pPr indent="0" algn="ctr">
                <a:spcBef>
                  <a:spcPct val="20000"/>
                </a:spcBef>
                <a:buFont typeface="Arial" panose="020B0604020202020204" pitchFamily="34" charset="0"/>
                <a:buNone/>
                <a:defRPr sz="1200">
                  <a:latin typeface="Arial" panose="020B0604020202020204" pitchFamily="34" charset="0"/>
                  <a:cs typeface="Arial" panose="020B0604020202020204" pitchFamily="34" charset="0"/>
                </a:defRPr>
              </a:lvl1pPr>
              <a:lvl2pPr indent="0" algn="ctr">
                <a:spcBef>
                  <a:spcPct val="20000"/>
                </a:spcBef>
                <a:buFont typeface="Arial" panose="020B0604020202020204" pitchFamily="34" charset="0"/>
                <a:buNone/>
                <a:defRPr sz="2800">
                  <a:solidFill>
                    <a:schemeClr val="tx1">
                      <a:tint val="75000"/>
                    </a:schemeClr>
                  </a:solidFill>
                </a:defRPr>
              </a:lvl2pPr>
              <a:lvl3pPr indent="0" algn="ctr">
                <a:spcBef>
                  <a:spcPct val="20000"/>
                </a:spcBef>
                <a:buFont typeface="Arial" panose="020B0604020202020204" pitchFamily="34" charset="0"/>
                <a:buNone/>
                <a:defRPr sz="2400">
                  <a:solidFill>
                    <a:schemeClr val="tx1">
                      <a:tint val="75000"/>
                    </a:schemeClr>
                  </a:solidFill>
                </a:defRPr>
              </a:lvl3pPr>
              <a:lvl4pPr indent="0" algn="ctr">
                <a:spcBef>
                  <a:spcPct val="20000"/>
                </a:spcBef>
                <a:buFont typeface="Arial" panose="020B0604020202020204" pitchFamily="34" charset="0"/>
                <a:buNone/>
                <a:defRPr sz="2000">
                  <a:solidFill>
                    <a:schemeClr val="tx1">
                      <a:tint val="75000"/>
                    </a:schemeClr>
                  </a:solidFill>
                </a:defRPr>
              </a:lvl4pPr>
              <a:lvl5pPr indent="0" algn="ctr">
                <a:spcBef>
                  <a:spcPct val="20000"/>
                </a:spcBef>
                <a:buFont typeface="Arial" panose="020B0604020202020204" pitchFamily="34" charset="0"/>
                <a:buNone/>
                <a:defRPr sz="20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vings of medical costs</a:t>
              </a:r>
            </a:p>
          </p:txBody>
        </p:sp>
        <p:sp>
          <p:nvSpPr>
            <p:cNvPr id="30" name="Content Placeholder 2">
              <a:extLst>
                <a:ext uri="{FF2B5EF4-FFF2-40B4-BE49-F238E27FC236}">
                  <a16:creationId xmlns:a16="http://schemas.microsoft.com/office/drawing/2014/main" id="{81E17402-0BED-0EEF-8A27-2ADAD4A86B0A}"/>
                </a:ext>
              </a:extLst>
            </p:cNvPr>
            <p:cNvSpPr txBox="1"/>
            <p:nvPr/>
          </p:nvSpPr>
          <p:spPr>
            <a:xfrm>
              <a:off x="6602993" y="4189127"/>
              <a:ext cx="1854528" cy="470706"/>
            </a:xfrm>
            <a:prstGeom prst="rect">
              <a:avLst/>
            </a:prstGeom>
            <a:ln>
              <a:noFill/>
            </a:ln>
          </p:spPr>
          <p:txBody>
            <a:bodyPr vert="horz" lIns="91440" tIns="45720" rIns="91440" bIns="45720" rtlCol="0">
              <a:noAutofit/>
            </a:bodyPr>
            <a:lstStyle>
              <a:defPPr>
                <a:defRPr lang="en-US"/>
              </a:defPPr>
              <a:lvl1pPr indent="0" algn="ctr">
                <a:spcBef>
                  <a:spcPct val="20000"/>
                </a:spcBef>
                <a:buFont typeface="Arial" panose="020B0604020202020204" pitchFamily="34" charset="0"/>
                <a:buNone/>
                <a:defRPr sz="1400">
                  <a:latin typeface="Arial" panose="020B0604020202020204" pitchFamily="34" charset="0"/>
                  <a:cs typeface="Arial" panose="020B0604020202020204" pitchFamily="34" charset="0"/>
                </a:defRPr>
              </a:lvl1pPr>
              <a:lvl2pPr indent="0" algn="ctr">
                <a:spcBef>
                  <a:spcPct val="20000"/>
                </a:spcBef>
                <a:buFont typeface="Arial" panose="020B0604020202020204" pitchFamily="34" charset="0"/>
                <a:buNone/>
                <a:defRPr sz="2800">
                  <a:solidFill>
                    <a:schemeClr val="tx1">
                      <a:tint val="75000"/>
                    </a:schemeClr>
                  </a:solidFill>
                </a:defRPr>
              </a:lvl2pPr>
              <a:lvl3pPr indent="0" algn="ctr">
                <a:spcBef>
                  <a:spcPct val="20000"/>
                </a:spcBef>
                <a:buFont typeface="Arial" panose="020B0604020202020204" pitchFamily="34" charset="0"/>
                <a:buNone/>
                <a:defRPr sz="2400">
                  <a:solidFill>
                    <a:schemeClr val="tx1">
                      <a:tint val="75000"/>
                    </a:schemeClr>
                  </a:solidFill>
                </a:defRPr>
              </a:lvl3pPr>
              <a:lvl4pPr indent="0" algn="ctr">
                <a:spcBef>
                  <a:spcPct val="20000"/>
                </a:spcBef>
                <a:buFont typeface="Arial" panose="020B0604020202020204" pitchFamily="34" charset="0"/>
                <a:buNone/>
                <a:defRPr sz="2000">
                  <a:solidFill>
                    <a:schemeClr val="tx1">
                      <a:tint val="75000"/>
                    </a:schemeClr>
                  </a:solidFill>
                </a:defRPr>
              </a:lvl4pPr>
              <a:lvl5pPr indent="0" algn="ctr">
                <a:spcBef>
                  <a:spcPct val="20000"/>
                </a:spcBef>
                <a:buFont typeface="Arial" panose="020B0604020202020204" pitchFamily="34" charset="0"/>
                <a:buNone/>
                <a:defRPr sz="20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d individual achievement in education</a:t>
              </a:r>
            </a:p>
          </p:txBody>
        </p:sp>
        <p:sp>
          <p:nvSpPr>
            <p:cNvPr id="31" name="Rectangle 30">
              <a:extLst>
                <a:ext uri="{FF2B5EF4-FFF2-40B4-BE49-F238E27FC236}">
                  <a16:creationId xmlns:a16="http://schemas.microsoft.com/office/drawing/2014/main" id="{73A2A818-791D-BB24-ABC2-23D567767700}"/>
                </a:ext>
              </a:extLst>
            </p:cNvPr>
            <p:cNvSpPr/>
            <p:nvPr/>
          </p:nvSpPr>
          <p:spPr>
            <a:xfrm>
              <a:off x="3914907" y="4181227"/>
              <a:ext cx="1654813" cy="577222"/>
            </a:xfrm>
            <a:prstGeom prst="rect">
              <a:avLst/>
            </a:prstGeom>
            <a:ln>
              <a:noFill/>
            </a:ln>
          </p:spPr>
          <p:txBody>
            <a:bodyPr vert="horz" lIns="91440" tIns="45720" rIns="91440" bIns="45720" rtlCol="0">
              <a:no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vings of patients’ and caregivers’ productive time</a:t>
              </a:r>
            </a:p>
          </p:txBody>
        </p:sp>
        <p:sp>
          <p:nvSpPr>
            <p:cNvPr id="32" name="Rectangle 31">
              <a:extLst>
                <a:ext uri="{FF2B5EF4-FFF2-40B4-BE49-F238E27FC236}">
                  <a16:creationId xmlns:a16="http://schemas.microsoft.com/office/drawing/2014/main" id="{A74CE83F-FF85-46F2-7BD2-3A8B9D2F937A}"/>
                </a:ext>
              </a:extLst>
            </p:cNvPr>
            <p:cNvSpPr/>
            <p:nvPr/>
          </p:nvSpPr>
          <p:spPr>
            <a:xfrm>
              <a:off x="4814666" y="2802930"/>
              <a:ext cx="1279140" cy="549768"/>
            </a:xfrm>
            <a:prstGeom prst="rect">
              <a:avLst/>
            </a:prstGeom>
            <a:ln>
              <a:noFill/>
            </a:ln>
          </p:spPr>
          <p:txBody>
            <a:bodyPr vert="horz" lIns="91440" tIns="45720" rIns="91440" bIns="45720" rtlCol="0">
              <a:no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oidance of need for care and convalescence</a:t>
              </a:r>
              <a:endParaRPr kumimoji="0" lang="en-GB" sz="9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AAA56BB0-6BA0-FBC6-5F0B-DF0A31F5D3BA}"/>
                </a:ext>
              </a:extLst>
            </p:cNvPr>
            <p:cNvSpPr/>
            <p:nvPr/>
          </p:nvSpPr>
          <p:spPr>
            <a:xfrm>
              <a:off x="7201337" y="2795711"/>
              <a:ext cx="1220225" cy="32170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ction in AMR</a:t>
              </a:r>
            </a:p>
          </p:txBody>
        </p:sp>
        <p:sp>
          <p:nvSpPr>
            <p:cNvPr id="34" name="Rectangle 33">
              <a:extLst>
                <a:ext uri="{FF2B5EF4-FFF2-40B4-BE49-F238E27FC236}">
                  <a16:creationId xmlns:a16="http://schemas.microsoft.com/office/drawing/2014/main" id="{A1A742F6-5F79-5411-C00D-2B24D111A361}"/>
                </a:ext>
              </a:extLst>
            </p:cNvPr>
            <p:cNvSpPr/>
            <p:nvPr/>
          </p:nvSpPr>
          <p:spPr>
            <a:xfrm>
              <a:off x="8467395" y="4087466"/>
              <a:ext cx="1237692" cy="201063"/>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d immunity</a:t>
              </a:r>
            </a:p>
          </p:txBody>
        </p:sp>
        <p:sp>
          <p:nvSpPr>
            <p:cNvPr id="35" name="Rectangle 34">
              <a:extLst>
                <a:ext uri="{FF2B5EF4-FFF2-40B4-BE49-F238E27FC236}">
                  <a16:creationId xmlns:a16="http://schemas.microsoft.com/office/drawing/2014/main" id="{70699232-C2BC-0058-BEAF-CD2A05EF2E07}"/>
                </a:ext>
              </a:extLst>
            </p:cNvPr>
            <p:cNvSpPr/>
            <p:nvPr/>
          </p:nvSpPr>
          <p:spPr>
            <a:xfrm>
              <a:off x="5128771" y="1731552"/>
              <a:ext cx="1934463" cy="549768"/>
            </a:xfrm>
            <a:prstGeom prst="rect">
              <a:avLst/>
            </a:prstGeom>
            <a:ln>
              <a:noFill/>
            </a:ln>
          </p:spPr>
          <p:txBody>
            <a:bodyPr vert="horz" lIns="91440" tIns="45720" rIns="91440" bIns="45720" rtlCol="0">
              <a:no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ination</a:t>
              </a:r>
              <a:endParaRPr kumimoji="0" lang="en-GB" sz="9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6" name="Group 35">
              <a:extLst>
                <a:ext uri="{FF2B5EF4-FFF2-40B4-BE49-F238E27FC236}">
                  <a16:creationId xmlns:a16="http://schemas.microsoft.com/office/drawing/2014/main" id="{33C61496-147A-EC65-F8EC-7F0730757E43}"/>
                </a:ext>
              </a:extLst>
            </p:cNvPr>
            <p:cNvGrpSpPr/>
            <p:nvPr/>
          </p:nvGrpSpPr>
          <p:grpSpPr>
            <a:xfrm>
              <a:off x="3610716" y="3285271"/>
              <a:ext cx="917694" cy="433852"/>
              <a:chOff x="3173199" y="1974529"/>
              <a:chExt cx="1512103" cy="714866"/>
            </a:xfrm>
          </p:grpSpPr>
          <p:pic>
            <p:nvPicPr>
              <p:cNvPr id="84" name="Picture 83">
                <a:extLst>
                  <a:ext uri="{FF2B5EF4-FFF2-40B4-BE49-F238E27FC236}">
                    <a16:creationId xmlns:a16="http://schemas.microsoft.com/office/drawing/2014/main" id="{B4E55FB4-2ACD-BBD7-3E01-35728D44E0B7}"/>
                  </a:ext>
                </a:extLst>
              </p:cNvPr>
              <p:cNvPicPr>
                <a:picLocks noChangeAspect="1"/>
              </p:cNvPicPr>
              <p:nvPr/>
            </p:nvPicPr>
            <p:blipFill>
              <a:blip r:embed="rId3">
                <a:duotone>
                  <a:srgbClr val="4BACC6">
                    <a:shade val="45000"/>
                    <a:satMod val="135000"/>
                  </a:srgbClr>
                  <a:prstClr val="white"/>
                </a:duotone>
                <a:extLst>
                  <a:ext uri="{BEBA8EAE-BF5A-486C-A8C5-ECC9F3942E4B}">
                    <a14:imgProps xmlns:a14="http://schemas.microsoft.com/office/drawing/2010/main">
                      <a14:imgLayer r:embed="rId4">
                        <a14:imgEffect>
                          <a14:backgroundRemoval t="519" b="81224" l="10000" r="90000">
                            <a14:foregroundMark x1="62969" y1="55809" x2="62969" y2="55809"/>
                            <a14:foregroundMark x1="63385" y1="58714" x2="63385" y2="58714"/>
                            <a14:foregroundMark x1="66198" y1="58921" x2="66198" y2="58921"/>
                            <a14:foregroundMark x1="65677" y1="52801" x2="65677" y2="52801"/>
                            <a14:foregroundMark x1="65677" y1="64004" x2="65677" y2="64004"/>
                            <a14:foregroundMark x1="68438" y1="65664" x2="68438" y2="65664"/>
                            <a14:foregroundMark x1="69063" y1="58506" x2="69063" y2="58506"/>
                            <a14:foregroundMark x1="68021" y1="50726" x2="68021" y2="50726"/>
                          </a14:backgroundRemoval>
                        </a14:imgEffect>
                      </a14:imgLayer>
                    </a14:imgProps>
                  </a:ext>
                </a:extLst>
              </a:blip>
              <a:stretch>
                <a:fillRect/>
              </a:stretch>
            </p:blipFill>
            <p:spPr>
              <a:xfrm>
                <a:off x="3173199" y="2023859"/>
                <a:ext cx="1325551" cy="665536"/>
              </a:xfrm>
              <a:prstGeom prst="rect">
                <a:avLst/>
              </a:prstGeom>
              <a:ln>
                <a:noFill/>
              </a:ln>
            </p:spPr>
          </p:pic>
          <p:sp>
            <p:nvSpPr>
              <p:cNvPr id="85" name="Multiply 17">
                <a:extLst>
                  <a:ext uri="{FF2B5EF4-FFF2-40B4-BE49-F238E27FC236}">
                    <a16:creationId xmlns:a16="http://schemas.microsoft.com/office/drawing/2014/main" id="{195FECA7-85C5-AD7D-FC01-CCC22979F34B}"/>
                  </a:ext>
                </a:extLst>
              </p:cNvPr>
              <p:cNvSpPr/>
              <p:nvPr/>
            </p:nvSpPr>
            <p:spPr bwMode="auto">
              <a:xfrm>
                <a:off x="3990044" y="1974529"/>
                <a:ext cx="695258" cy="702083"/>
              </a:xfrm>
              <a:prstGeom prst="mathMultiply">
                <a:avLst>
                  <a:gd name="adj1" fmla="val 7365"/>
                </a:avLst>
              </a:prstGeom>
              <a:solidFill>
                <a:srgbClr val="4BACC6">
                  <a:lumMod val="75000"/>
                </a:srgbClr>
              </a:solidFill>
              <a:ln>
                <a:noFill/>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7" name="Freeform 31">
              <a:extLst>
                <a:ext uri="{FF2B5EF4-FFF2-40B4-BE49-F238E27FC236}">
                  <a16:creationId xmlns:a16="http://schemas.microsoft.com/office/drawing/2014/main" id="{625D1E38-DE73-7F0A-B021-DC5734955025}"/>
                </a:ext>
              </a:extLst>
            </p:cNvPr>
            <p:cNvSpPr>
              <a:spLocks noEditPoints="1"/>
            </p:cNvSpPr>
            <p:nvPr/>
          </p:nvSpPr>
          <p:spPr bwMode="auto">
            <a:xfrm>
              <a:off x="5946642" y="1995544"/>
              <a:ext cx="280659" cy="450266"/>
            </a:xfrm>
            <a:custGeom>
              <a:avLst/>
              <a:gdLst>
                <a:gd name="T0" fmla="*/ 46 w 200"/>
                <a:gd name="T1" fmla="*/ 36 h 320"/>
                <a:gd name="T2" fmla="*/ 154 w 200"/>
                <a:gd name="T3" fmla="*/ 36 h 320"/>
                <a:gd name="T4" fmla="*/ 160 w 200"/>
                <a:gd name="T5" fmla="*/ 30 h 320"/>
                <a:gd name="T6" fmla="*/ 160 w 200"/>
                <a:gd name="T7" fmla="*/ 6 h 320"/>
                <a:gd name="T8" fmla="*/ 154 w 200"/>
                <a:gd name="T9" fmla="*/ 0 h 320"/>
                <a:gd name="T10" fmla="*/ 46 w 200"/>
                <a:gd name="T11" fmla="*/ 0 h 320"/>
                <a:gd name="T12" fmla="*/ 40 w 200"/>
                <a:gd name="T13" fmla="*/ 6 h 320"/>
                <a:gd name="T14" fmla="*/ 40 w 200"/>
                <a:gd name="T15" fmla="*/ 30 h 320"/>
                <a:gd name="T16" fmla="*/ 46 w 200"/>
                <a:gd name="T17" fmla="*/ 36 h 320"/>
                <a:gd name="T18" fmla="*/ 164 w 200"/>
                <a:gd name="T19" fmla="*/ 48 h 320"/>
                <a:gd name="T20" fmla="*/ 36 w 200"/>
                <a:gd name="T21" fmla="*/ 48 h 320"/>
                <a:gd name="T22" fmla="*/ 0 w 200"/>
                <a:gd name="T23" fmla="*/ 84 h 320"/>
                <a:gd name="T24" fmla="*/ 0 w 200"/>
                <a:gd name="T25" fmla="*/ 284 h 320"/>
                <a:gd name="T26" fmla="*/ 36 w 200"/>
                <a:gd name="T27" fmla="*/ 320 h 320"/>
                <a:gd name="T28" fmla="*/ 164 w 200"/>
                <a:gd name="T29" fmla="*/ 320 h 320"/>
                <a:gd name="T30" fmla="*/ 200 w 200"/>
                <a:gd name="T31" fmla="*/ 284 h 320"/>
                <a:gd name="T32" fmla="*/ 200 w 200"/>
                <a:gd name="T33" fmla="*/ 84 h 320"/>
                <a:gd name="T34" fmla="*/ 164 w 200"/>
                <a:gd name="T35" fmla="*/ 48 h 320"/>
                <a:gd name="T36" fmla="*/ 176 w 200"/>
                <a:gd name="T37" fmla="*/ 248 h 320"/>
                <a:gd name="T38" fmla="*/ 24 w 200"/>
                <a:gd name="T39" fmla="*/ 248 h 320"/>
                <a:gd name="T40" fmla="*/ 24 w 200"/>
                <a:gd name="T41" fmla="*/ 120 h 320"/>
                <a:gd name="T42" fmla="*/ 176 w 200"/>
                <a:gd name="T43" fmla="*/ 120 h 320"/>
                <a:gd name="T44" fmla="*/ 176 w 200"/>
                <a:gd name="T45" fmla="*/ 248 h 320"/>
                <a:gd name="T46" fmla="*/ 100 w 200"/>
                <a:gd name="T47" fmla="*/ 142 h 320"/>
                <a:gd name="T48" fmla="*/ 40 w 200"/>
                <a:gd name="T49" fmla="*/ 142 h 320"/>
                <a:gd name="T50" fmla="*/ 40 w 200"/>
                <a:gd name="T51" fmla="*/ 154 h 320"/>
                <a:gd name="T52" fmla="*/ 100 w 200"/>
                <a:gd name="T53" fmla="*/ 154 h 320"/>
                <a:gd name="T54" fmla="*/ 100 w 200"/>
                <a:gd name="T55" fmla="*/ 142 h 320"/>
                <a:gd name="T56" fmla="*/ 160 w 200"/>
                <a:gd name="T57" fmla="*/ 166 h 320"/>
                <a:gd name="T58" fmla="*/ 40 w 200"/>
                <a:gd name="T59" fmla="*/ 166 h 320"/>
                <a:gd name="T60" fmla="*/ 40 w 200"/>
                <a:gd name="T61" fmla="*/ 178 h 320"/>
                <a:gd name="T62" fmla="*/ 160 w 200"/>
                <a:gd name="T63" fmla="*/ 178 h 320"/>
                <a:gd name="T64" fmla="*/ 160 w 200"/>
                <a:gd name="T65" fmla="*/ 166 h 320"/>
                <a:gd name="T66" fmla="*/ 160 w 200"/>
                <a:gd name="T67" fmla="*/ 214 h 320"/>
                <a:gd name="T68" fmla="*/ 40 w 200"/>
                <a:gd name="T69" fmla="*/ 214 h 320"/>
                <a:gd name="T70" fmla="*/ 40 w 200"/>
                <a:gd name="T71" fmla="*/ 226 h 320"/>
                <a:gd name="T72" fmla="*/ 160 w 200"/>
                <a:gd name="T73" fmla="*/ 226 h 320"/>
                <a:gd name="T74" fmla="*/ 160 w 200"/>
                <a:gd name="T75" fmla="*/ 214 h 320"/>
                <a:gd name="T76" fmla="*/ 160 w 200"/>
                <a:gd name="T77" fmla="*/ 190 h 320"/>
                <a:gd name="T78" fmla="*/ 40 w 200"/>
                <a:gd name="T79" fmla="*/ 190 h 320"/>
                <a:gd name="T80" fmla="*/ 40 w 200"/>
                <a:gd name="T81" fmla="*/ 202 h 320"/>
                <a:gd name="T82" fmla="*/ 160 w 200"/>
                <a:gd name="T83" fmla="*/ 202 h 320"/>
                <a:gd name="T84" fmla="*/ 160 w 200"/>
                <a:gd name="T85" fmla="*/ 19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320">
                  <a:moveTo>
                    <a:pt x="46" y="36"/>
                  </a:moveTo>
                  <a:cubicBezTo>
                    <a:pt x="154" y="36"/>
                    <a:pt x="154" y="36"/>
                    <a:pt x="154" y="36"/>
                  </a:cubicBezTo>
                  <a:cubicBezTo>
                    <a:pt x="157" y="36"/>
                    <a:pt x="160" y="33"/>
                    <a:pt x="160" y="30"/>
                  </a:cubicBezTo>
                  <a:cubicBezTo>
                    <a:pt x="160" y="6"/>
                    <a:pt x="160" y="6"/>
                    <a:pt x="160" y="6"/>
                  </a:cubicBezTo>
                  <a:cubicBezTo>
                    <a:pt x="160" y="3"/>
                    <a:pt x="157" y="0"/>
                    <a:pt x="154" y="0"/>
                  </a:cubicBezTo>
                  <a:cubicBezTo>
                    <a:pt x="46" y="0"/>
                    <a:pt x="46" y="0"/>
                    <a:pt x="46" y="0"/>
                  </a:cubicBezTo>
                  <a:cubicBezTo>
                    <a:pt x="43" y="0"/>
                    <a:pt x="40" y="3"/>
                    <a:pt x="40" y="6"/>
                  </a:cubicBezTo>
                  <a:cubicBezTo>
                    <a:pt x="40" y="30"/>
                    <a:pt x="40" y="30"/>
                    <a:pt x="40" y="30"/>
                  </a:cubicBezTo>
                  <a:cubicBezTo>
                    <a:pt x="40" y="33"/>
                    <a:pt x="43" y="36"/>
                    <a:pt x="46" y="36"/>
                  </a:cubicBezTo>
                  <a:close/>
                  <a:moveTo>
                    <a:pt x="164" y="48"/>
                  </a:moveTo>
                  <a:cubicBezTo>
                    <a:pt x="36" y="48"/>
                    <a:pt x="36" y="48"/>
                    <a:pt x="36" y="48"/>
                  </a:cubicBezTo>
                  <a:cubicBezTo>
                    <a:pt x="16" y="48"/>
                    <a:pt x="0" y="64"/>
                    <a:pt x="0" y="84"/>
                  </a:cubicBezTo>
                  <a:cubicBezTo>
                    <a:pt x="0" y="284"/>
                    <a:pt x="0" y="284"/>
                    <a:pt x="0" y="284"/>
                  </a:cubicBezTo>
                  <a:cubicBezTo>
                    <a:pt x="0" y="304"/>
                    <a:pt x="16" y="320"/>
                    <a:pt x="36" y="320"/>
                  </a:cubicBezTo>
                  <a:cubicBezTo>
                    <a:pt x="164" y="320"/>
                    <a:pt x="164" y="320"/>
                    <a:pt x="164" y="320"/>
                  </a:cubicBezTo>
                  <a:cubicBezTo>
                    <a:pt x="184" y="320"/>
                    <a:pt x="200" y="304"/>
                    <a:pt x="200" y="284"/>
                  </a:cubicBezTo>
                  <a:cubicBezTo>
                    <a:pt x="200" y="84"/>
                    <a:pt x="200" y="84"/>
                    <a:pt x="200" y="84"/>
                  </a:cubicBezTo>
                  <a:cubicBezTo>
                    <a:pt x="200" y="64"/>
                    <a:pt x="184" y="48"/>
                    <a:pt x="164" y="48"/>
                  </a:cubicBezTo>
                  <a:close/>
                  <a:moveTo>
                    <a:pt x="176" y="248"/>
                  </a:moveTo>
                  <a:cubicBezTo>
                    <a:pt x="24" y="248"/>
                    <a:pt x="24" y="248"/>
                    <a:pt x="24" y="248"/>
                  </a:cubicBezTo>
                  <a:cubicBezTo>
                    <a:pt x="24" y="120"/>
                    <a:pt x="24" y="120"/>
                    <a:pt x="24" y="120"/>
                  </a:cubicBezTo>
                  <a:cubicBezTo>
                    <a:pt x="176" y="120"/>
                    <a:pt x="176" y="120"/>
                    <a:pt x="176" y="120"/>
                  </a:cubicBezTo>
                  <a:lnTo>
                    <a:pt x="176" y="248"/>
                  </a:lnTo>
                  <a:close/>
                  <a:moveTo>
                    <a:pt x="100" y="142"/>
                  </a:moveTo>
                  <a:cubicBezTo>
                    <a:pt x="40" y="142"/>
                    <a:pt x="40" y="142"/>
                    <a:pt x="40" y="142"/>
                  </a:cubicBezTo>
                  <a:cubicBezTo>
                    <a:pt x="40" y="154"/>
                    <a:pt x="40" y="154"/>
                    <a:pt x="40" y="154"/>
                  </a:cubicBezTo>
                  <a:cubicBezTo>
                    <a:pt x="100" y="154"/>
                    <a:pt x="100" y="154"/>
                    <a:pt x="100" y="154"/>
                  </a:cubicBezTo>
                  <a:lnTo>
                    <a:pt x="100" y="142"/>
                  </a:lnTo>
                  <a:close/>
                  <a:moveTo>
                    <a:pt x="160" y="166"/>
                  </a:moveTo>
                  <a:cubicBezTo>
                    <a:pt x="40" y="166"/>
                    <a:pt x="40" y="166"/>
                    <a:pt x="40" y="166"/>
                  </a:cubicBezTo>
                  <a:cubicBezTo>
                    <a:pt x="40" y="178"/>
                    <a:pt x="40" y="178"/>
                    <a:pt x="40" y="178"/>
                  </a:cubicBezTo>
                  <a:cubicBezTo>
                    <a:pt x="160" y="178"/>
                    <a:pt x="160" y="178"/>
                    <a:pt x="160" y="178"/>
                  </a:cubicBezTo>
                  <a:lnTo>
                    <a:pt x="160" y="166"/>
                  </a:lnTo>
                  <a:close/>
                  <a:moveTo>
                    <a:pt x="160" y="214"/>
                  </a:moveTo>
                  <a:cubicBezTo>
                    <a:pt x="40" y="214"/>
                    <a:pt x="40" y="214"/>
                    <a:pt x="40" y="214"/>
                  </a:cubicBezTo>
                  <a:cubicBezTo>
                    <a:pt x="40" y="226"/>
                    <a:pt x="40" y="226"/>
                    <a:pt x="40" y="226"/>
                  </a:cubicBezTo>
                  <a:cubicBezTo>
                    <a:pt x="160" y="226"/>
                    <a:pt x="160" y="226"/>
                    <a:pt x="160" y="226"/>
                  </a:cubicBezTo>
                  <a:lnTo>
                    <a:pt x="160" y="214"/>
                  </a:lnTo>
                  <a:close/>
                  <a:moveTo>
                    <a:pt x="160" y="190"/>
                  </a:moveTo>
                  <a:cubicBezTo>
                    <a:pt x="40" y="190"/>
                    <a:pt x="40" y="190"/>
                    <a:pt x="40" y="190"/>
                  </a:cubicBezTo>
                  <a:cubicBezTo>
                    <a:pt x="40" y="202"/>
                    <a:pt x="40" y="202"/>
                    <a:pt x="40" y="202"/>
                  </a:cubicBezTo>
                  <a:cubicBezTo>
                    <a:pt x="160" y="202"/>
                    <a:pt x="160" y="202"/>
                    <a:pt x="160" y="202"/>
                  </a:cubicBezTo>
                  <a:lnTo>
                    <a:pt x="160" y="190"/>
                  </a:lnTo>
                  <a:close/>
                </a:path>
              </a:pathLst>
            </a:custGeom>
            <a:solidFill>
              <a:srgbClr val="20286B"/>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8" name="Group 37">
              <a:extLst>
                <a:ext uri="{FF2B5EF4-FFF2-40B4-BE49-F238E27FC236}">
                  <a16:creationId xmlns:a16="http://schemas.microsoft.com/office/drawing/2014/main" id="{EC4D00DE-B349-3047-2D1C-60F6C995D6F0}"/>
                </a:ext>
              </a:extLst>
            </p:cNvPr>
            <p:cNvGrpSpPr/>
            <p:nvPr/>
          </p:nvGrpSpPr>
          <p:grpSpPr>
            <a:xfrm>
              <a:off x="5151955" y="3454963"/>
              <a:ext cx="508455" cy="460296"/>
              <a:chOff x="7282120" y="5304146"/>
              <a:chExt cx="743173" cy="690468"/>
            </a:xfrm>
            <a:solidFill>
              <a:srgbClr val="46477C"/>
            </a:solidFill>
          </p:grpSpPr>
          <p:grpSp>
            <p:nvGrpSpPr>
              <p:cNvPr id="72" name="Group 71">
                <a:extLst>
                  <a:ext uri="{FF2B5EF4-FFF2-40B4-BE49-F238E27FC236}">
                    <a16:creationId xmlns:a16="http://schemas.microsoft.com/office/drawing/2014/main" id="{1509C9CE-8260-31FD-D2A7-F87363CCB331}"/>
                  </a:ext>
                </a:extLst>
              </p:cNvPr>
              <p:cNvGrpSpPr/>
              <p:nvPr/>
            </p:nvGrpSpPr>
            <p:grpSpPr>
              <a:xfrm>
                <a:off x="7700920" y="5304146"/>
                <a:ext cx="228303" cy="228303"/>
                <a:chOff x="7309368" y="5159512"/>
                <a:chExt cx="228303" cy="228303"/>
              </a:xfrm>
              <a:grpFill/>
            </p:grpSpPr>
            <p:sp>
              <p:nvSpPr>
                <p:cNvPr id="82" name="Oval 81">
                  <a:extLst>
                    <a:ext uri="{FF2B5EF4-FFF2-40B4-BE49-F238E27FC236}">
                      <a16:creationId xmlns:a16="http://schemas.microsoft.com/office/drawing/2014/main" id="{A9FEB0B8-23F2-5137-60CC-AC708F4C2C5E}"/>
                    </a:ext>
                  </a:extLst>
                </p:cNvPr>
                <p:cNvSpPr/>
                <p:nvPr/>
              </p:nvSpPr>
              <p:spPr bwMode="auto">
                <a:xfrm>
                  <a:off x="7309368" y="5159512"/>
                  <a:ext cx="228303" cy="228303"/>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3" name="Plus 31">
                  <a:extLst>
                    <a:ext uri="{FF2B5EF4-FFF2-40B4-BE49-F238E27FC236}">
                      <a16:creationId xmlns:a16="http://schemas.microsoft.com/office/drawing/2014/main" id="{71BFBEBC-BA15-2B82-D3E8-6107ADE25C8E}"/>
                    </a:ext>
                  </a:extLst>
                </p:cNvPr>
                <p:cNvSpPr/>
                <p:nvPr/>
              </p:nvSpPr>
              <p:spPr bwMode="auto">
                <a:xfrm>
                  <a:off x="7322853" y="5175378"/>
                  <a:ext cx="201332" cy="201332"/>
                </a:xfrm>
                <a:prstGeom prst="mathPlus">
                  <a:avLst>
                    <a:gd name="adj1" fmla="val 17553"/>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73" name="Group 72">
                <a:extLst>
                  <a:ext uri="{FF2B5EF4-FFF2-40B4-BE49-F238E27FC236}">
                    <a16:creationId xmlns:a16="http://schemas.microsoft.com/office/drawing/2014/main" id="{60D3CBFE-0C40-7A3D-F14B-F433D6A30BED}"/>
                  </a:ext>
                </a:extLst>
              </p:cNvPr>
              <p:cNvGrpSpPr/>
              <p:nvPr/>
            </p:nvGrpSpPr>
            <p:grpSpPr>
              <a:xfrm>
                <a:off x="7282120" y="5450361"/>
                <a:ext cx="743173" cy="544253"/>
                <a:chOff x="7159197" y="5564117"/>
                <a:chExt cx="624522" cy="377102"/>
              </a:xfrm>
              <a:grpFill/>
            </p:grpSpPr>
            <p:grpSp>
              <p:nvGrpSpPr>
                <p:cNvPr id="74" name="Group 73">
                  <a:extLst>
                    <a:ext uri="{FF2B5EF4-FFF2-40B4-BE49-F238E27FC236}">
                      <a16:creationId xmlns:a16="http://schemas.microsoft.com/office/drawing/2014/main" id="{892F4729-A795-9236-AFF9-67F52BFA6F31}"/>
                    </a:ext>
                  </a:extLst>
                </p:cNvPr>
                <p:cNvGrpSpPr/>
                <p:nvPr/>
              </p:nvGrpSpPr>
              <p:grpSpPr>
                <a:xfrm>
                  <a:off x="7159197" y="5706224"/>
                  <a:ext cx="624522" cy="234995"/>
                  <a:chOff x="7327135" y="5684093"/>
                  <a:chExt cx="624522" cy="234995"/>
                </a:xfrm>
                <a:grpFill/>
              </p:grpSpPr>
              <p:sp>
                <p:nvSpPr>
                  <p:cNvPr id="78" name="Rounded Rectangle 26">
                    <a:extLst>
                      <a:ext uri="{FF2B5EF4-FFF2-40B4-BE49-F238E27FC236}">
                        <a16:creationId xmlns:a16="http://schemas.microsoft.com/office/drawing/2014/main" id="{58590404-A882-F702-3A99-A8EA9B45A758}"/>
                      </a:ext>
                    </a:extLst>
                  </p:cNvPr>
                  <p:cNvSpPr/>
                  <p:nvPr/>
                </p:nvSpPr>
                <p:spPr bwMode="auto">
                  <a:xfrm>
                    <a:off x="7327135" y="5712904"/>
                    <a:ext cx="624522" cy="126000"/>
                  </a:xfrm>
                  <a:prstGeom prst="round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9" name="Oval 78">
                    <a:extLst>
                      <a:ext uri="{FF2B5EF4-FFF2-40B4-BE49-F238E27FC236}">
                        <a16:creationId xmlns:a16="http://schemas.microsoft.com/office/drawing/2014/main" id="{6829C078-CDFD-18E5-133D-92FB293A1BF0}"/>
                      </a:ext>
                    </a:extLst>
                  </p:cNvPr>
                  <p:cNvSpPr/>
                  <p:nvPr/>
                </p:nvSpPr>
                <p:spPr bwMode="auto">
                  <a:xfrm>
                    <a:off x="7332507" y="5684093"/>
                    <a:ext cx="164817" cy="83556"/>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0" name="Rounded Rectangle 28">
                    <a:extLst>
                      <a:ext uri="{FF2B5EF4-FFF2-40B4-BE49-F238E27FC236}">
                        <a16:creationId xmlns:a16="http://schemas.microsoft.com/office/drawing/2014/main" id="{CCA2E99F-E764-2E4D-8D78-7D5D60C387E3}"/>
                      </a:ext>
                    </a:extLst>
                  </p:cNvPr>
                  <p:cNvSpPr/>
                  <p:nvPr/>
                </p:nvSpPr>
                <p:spPr bwMode="auto">
                  <a:xfrm>
                    <a:off x="7380587" y="5844617"/>
                    <a:ext cx="45719" cy="74471"/>
                  </a:xfrm>
                  <a:prstGeom prst="round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Rounded Rectangle 29">
                    <a:extLst>
                      <a:ext uri="{FF2B5EF4-FFF2-40B4-BE49-F238E27FC236}">
                        <a16:creationId xmlns:a16="http://schemas.microsoft.com/office/drawing/2014/main" id="{84388E9E-ED39-0EA3-B58A-4FF92FD90109}"/>
                      </a:ext>
                    </a:extLst>
                  </p:cNvPr>
                  <p:cNvSpPr/>
                  <p:nvPr/>
                </p:nvSpPr>
                <p:spPr bwMode="auto">
                  <a:xfrm>
                    <a:off x="7861834" y="5844617"/>
                    <a:ext cx="45719" cy="74471"/>
                  </a:xfrm>
                  <a:prstGeom prst="round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75" name="Oval 74">
                  <a:extLst>
                    <a:ext uri="{FF2B5EF4-FFF2-40B4-BE49-F238E27FC236}">
                      <a16:creationId xmlns:a16="http://schemas.microsoft.com/office/drawing/2014/main" id="{2CBB5E09-BEF4-0360-54D6-2CCA1EB19204}"/>
                    </a:ext>
                  </a:extLst>
                </p:cNvPr>
                <p:cNvSpPr/>
                <p:nvPr/>
              </p:nvSpPr>
              <p:spPr bwMode="auto">
                <a:xfrm>
                  <a:off x="7194815" y="5564117"/>
                  <a:ext cx="133045" cy="133045"/>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6" name="Freeform 24">
                  <a:extLst>
                    <a:ext uri="{FF2B5EF4-FFF2-40B4-BE49-F238E27FC236}">
                      <a16:creationId xmlns:a16="http://schemas.microsoft.com/office/drawing/2014/main" id="{1CD2CCC7-5438-DDC1-525E-C6DB41F350E3}"/>
                    </a:ext>
                  </a:extLst>
                </p:cNvPr>
                <p:cNvSpPr/>
                <p:nvPr/>
              </p:nvSpPr>
              <p:spPr bwMode="auto">
                <a:xfrm>
                  <a:off x="7336640" y="5626707"/>
                  <a:ext cx="420109" cy="91060"/>
                </a:xfrm>
                <a:custGeom>
                  <a:avLst/>
                  <a:gdLst>
                    <a:gd name="connsiteX0" fmla="*/ 396174 w 420109"/>
                    <a:gd name="connsiteY0" fmla="*/ 202 h 91060"/>
                    <a:gd name="connsiteX1" fmla="*/ 411173 w 420109"/>
                    <a:gd name="connsiteY1" fmla="*/ 7852 h 91060"/>
                    <a:gd name="connsiteX2" fmla="*/ 416782 w 420109"/>
                    <a:gd name="connsiteY2" fmla="*/ 35240 h 91060"/>
                    <a:gd name="connsiteX3" fmla="*/ 370270 w 420109"/>
                    <a:gd name="connsiteY3" fmla="*/ 84630 h 91060"/>
                    <a:gd name="connsiteX4" fmla="*/ 363260 w 420109"/>
                    <a:gd name="connsiteY4" fmla="*/ 86672 h 91060"/>
                    <a:gd name="connsiteX5" fmla="*/ 359309 w 420109"/>
                    <a:gd name="connsiteY5" fmla="*/ 88997 h 91060"/>
                    <a:gd name="connsiteX6" fmla="*/ 291466 w 420109"/>
                    <a:gd name="connsiteY6" fmla="*/ 88997 h 91060"/>
                    <a:gd name="connsiteX7" fmla="*/ 290116 w 420109"/>
                    <a:gd name="connsiteY7" fmla="*/ 88203 h 91060"/>
                    <a:gd name="connsiteX8" fmla="*/ 86011 w 420109"/>
                    <a:gd name="connsiteY8" fmla="*/ 88203 h 91060"/>
                    <a:gd name="connsiteX9" fmla="*/ 65366 w 420109"/>
                    <a:gd name="connsiteY9" fmla="*/ 91060 h 91060"/>
                    <a:gd name="connsiteX10" fmla="*/ 39922 w 420109"/>
                    <a:gd name="connsiteY10" fmla="*/ 87539 h 91060"/>
                    <a:gd name="connsiteX11" fmla="*/ 30371 w 420109"/>
                    <a:gd name="connsiteY11" fmla="*/ 83125 h 91060"/>
                    <a:gd name="connsiteX12" fmla="*/ 20577 w 420109"/>
                    <a:gd name="connsiteY12" fmla="*/ 81508 h 91060"/>
                    <a:gd name="connsiteX13" fmla="*/ 3780 w 420109"/>
                    <a:gd name="connsiteY13" fmla="*/ 65344 h 91060"/>
                    <a:gd name="connsiteX14" fmla="*/ 8683 w 420109"/>
                    <a:gd name="connsiteY14" fmla="*/ 60625 h 91060"/>
                    <a:gd name="connsiteX15" fmla="*/ 0 w 420109"/>
                    <a:gd name="connsiteY15" fmla="*/ 46255 h 91060"/>
                    <a:gd name="connsiteX16" fmla="*/ 39922 w 420109"/>
                    <a:gd name="connsiteY16" fmla="*/ 4971 h 91060"/>
                    <a:gd name="connsiteX17" fmla="*/ 54155 w 420109"/>
                    <a:gd name="connsiteY17" fmla="*/ 3001 h 91060"/>
                    <a:gd name="connsiteX18" fmla="*/ 54481 w 420109"/>
                    <a:gd name="connsiteY18" fmla="*/ 1450 h 91060"/>
                    <a:gd name="connsiteX19" fmla="*/ 58800 w 420109"/>
                    <a:gd name="connsiteY19" fmla="*/ 2358 h 91060"/>
                    <a:gd name="connsiteX20" fmla="*/ 65366 w 420109"/>
                    <a:gd name="connsiteY20" fmla="*/ 1450 h 91060"/>
                    <a:gd name="connsiteX21" fmla="*/ 90809 w 420109"/>
                    <a:gd name="connsiteY21" fmla="*/ 4971 h 91060"/>
                    <a:gd name="connsiteX22" fmla="*/ 107181 w 420109"/>
                    <a:gd name="connsiteY22" fmla="*/ 12537 h 91060"/>
                    <a:gd name="connsiteX23" fmla="*/ 249527 w 420109"/>
                    <a:gd name="connsiteY23" fmla="*/ 42484 h 91060"/>
                    <a:gd name="connsiteX24" fmla="*/ 302881 w 420109"/>
                    <a:gd name="connsiteY24" fmla="*/ 42484 h 91060"/>
                    <a:gd name="connsiteX25" fmla="*/ 307690 w 420109"/>
                    <a:gd name="connsiteY25" fmla="*/ 43278 h 91060"/>
                    <a:gd name="connsiteX26" fmla="*/ 346411 w 420109"/>
                    <a:gd name="connsiteY26" fmla="*/ 43278 h 91060"/>
                    <a:gd name="connsiteX27" fmla="*/ 383499 w 420109"/>
                    <a:gd name="connsiteY27" fmla="*/ 3895 h 91060"/>
                    <a:gd name="connsiteX28" fmla="*/ 396174 w 420109"/>
                    <a:gd name="connsiteY28" fmla="*/ 202 h 9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0109" h="91060">
                      <a:moveTo>
                        <a:pt x="396174" y="202"/>
                      </a:moveTo>
                      <a:cubicBezTo>
                        <a:pt x="401182" y="918"/>
                        <a:pt x="406578" y="3524"/>
                        <a:pt x="411173" y="7852"/>
                      </a:cubicBezTo>
                      <a:cubicBezTo>
                        <a:pt x="420364" y="16508"/>
                        <a:pt x="422875" y="28770"/>
                        <a:pt x="416782" y="35240"/>
                      </a:cubicBezTo>
                      <a:lnTo>
                        <a:pt x="370270" y="84630"/>
                      </a:lnTo>
                      <a:lnTo>
                        <a:pt x="363260" y="86672"/>
                      </a:lnTo>
                      <a:lnTo>
                        <a:pt x="359309" y="88997"/>
                      </a:lnTo>
                      <a:lnTo>
                        <a:pt x="291466" y="88997"/>
                      </a:lnTo>
                      <a:lnTo>
                        <a:pt x="290116" y="88203"/>
                      </a:lnTo>
                      <a:lnTo>
                        <a:pt x="86011" y="88203"/>
                      </a:lnTo>
                      <a:lnTo>
                        <a:pt x="65366" y="91060"/>
                      </a:lnTo>
                      <a:cubicBezTo>
                        <a:pt x="56341" y="91060"/>
                        <a:pt x="47743" y="89806"/>
                        <a:pt x="39922" y="87539"/>
                      </a:cubicBezTo>
                      <a:lnTo>
                        <a:pt x="30371" y="83125"/>
                      </a:lnTo>
                      <a:lnTo>
                        <a:pt x="20577" y="81508"/>
                      </a:lnTo>
                      <a:cubicBezTo>
                        <a:pt x="10199" y="77371"/>
                        <a:pt x="3780" y="71657"/>
                        <a:pt x="3780" y="65344"/>
                      </a:cubicBezTo>
                      <a:lnTo>
                        <a:pt x="8683" y="60625"/>
                      </a:lnTo>
                      <a:lnTo>
                        <a:pt x="0" y="46255"/>
                      </a:lnTo>
                      <a:cubicBezTo>
                        <a:pt x="0" y="27696"/>
                        <a:pt x="16461" y="11773"/>
                        <a:pt x="39922" y="4971"/>
                      </a:cubicBezTo>
                      <a:lnTo>
                        <a:pt x="54155" y="3001"/>
                      </a:lnTo>
                      <a:lnTo>
                        <a:pt x="54481" y="1450"/>
                      </a:lnTo>
                      <a:lnTo>
                        <a:pt x="58800" y="2358"/>
                      </a:lnTo>
                      <a:lnTo>
                        <a:pt x="65366" y="1450"/>
                      </a:lnTo>
                      <a:cubicBezTo>
                        <a:pt x="74391" y="1450"/>
                        <a:pt x="82989" y="2704"/>
                        <a:pt x="90809" y="4971"/>
                      </a:cubicBezTo>
                      <a:lnTo>
                        <a:pt x="107181" y="12537"/>
                      </a:lnTo>
                      <a:lnTo>
                        <a:pt x="249527" y="42484"/>
                      </a:lnTo>
                      <a:lnTo>
                        <a:pt x="302881" y="42484"/>
                      </a:lnTo>
                      <a:lnTo>
                        <a:pt x="307690" y="43278"/>
                      </a:lnTo>
                      <a:lnTo>
                        <a:pt x="346411" y="43278"/>
                      </a:lnTo>
                      <a:lnTo>
                        <a:pt x="383499" y="3895"/>
                      </a:lnTo>
                      <a:cubicBezTo>
                        <a:pt x="386545" y="661"/>
                        <a:pt x="391166" y="-514"/>
                        <a:pt x="396174" y="202"/>
                      </a:cubicBezTo>
                      <a:close/>
                    </a:path>
                  </a:pathLst>
                </a:cu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7" name="Oval 76">
                  <a:extLst>
                    <a:ext uri="{FF2B5EF4-FFF2-40B4-BE49-F238E27FC236}">
                      <a16:creationId xmlns:a16="http://schemas.microsoft.com/office/drawing/2014/main" id="{83CD1481-EA83-776F-D3F7-D08B9410C20B}"/>
                    </a:ext>
                  </a:extLst>
                </p:cNvPr>
                <p:cNvSpPr/>
                <p:nvPr/>
              </p:nvSpPr>
              <p:spPr bwMode="auto">
                <a:xfrm>
                  <a:off x="7329996" y="5634969"/>
                  <a:ext cx="136700" cy="82822"/>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39" name="Plus 32">
              <a:extLst>
                <a:ext uri="{FF2B5EF4-FFF2-40B4-BE49-F238E27FC236}">
                  <a16:creationId xmlns:a16="http://schemas.microsoft.com/office/drawing/2014/main" id="{B4E1726F-FC1E-EACF-CE2B-997263297CF3}"/>
                </a:ext>
              </a:extLst>
            </p:cNvPr>
            <p:cNvSpPr/>
            <p:nvPr/>
          </p:nvSpPr>
          <p:spPr bwMode="auto">
            <a:xfrm>
              <a:off x="5474847" y="3471123"/>
              <a:ext cx="127333" cy="127333"/>
            </a:xfrm>
            <a:prstGeom prst="mathPlus">
              <a:avLst>
                <a:gd name="adj1" fmla="val 14603"/>
              </a:avLst>
            </a:prstGeom>
            <a:solidFill>
              <a:srgbClr val="E4E5F3"/>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0" name="Group 39">
              <a:extLst>
                <a:ext uri="{FF2B5EF4-FFF2-40B4-BE49-F238E27FC236}">
                  <a16:creationId xmlns:a16="http://schemas.microsoft.com/office/drawing/2014/main" id="{CC6A745F-2C5D-9E8F-74B5-2D274A5AE4C0}"/>
                </a:ext>
              </a:extLst>
            </p:cNvPr>
            <p:cNvGrpSpPr/>
            <p:nvPr/>
          </p:nvGrpSpPr>
          <p:grpSpPr>
            <a:xfrm>
              <a:off x="5822022" y="4921206"/>
              <a:ext cx="495001" cy="496948"/>
              <a:chOff x="2448858" y="3479916"/>
              <a:chExt cx="537822" cy="539935"/>
            </a:xfrm>
          </p:grpSpPr>
          <p:sp>
            <p:nvSpPr>
              <p:cNvPr id="66" name="Rectangle 65">
                <a:extLst>
                  <a:ext uri="{FF2B5EF4-FFF2-40B4-BE49-F238E27FC236}">
                    <a16:creationId xmlns:a16="http://schemas.microsoft.com/office/drawing/2014/main" id="{84FA1E01-AF16-AEC9-4D74-95A9E11A49B5}"/>
                  </a:ext>
                </a:extLst>
              </p:cNvPr>
              <p:cNvSpPr/>
              <p:nvPr/>
            </p:nvSpPr>
            <p:spPr bwMode="auto">
              <a:xfrm>
                <a:off x="2448858" y="3483222"/>
                <a:ext cx="45719" cy="535745"/>
              </a:xfrm>
              <a:prstGeom prst="rec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272743D9-FC9F-52E5-AE3E-054CC89B6F0A}"/>
                  </a:ext>
                </a:extLst>
              </p:cNvPr>
              <p:cNvSpPr/>
              <p:nvPr/>
            </p:nvSpPr>
            <p:spPr bwMode="auto">
              <a:xfrm rot="5400000">
                <a:off x="2695948" y="3729119"/>
                <a:ext cx="45719" cy="535745"/>
              </a:xfrm>
              <a:prstGeom prst="rec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Rectangle 67">
                <a:extLst>
                  <a:ext uri="{FF2B5EF4-FFF2-40B4-BE49-F238E27FC236}">
                    <a16:creationId xmlns:a16="http://schemas.microsoft.com/office/drawing/2014/main" id="{D1E6E4C1-DB96-194B-AE30-BD074337FD5B}"/>
                  </a:ext>
                </a:extLst>
              </p:cNvPr>
              <p:cNvSpPr/>
              <p:nvPr/>
            </p:nvSpPr>
            <p:spPr bwMode="auto">
              <a:xfrm rot="1477263">
                <a:off x="2541077" y="3660437"/>
                <a:ext cx="45719" cy="343009"/>
              </a:xfrm>
              <a:prstGeom prst="rec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4A7B06FC-D6BE-9397-2DFB-CCCC8C205AAC}"/>
                  </a:ext>
                </a:extLst>
              </p:cNvPr>
              <p:cNvSpPr/>
              <p:nvPr/>
            </p:nvSpPr>
            <p:spPr bwMode="auto">
              <a:xfrm rot="6901466">
                <a:off x="2686686" y="3636908"/>
                <a:ext cx="45719" cy="196146"/>
              </a:xfrm>
              <a:prstGeom prst="rec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7D787CCF-C73A-8DB9-45D3-2A6E9466C699}"/>
                  </a:ext>
                </a:extLst>
              </p:cNvPr>
              <p:cNvSpPr/>
              <p:nvPr/>
            </p:nvSpPr>
            <p:spPr bwMode="auto">
              <a:xfrm rot="1585734">
                <a:off x="2785221" y="3599341"/>
                <a:ext cx="45719" cy="196146"/>
              </a:xfrm>
              <a:prstGeom prst="rec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1" name="Isosceles Triangle 70">
                <a:extLst>
                  <a:ext uri="{FF2B5EF4-FFF2-40B4-BE49-F238E27FC236}">
                    <a16:creationId xmlns:a16="http://schemas.microsoft.com/office/drawing/2014/main" id="{A6279632-18B2-DACD-598B-84DB147543E7}"/>
                  </a:ext>
                </a:extLst>
              </p:cNvPr>
              <p:cNvSpPr/>
              <p:nvPr/>
            </p:nvSpPr>
            <p:spPr bwMode="auto">
              <a:xfrm rot="1485482">
                <a:off x="2782058" y="3479916"/>
                <a:ext cx="199172" cy="141137"/>
              </a:xfrm>
              <a:prstGeom prst="triangle">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pic>
          <p:nvPicPr>
            <p:cNvPr id="41" name="Picture 40">
              <a:extLst>
                <a:ext uri="{FF2B5EF4-FFF2-40B4-BE49-F238E27FC236}">
                  <a16:creationId xmlns:a16="http://schemas.microsoft.com/office/drawing/2014/main" id="{FD838C92-7304-76B7-C7FA-9CA516707289}"/>
                </a:ext>
              </a:extLst>
            </p:cNvPr>
            <p:cNvPicPr>
              <a:picLocks noChangeAspect="1"/>
            </p:cNvPicPr>
            <p:nvPr/>
          </p:nvPicPr>
          <p:blipFill>
            <a:blip r:embed="rId5">
              <a:duotone>
                <a:srgbClr val="4BACC6">
                  <a:shade val="45000"/>
                  <a:satMod val="135000"/>
                </a:srgbClr>
                <a:prstClr val="white"/>
              </a:duotone>
              <a:extLst>
                <a:ext uri="{BEBA8EAE-BF5A-486C-A8C5-ECC9F3942E4B}">
                  <a14:imgProps xmlns:a14="http://schemas.microsoft.com/office/drawing/2010/main">
                    <a14:imgLayer r:embed="rId6">
                      <a14:imgEffect>
                        <a14:backgroundRemoval t="0" b="80491" l="10000" r="90000">
                          <a14:foregroundMark x1="36833" y1="53037" x2="36833" y2="53037"/>
                          <a14:foregroundMark x1="75250" y1="58061" x2="75250" y2="58061"/>
                        </a14:backgroundRemoval>
                      </a14:imgEffect>
                    </a14:imgLayer>
                  </a14:imgProps>
                </a:ext>
              </a:extLst>
            </a:blip>
            <a:stretch>
              <a:fillRect/>
            </a:stretch>
          </p:blipFill>
          <p:spPr>
            <a:xfrm>
              <a:off x="7083905" y="4670712"/>
              <a:ext cx="992290" cy="707835"/>
            </a:xfrm>
            <a:prstGeom prst="rect">
              <a:avLst/>
            </a:prstGeom>
            <a:ln>
              <a:noFill/>
            </a:ln>
          </p:spPr>
        </p:pic>
        <p:sp>
          <p:nvSpPr>
            <p:cNvPr id="42" name="Freeform 95">
              <a:extLst>
                <a:ext uri="{FF2B5EF4-FFF2-40B4-BE49-F238E27FC236}">
                  <a16:creationId xmlns:a16="http://schemas.microsoft.com/office/drawing/2014/main" id="{9A6CBAFD-56B6-D363-C97C-A765B578FACE}"/>
                </a:ext>
              </a:extLst>
            </p:cNvPr>
            <p:cNvSpPr>
              <a:spLocks noEditPoints="1"/>
            </p:cNvSpPr>
            <p:nvPr/>
          </p:nvSpPr>
          <p:spPr bwMode="auto">
            <a:xfrm>
              <a:off x="4615821" y="4808609"/>
              <a:ext cx="227127" cy="640785"/>
            </a:xfrm>
            <a:custGeom>
              <a:avLst/>
              <a:gdLst>
                <a:gd name="T0" fmla="*/ 219 w 219"/>
                <a:gd name="T1" fmla="*/ 345 h 640"/>
                <a:gd name="T2" fmla="*/ 208 w 219"/>
                <a:gd name="T3" fmla="*/ 173 h 640"/>
                <a:gd name="T4" fmla="*/ 142 w 219"/>
                <a:gd name="T5" fmla="*/ 129 h 640"/>
                <a:gd name="T6" fmla="*/ 164 w 219"/>
                <a:gd name="T7" fmla="*/ 85 h 640"/>
                <a:gd name="T8" fmla="*/ 110 w 219"/>
                <a:gd name="T9" fmla="*/ 0 h 640"/>
                <a:gd name="T10" fmla="*/ 55 w 219"/>
                <a:gd name="T11" fmla="*/ 85 h 640"/>
                <a:gd name="T12" fmla="*/ 22 w 219"/>
                <a:gd name="T13" fmla="*/ 156 h 640"/>
                <a:gd name="T14" fmla="*/ 1 w 219"/>
                <a:gd name="T15" fmla="*/ 345 h 640"/>
                <a:gd name="T16" fmla="*/ 0 w 219"/>
                <a:gd name="T17" fmla="*/ 357 h 640"/>
                <a:gd name="T18" fmla="*/ 25 w 219"/>
                <a:gd name="T19" fmla="*/ 445 h 640"/>
                <a:gd name="T20" fmla="*/ 31 w 219"/>
                <a:gd name="T21" fmla="*/ 451 h 640"/>
                <a:gd name="T22" fmla="*/ 40 w 219"/>
                <a:gd name="T23" fmla="*/ 640 h 640"/>
                <a:gd name="T24" fmla="*/ 82 w 219"/>
                <a:gd name="T25" fmla="*/ 628 h 640"/>
                <a:gd name="T26" fmla="*/ 117 w 219"/>
                <a:gd name="T27" fmla="*/ 451 h 640"/>
                <a:gd name="T28" fmla="*/ 151 w 219"/>
                <a:gd name="T29" fmla="*/ 640 h 640"/>
                <a:gd name="T30" fmla="*/ 180 w 219"/>
                <a:gd name="T31" fmla="*/ 451 h 640"/>
                <a:gd name="T32" fmla="*/ 192 w 219"/>
                <a:gd name="T33" fmla="*/ 449 h 640"/>
                <a:gd name="T34" fmla="*/ 191 w 219"/>
                <a:gd name="T35" fmla="*/ 400 h 640"/>
                <a:gd name="T36" fmla="*/ 67 w 219"/>
                <a:gd name="T37" fmla="*/ 85 h 640"/>
                <a:gd name="T38" fmla="*/ 88 w 219"/>
                <a:gd name="T39" fmla="*/ 39 h 640"/>
                <a:gd name="T40" fmla="*/ 110 w 219"/>
                <a:gd name="T41" fmla="*/ 41 h 640"/>
                <a:gd name="T42" fmla="*/ 152 w 219"/>
                <a:gd name="T43" fmla="*/ 54 h 640"/>
                <a:gd name="T44" fmla="*/ 110 w 219"/>
                <a:gd name="T45" fmla="*/ 127 h 640"/>
                <a:gd name="T46" fmla="*/ 29 w 219"/>
                <a:gd name="T47" fmla="*/ 387 h 640"/>
                <a:gd name="T48" fmla="*/ 12 w 219"/>
                <a:gd name="T49" fmla="*/ 357 h 640"/>
                <a:gd name="T50" fmla="*/ 29 w 219"/>
                <a:gd name="T51" fmla="*/ 387 h 640"/>
                <a:gd name="T52" fmla="*/ 179 w 219"/>
                <a:gd name="T53" fmla="*/ 203 h 640"/>
                <a:gd name="T54" fmla="*/ 167 w 219"/>
                <a:gd name="T55" fmla="*/ 204 h 640"/>
                <a:gd name="T56" fmla="*/ 38 w 219"/>
                <a:gd name="T57" fmla="*/ 439 h 640"/>
                <a:gd name="T58" fmla="*/ 46 w 219"/>
                <a:gd name="T59" fmla="*/ 198 h 640"/>
                <a:gd name="T60" fmla="*/ 31 w 219"/>
                <a:gd name="T61" fmla="*/ 345 h 640"/>
                <a:gd name="T62" fmla="*/ 24 w 219"/>
                <a:gd name="T63" fmla="*/ 174 h 640"/>
                <a:gd name="T64" fmla="*/ 80 w 219"/>
                <a:gd name="T65" fmla="*/ 141 h 640"/>
                <a:gd name="T66" fmla="*/ 70 w 219"/>
                <a:gd name="T67" fmla="*/ 204 h 640"/>
                <a:gd name="T68" fmla="*/ 102 w 219"/>
                <a:gd name="T69" fmla="*/ 204 h 640"/>
                <a:gd name="T70" fmla="*/ 92 w 219"/>
                <a:gd name="T71" fmla="*/ 136 h 640"/>
                <a:gd name="T72" fmla="*/ 128 w 219"/>
                <a:gd name="T73" fmla="*/ 136 h 640"/>
                <a:gd name="T74" fmla="*/ 113 w 219"/>
                <a:gd name="T75" fmla="*/ 179 h 640"/>
                <a:gd name="T76" fmla="*/ 113 w 219"/>
                <a:gd name="T77" fmla="*/ 240 h 640"/>
                <a:gd name="T78" fmla="*/ 123 w 219"/>
                <a:gd name="T79" fmla="*/ 256 h 640"/>
                <a:gd name="T80" fmla="*/ 127 w 219"/>
                <a:gd name="T81" fmla="*/ 246 h 640"/>
                <a:gd name="T82" fmla="*/ 125 w 219"/>
                <a:gd name="T83" fmla="*/ 180 h 640"/>
                <a:gd name="T84" fmla="*/ 143 w 219"/>
                <a:gd name="T85" fmla="*/ 180 h 640"/>
                <a:gd name="T86" fmla="*/ 143 w 219"/>
                <a:gd name="T87" fmla="*/ 240 h 640"/>
                <a:gd name="T88" fmla="*/ 140 w 219"/>
                <a:gd name="T89" fmla="*/ 254 h 640"/>
                <a:gd name="T90" fmla="*/ 149 w 219"/>
                <a:gd name="T91" fmla="*/ 254 h 640"/>
                <a:gd name="T92" fmla="*/ 155 w 219"/>
                <a:gd name="T93" fmla="*/ 180 h 640"/>
                <a:gd name="T94" fmla="*/ 140 w 219"/>
                <a:gd name="T95" fmla="*/ 160 h 640"/>
                <a:gd name="T96" fmla="*/ 191 w 219"/>
                <a:gd name="T97" fmla="*/ 167 h 640"/>
                <a:gd name="T98" fmla="*/ 206 w 219"/>
                <a:gd name="T99" fmla="*/ 345 h 640"/>
                <a:gd name="T100" fmla="*/ 190 w 219"/>
                <a:gd name="T101" fmla="*/ 387 h 640"/>
                <a:gd name="T102" fmla="*/ 207 w 219"/>
                <a:gd name="T103" fmla="*/ 357 h 640"/>
                <a:gd name="T104" fmla="*/ 190 w 219"/>
                <a:gd name="T105" fmla="*/ 38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9" h="640">
                  <a:moveTo>
                    <a:pt x="219" y="357"/>
                  </a:moveTo>
                  <a:cubicBezTo>
                    <a:pt x="219" y="345"/>
                    <a:pt x="219" y="345"/>
                    <a:pt x="219" y="345"/>
                  </a:cubicBezTo>
                  <a:cubicBezTo>
                    <a:pt x="219" y="345"/>
                    <a:pt x="219" y="345"/>
                    <a:pt x="219" y="345"/>
                  </a:cubicBezTo>
                  <a:cubicBezTo>
                    <a:pt x="208" y="173"/>
                    <a:pt x="208" y="173"/>
                    <a:pt x="208" y="173"/>
                  </a:cubicBezTo>
                  <a:cubicBezTo>
                    <a:pt x="208" y="165"/>
                    <a:pt x="204" y="159"/>
                    <a:pt x="197" y="156"/>
                  </a:cubicBezTo>
                  <a:cubicBezTo>
                    <a:pt x="142" y="129"/>
                    <a:pt x="142" y="129"/>
                    <a:pt x="142" y="129"/>
                  </a:cubicBezTo>
                  <a:cubicBezTo>
                    <a:pt x="142" y="129"/>
                    <a:pt x="142" y="129"/>
                    <a:pt x="142" y="129"/>
                  </a:cubicBezTo>
                  <a:cubicBezTo>
                    <a:pt x="155" y="119"/>
                    <a:pt x="164" y="103"/>
                    <a:pt x="164" y="85"/>
                  </a:cubicBezTo>
                  <a:cubicBezTo>
                    <a:pt x="164" y="54"/>
                    <a:pt x="164" y="54"/>
                    <a:pt x="164" y="54"/>
                  </a:cubicBezTo>
                  <a:cubicBezTo>
                    <a:pt x="164" y="25"/>
                    <a:pt x="139" y="0"/>
                    <a:pt x="110" y="0"/>
                  </a:cubicBezTo>
                  <a:cubicBezTo>
                    <a:pt x="80" y="0"/>
                    <a:pt x="55" y="25"/>
                    <a:pt x="55" y="54"/>
                  </a:cubicBezTo>
                  <a:cubicBezTo>
                    <a:pt x="55" y="85"/>
                    <a:pt x="55" y="85"/>
                    <a:pt x="55" y="85"/>
                  </a:cubicBezTo>
                  <a:cubicBezTo>
                    <a:pt x="55" y="103"/>
                    <a:pt x="64" y="119"/>
                    <a:pt x="77" y="129"/>
                  </a:cubicBezTo>
                  <a:cubicBezTo>
                    <a:pt x="22" y="156"/>
                    <a:pt x="22" y="156"/>
                    <a:pt x="22" y="156"/>
                  </a:cubicBezTo>
                  <a:cubicBezTo>
                    <a:pt x="16" y="159"/>
                    <a:pt x="12" y="165"/>
                    <a:pt x="11" y="173"/>
                  </a:cubicBezTo>
                  <a:cubicBezTo>
                    <a:pt x="1" y="345"/>
                    <a:pt x="1" y="345"/>
                    <a:pt x="1" y="345"/>
                  </a:cubicBezTo>
                  <a:cubicBezTo>
                    <a:pt x="1" y="345"/>
                    <a:pt x="1" y="345"/>
                    <a:pt x="1" y="345"/>
                  </a:cubicBezTo>
                  <a:cubicBezTo>
                    <a:pt x="0" y="357"/>
                    <a:pt x="0" y="357"/>
                    <a:pt x="0" y="357"/>
                  </a:cubicBezTo>
                  <a:cubicBezTo>
                    <a:pt x="0" y="377"/>
                    <a:pt x="11" y="393"/>
                    <a:pt x="28" y="400"/>
                  </a:cubicBezTo>
                  <a:cubicBezTo>
                    <a:pt x="25" y="445"/>
                    <a:pt x="25" y="445"/>
                    <a:pt x="25" y="445"/>
                  </a:cubicBezTo>
                  <a:cubicBezTo>
                    <a:pt x="25" y="446"/>
                    <a:pt x="26" y="448"/>
                    <a:pt x="27" y="449"/>
                  </a:cubicBezTo>
                  <a:cubicBezTo>
                    <a:pt x="28" y="451"/>
                    <a:pt x="30" y="451"/>
                    <a:pt x="31" y="451"/>
                  </a:cubicBezTo>
                  <a:cubicBezTo>
                    <a:pt x="40" y="451"/>
                    <a:pt x="40" y="451"/>
                    <a:pt x="40" y="451"/>
                  </a:cubicBezTo>
                  <a:cubicBezTo>
                    <a:pt x="40" y="640"/>
                    <a:pt x="40" y="640"/>
                    <a:pt x="40" y="640"/>
                  </a:cubicBezTo>
                  <a:cubicBezTo>
                    <a:pt x="68" y="640"/>
                    <a:pt x="68" y="640"/>
                    <a:pt x="68" y="640"/>
                  </a:cubicBezTo>
                  <a:cubicBezTo>
                    <a:pt x="75" y="640"/>
                    <a:pt x="81" y="634"/>
                    <a:pt x="82" y="628"/>
                  </a:cubicBezTo>
                  <a:cubicBezTo>
                    <a:pt x="103" y="451"/>
                    <a:pt x="103" y="451"/>
                    <a:pt x="103" y="451"/>
                  </a:cubicBezTo>
                  <a:cubicBezTo>
                    <a:pt x="117" y="451"/>
                    <a:pt x="117" y="451"/>
                    <a:pt x="117" y="451"/>
                  </a:cubicBezTo>
                  <a:cubicBezTo>
                    <a:pt x="137" y="628"/>
                    <a:pt x="137" y="628"/>
                    <a:pt x="137" y="628"/>
                  </a:cubicBezTo>
                  <a:cubicBezTo>
                    <a:pt x="138" y="634"/>
                    <a:pt x="144" y="640"/>
                    <a:pt x="151" y="640"/>
                  </a:cubicBezTo>
                  <a:cubicBezTo>
                    <a:pt x="180" y="640"/>
                    <a:pt x="180" y="640"/>
                    <a:pt x="180" y="640"/>
                  </a:cubicBezTo>
                  <a:cubicBezTo>
                    <a:pt x="180" y="451"/>
                    <a:pt x="180" y="451"/>
                    <a:pt x="180" y="451"/>
                  </a:cubicBezTo>
                  <a:cubicBezTo>
                    <a:pt x="188" y="451"/>
                    <a:pt x="188" y="451"/>
                    <a:pt x="188" y="451"/>
                  </a:cubicBezTo>
                  <a:cubicBezTo>
                    <a:pt x="190" y="451"/>
                    <a:pt x="191" y="451"/>
                    <a:pt x="192" y="449"/>
                  </a:cubicBezTo>
                  <a:cubicBezTo>
                    <a:pt x="193" y="448"/>
                    <a:pt x="194" y="446"/>
                    <a:pt x="194" y="445"/>
                  </a:cubicBezTo>
                  <a:cubicBezTo>
                    <a:pt x="191" y="400"/>
                    <a:pt x="191" y="400"/>
                    <a:pt x="191" y="400"/>
                  </a:cubicBezTo>
                  <a:cubicBezTo>
                    <a:pt x="208" y="393"/>
                    <a:pt x="219" y="377"/>
                    <a:pt x="219" y="357"/>
                  </a:cubicBezTo>
                  <a:close/>
                  <a:moveTo>
                    <a:pt x="67" y="85"/>
                  </a:moveTo>
                  <a:cubicBezTo>
                    <a:pt x="67" y="59"/>
                    <a:pt x="67" y="59"/>
                    <a:pt x="67" y="59"/>
                  </a:cubicBezTo>
                  <a:cubicBezTo>
                    <a:pt x="68" y="48"/>
                    <a:pt x="77" y="39"/>
                    <a:pt x="88" y="39"/>
                  </a:cubicBezTo>
                  <a:cubicBezTo>
                    <a:pt x="88" y="39"/>
                    <a:pt x="88" y="39"/>
                    <a:pt x="88" y="39"/>
                  </a:cubicBezTo>
                  <a:cubicBezTo>
                    <a:pt x="94" y="41"/>
                    <a:pt x="102" y="41"/>
                    <a:pt x="110" y="41"/>
                  </a:cubicBezTo>
                  <a:cubicBezTo>
                    <a:pt x="125" y="41"/>
                    <a:pt x="138" y="38"/>
                    <a:pt x="146" y="34"/>
                  </a:cubicBezTo>
                  <a:cubicBezTo>
                    <a:pt x="150" y="40"/>
                    <a:pt x="152" y="47"/>
                    <a:pt x="152" y="54"/>
                  </a:cubicBezTo>
                  <a:cubicBezTo>
                    <a:pt x="152" y="85"/>
                    <a:pt x="152" y="85"/>
                    <a:pt x="152" y="85"/>
                  </a:cubicBezTo>
                  <a:cubicBezTo>
                    <a:pt x="152" y="109"/>
                    <a:pt x="133" y="127"/>
                    <a:pt x="110" y="127"/>
                  </a:cubicBezTo>
                  <a:cubicBezTo>
                    <a:pt x="86" y="127"/>
                    <a:pt x="67" y="109"/>
                    <a:pt x="67" y="85"/>
                  </a:cubicBezTo>
                  <a:close/>
                  <a:moveTo>
                    <a:pt x="29" y="387"/>
                  </a:moveTo>
                  <a:cubicBezTo>
                    <a:pt x="19" y="381"/>
                    <a:pt x="12" y="370"/>
                    <a:pt x="12" y="358"/>
                  </a:cubicBezTo>
                  <a:cubicBezTo>
                    <a:pt x="12" y="357"/>
                    <a:pt x="12" y="357"/>
                    <a:pt x="12" y="357"/>
                  </a:cubicBezTo>
                  <a:cubicBezTo>
                    <a:pt x="31" y="357"/>
                    <a:pt x="31" y="357"/>
                    <a:pt x="31" y="357"/>
                  </a:cubicBezTo>
                  <a:lnTo>
                    <a:pt x="29" y="387"/>
                  </a:lnTo>
                  <a:close/>
                  <a:moveTo>
                    <a:pt x="188" y="345"/>
                  </a:moveTo>
                  <a:cubicBezTo>
                    <a:pt x="179" y="203"/>
                    <a:pt x="179" y="203"/>
                    <a:pt x="179" y="203"/>
                  </a:cubicBezTo>
                  <a:cubicBezTo>
                    <a:pt x="179" y="200"/>
                    <a:pt x="176" y="197"/>
                    <a:pt x="173" y="198"/>
                  </a:cubicBezTo>
                  <a:cubicBezTo>
                    <a:pt x="169" y="198"/>
                    <a:pt x="167" y="201"/>
                    <a:pt x="167" y="204"/>
                  </a:cubicBezTo>
                  <a:cubicBezTo>
                    <a:pt x="181" y="439"/>
                    <a:pt x="181" y="439"/>
                    <a:pt x="181" y="439"/>
                  </a:cubicBezTo>
                  <a:cubicBezTo>
                    <a:pt x="38" y="439"/>
                    <a:pt x="38" y="439"/>
                    <a:pt x="38" y="439"/>
                  </a:cubicBezTo>
                  <a:cubicBezTo>
                    <a:pt x="52" y="204"/>
                    <a:pt x="52" y="204"/>
                    <a:pt x="52" y="204"/>
                  </a:cubicBezTo>
                  <a:cubicBezTo>
                    <a:pt x="52" y="201"/>
                    <a:pt x="50" y="198"/>
                    <a:pt x="46" y="198"/>
                  </a:cubicBezTo>
                  <a:cubicBezTo>
                    <a:pt x="43" y="197"/>
                    <a:pt x="40" y="200"/>
                    <a:pt x="40" y="203"/>
                  </a:cubicBezTo>
                  <a:cubicBezTo>
                    <a:pt x="31" y="345"/>
                    <a:pt x="31" y="345"/>
                    <a:pt x="31" y="345"/>
                  </a:cubicBezTo>
                  <a:cubicBezTo>
                    <a:pt x="13" y="345"/>
                    <a:pt x="13" y="345"/>
                    <a:pt x="13" y="345"/>
                  </a:cubicBezTo>
                  <a:cubicBezTo>
                    <a:pt x="24" y="174"/>
                    <a:pt x="24" y="174"/>
                    <a:pt x="24" y="174"/>
                  </a:cubicBezTo>
                  <a:cubicBezTo>
                    <a:pt x="24" y="170"/>
                    <a:pt x="25" y="168"/>
                    <a:pt x="29" y="167"/>
                  </a:cubicBezTo>
                  <a:cubicBezTo>
                    <a:pt x="80" y="141"/>
                    <a:pt x="80" y="141"/>
                    <a:pt x="80" y="141"/>
                  </a:cubicBezTo>
                  <a:cubicBezTo>
                    <a:pt x="80" y="189"/>
                    <a:pt x="80" y="189"/>
                    <a:pt x="80" y="189"/>
                  </a:cubicBezTo>
                  <a:cubicBezTo>
                    <a:pt x="74" y="191"/>
                    <a:pt x="70" y="197"/>
                    <a:pt x="70" y="204"/>
                  </a:cubicBezTo>
                  <a:cubicBezTo>
                    <a:pt x="70" y="212"/>
                    <a:pt x="77" y="220"/>
                    <a:pt x="86" y="220"/>
                  </a:cubicBezTo>
                  <a:cubicBezTo>
                    <a:pt x="94" y="220"/>
                    <a:pt x="102" y="212"/>
                    <a:pt x="102" y="204"/>
                  </a:cubicBezTo>
                  <a:cubicBezTo>
                    <a:pt x="102" y="197"/>
                    <a:pt x="97" y="191"/>
                    <a:pt x="92" y="189"/>
                  </a:cubicBezTo>
                  <a:cubicBezTo>
                    <a:pt x="92" y="136"/>
                    <a:pt x="92" y="136"/>
                    <a:pt x="92" y="136"/>
                  </a:cubicBezTo>
                  <a:cubicBezTo>
                    <a:pt x="97" y="138"/>
                    <a:pt x="103" y="139"/>
                    <a:pt x="110" y="139"/>
                  </a:cubicBezTo>
                  <a:cubicBezTo>
                    <a:pt x="116" y="139"/>
                    <a:pt x="122" y="138"/>
                    <a:pt x="128" y="136"/>
                  </a:cubicBezTo>
                  <a:cubicBezTo>
                    <a:pt x="128" y="160"/>
                    <a:pt x="128" y="160"/>
                    <a:pt x="128" y="160"/>
                  </a:cubicBezTo>
                  <a:cubicBezTo>
                    <a:pt x="119" y="162"/>
                    <a:pt x="113" y="170"/>
                    <a:pt x="113" y="179"/>
                  </a:cubicBezTo>
                  <a:cubicBezTo>
                    <a:pt x="113" y="179"/>
                    <a:pt x="113" y="180"/>
                    <a:pt x="113" y="180"/>
                  </a:cubicBezTo>
                  <a:cubicBezTo>
                    <a:pt x="113" y="240"/>
                    <a:pt x="113" y="240"/>
                    <a:pt x="113" y="240"/>
                  </a:cubicBezTo>
                  <a:cubicBezTo>
                    <a:pt x="113" y="245"/>
                    <a:pt x="115" y="250"/>
                    <a:pt x="119" y="254"/>
                  </a:cubicBezTo>
                  <a:cubicBezTo>
                    <a:pt x="120" y="256"/>
                    <a:pt x="121" y="256"/>
                    <a:pt x="123" y="256"/>
                  </a:cubicBezTo>
                  <a:cubicBezTo>
                    <a:pt x="124" y="256"/>
                    <a:pt x="126" y="256"/>
                    <a:pt x="127" y="254"/>
                  </a:cubicBezTo>
                  <a:cubicBezTo>
                    <a:pt x="129" y="252"/>
                    <a:pt x="129" y="248"/>
                    <a:pt x="127" y="246"/>
                  </a:cubicBezTo>
                  <a:cubicBezTo>
                    <a:pt x="125" y="244"/>
                    <a:pt x="125" y="242"/>
                    <a:pt x="125" y="240"/>
                  </a:cubicBezTo>
                  <a:cubicBezTo>
                    <a:pt x="125" y="180"/>
                    <a:pt x="125" y="180"/>
                    <a:pt x="125" y="180"/>
                  </a:cubicBezTo>
                  <a:cubicBezTo>
                    <a:pt x="125" y="175"/>
                    <a:pt x="129" y="171"/>
                    <a:pt x="134" y="171"/>
                  </a:cubicBezTo>
                  <a:cubicBezTo>
                    <a:pt x="139" y="171"/>
                    <a:pt x="143" y="175"/>
                    <a:pt x="143" y="180"/>
                  </a:cubicBezTo>
                  <a:cubicBezTo>
                    <a:pt x="143" y="180"/>
                    <a:pt x="143" y="180"/>
                    <a:pt x="143" y="181"/>
                  </a:cubicBezTo>
                  <a:cubicBezTo>
                    <a:pt x="143" y="240"/>
                    <a:pt x="143" y="240"/>
                    <a:pt x="143" y="240"/>
                  </a:cubicBezTo>
                  <a:cubicBezTo>
                    <a:pt x="143" y="242"/>
                    <a:pt x="142" y="244"/>
                    <a:pt x="140" y="246"/>
                  </a:cubicBezTo>
                  <a:cubicBezTo>
                    <a:pt x="138" y="248"/>
                    <a:pt x="138" y="252"/>
                    <a:pt x="140" y="254"/>
                  </a:cubicBezTo>
                  <a:cubicBezTo>
                    <a:pt x="141" y="256"/>
                    <a:pt x="143" y="256"/>
                    <a:pt x="145" y="256"/>
                  </a:cubicBezTo>
                  <a:cubicBezTo>
                    <a:pt x="146" y="256"/>
                    <a:pt x="148" y="256"/>
                    <a:pt x="149" y="254"/>
                  </a:cubicBezTo>
                  <a:cubicBezTo>
                    <a:pt x="153" y="250"/>
                    <a:pt x="155" y="245"/>
                    <a:pt x="155" y="240"/>
                  </a:cubicBezTo>
                  <a:cubicBezTo>
                    <a:pt x="155" y="180"/>
                    <a:pt x="155" y="180"/>
                    <a:pt x="155" y="180"/>
                  </a:cubicBezTo>
                  <a:cubicBezTo>
                    <a:pt x="155" y="180"/>
                    <a:pt x="155" y="179"/>
                    <a:pt x="155" y="179"/>
                  </a:cubicBezTo>
                  <a:cubicBezTo>
                    <a:pt x="154" y="170"/>
                    <a:pt x="148" y="162"/>
                    <a:pt x="140" y="160"/>
                  </a:cubicBezTo>
                  <a:cubicBezTo>
                    <a:pt x="140" y="141"/>
                    <a:pt x="140" y="141"/>
                    <a:pt x="140" y="141"/>
                  </a:cubicBezTo>
                  <a:cubicBezTo>
                    <a:pt x="191" y="167"/>
                    <a:pt x="191" y="167"/>
                    <a:pt x="191" y="167"/>
                  </a:cubicBezTo>
                  <a:cubicBezTo>
                    <a:pt x="194" y="168"/>
                    <a:pt x="195" y="170"/>
                    <a:pt x="195" y="174"/>
                  </a:cubicBezTo>
                  <a:cubicBezTo>
                    <a:pt x="206" y="345"/>
                    <a:pt x="206" y="345"/>
                    <a:pt x="206" y="345"/>
                  </a:cubicBezTo>
                  <a:lnTo>
                    <a:pt x="188" y="345"/>
                  </a:lnTo>
                  <a:close/>
                  <a:moveTo>
                    <a:pt x="190" y="387"/>
                  </a:moveTo>
                  <a:cubicBezTo>
                    <a:pt x="189" y="357"/>
                    <a:pt x="189" y="357"/>
                    <a:pt x="189" y="357"/>
                  </a:cubicBezTo>
                  <a:cubicBezTo>
                    <a:pt x="207" y="357"/>
                    <a:pt x="207" y="357"/>
                    <a:pt x="207" y="357"/>
                  </a:cubicBezTo>
                  <a:cubicBezTo>
                    <a:pt x="207" y="358"/>
                    <a:pt x="207" y="358"/>
                    <a:pt x="207" y="358"/>
                  </a:cubicBezTo>
                  <a:cubicBezTo>
                    <a:pt x="207" y="370"/>
                    <a:pt x="200" y="381"/>
                    <a:pt x="190" y="387"/>
                  </a:cubicBezTo>
                  <a:close/>
                </a:path>
              </a:pathLst>
            </a:custGeom>
            <a:solidFill>
              <a:srgbClr val="20286B"/>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3" name="Picture 42">
              <a:extLst>
                <a:ext uri="{FF2B5EF4-FFF2-40B4-BE49-F238E27FC236}">
                  <a16:creationId xmlns:a16="http://schemas.microsoft.com/office/drawing/2014/main" id="{1C305877-2399-F3A9-21D5-915157FE5983}"/>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8800"/>
                      </a14:imgEffect>
                    </a14:imgLayer>
                  </a14:imgProps>
                </a:ext>
              </a:extLst>
            </a:blip>
            <a:srcRect l="33512" r="47241"/>
            <a:stretch>
              <a:fillRect/>
            </a:stretch>
          </p:blipFill>
          <p:spPr>
            <a:xfrm>
              <a:off x="8664467" y="4366816"/>
              <a:ext cx="664295" cy="529237"/>
            </a:xfrm>
            <a:prstGeom prst="rect">
              <a:avLst/>
            </a:prstGeom>
            <a:ln>
              <a:noFill/>
            </a:ln>
          </p:spPr>
        </p:pic>
        <p:grpSp>
          <p:nvGrpSpPr>
            <p:cNvPr id="44" name="Group 43">
              <a:extLst>
                <a:ext uri="{FF2B5EF4-FFF2-40B4-BE49-F238E27FC236}">
                  <a16:creationId xmlns:a16="http://schemas.microsoft.com/office/drawing/2014/main" id="{56DC8622-B131-721B-5213-334DFD1F667C}"/>
                </a:ext>
              </a:extLst>
            </p:cNvPr>
            <p:cNvGrpSpPr>
              <a:grpSpLocks noChangeAspect="1"/>
            </p:cNvGrpSpPr>
            <p:nvPr/>
          </p:nvGrpSpPr>
          <p:grpSpPr>
            <a:xfrm>
              <a:off x="7598120" y="3335954"/>
              <a:ext cx="167966" cy="497675"/>
              <a:chOff x="3624263" y="3230563"/>
              <a:chExt cx="798513" cy="2419350"/>
            </a:xfrm>
          </p:grpSpPr>
          <p:sp>
            <p:nvSpPr>
              <p:cNvPr id="63" name="AutoShape 70">
                <a:extLst>
                  <a:ext uri="{FF2B5EF4-FFF2-40B4-BE49-F238E27FC236}">
                    <a16:creationId xmlns:a16="http://schemas.microsoft.com/office/drawing/2014/main" id="{D0FC0883-D1B6-710A-2756-A6CCA2355493}"/>
                  </a:ext>
                </a:extLst>
              </p:cNvPr>
              <p:cNvSpPr>
                <a:spLocks noChangeAspect="1" noChangeArrowheads="1" noTextEdit="1"/>
              </p:cNvSpPr>
              <p:nvPr/>
            </p:nvSpPr>
            <p:spPr bwMode="auto">
              <a:xfrm>
                <a:off x="3632200" y="3230563"/>
                <a:ext cx="787400" cy="24193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64" name="Freeform 72">
                <a:extLst>
                  <a:ext uri="{FF2B5EF4-FFF2-40B4-BE49-F238E27FC236}">
                    <a16:creationId xmlns:a16="http://schemas.microsoft.com/office/drawing/2014/main" id="{C5255D67-654F-BCDB-92A6-9A56EEC44C9B}"/>
                  </a:ext>
                </a:extLst>
              </p:cNvPr>
              <p:cNvSpPr>
                <a:spLocks noEditPoints="1"/>
              </p:cNvSpPr>
              <p:nvPr/>
            </p:nvSpPr>
            <p:spPr bwMode="auto">
              <a:xfrm>
                <a:off x="3624263" y="3852863"/>
                <a:ext cx="798513" cy="1797050"/>
              </a:xfrm>
              <a:custGeom>
                <a:avLst/>
                <a:gdLst>
                  <a:gd name="T0" fmla="*/ 211 w 213"/>
                  <a:gd name="T1" fmla="*/ 197 h 479"/>
                  <a:gd name="T2" fmla="*/ 194 w 213"/>
                  <a:gd name="T3" fmla="*/ 29 h 479"/>
                  <a:gd name="T4" fmla="*/ 193 w 213"/>
                  <a:gd name="T5" fmla="*/ 27 h 479"/>
                  <a:gd name="T6" fmla="*/ 181 w 213"/>
                  <a:gd name="T7" fmla="*/ 12 h 479"/>
                  <a:gd name="T8" fmla="*/ 159 w 213"/>
                  <a:gd name="T9" fmla="*/ 0 h 479"/>
                  <a:gd name="T10" fmla="*/ 106 w 213"/>
                  <a:gd name="T11" fmla="*/ 22 h 479"/>
                  <a:gd name="T12" fmla="*/ 54 w 213"/>
                  <a:gd name="T13" fmla="*/ 0 h 479"/>
                  <a:gd name="T14" fmla="*/ 31 w 213"/>
                  <a:gd name="T15" fmla="*/ 12 h 479"/>
                  <a:gd name="T16" fmla="*/ 19 w 213"/>
                  <a:gd name="T17" fmla="*/ 27 h 479"/>
                  <a:gd name="T18" fmla="*/ 19 w 213"/>
                  <a:gd name="T19" fmla="*/ 29 h 479"/>
                  <a:gd name="T20" fmla="*/ 1 w 213"/>
                  <a:gd name="T21" fmla="*/ 197 h 479"/>
                  <a:gd name="T22" fmla="*/ 26 w 213"/>
                  <a:gd name="T23" fmla="*/ 236 h 479"/>
                  <a:gd name="T24" fmla="*/ 16 w 213"/>
                  <a:gd name="T25" fmla="*/ 384 h 479"/>
                  <a:gd name="T26" fmla="*/ 16 w 213"/>
                  <a:gd name="T27" fmla="*/ 390 h 479"/>
                  <a:gd name="T28" fmla="*/ 25 w 213"/>
                  <a:gd name="T29" fmla="*/ 402 h 479"/>
                  <a:gd name="T30" fmla="*/ 25 w 213"/>
                  <a:gd name="T31" fmla="*/ 402 h 479"/>
                  <a:gd name="T32" fmla="*/ 25 w 213"/>
                  <a:gd name="T33" fmla="*/ 402 h 479"/>
                  <a:gd name="T34" fmla="*/ 66 w 213"/>
                  <a:gd name="T35" fmla="*/ 402 h 479"/>
                  <a:gd name="T36" fmla="*/ 75 w 213"/>
                  <a:gd name="T37" fmla="*/ 467 h 479"/>
                  <a:gd name="T38" fmla="*/ 88 w 213"/>
                  <a:gd name="T39" fmla="*/ 479 h 479"/>
                  <a:gd name="T40" fmla="*/ 124 w 213"/>
                  <a:gd name="T41" fmla="*/ 479 h 479"/>
                  <a:gd name="T42" fmla="*/ 138 w 213"/>
                  <a:gd name="T43" fmla="*/ 467 h 479"/>
                  <a:gd name="T44" fmla="*/ 146 w 213"/>
                  <a:gd name="T45" fmla="*/ 402 h 479"/>
                  <a:gd name="T46" fmla="*/ 187 w 213"/>
                  <a:gd name="T47" fmla="*/ 402 h 479"/>
                  <a:gd name="T48" fmla="*/ 187 w 213"/>
                  <a:gd name="T49" fmla="*/ 402 h 479"/>
                  <a:gd name="T50" fmla="*/ 187 w 213"/>
                  <a:gd name="T51" fmla="*/ 402 h 479"/>
                  <a:gd name="T52" fmla="*/ 197 w 213"/>
                  <a:gd name="T53" fmla="*/ 390 h 479"/>
                  <a:gd name="T54" fmla="*/ 196 w 213"/>
                  <a:gd name="T55" fmla="*/ 384 h 479"/>
                  <a:gd name="T56" fmla="*/ 186 w 213"/>
                  <a:gd name="T57" fmla="*/ 236 h 479"/>
                  <a:gd name="T58" fmla="*/ 211 w 213"/>
                  <a:gd name="T59" fmla="*/ 197 h 479"/>
                  <a:gd name="T60" fmla="*/ 29 w 213"/>
                  <a:gd name="T61" fmla="*/ 223 h 479"/>
                  <a:gd name="T62" fmla="*/ 25 w 213"/>
                  <a:gd name="T63" fmla="*/ 219 h 479"/>
                  <a:gd name="T64" fmla="*/ 13 w 213"/>
                  <a:gd name="T65" fmla="*/ 198 h 479"/>
                  <a:gd name="T66" fmla="*/ 16 w 213"/>
                  <a:gd name="T67" fmla="*/ 173 h 479"/>
                  <a:gd name="T68" fmla="*/ 36 w 213"/>
                  <a:gd name="T69" fmla="*/ 173 h 479"/>
                  <a:gd name="T70" fmla="*/ 29 w 213"/>
                  <a:gd name="T71" fmla="*/ 223 h 479"/>
                  <a:gd name="T72" fmla="*/ 100 w 213"/>
                  <a:gd name="T73" fmla="*/ 467 h 479"/>
                  <a:gd name="T74" fmla="*/ 88 w 213"/>
                  <a:gd name="T75" fmla="*/ 467 h 479"/>
                  <a:gd name="T76" fmla="*/ 87 w 213"/>
                  <a:gd name="T77" fmla="*/ 466 h 479"/>
                  <a:gd name="T78" fmla="*/ 78 w 213"/>
                  <a:gd name="T79" fmla="*/ 402 h 479"/>
                  <a:gd name="T80" fmla="*/ 100 w 213"/>
                  <a:gd name="T81" fmla="*/ 402 h 479"/>
                  <a:gd name="T82" fmla="*/ 100 w 213"/>
                  <a:gd name="T83" fmla="*/ 467 h 479"/>
                  <a:gd name="T84" fmla="*/ 126 w 213"/>
                  <a:gd name="T85" fmla="*/ 466 h 479"/>
                  <a:gd name="T86" fmla="*/ 124 w 213"/>
                  <a:gd name="T87" fmla="*/ 467 h 479"/>
                  <a:gd name="T88" fmla="*/ 112 w 213"/>
                  <a:gd name="T89" fmla="*/ 467 h 479"/>
                  <a:gd name="T90" fmla="*/ 112 w 213"/>
                  <a:gd name="T91" fmla="*/ 402 h 479"/>
                  <a:gd name="T92" fmla="*/ 134 w 213"/>
                  <a:gd name="T93" fmla="*/ 402 h 479"/>
                  <a:gd name="T94" fmla="*/ 126 w 213"/>
                  <a:gd name="T95" fmla="*/ 466 h 479"/>
                  <a:gd name="T96" fmla="*/ 184 w 213"/>
                  <a:gd name="T97" fmla="*/ 223 h 479"/>
                  <a:gd name="T98" fmla="*/ 177 w 213"/>
                  <a:gd name="T99" fmla="*/ 173 h 479"/>
                  <a:gd name="T100" fmla="*/ 197 w 213"/>
                  <a:gd name="T101" fmla="*/ 173 h 479"/>
                  <a:gd name="T102" fmla="*/ 199 w 213"/>
                  <a:gd name="T103" fmla="*/ 198 h 479"/>
                  <a:gd name="T104" fmla="*/ 188 w 213"/>
                  <a:gd name="T105" fmla="*/ 219 h 479"/>
                  <a:gd name="T106" fmla="*/ 184 w 213"/>
                  <a:gd name="T107" fmla="*/ 22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3" h="479">
                    <a:moveTo>
                      <a:pt x="211" y="197"/>
                    </a:moveTo>
                    <a:cubicBezTo>
                      <a:pt x="194" y="29"/>
                      <a:pt x="194" y="29"/>
                      <a:pt x="194" y="29"/>
                    </a:cubicBezTo>
                    <a:cubicBezTo>
                      <a:pt x="193" y="28"/>
                      <a:pt x="193" y="27"/>
                      <a:pt x="193" y="27"/>
                    </a:cubicBezTo>
                    <a:cubicBezTo>
                      <a:pt x="191" y="19"/>
                      <a:pt x="187" y="15"/>
                      <a:pt x="181" y="12"/>
                    </a:cubicBezTo>
                    <a:cubicBezTo>
                      <a:pt x="159" y="0"/>
                      <a:pt x="159" y="0"/>
                      <a:pt x="159" y="0"/>
                    </a:cubicBezTo>
                    <a:cubicBezTo>
                      <a:pt x="106" y="22"/>
                      <a:pt x="106" y="22"/>
                      <a:pt x="106" y="22"/>
                    </a:cubicBezTo>
                    <a:cubicBezTo>
                      <a:pt x="54" y="0"/>
                      <a:pt x="54" y="0"/>
                      <a:pt x="54" y="0"/>
                    </a:cubicBezTo>
                    <a:cubicBezTo>
                      <a:pt x="31" y="12"/>
                      <a:pt x="31" y="12"/>
                      <a:pt x="31" y="12"/>
                    </a:cubicBezTo>
                    <a:cubicBezTo>
                      <a:pt x="25" y="15"/>
                      <a:pt x="21" y="19"/>
                      <a:pt x="19" y="27"/>
                    </a:cubicBezTo>
                    <a:cubicBezTo>
                      <a:pt x="19" y="27"/>
                      <a:pt x="19" y="28"/>
                      <a:pt x="19" y="29"/>
                    </a:cubicBezTo>
                    <a:cubicBezTo>
                      <a:pt x="1" y="197"/>
                      <a:pt x="1" y="197"/>
                      <a:pt x="1" y="197"/>
                    </a:cubicBezTo>
                    <a:cubicBezTo>
                      <a:pt x="0" y="213"/>
                      <a:pt x="13" y="228"/>
                      <a:pt x="26" y="236"/>
                    </a:cubicBezTo>
                    <a:cubicBezTo>
                      <a:pt x="16" y="384"/>
                      <a:pt x="16" y="384"/>
                      <a:pt x="16" y="384"/>
                    </a:cubicBezTo>
                    <a:cubicBezTo>
                      <a:pt x="16" y="390"/>
                      <a:pt x="16" y="390"/>
                      <a:pt x="16" y="390"/>
                    </a:cubicBezTo>
                    <a:cubicBezTo>
                      <a:pt x="15" y="397"/>
                      <a:pt x="19" y="402"/>
                      <a:pt x="25" y="402"/>
                    </a:cubicBezTo>
                    <a:cubicBezTo>
                      <a:pt x="25" y="402"/>
                      <a:pt x="25" y="402"/>
                      <a:pt x="25" y="402"/>
                    </a:cubicBezTo>
                    <a:cubicBezTo>
                      <a:pt x="25" y="402"/>
                      <a:pt x="25" y="402"/>
                      <a:pt x="25" y="402"/>
                    </a:cubicBezTo>
                    <a:cubicBezTo>
                      <a:pt x="66" y="402"/>
                      <a:pt x="66" y="402"/>
                      <a:pt x="66" y="402"/>
                    </a:cubicBezTo>
                    <a:cubicBezTo>
                      <a:pt x="75" y="467"/>
                      <a:pt x="75" y="467"/>
                      <a:pt x="75" y="467"/>
                    </a:cubicBezTo>
                    <a:cubicBezTo>
                      <a:pt x="76" y="474"/>
                      <a:pt x="82" y="479"/>
                      <a:pt x="88" y="479"/>
                    </a:cubicBezTo>
                    <a:cubicBezTo>
                      <a:pt x="124" y="479"/>
                      <a:pt x="124" y="479"/>
                      <a:pt x="124" y="479"/>
                    </a:cubicBezTo>
                    <a:cubicBezTo>
                      <a:pt x="131" y="479"/>
                      <a:pt x="137" y="474"/>
                      <a:pt x="138" y="467"/>
                    </a:cubicBezTo>
                    <a:cubicBezTo>
                      <a:pt x="146" y="402"/>
                      <a:pt x="146" y="402"/>
                      <a:pt x="146" y="402"/>
                    </a:cubicBezTo>
                    <a:cubicBezTo>
                      <a:pt x="187" y="402"/>
                      <a:pt x="187" y="402"/>
                      <a:pt x="187" y="402"/>
                    </a:cubicBezTo>
                    <a:cubicBezTo>
                      <a:pt x="187" y="402"/>
                      <a:pt x="187" y="402"/>
                      <a:pt x="187" y="402"/>
                    </a:cubicBezTo>
                    <a:cubicBezTo>
                      <a:pt x="187" y="402"/>
                      <a:pt x="187" y="402"/>
                      <a:pt x="187" y="402"/>
                    </a:cubicBezTo>
                    <a:cubicBezTo>
                      <a:pt x="194" y="402"/>
                      <a:pt x="197" y="397"/>
                      <a:pt x="197" y="390"/>
                    </a:cubicBezTo>
                    <a:cubicBezTo>
                      <a:pt x="196" y="384"/>
                      <a:pt x="196" y="384"/>
                      <a:pt x="196" y="384"/>
                    </a:cubicBezTo>
                    <a:cubicBezTo>
                      <a:pt x="186" y="236"/>
                      <a:pt x="186" y="236"/>
                      <a:pt x="186" y="236"/>
                    </a:cubicBezTo>
                    <a:cubicBezTo>
                      <a:pt x="200" y="228"/>
                      <a:pt x="213" y="213"/>
                      <a:pt x="211" y="197"/>
                    </a:cubicBezTo>
                    <a:close/>
                    <a:moveTo>
                      <a:pt x="29" y="223"/>
                    </a:moveTo>
                    <a:cubicBezTo>
                      <a:pt x="27" y="222"/>
                      <a:pt x="26" y="221"/>
                      <a:pt x="25" y="219"/>
                    </a:cubicBezTo>
                    <a:cubicBezTo>
                      <a:pt x="21" y="215"/>
                      <a:pt x="12" y="208"/>
                      <a:pt x="13" y="198"/>
                    </a:cubicBezTo>
                    <a:cubicBezTo>
                      <a:pt x="16" y="173"/>
                      <a:pt x="16" y="173"/>
                      <a:pt x="16" y="173"/>
                    </a:cubicBezTo>
                    <a:cubicBezTo>
                      <a:pt x="36" y="173"/>
                      <a:pt x="36" y="173"/>
                      <a:pt x="36" y="173"/>
                    </a:cubicBezTo>
                    <a:lnTo>
                      <a:pt x="29" y="223"/>
                    </a:lnTo>
                    <a:close/>
                    <a:moveTo>
                      <a:pt x="100" y="467"/>
                    </a:moveTo>
                    <a:cubicBezTo>
                      <a:pt x="88" y="467"/>
                      <a:pt x="88" y="467"/>
                      <a:pt x="88" y="467"/>
                    </a:cubicBezTo>
                    <a:cubicBezTo>
                      <a:pt x="88" y="467"/>
                      <a:pt x="87" y="466"/>
                      <a:pt x="87" y="466"/>
                    </a:cubicBezTo>
                    <a:cubicBezTo>
                      <a:pt x="78" y="402"/>
                      <a:pt x="78" y="402"/>
                      <a:pt x="78" y="402"/>
                    </a:cubicBezTo>
                    <a:cubicBezTo>
                      <a:pt x="100" y="402"/>
                      <a:pt x="100" y="402"/>
                      <a:pt x="100" y="402"/>
                    </a:cubicBezTo>
                    <a:lnTo>
                      <a:pt x="100" y="467"/>
                    </a:lnTo>
                    <a:close/>
                    <a:moveTo>
                      <a:pt x="126" y="466"/>
                    </a:moveTo>
                    <a:cubicBezTo>
                      <a:pt x="126" y="466"/>
                      <a:pt x="125" y="467"/>
                      <a:pt x="124" y="467"/>
                    </a:cubicBezTo>
                    <a:cubicBezTo>
                      <a:pt x="112" y="467"/>
                      <a:pt x="112" y="467"/>
                      <a:pt x="112" y="467"/>
                    </a:cubicBezTo>
                    <a:cubicBezTo>
                      <a:pt x="112" y="402"/>
                      <a:pt x="112" y="402"/>
                      <a:pt x="112" y="402"/>
                    </a:cubicBezTo>
                    <a:cubicBezTo>
                      <a:pt x="134" y="402"/>
                      <a:pt x="134" y="402"/>
                      <a:pt x="134" y="402"/>
                    </a:cubicBezTo>
                    <a:lnTo>
                      <a:pt x="126" y="466"/>
                    </a:lnTo>
                    <a:close/>
                    <a:moveTo>
                      <a:pt x="184" y="223"/>
                    </a:moveTo>
                    <a:cubicBezTo>
                      <a:pt x="177" y="173"/>
                      <a:pt x="177" y="173"/>
                      <a:pt x="177" y="173"/>
                    </a:cubicBezTo>
                    <a:cubicBezTo>
                      <a:pt x="197" y="173"/>
                      <a:pt x="197" y="173"/>
                      <a:pt x="197" y="173"/>
                    </a:cubicBezTo>
                    <a:cubicBezTo>
                      <a:pt x="199" y="198"/>
                      <a:pt x="199" y="198"/>
                      <a:pt x="199" y="198"/>
                    </a:cubicBezTo>
                    <a:cubicBezTo>
                      <a:pt x="200" y="208"/>
                      <a:pt x="192" y="215"/>
                      <a:pt x="188" y="219"/>
                    </a:cubicBezTo>
                    <a:cubicBezTo>
                      <a:pt x="187" y="221"/>
                      <a:pt x="185" y="222"/>
                      <a:pt x="184" y="223"/>
                    </a:cubicBezTo>
                    <a:close/>
                  </a:path>
                </a:pathLst>
              </a:custGeom>
              <a:solidFill>
                <a:srgbClr val="4BACC6"/>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 name="Freeform 73">
                <a:extLst>
                  <a:ext uri="{FF2B5EF4-FFF2-40B4-BE49-F238E27FC236}">
                    <a16:creationId xmlns:a16="http://schemas.microsoft.com/office/drawing/2014/main" id="{54A38147-9CB9-96BD-9B52-96C0BE7BC1C6}"/>
                  </a:ext>
                </a:extLst>
              </p:cNvPr>
              <p:cNvSpPr>
                <a:spLocks noEditPoints="1"/>
              </p:cNvSpPr>
              <p:nvPr/>
            </p:nvSpPr>
            <p:spPr bwMode="auto">
              <a:xfrm>
                <a:off x="3748088" y="3230563"/>
                <a:ext cx="544513" cy="638175"/>
              </a:xfrm>
              <a:custGeom>
                <a:avLst/>
                <a:gdLst>
                  <a:gd name="T0" fmla="*/ 9 w 145"/>
                  <a:gd name="T1" fmla="*/ 84 h 170"/>
                  <a:gd name="T2" fmla="*/ 7 w 145"/>
                  <a:gd name="T3" fmla="*/ 93 h 170"/>
                  <a:gd name="T4" fmla="*/ 11 w 145"/>
                  <a:gd name="T5" fmla="*/ 101 h 170"/>
                  <a:gd name="T6" fmla="*/ 11 w 145"/>
                  <a:gd name="T7" fmla="*/ 105 h 170"/>
                  <a:gd name="T8" fmla="*/ 19 w 145"/>
                  <a:gd name="T9" fmla="*/ 114 h 170"/>
                  <a:gd name="T10" fmla="*/ 19 w 145"/>
                  <a:gd name="T11" fmla="*/ 115 h 170"/>
                  <a:gd name="T12" fmla="*/ 73 w 145"/>
                  <a:gd name="T13" fmla="*/ 170 h 170"/>
                  <a:gd name="T14" fmla="*/ 127 w 145"/>
                  <a:gd name="T15" fmla="*/ 116 h 170"/>
                  <a:gd name="T16" fmla="*/ 131 w 145"/>
                  <a:gd name="T17" fmla="*/ 108 h 170"/>
                  <a:gd name="T18" fmla="*/ 131 w 145"/>
                  <a:gd name="T19" fmla="*/ 107 h 170"/>
                  <a:gd name="T20" fmla="*/ 141 w 145"/>
                  <a:gd name="T21" fmla="*/ 97 h 170"/>
                  <a:gd name="T22" fmla="*/ 139 w 145"/>
                  <a:gd name="T23" fmla="*/ 88 h 170"/>
                  <a:gd name="T24" fmla="*/ 141 w 145"/>
                  <a:gd name="T25" fmla="*/ 81 h 170"/>
                  <a:gd name="T26" fmla="*/ 138 w 145"/>
                  <a:gd name="T27" fmla="*/ 65 h 170"/>
                  <a:gd name="T28" fmla="*/ 143 w 145"/>
                  <a:gd name="T29" fmla="*/ 54 h 170"/>
                  <a:gd name="T30" fmla="*/ 127 w 145"/>
                  <a:gd name="T31" fmla="*/ 29 h 170"/>
                  <a:gd name="T32" fmla="*/ 122 w 145"/>
                  <a:gd name="T33" fmla="*/ 29 h 170"/>
                  <a:gd name="T34" fmla="*/ 106 w 145"/>
                  <a:gd name="T35" fmla="*/ 17 h 170"/>
                  <a:gd name="T36" fmla="*/ 102 w 145"/>
                  <a:gd name="T37" fmla="*/ 18 h 170"/>
                  <a:gd name="T38" fmla="*/ 82 w 145"/>
                  <a:gd name="T39" fmla="*/ 0 h 170"/>
                  <a:gd name="T40" fmla="*/ 63 w 145"/>
                  <a:gd name="T41" fmla="*/ 14 h 170"/>
                  <a:gd name="T42" fmla="*/ 46 w 145"/>
                  <a:gd name="T43" fmla="*/ 5 h 170"/>
                  <a:gd name="T44" fmla="*/ 26 w 145"/>
                  <a:gd name="T45" fmla="*/ 29 h 170"/>
                  <a:gd name="T46" fmla="*/ 24 w 145"/>
                  <a:gd name="T47" fmla="*/ 29 h 170"/>
                  <a:gd name="T48" fmla="*/ 8 w 145"/>
                  <a:gd name="T49" fmla="*/ 54 h 170"/>
                  <a:gd name="T50" fmla="*/ 9 w 145"/>
                  <a:gd name="T51" fmla="*/ 56 h 170"/>
                  <a:gd name="T52" fmla="*/ 2 w 145"/>
                  <a:gd name="T53" fmla="*/ 72 h 170"/>
                  <a:gd name="T54" fmla="*/ 9 w 145"/>
                  <a:gd name="T55" fmla="*/ 84 h 170"/>
                  <a:gd name="T56" fmla="*/ 31 w 145"/>
                  <a:gd name="T57" fmla="*/ 89 h 170"/>
                  <a:gd name="T58" fmla="*/ 33 w 145"/>
                  <a:gd name="T59" fmla="*/ 82 h 170"/>
                  <a:gd name="T60" fmla="*/ 34 w 145"/>
                  <a:gd name="T61" fmla="*/ 75 h 170"/>
                  <a:gd name="T62" fmla="*/ 46 w 145"/>
                  <a:gd name="T63" fmla="*/ 62 h 170"/>
                  <a:gd name="T64" fmla="*/ 50 w 145"/>
                  <a:gd name="T65" fmla="*/ 62 h 170"/>
                  <a:gd name="T66" fmla="*/ 69 w 145"/>
                  <a:gd name="T67" fmla="*/ 48 h 170"/>
                  <a:gd name="T68" fmla="*/ 81 w 145"/>
                  <a:gd name="T69" fmla="*/ 54 h 170"/>
                  <a:gd name="T70" fmla="*/ 86 w 145"/>
                  <a:gd name="T71" fmla="*/ 53 h 170"/>
                  <a:gd name="T72" fmla="*/ 102 w 145"/>
                  <a:gd name="T73" fmla="*/ 65 h 170"/>
                  <a:gd name="T74" fmla="*/ 105 w 145"/>
                  <a:gd name="T75" fmla="*/ 65 h 170"/>
                  <a:gd name="T76" fmla="*/ 114 w 145"/>
                  <a:gd name="T77" fmla="*/ 74 h 170"/>
                  <a:gd name="T78" fmla="*/ 115 w 145"/>
                  <a:gd name="T79" fmla="*/ 85 h 170"/>
                  <a:gd name="T80" fmla="*/ 115 w 145"/>
                  <a:gd name="T81" fmla="*/ 115 h 170"/>
                  <a:gd name="T82" fmla="*/ 73 w 145"/>
                  <a:gd name="T83" fmla="*/ 158 h 170"/>
                  <a:gd name="T84" fmla="*/ 31 w 145"/>
                  <a:gd name="T85" fmla="*/ 115 h 170"/>
                  <a:gd name="T86" fmla="*/ 31 w 145"/>
                  <a:gd name="T87" fmla="*/ 8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70">
                    <a:moveTo>
                      <a:pt x="9" y="84"/>
                    </a:moveTo>
                    <a:cubicBezTo>
                      <a:pt x="7" y="86"/>
                      <a:pt x="6" y="89"/>
                      <a:pt x="7" y="93"/>
                    </a:cubicBezTo>
                    <a:cubicBezTo>
                      <a:pt x="7" y="96"/>
                      <a:pt x="9" y="99"/>
                      <a:pt x="11" y="101"/>
                    </a:cubicBezTo>
                    <a:cubicBezTo>
                      <a:pt x="11" y="102"/>
                      <a:pt x="11" y="104"/>
                      <a:pt x="11" y="105"/>
                    </a:cubicBezTo>
                    <a:cubicBezTo>
                      <a:pt x="12" y="109"/>
                      <a:pt x="15" y="113"/>
                      <a:pt x="19" y="114"/>
                    </a:cubicBezTo>
                    <a:cubicBezTo>
                      <a:pt x="19" y="115"/>
                      <a:pt x="19" y="115"/>
                      <a:pt x="19" y="115"/>
                    </a:cubicBezTo>
                    <a:cubicBezTo>
                      <a:pt x="19" y="145"/>
                      <a:pt x="43" y="170"/>
                      <a:pt x="73" y="170"/>
                    </a:cubicBezTo>
                    <a:cubicBezTo>
                      <a:pt x="103" y="170"/>
                      <a:pt x="127" y="146"/>
                      <a:pt x="127" y="116"/>
                    </a:cubicBezTo>
                    <a:cubicBezTo>
                      <a:pt x="130" y="115"/>
                      <a:pt x="131" y="112"/>
                      <a:pt x="131" y="108"/>
                    </a:cubicBezTo>
                    <a:cubicBezTo>
                      <a:pt x="131" y="108"/>
                      <a:pt x="131" y="107"/>
                      <a:pt x="131" y="107"/>
                    </a:cubicBezTo>
                    <a:cubicBezTo>
                      <a:pt x="136" y="106"/>
                      <a:pt x="140" y="102"/>
                      <a:pt x="141" y="97"/>
                    </a:cubicBezTo>
                    <a:cubicBezTo>
                      <a:pt x="142" y="93"/>
                      <a:pt x="141" y="90"/>
                      <a:pt x="139" y="88"/>
                    </a:cubicBezTo>
                    <a:cubicBezTo>
                      <a:pt x="140" y="86"/>
                      <a:pt x="141" y="83"/>
                      <a:pt x="141" y="81"/>
                    </a:cubicBezTo>
                    <a:cubicBezTo>
                      <a:pt x="143" y="74"/>
                      <a:pt x="141" y="69"/>
                      <a:pt x="138" y="65"/>
                    </a:cubicBezTo>
                    <a:cubicBezTo>
                      <a:pt x="140" y="62"/>
                      <a:pt x="142" y="58"/>
                      <a:pt x="143" y="54"/>
                    </a:cubicBezTo>
                    <a:cubicBezTo>
                      <a:pt x="145" y="40"/>
                      <a:pt x="138" y="29"/>
                      <a:pt x="127" y="29"/>
                    </a:cubicBezTo>
                    <a:cubicBezTo>
                      <a:pt x="125" y="29"/>
                      <a:pt x="124" y="29"/>
                      <a:pt x="122" y="29"/>
                    </a:cubicBezTo>
                    <a:cubicBezTo>
                      <a:pt x="120" y="22"/>
                      <a:pt x="114" y="17"/>
                      <a:pt x="106" y="17"/>
                    </a:cubicBezTo>
                    <a:cubicBezTo>
                      <a:pt x="105" y="17"/>
                      <a:pt x="103" y="18"/>
                      <a:pt x="102" y="18"/>
                    </a:cubicBezTo>
                    <a:cubicBezTo>
                      <a:pt x="99" y="8"/>
                      <a:pt x="92" y="0"/>
                      <a:pt x="82" y="0"/>
                    </a:cubicBezTo>
                    <a:cubicBezTo>
                      <a:pt x="74" y="0"/>
                      <a:pt x="67" y="6"/>
                      <a:pt x="63" y="14"/>
                    </a:cubicBezTo>
                    <a:cubicBezTo>
                      <a:pt x="59" y="8"/>
                      <a:pt x="53" y="5"/>
                      <a:pt x="46" y="5"/>
                    </a:cubicBezTo>
                    <a:cubicBezTo>
                      <a:pt x="35" y="5"/>
                      <a:pt x="26" y="16"/>
                      <a:pt x="26" y="29"/>
                    </a:cubicBezTo>
                    <a:cubicBezTo>
                      <a:pt x="25" y="29"/>
                      <a:pt x="25" y="29"/>
                      <a:pt x="24" y="29"/>
                    </a:cubicBezTo>
                    <a:cubicBezTo>
                      <a:pt x="13" y="29"/>
                      <a:pt x="5" y="40"/>
                      <a:pt x="8" y="54"/>
                    </a:cubicBezTo>
                    <a:cubicBezTo>
                      <a:pt x="8" y="55"/>
                      <a:pt x="8" y="55"/>
                      <a:pt x="9" y="56"/>
                    </a:cubicBezTo>
                    <a:cubicBezTo>
                      <a:pt x="3" y="58"/>
                      <a:pt x="0" y="65"/>
                      <a:pt x="2" y="72"/>
                    </a:cubicBezTo>
                    <a:cubicBezTo>
                      <a:pt x="3" y="77"/>
                      <a:pt x="5" y="81"/>
                      <a:pt x="9" y="84"/>
                    </a:cubicBezTo>
                    <a:close/>
                    <a:moveTo>
                      <a:pt x="31" y="89"/>
                    </a:moveTo>
                    <a:cubicBezTo>
                      <a:pt x="31" y="87"/>
                      <a:pt x="32" y="84"/>
                      <a:pt x="33" y="82"/>
                    </a:cubicBezTo>
                    <a:cubicBezTo>
                      <a:pt x="33" y="79"/>
                      <a:pt x="33" y="77"/>
                      <a:pt x="34" y="75"/>
                    </a:cubicBezTo>
                    <a:cubicBezTo>
                      <a:pt x="40" y="74"/>
                      <a:pt x="45" y="69"/>
                      <a:pt x="46" y="62"/>
                    </a:cubicBezTo>
                    <a:cubicBezTo>
                      <a:pt x="48" y="62"/>
                      <a:pt x="49" y="62"/>
                      <a:pt x="50" y="62"/>
                    </a:cubicBezTo>
                    <a:cubicBezTo>
                      <a:pt x="58" y="62"/>
                      <a:pt x="65" y="57"/>
                      <a:pt x="69" y="48"/>
                    </a:cubicBezTo>
                    <a:cubicBezTo>
                      <a:pt x="72" y="52"/>
                      <a:pt x="76" y="54"/>
                      <a:pt x="81" y="54"/>
                    </a:cubicBezTo>
                    <a:cubicBezTo>
                      <a:pt x="83" y="54"/>
                      <a:pt x="84" y="53"/>
                      <a:pt x="86" y="53"/>
                    </a:cubicBezTo>
                    <a:cubicBezTo>
                      <a:pt x="89" y="60"/>
                      <a:pt x="95" y="65"/>
                      <a:pt x="102" y="65"/>
                    </a:cubicBezTo>
                    <a:cubicBezTo>
                      <a:pt x="103" y="65"/>
                      <a:pt x="104" y="65"/>
                      <a:pt x="105" y="65"/>
                    </a:cubicBezTo>
                    <a:cubicBezTo>
                      <a:pt x="107" y="69"/>
                      <a:pt x="110" y="73"/>
                      <a:pt x="114" y="74"/>
                    </a:cubicBezTo>
                    <a:cubicBezTo>
                      <a:pt x="115" y="78"/>
                      <a:pt x="115" y="81"/>
                      <a:pt x="115" y="85"/>
                    </a:cubicBezTo>
                    <a:cubicBezTo>
                      <a:pt x="115" y="115"/>
                      <a:pt x="115" y="115"/>
                      <a:pt x="115" y="115"/>
                    </a:cubicBezTo>
                    <a:cubicBezTo>
                      <a:pt x="115" y="139"/>
                      <a:pt x="96" y="158"/>
                      <a:pt x="73" y="158"/>
                    </a:cubicBezTo>
                    <a:cubicBezTo>
                      <a:pt x="50" y="158"/>
                      <a:pt x="31" y="139"/>
                      <a:pt x="31" y="115"/>
                    </a:cubicBezTo>
                    <a:lnTo>
                      <a:pt x="31" y="89"/>
                    </a:lnTo>
                    <a:close/>
                  </a:path>
                </a:pathLst>
              </a:custGeom>
              <a:solidFill>
                <a:srgbClr val="4BACC6"/>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5" name="Group 44">
              <a:extLst>
                <a:ext uri="{FF2B5EF4-FFF2-40B4-BE49-F238E27FC236}">
                  <a16:creationId xmlns:a16="http://schemas.microsoft.com/office/drawing/2014/main" id="{D8218C2A-F504-C397-2670-0B73A9930409}"/>
                </a:ext>
              </a:extLst>
            </p:cNvPr>
            <p:cNvGrpSpPr/>
            <p:nvPr/>
          </p:nvGrpSpPr>
          <p:grpSpPr>
            <a:xfrm>
              <a:off x="7836144" y="3335953"/>
              <a:ext cx="177944" cy="497675"/>
              <a:chOff x="8127395" y="3731238"/>
              <a:chExt cx="391331" cy="1123938"/>
            </a:xfrm>
            <a:solidFill>
              <a:srgbClr val="4BACC6"/>
            </a:solidFill>
          </p:grpSpPr>
          <p:sp>
            <p:nvSpPr>
              <p:cNvPr id="53" name="Freeform 99">
                <a:extLst>
                  <a:ext uri="{FF2B5EF4-FFF2-40B4-BE49-F238E27FC236}">
                    <a16:creationId xmlns:a16="http://schemas.microsoft.com/office/drawing/2014/main" id="{542AEDFE-64B0-5FDE-D167-3E3429F304A9}"/>
                  </a:ext>
                </a:extLst>
              </p:cNvPr>
              <p:cNvSpPr>
                <a:spLocks noEditPoints="1"/>
              </p:cNvSpPr>
              <p:nvPr/>
            </p:nvSpPr>
            <p:spPr bwMode="auto">
              <a:xfrm>
                <a:off x="8127395" y="3731238"/>
                <a:ext cx="391331" cy="1123938"/>
              </a:xfrm>
              <a:custGeom>
                <a:avLst/>
                <a:gdLst>
                  <a:gd name="T0" fmla="*/ 208 w 218"/>
                  <a:gd name="T1" fmla="*/ 196 h 627"/>
                  <a:gd name="T2" fmla="*/ 186 w 218"/>
                  <a:gd name="T3" fmla="*/ 160 h 627"/>
                  <a:gd name="T4" fmla="*/ 147 w 218"/>
                  <a:gd name="T5" fmla="*/ 135 h 627"/>
                  <a:gd name="T6" fmla="*/ 164 w 218"/>
                  <a:gd name="T7" fmla="*/ 97 h 627"/>
                  <a:gd name="T8" fmla="*/ 164 w 218"/>
                  <a:gd name="T9" fmla="*/ 68 h 627"/>
                  <a:gd name="T10" fmla="*/ 186 w 218"/>
                  <a:gd name="T11" fmla="*/ 68 h 627"/>
                  <a:gd name="T12" fmla="*/ 171 w 218"/>
                  <a:gd name="T13" fmla="*/ 53 h 627"/>
                  <a:gd name="T14" fmla="*/ 171 w 218"/>
                  <a:gd name="T15" fmla="*/ 53 h 627"/>
                  <a:gd name="T16" fmla="*/ 171 w 218"/>
                  <a:gd name="T17" fmla="*/ 53 h 627"/>
                  <a:gd name="T18" fmla="*/ 163 w 218"/>
                  <a:gd name="T19" fmla="*/ 53 h 627"/>
                  <a:gd name="T20" fmla="*/ 156 w 218"/>
                  <a:gd name="T21" fmla="*/ 10 h 627"/>
                  <a:gd name="T22" fmla="*/ 142 w 218"/>
                  <a:gd name="T23" fmla="*/ 1 h 627"/>
                  <a:gd name="T24" fmla="*/ 121 w 218"/>
                  <a:gd name="T25" fmla="*/ 7 h 627"/>
                  <a:gd name="T26" fmla="*/ 98 w 218"/>
                  <a:gd name="T27" fmla="*/ 7 h 627"/>
                  <a:gd name="T28" fmla="*/ 77 w 218"/>
                  <a:gd name="T29" fmla="*/ 1 h 627"/>
                  <a:gd name="T30" fmla="*/ 63 w 218"/>
                  <a:gd name="T31" fmla="*/ 10 h 627"/>
                  <a:gd name="T32" fmla="*/ 56 w 218"/>
                  <a:gd name="T33" fmla="*/ 53 h 627"/>
                  <a:gd name="T34" fmla="*/ 48 w 218"/>
                  <a:gd name="T35" fmla="*/ 53 h 627"/>
                  <a:gd name="T36" fmla="*/ 48 w 218"/>
                  <a:gd name="T37" fmla="*/ 53 h 627"/>
                  <a:gd name="T38" fmla="*/ 33 w 218"/>
                  <a:gd name="T39" fmla="*/ 68 h 627"/>
                  <a:gd name="T40" fmla="*/ 55 w 218"/>
                  <a:gd name="T41" fmla="*/ 68 h 627"/>
                  <a:gd name="T42" fmla="*/ 55 w 218"/>
                  <a:gd name="T43" fmla="*/ 97 h 627"/>
                  <a:gd name="T44" fmla="*/ 72 w 218"/>
                  <a:gd name="T45" fmla="*/ 135 h 627"/>
                  <a:gd name="T46" fmla="*/ 33 w 218"/>
                  <a:gd name="T47" fmla="*/ 160 h 627"/>
                  <a:gd name="T48" fmla="*/ 11 w 218"/>
                  <a:gd name="T49" fmla="*/ 196 h 627"/>
                  <a:gd name="T50" fmla="*/ 0 w 218"/>
                  <a:gd name="T51" fmla="*/ 369 h 627"/>
                  <a:gd name="T52" fmla="*/ 35 w 218"/>
                  <a:gd name="T53" fmla="*/ 413 h 627"/>
                  <a:gd name="T54" fmla="*/ 35 w 218"/>
                  <a:gd name="T55" fmla="*/ 627 h 627"/>
                  <a:gd name="T56" fmla="*/ 64 w 218"/>
                  <a:gd name="T57" fmla="*/ 627 h 627"/>
                  <a:gd name="T58" fmla="*/ 77 w 218"/>
                  <a:gd name="T59" fmla="*/ 615 h 627"/>
                  <a:gd name="T60" fmla="*/ 101 w 218"/>
                  <a:gd name="T61" fmla="*/ 415 h 627"/>
                  <a:gd name="T62" fmla="*/ 118 w 218"/>
                  <a:gd name="T63" fmla="*/ 415 h 627"/>
                  <a:gd name="T64" fmla="*/ 142 w 218"/>
                  <a:gd name="T65" fmla="*/ 615 h 627"/>
                  <a:gd name="T66" fmla="*/ 157 w 218"/>
                  <a:gd name="T67" fmla="*/ 627 h 627"/>
                  <a:gd name="T68" fmla="*/ 184 w 218"/>
                  <a:gd name="T69" fmla="*/ 627 h 627"/>
                  <a:gd name="T70" fmla="*/ 184 w 218"/>
                  <a:gd name="T71" fmla="*/ 413 h 627"/>
                  <a:gd name="T72" fmla="*/ 184 w 218"/>
                  <a:gd name="T73" fmla="*/ 325 h 627"/>
                  <a:gd name="T74" fmla="*/ 163 w 218"/>
                  <a:gd name="T75" fmla="*/ 304 h 627"/>
                  <a:gd name="T76" fmla="*/ 142 w 218"/>
                  <a:gd name="T77" fmla="*/ 325 h 627"/>
                  <a:gd name="T78" fmla="*/ 136 w 218"/>
                  <a:gd name="T79" fmla="*/ 331 h 627"/>
                  <a:gd name="T80" fmla="*/ 130 w 218"/>
                  <a:gd name="T81" fmla="*/ 325 h 627"/>
                  <a:gd name="T82" fmla="*/ 163 w 218"/>
                  <a:gd name="T83" fmla="*/ 292 h 627"/>
                  <a:gd name="T84" fmla="*/ 196 w 218"/>
                  <a:gd name="T85" fmla="*/ 325 h 627"/>
                  <a:gd name="T86" fmla="*/ 196 w 218"/>
                  <a:gd name="T87" fmla="*/ 408 h 627"/>
                  <a:gd name="T88" fmla="*/ 218 w 218"/>
                  <a:gd name="T89" fmla="*/ 369 h 627"/>
                  <a:gd name="T90" fmla="*/ 208 w 218"/>
                  <a:gd name="T91" fmla="*/ 196 h 627"/>
                  <a:gd name="T92" fmla="*/ 35 w 218"/>
                  <a:gd name="T93" fmla="*/ 401 h 627"/>
                  <a:gd name="T94" fmla="*/ 12 w 218"/>
                  <a:gd name="T95" fmla="*/ 369 h 627"/>
                  <a:gd name="T96" fmla="*/ 14 w 218"/>
                  <a:gd name="T97" fmla="*/ 345 h 627"/>
                  <a:gd name="T98" fmla="*/ 35 w 218"/>
                  <a:gd name="T99" fmla="*/ 345 h 627"/>
                  <a:gd name="T100" fmla="*/ 35 w 218"/>
                  <a:gd name="T101" fmla="*/ 401 h 627"/>
                  <a:gd name="T102" fmla="*/ 109 w 218"/>
                  <a:gd name="T103" fmla="*/ 139 h 627"/>
                  <a:gd name="T104" fmla="*/ 67 w 218"/>
                  <a:gd name="T105" fmla="*/ 97 h 627"/>
                  <a:gd name="T106" fmla="*/ 67 w 218"/>
                  <a:gd name="T107" fmla="*/ 68 h 627"/>
                  <a:gd name="T108" fmla="*/ 152 w 218"/>
                  <a:gd name="T109" fmla="*/ 68 h 627"/>
                  <a:gd name="T110" fmla="*/ 152 w 218"/>
                  <a:gd name="T111" fmla="*/ 97 h 627"/>
                  <a:gd name="T112" fmla="*/ 109 w 218"/>
                  <a:gd name="T113" fmla="*/ 139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8" h="627">
                    <a:moveTo>
                      <a:pt x="208" y="196"/>
                    </a:moveTo>
                    <a:cubicBezTo>
                      <a:pt x="207" y="176"/>
                      <a:pt x="197" y="167"/>
                      <a:pt x="186" y="160"/>
                    </a:cubicBezTo>
                    <a:cubicBezTo>
                      <a:pt x="147" y="135"/>
                      <a:pt x="147" y="135"/>
                      <a:pt x="147" y="135"/>
                    </a:cubicBezTo>
                    <a:cubicBezTo>
                      <a:pt x="157" y="126"/>
                      <a:pt x="164" y="112"/>
                      <a:pt x="164" y="97"/>
                    </a:cubicBezTo>
                    <a:cubicBezTo>
                      <a:pt x="164" y="68"/>
                      <a:pt x="164" y="68"/>
                      <a:pt x="164" y="68"/>
                    </a:cubicBezTo>
                    <a:cubicBezTo>
                      <a:pt x="186" y="68"/>
                      <a:pt x="186" y="68"/>
                      <a:pt x="186" y="68"/>
                    </a:cubicBezTo>
                    <a:cubicBezTo>
                      <a:pt x="186" y="59"/>
                      <a:pt x="179" y="53"/>
                      <a:pt x="171" y="53"/>
                    </a:cubicBezTo>
                    <a:cubicBezTo>
                      <a:pt x="171" y="53"/>
                      <a:pt x="171" y="53"/>
                      <a:pt x="171" y="53"/>
                    </a:cubicBezTo>
                    <a:cubicBezTo>
                      <a:pt x="171" y="53"/>
                      <a:pt x="171" y="53"/>
                      <a:pt x="171" y="53"/>
                    </a:cubicBezTo>
                    <a:cubicBezTo>
                      <a:pt x="163" y="53"/>
                      <a:pt x="163" y="53"/>
                      <a:pt x="163" y="53"/>
                    </a:cubicBezTo>
                    <a:cubicBezTo>
                      <a:pt x="156" y="10"/>
                      <a:pt x="156" y="10"/>
                      <a:pt x="156" y="10"/>
                    </a:cubicBezTo>
                    <a:cubicBezTo>
                      <a:pt x="155" y="4"/>
                      <a:pt x="148" y="0"/>
                      <a:pt x="142" y="1"/>
                    </a:cubicBezTo>
                    <a:cubicBezTo>
                      <a:pt x="121" y="7"/>
                      <a:pt x="121" y="7"/>
                      <a:pt x="121" y="7"/>
                    </a:cubicBezTo>
                    <a:cubicBezTo>
                      <a:pt x="115" y="9"/>
                      <a:pt x="104" y="9"/>
                      <a:pt x="98" y="7"/>
                    </a:cubicBezTo>
                    <a:cubicBezTo>
                      <a:pt x="77" y="1"/>
                      <a:pt x="77" y="1"/>
                      <a:pt x="77" y="1"/>
                    </a:cubicBezTo>
                    <a:cubicBezTo>
                      <a:pt x="70" y="0"/>
                      <a:pt x="64" y="4"/>
                      <a:pt x="63" y="10"/>
                    </a:cubicBezTo>
                    <a:cubicBezTo>
                      <a:pt x="56" y="53"/>
                      <a:pt x="56" y="53"/>
                      <a:pt x="56" y="53"/>
                    </a:cubicBezTo>
                    <a:cubicBezTo>
                      <a:pt x="48" y="53"/>
                      <a:pt x="48" y="53"/>
                      <a:pt x="48" y="53"/>
                    </a:cubicBezTo>
                    <a:cubicBezTo>
                      <a:pt x="48" y="53"/>
                      <a:pt x="48" y="53"/>
                      <a:pt x="48" y="53"/>
                    </a:cubicBezTo>
                    <a:cubicBezTo>
                      <a:pt x="39" y="53"/>
                      <a:pt x="33" y="59"/>
                      <a:pt x="33" y="68"/>
                    </a:cubicBezTo>
                    <a:cubicBezTo>
                      <a:pt x="55" y="68"/>
                      <a:pt x="55" y="68"/>
                      <a:pt x="55" y="68"/>
                    </a:cubicBezTo>
                    <a:cubicBezTo>
                      <a:pt x="55" y="97"/>
                      <a:pt x="55" y="97"/>
                      <a:pt x="55" y="97"/>
                    </a:cubicBezTo>
                    <a:cubicBezTo>
                      <a:pt x="55" y="112"/>
                      <a:pt x="62" y="126"/>
                      <a:pt x="72" y="135"/>
                    </a:cubicBezTo>
                    <a:cubicBezTo>
                      <a:pt x="33" y="160"/>
                      <a:pt x="33" y="160"/>
                      <a:pt x="33" y="160"/>
                    </a:cubicBezTo>
                    <a:cubicBezTo>
                      <a:pt x="22" y="167"/>
                      <a:pt x="13" y="176"/>
                      <a:pt x="11" y="196"/>
                    </a:cubicBezTo>
                    <a:cubicBezTo>
                      <a:pt x="0" y="369"/>
                      <a:pt x="0" y="369"/>
                      <a:pt x="0" y="369"/>
                    </a:cubicBezTo>
                    <a:cubicBezTo>
                      <a:pt x="0" y="390"/>
                      <a:pt x="15" y="408"/>
                      <a:pt x="35" y="413"/>
                    </a:cubicBezTo>
                    <a:cubicBezTo>
                      <a:pt x="35" y="627"/>
                      <a:pt x="35" y="627"/>
                      <a:pt x="35" y="627"/>
                    </a:cubicBezTo>
                    <a:cubicBezTo>
                      <a:pt x="64" y="627"/>
                      <a:pt x="64" y="627"/>
                      <a:pt x="64" y="627"/>
                    </a:cubicBezTo>
                    <a:cubicBezTo>
                      <a:pt x="70" y="627"/>
                      <a:pt x="76" y="621"/>
                      <a:pt x="77" y="615"/>
                    </a:cubicBezTo>
                    <a:cubicBezTo>
                      <a:pt x="101" y="415"/>
                      <a:pt x="101" y="415"/>
                      <a:pt x="101" y="415"/>
                    </a:cubicBezTo>
                    <a:cubicBezTo>
                      <a:pt x="118" y="415"/>
                      <a:pt x="118" y="415"/>
                      <a:pt x="118" y="415"/>
                    </a:cubicBezTo>
                    <a:cubicBezTo>
                      <a:pt x="142" y="615"/>
                      <a:pt x="142" y="615"/>
                      <a:pt x="142" y="615"/>
                    </a:cubicBezTo>
                    <a:cubicBezTo>
                      <a:pt x="142" y="621"/>
                      <a:pt x="148" y="627"/>
                      <a:pt x="157" y="627"/>
                    </a:cubicBezTo>
                    <a:cubicBezTo>
                      <a:pt x="184" y="627"/>
                      <a:pt x="184" y="627"/>
                      <a:pt x="184" y="627"/>
                    </a:cubicBezTo>
                    <a:cubicBezTo>
                      <a:pt x="184" y="413"/>
                      <a:pt x="184" y="413"/>
                      <a:pt x="184" y="413"/>
                    </a:cubicBezTo>
                    <a:cubicBezTo>
                      <a:pt x="184" y="325"/>
                      <a:pt x="184" y="325"/>
                      <a:pt x="184" y="325"/>
                    </a:cubicBezTo>
                    <a:cubicBezTo>
                      <a:pt x="184" y="314"/>
                      <a:pt x="175" y="304"/>
                      <a:pt x="163" y="304"/>
                    </a:cubicBezTo>
                    <a:cubicBezTo>
                      <a:pt x="152" y="304"/>
                      <a:pt x="142" y="314"/>
                      <a:pt x="142" y="325"/>
                    </a:cubicBezTo>
                    <a:cubicBezTo>
                      <a:pt x="142" y="328"/>
                      <a:pt x="140" y="331"/>
                      <a:pt x="136" y="331"/>
                    </a:cubicBezTo>
                    <a:cubicBezTo>
                      <a:pt x="133" y="331"/>
                      <a:pt x="130" y="328"/>
                      <a:pt x="130" y="325"/>
                    </a:cubicBezTo>
                    <a:cubicBezTo>
                      <a:pt x="130" y="307"/>
                      <a:pt x="145" y="292"/>
                      <a:pt x="163" y="292"/>
                    </a:cubicBezTo>
                    <a:cubicBezTo>
                      <a:pt x="181" y="292"/>
                      <a:pt x="196" y="307"/>
                      <a:pt x="196" y="325"/>
                    </a:cubicBezTo>
                    <a:cubicBezTo>
                      <a:pt x="196" y="408"/>
                      <a:pt x="196" y="408"/>
                      <a:pt x="196" y="408"/>
                    </a:cubicBezTo>
                    <a:cubicBezTo>
                      <a:pt x="209" y="400"/>
                      <a:pt x="218" y="385"/>
                      <a:pt x="218" y="369"/>
                    </a:cubicBezTo>
                    <a:lnTo>
                      <a:pt x="208" y="196"/>
                    </a:lnTo>
                    <a:close/>
                    <a:moveTo>
                      <a:pt x="35" y="401"/>
                    </a:moveTo>
                    <a:cubicBezTo>
                      <a:pt x="22" y="396"/>
                      <a:pt x="13" y="384"/>
                      <a:pt x="12" y="369"/>
                    </a:cubicBezTo>
                    <a:cubicBezTo>
                      <a:pt x="14" y="345"/>
                      <a:pt x="14" y="345"/>
                      <a:pt x="14" y="345"/>
                    </a:cubicBezTo>
                    <a:cubicBezTo>
                      <a:pt x="35" y="345"/>
                      <a:pt x="35" y="345"/>
                      <a:pt x="35" y="345"/>
                    </a:cubicBezTo>
                    <a:lnTo>
                      <a:pt x="35" y="401"/>
                    </a:lnTo>
                    <a:close/>
                    <a:moveTo>
                      <a:pt x="109" y="139"/>
                    </a:moveTo>
                    <a:cubicBezTo>
                      <a:pt x="86" y="139"/>
                      <a:pt x="67" y="120"/>
                      <a:pt x="67" y="97"/>
                    </a:cubicBezTo>
                    <a:cubicBezTo>
                      <a:pt x="67" y="68"/>
                      <a:pt x="67" y="68"/>
                      <a:pt x="67" y="68"/>
                    </a:cubicBezTo>
                    <a:cubicBezTo>
                      <a:pt x="152" y="68"/>
                      <a:pt x="152" y="68"/>
                      <a:pt x="152" y="68"/>
                    </a:cubicBezTo>
                    <a:cubicBezTo>
                      <a:pt x="152" y="97"/>
                      <a:pt x="152" y="97"/>
                      <a:pt x="152" y="97"/>
                    </a:cubicBezTo>
                    <a:cubicBezTo>
                      <a:pt x="152" y="120"/>
                      <a:pt x="133" y="139"/>
                      <a:pt x="109" y="1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Flowchart: Terminator 53">
                <a:extLst>
                  <a:ext uri="{FF2B5EF4-FFF2-40B4-BE49-F238E27FC236}">
                    <a16:creationId xmlns:a16="http://schemas.microsoft.com/office/drawing/2014/main" id="{64970477-CD94-54E8-7BC2-D11095AA8E13}"/>
                  </a:ext>
                </a:extLst>
              </p:cNvPr>
              <p:cNvSpPr/>
              <p:nvPr/>
            </p:nvSpPr>
            <p:spPr bwMode="auto">
              <a:xfrm rot="5618009">
                <a:off x="7978844" y="4183103"/>
                <a:ext cx="434795" cy="123945"/>
              </a:xfrm>
              <a:prstGeom prst="flowChartTerminator">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Oval 54">
                <a:extLst>
                  <a:ext uri="{FF2B5EF4-FFF2-40B4-BE49-F238E27FC236}">
                    <a16:creationId xmlns:a16="http://schemas.microsoft.com/office/drawing/2014/main" id="{B0B0773F-BA97-5E77-DC4E-893B86B48173}"/>
                  </a:ext>
                </a:extLst>
              </p:cNvPr>
              <p:cNvSpPr/>
              <p:nvPr/>
            </p:nvSpPr>
            <p:spPr bwMode="auto">
              <a:xfrm>
                <a:off x="8145945" y="4348088"/>
                <a:ext cx="99618" cy="99618"/>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A722FE0D-C5C9-79BF-BAE6-75AA5375BE5C}"/>
                  </a:ext>
                </a:extLst>
              </p:cNvPr>
              <p:cNvSpPr/>
              <p:nvPr/>
            </p:nvSpPr>
            <p:spPr bwMode="auto">
              <a:xfrm rot="170709">
                <a:off x="8193373" y="4329100"/>
                <a:ext cx="63555" cy="136213"/>
              </a:xfrm>
              <a:prstGeom prst="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 name="Rectangle 56">
                <a:extLst>
                  <a:ext uri="{FF2B5EF4-FFF2-40B4-BE49-F238E27FC236}">
                    <a16:creationId xmlns:a16="http://schemas.microsoft.com/office/drawing/2014/main" id="{5CAFA198-3FA1-1689-E342-C5D8D4340491}"/>
                  </a:ext>
                </a:extLst>
              </p:cNvPr>
              <p:cNvSpPr/>
              <p:nvPr/>
            </p:nvSpPr>
            <p:spPr bwMode="auto">
              <a:xfrm rot="170709">
                <a:off x="8139374" y="4259882"/>
                <a:ext cx="78982" cy="136213"/>
              </a:xfrm>
              <a:prstGeom prst="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 name="Flowchart: Terminator 57">
                <a:extLst>
                  <a:ext uri="{FF2B5EF4-FFF2-40B4-BE49-F238E27FC236}">
                    <a16:creationId xmlns:a16="http://schemas.microsoft.com/office/drawing/2014/main" id="{AF96BD87-5374-4BC5-4F72-D06498B73F28}"/>
                  </a:ext>
                </a:extLst>
              </p:cNvPr>
              <p:cNvSpPr/>
              <p:nvPr/>
            </p:nvSpPr>
            <p:spPr bwMode="auto">
              <a:xfrm rot="15981991" flipH="1">
                <a:off x="8226790" y="4190079"/>
                <a:ext cx="434795" cy="123945"/>
              </a:xfrm>
              <a:prstGeom prst="flowChartTerminator">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Oval 58">
                <a:extLst>
                  <a:ext uri="{FF2B5EF4-FFF2-40B4-BE49-F238E27FC236}">
                    <a16:creationId xmlns:a16="http://schemas.microsoft.com/office/drawing/2014/main" id="{924B08FE-1853-D96B-078A-58BF980BA66B}"/>
                  </a:ext>
                </a:extLst>
              </p:cNvPr>
              <p:cNvSpPr/>
              <p:nvPr/>
            </p:nvSpPr>
            <p:spPr bwMode="auto">
              <a:xfrm flipH="1">
                <a:off x="8394866" y="4355064"/>
                <a:ext cx="99618" cy="99618"/>
              </a:xfrm>
              <a:prstGeom prst="ellipse">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BE52D75E-2C4A-F49D-C6E0-03AF5BC2652D}"/>
                  </a:ext>
                </a:extLst>
              </p:cNvPr>
              <p:cNvSpPr/>
              <p:nvPr/>
            </p:nvSpPr>
            <p:spPr bwMode="auto">
              <a:xfrm rot="21429291" flipH="1">
                <a:off x="8383501" y="4336076"/>
                <a:ext cx="63555" cy="136213"/>
              </a:xfrm>
              <a:prstGeom prst="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BC7960FF-0E6D-BF85-459A-D3AFC2E51911}"/>
                  </a:ext>
                </a:extLst>
              </p:cNvPr>
              <p:cNvSpPr/>
              <p:nvPr/>
            </p:nvSpPr>
            <p:spPr bwMode="auto">
              <a:xfrm rot="21429291" flipH="1">
                <a:off x="8422073" y="4266858"/>
                <a:ext cx="78982" cy="136213"/>
              </a:xfrm>
              <a:prstGeom prst="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880F1F0E-C28A-10A3-773A-CDC4DAC2A3D2}"/>
                  </a:ext>
                </a:extLst>
              </p:cNvPr>
              <p:cNvSpPr/>
              <p:nvPr/>
            </p:nvSpPr>
            <p:spPr bwMode="auto">
              <a:xfrm>
                <a:off x="8190031" y="4134414"/>
                <a:ext cx="246859" cy="217305"/>
              </a:xfrm>
              <a:prstGeom prst="rect">
                <a:avLst/>
              </a:prstGeom>
              <a:grp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pic>
          <p:nvPicPr>
            <p:cNvPr id="46" name="Picture 45">
              <a:extLst>
                <a:ext uri="{FF2B5EF4-FFF2-40B4-BE49-F238E27FC236}">
                  <a16:creationId xmlns:a16="http://schemas.microsoft.com/office/drawing/2014/main" id="{9799854A-E637-E92F-E591-AAA3847F4AA2}"/>
                </a:ext>
              </a:extLst>
            </p:cNvPr>
            <p:cNvPicPr>
              <a:picLocks noChangeAspect="1"/>
            </p:cNvPicPr>
            <p:nvPr/>
          </p:nvPicPr>
          <p:blipFill>
            <a:blip r:embed="rId9">
              <a:duotone>
                <a:srgbClr val="4BACC6">
                  <a:shade val="45000"/>
                  <a:satMod val="135000"/>
                </a:srgbClr>
                <a:prstClr val="white"/>
              </a:duotone>
              <a:extLst>
                <a:ext uri="{BEBA8EAE-BF5A-486C-A8C5-ECC9F3942E4B}">
                  <a14:imgProps xmlns:a14="http://schemas.microsoft.com/office/drawing/2010/main">
                    <a14:imgLayer r:embed="rId10">
                      <a14:imgEffect>
                        <a14:backgroundRemoval t="3037" b="76402" l="10000" r="90000">
                          <a14:foregroundMark x1="68500" y1="7477" x2="68500" y2="7477"/>
                          <a14:foregroundMark x1="70500" y1="23832" x2="70500" y2="23832"/>
                          <a14:foregroundMark x1="56333" y1="43692" x2="56333" y2="43692"/>
                          <a14:foregroundMark x1="42833" y1="52453" x2="42833" y2="52453"/>
                          <a14:foregroundMark x1="29250" y1="57710" x2="29250" y2="57710"/>
                        </a14:backgroundRemoval>
                      </a14:imgEffect>
                    </a14:imgLayer>
                  </a14:imgProps>
                </a:ext>
              </a:extLst>
            </a:blip>
            <a:stretch>
              <a:fillRect/>
            </a:stretch>
          </p:blipFill>
          <p:spPr>
            <a:xfrm>
              <a:off x="2758653" y="4377992"/>
              <a:ext cx="929324" cy="662919"/>
            </a:xfrm>
            <a:prstGeom prst="rect">
              <a:avLst/>
            </a:prstGeom>
            <a:ln>
              <a:noFill/>
            </a:ln>
          </p:spPr>
        </p:pic>
        <p:grpSp>
          <p:nvGrpSpPr>
            <p:cNvPr id="47" name="Group 46">
              <a:extLst>
                <a:ext uri="{FF2B5EF4-FFF2-40B4-BE49-F238E27FC236}">
                  <a16:creationId xmlns:a16="http://schemas.microsoft.com/office/drawing/2014/main" id="{BC5E0325-7624-33ED-038E-BCFD1B76C618}"/>
                </a:ext>
              </a:extLst>
            </p:cNvPr>
            <p:cNvGrpSpPr/>
            <p:nvPr/>
          </p:nvGrpSpPr>
          <p:grpSpPr>
            <a:xfrm>
              <a:off x="6225919" y="3463907"/>
              <a:ext cx="403446" cy="317392"/>
              <a:chOff x="954842" y="3615839"/>
              <a:chExt cx="1443595" cy="1135682"/>
            </a:xfrm>
          </p:grpSpPr>
          <p:sp>
            <p:nvSpPr>
              <p:cNvPr id="49" name="Heart 48">
                <a:extLst>
                  <a:ext uri="{FF2B5EF4-FFF2-40B4-BE49-F238E27FC236}">
                    <a16:creationId xmlns:a16="http://schemas.microsoft.com/office/drawing/2014/main" id="{8890FEE2-5FA6-DB38-F2BF-C7A0AD9097F2}"/>
                  </a:ext>
                </a:extLst>
              </p:cNvPr>
              <p:cNvSpPr/>
              <p:nvPr/>
            </p:nvSpPr>
            <p:spPr bwMode="auto">
              <a:xfrm>
                <a:off x="954842" y="3806416"/>
                <a:ext cx="1035115" cy="945105"/>
              </a:xfrm>
              <a:prstGeom prst="heart">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0" name="Group 49">
                <a:extLst>
                  <a:ext uri="{FF2B5EF4-FFF2-40B4-BE49-F238E27FC236}">
                    <a16:creationId xmlns:a16="http://schemas.microsoft.com/office/drawing/2014/main" id="{F4B32F67-463F-0595-F9CF-BD996A12E607}"/>
                  </a:ext>
                </a:extLst>
              </p:cNvPr>
              <p:cNvGrpSpPr/>
              <p:nvPr/>
            </p:nvGrpSpPr>
            <p:grpSpPr>
              <a:xfrm>
                <a:off x="2019390" y="3615839"/>
                <a:ext cx="379047" cy="369337"/>
                <a:chOff x="7452968" y="5062530"/>
                <a:chExt cx="228303" cy="228303"/>
              </a:xfrm>
              <a:solidFill>
                <a:srgbClr val="4BACC6"/>
              </a:solidFill>
            </p:grpSpPr>
            <p:sp>
              <p:nvSpPr>
                <p:cNvPr id="51" name="Oval 50">
                  <a:extLst>
                    <a:ext uri="{FF2B5EF4-FFF2-40B4-BE49-F238E27FC236}">
                      <a16:creationId xmlns:a16="http://schemas.microsoft.com/office/drawing/2014/main" id="{8827CE57-3728-9DB1-1CF9-DAB5029CD69F}"/>
                    </a:ext>
                  </a:extLst>
                </p:cNvPr>
                <p:cNvSpPr/>
                <p:nvPr/>
              </p:nvSpPr>
              <p:spPr bwMode="auto">
                <a:xfrm>
                  <a:off x="7452968" y="5062530"/>
                  <a:ext cx="228303" cy="228303"/>
                </a:xfrm>
                <a:prstGeom prst="ellipse">
                  <a:avLst/>
                </a:prstGeom>
                <a:solidFill>
                  <a:srgbClr val="E4E5F3"/>
                </a:solidFill>
                <a:ln w="1905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 name="Plus 64">
                  <a:extLst>
                    <a:ext uri="{FF2B5EF4-FFF2-40B4-BE49-F238E27FC236}">
                      <a16:creationId xmlns:a16="http://schemas.microsoft.com/office/drawing/2014/main" id="{8B336C90-7527-0F26-F169-BC69E42F87A2}"/>
                    </a:ext>
                  </a:extLst>
                </p:cNvPr>
                <p:cNvSpPr/>
                <p:nvPr/>
              </p:nvSpPr>
              <p:spPr bwMode="auto">
                <a:xfrm>
                  <a:off x="7467453" y="5076232"/>
                  <a:ext cx="201333" cy="201332"/>
                </a:xfrm>
                <a:prstGeom prst="mathPlus">
                  <a:avLst>
                    <a:gd name="adj1" fmla="val 17553"/>
                  </a:avLst>
                </a:prstGeom>
                <a:solidFill>
                  <a:srgbClr val="20286B"/>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ts val="0"/>
                    </a:spcBef>
                    <a:spcAft>
                      <a:spcPts val="0"/>
                    </a:spcAft>
                    <a:buClr>
                      <a:prstClr val="white"/>
                    </a:buClr>
                    <a:buSzTx/>
                    <a:buFont typeface="Arial" panose="020B0604020202020204" pitchFamily="34" charset="0"/>
                    <a:buChar char="–"/>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48" name="Freeform 95">
              <a:extLst>
                <a:ext uri="{FF2B5EF4-FFF2-40B4-BE49-F238E27FC236}">
                  <a16:creationId xmlns:a16="http://schemas.microsoft.com/office/drawing/2014/main" id="{1DD86B1E-0619-9858-22A6-BE902C203A6A}"/>
                </a:ext>
              </a:extLst>
            </p:cNvPr>
            <p:cNvSpPr/>
            <p:nvPr/>
          </p:nvSpPr>
          <p:spPr bwMode="auto">
            <a:xfrm>
              <a:off x="6602991" y="3510227"/>
              <a:ext cx="323362" cy="263822"/>
            </a:xfrm>
            <a:custGeom>
              <a:avLst/>
              <a:gdLst>
                <a:gd name="T0" fmla="*/ 346 w 366"/>
                <a:gd name="T1" fmla="*/ 72 h 298"/>
                <a:gd name="T2" fmla="*/ 289 w 366"/>
                <a:gd name="T3" fmla="*/ 21 h 298"/>
                <a:gd name="T4" fmla="*/ 216 w 366"/>
                <a:gd name="T5" fmla="*/ 2 h 298"/>
                <a:gd name="T6" fmla="*/ 141 w 366"/>
                <a:gd name="T7" fmla="*/ 6 h 298"/>
                <a:gd name="T8" fmla="*/ 71 w 366"/>
                <a:gd name="T9" fmla="*/ 37 h 298"/>
                <a:gd name="T10" fmla="*/ 19 w 366"/>
                <a:gd name="T11" fmla="*/ 145 h 298"/>
                <a:gd name="T12" fmla="*/ 136 w 366"/>
                <a:gd name="T13" fmla="*/ 191 h 298"/>
                <a:gd name="T14" fmla="*/ 203 w 366"/>
                <a:gd name="T15" fmla="*/ 209 h 298"/>
                <a:gd name="T16" fmla="*/ 221 w 366"/>
                <a:gd name="T17" fmla="*/ 298 h 298"/>
                <a:gd name="T18" fmla="*/ 242 w 366"/>
                <a:gd name="T19" fmla="*/ 230 h 298"/>
                <a:gd name="T20" fmla="*/ 288 w 366"/>
                <a:gd name="T21" fmla="*/ 158 h 298"/>
                <a:gd name="T22" fmla="*/ 247 w 366"/>
                <a:gd name="T23" fmla="*/ 158 h 298"/>
                <a:gd name="T24" fmla="*/ 290 w 366"/>
                <a:gd name="T25" fmla="*/ 147 h 298"/>
                <a:gd name="T26" fmla="*/ 261 w 366"/>
                <a:gd name="T27" fmla="*/ 103 h 298"/>
                <a:gd name="T28" fmla="*/ 218 w 366"/>
                <a:gd name="T29" fmla="*/ 94 h 298"/>
                <a:gd name="T30" fmla="*/ 221 w 366"/>
                <a:gd name="T31" fmla="*/ 153 h 298"/>
                <a:gd name="T32" fmla="*/ 220 w 366"/>
                <a:gd name="T33" fmla="*/ 163 h 298"/>
                <a:gd name="T34" fmla="*/ 198 w 366"/>
                <a:gd name="T35" fmla="*/ 128 h 298"/>
                <a:gd name="T36" fmla="*/ 158 w 366"/>
                <a:gd name="T37" fmla="*/ 136 h 298"/>
                <a:gd name="T38" fmla="*/ 154 w 366"/>
                <a:gd name="T39" fmla="*/ 129 h 298"/>
                <a:gd name="T40" fmla="*/ 209 w 366"/>
                <a:gd name="T41" fmla="*/ 89 h 298"/>
                <a:gd name="T42" fmla="*/ 161 w 366"/>
                <a:gd name="T43" fmla="*/ 78 h 298"/>
                <a:gd name="T44" fmla="*/ 140 w 366"/>
                <a:gd name="T45" fmla="*/ 104 h 298"/>
                <a:gd name="T46" fmla="*/ 61 w 366"/>
                <a:gd name="T47" fmla="*/ 136 h 298"/>
                <a:gd name="T48" fmla="*/ 52 w 366"/>
                <a:gd name="T49" fmla="*/ 136 h 298"/>
                <a:gd name="T50" fmla="*/ 52 w 366"/>
                <a:gd name="T51" fmla="*/ 133 h 298"/>
                <a:gd name="T52" fmla="*/ 105 w 366"/>
                <a:gd name="T53" fmla="*/ 113 h 298"/>
                <a:gd name="T54" fmla="*/ 73 w 366"/>
                <a:gd name="T55" fmla="*/ 88 h 298"/>
                <a:gd name="T56" fmla="*/ 114 w 366"/>
                <a:gd name="T57" fmla="*/ 111 h 298"/>
                <a:gd name="T58" fmla="*/ 137 w 366"/>
                <a:gd name="T59" fmla="*/ 75 h 298"/>
                <a:gd name="T60" fmla="*/ 119 w 366"/>
                <a:gd name="T61" fmla="*/ 49 h 298"/>
                <a:gd name="T62" fmla="*/ 161 w 366"/>
                <a:gd name="T63" fmla="*/ 69 h 298"/>
                <a:gd name="T64" fmla="*/ 189 w 366"/>
                <a:gd name="T65" fmla="*/ 42 h 298"/>
                <a:gd name="T66" fmla="*/ 194 w 366"/>
                <a:gd name="T67" fmla="*/ 37 h 298"/>
                <a:gd name="T68" fmla="*/ 216 w 366"/>
                <a:gd name="T69" fmla="*/ 82 h 298"/>
                <a:gd name="T70" fmla="*/ 238 w 366"/>
                <a:gd name="T71" fmla="*/ 90 h 298"/>
                <a:gd name="T72" fmla="*/ 261 w 366"/>
                <a:gd name="T73" fmla="*/ 51 h 298"/>
                <a:gd name="T74" fmla="*/ 264 w 366"/>
                <a:gd name="T75" fmla="*/ 60 h 298"/>
                <a:gd name="T76" fmla="*/ 248 w 366"/>
                <a:gd name="T77" fmla="*/ 92 h 298"/>
                <a:gd name="T78" fmla="*/ 263 w 366"/>
                <a:gd name="T79" fmla="*/ 94 h 298"/>
                <a:gd name="T80" fmla="*/ 311 w 366"/>
                <a:gd name="T81" fmla="*/ 120 h 298"/>
                <a:gd name="T82" fmla="*/ 330 w 366"/>
                <a:gd name="T83" fmla="*/ 101 h 298"/>
                <a:gd name="T84" fmla="*/ 316 w 366"/>
                <a:gd name="T85" fmla="*/ 128 h 298"/>
                <a:gd name="T86" fmla="*/ 297 w 366"/>
                <a:gd name="T87" fmla="*/ 132 h 298"/>
                <a:gd name="T88" fmla="*/ 291 w 366"/>
                <a:gd name="T89" fmla="*/ 174 h 298"/>
                <a:gd name="T90" fmla="*/ 321 w 366"/>
                <a:gd name="T91" fmla="*/ 207 h 298"/>
                <a:gd name="T92" fmla="*/ 315 w 366"/>
                <a:gd name="T93" fmla="*/ 212 h 298"/>
                <a:gd name="T94" fmla="*/ 305 w 366"/>
                <a:gd name="T95" fmla="*/ 191 h 298"/>
                <a:gd name="T96" fmla="*/ 267 w 366"/>
                <a:gd name="T97" fmla="*/ 197 h 298"/>
                <a:gd name="T98" fmla="*/ 251 w 366"/>
                <a:gd name="T99" fmla="*/ 298 h 298"/>
                <a:gd name="T100" fmla="*/ 304 w 366"/>
                <a:gd name="T101" fmla="*/ 242 h 298"/>
                <a:gd name="T102" fmla="*/ 347 w 366"/>
                <a:gd name="T103" fmla="*/ 189 h 298"/>
                <a:gd name="T104" fmla="*/ 351 w 366"/>
                <a:gd name="T105" fmla="*/ 11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298">
                  <a:moveTo>
                    <a:pt x="351" y="116"/>
                  </a:moveTo>
                  <a:cubicBezTo>
                    <a:pt x="351" y="116"/>
                    <a:pt x="356" y="91"/>
                    <a:pt x="346" y="72"/>
                  </a:cubicBezTo>
                  <a:cubicBezTo>
                    <a:pt x="336" y="53"/>
                    <a:pt x="313" y="47"/>
                    <a:pt x="313" y="47"/>
                  </a:cubicBezTo>
                  <a:cubicBezTo>
                    <a:pt x="313" y="47"/>
                    <a:pt x="310" y="34"/>
                    <a:pt x="289" y="21"/>
                  </a:cubicBezTo>
                  <a:cubicBezTo>
                    <a:pt x="268" y="9"/>
                    <a:pt x="250" y="18"/>
                    <a:pt x="250" y="18"/>
                  </a:cubicBezTo>
                  <a:cubicBezTo>
                    <a:pt x="250" y="18"/>
                    <a:pt x="236" y="4"/>
                    <a:pt x="216" y="2"/>
                  </a:cubicBezTo>
                  <a:cubicBezTo>
                    <a:pt x="195" y="0"/>
                    <a:pt x="181" y="11"/>
                    <a:pt x="181" y="11"/>
                  </a:cubicBezTo>
                  <a:cubicBezTo>
                    <a:pt x="181" y="11"/>
                    <a:pt x="161" y="2"/>
                    <a:pt x="141" y="6"/>
                  </a:cubicBezTo>
                  <a:cubicBezTo>
                    <a:pt x="121" y="10"/>
                    <a:pt x="109" y="29"/>
                    <a:pt x="109" y="29"/>
                  </a:cubicBezTo>
                  <a:cubicBezTo>
                    <a:pt x="109" y="29"/>
                    <a:pt x="90" y="24"/>
                    <a:pt x="71" y="37"/>
                  </a:cubicBezTo>
                  <a:cubicBezTo>
                    <a:pt x="52" y="49"/>
                    <a:pt x="51" y="72"/>
                    <a:pt x="51" y="72"/>
                  </a:cubicBezTo>
                  <a:cubicBezTo>
                    <a:pt x="51" y="72"/>
                    <a:pt x="0" y="99"/>
                    <a:pt x="19" y="145"/>
                  </a:cubicBezTo>
                  <a:cubicBezTo>
                    <a:pt x="45" y="207"/>
                    <a:pt x="104" y="173"/>
                    <a:pt x="104" y="173"/>
                  </a:cubicBezTo>
                  <a:cubicBezTo>
                    <a:pt x="104" y="173"/>
                    <a:pt x="112" y="190"/>
                    <a:pt x="136" y="191"/>
                  </a:cubicBezTo>
                  <a:cubicBezTo>
                    <a:pt x="160" y="191"/>
                    <a:pt x="167" y="182"/>
                    <a:pt x="167" y="182"/>
                  </a:cubicBezTo>
                  <a:cubicBezTo>
                    <a:pt x="176" y="200"/>
                    <a:pt x="186" y="200"/>
                    <a:pt x="203" y="209"/>
                  </a:cubicBezTo>
                  <a:cubicBezTo>
                    <a:pt x="223" y="221"/>
                    <a:pt x="221" y="242"/>
                    <a:pt x="221" y="242"/>
                  </a:cubicBezTo>
                  <a:cubicBezTo>
                    <a:pt x="221" y="298"/>
                    <a:pt x="221" y="298"/>
                    <a:pt x="221" y="298"/>
                  </a:cubicBezTo>
                  <a:cubicBezTo>
                    <a:pt x="242" y="298"/>
                    <a:pt x="242" y="298"/>
                    <a:pt x="242" y="298"/>
                  </a:cubicBezTo>
                  <a:cubicBezTo>
                    <a:pt x="242" y="230"/>
                    <a:pt x="242" y="230"/>
                    <a:pt x="242" y="230"/>
                  </a:cubicBezTo>
                  <a:cubicBezTo>
                    <a:pt x="242" y="210"/>
                    <a:pt x="254" y="194"/>
                    <a:pt x="262" y="189"/>
                  </a:cubicBezTo>
                  <a:cubicBezTo>
                    <a:pt x="268" y="185"/>
                    <a:pt x="283" y="172"/>
                    <a:pt x="288" y="158"/>
                  </a:cubicBezTo>
                  <a:cubicBezTo>
                    <a:pt x="267" y="143"/>
                    <a:pt x="255" y="156"/>
                    <a:pt x="254" y="158"/>
                  </a:cubicBezTo>
                  <a:cubicBezTo>
                    <a:pt x="252" y="160"/>
                    <a:pt x="249" y="160"/>
                    <a:pt x="247" y="158"/>
                  </a:cubicBezTo>
                  <a:cubicBezTo>
                    <a:pt x="245" y="157"/>
                    <a:pt x="244" y="154"/>
                    <a:pt x="246" y="152"/>
                  </a:cubicBezTo>
                  <a:cubicBezTo>
                    <a:pt x="246" y="152"/>
                    <a:pt x="263" y="131"/>
                    <a:pt x="290" y="147"/>
                  </a:cubicBezTo>
                  <a:cubicBezTo>
                    <a:pt x="290" y="145"/>
                    <a:pt x="290" y="142"/>
                    <a:pt x="289" y="139"/>
                  </a:cubicBezTo>
                  <a:cubicBezTo>
                    <a:pt x="281" y="111"/>
                    <a:pt x="270" y="105"/>
                    <a:pt x="261" y="103"/>
                  </a:cubicBezTo>
                  <a:cubicBezTo>
                    <a:pt x="257" y="103"/>
                    <a:pt x="253" y="102"/>
                    <a:pt x="248" y="101"/>
                  </a:cubicBezTo>
                  <a:cubicBezTo>
                    <a:pt x="238" y="100"/>
                    <a:pt x="227" y="98"/>
                    <a:pt x="218" y="94"/>
                  </a:cubicBezTo>
                  <a:cubicBezTo>
                    <a:pt x="214" y="98"/>
                    <a:pt x="207" y="108"/>
                    <a:pt x="207" y="125"/>
                  </a:cubicBezTo>
                  <a:cubicBezTo>
                    <a:pt x="207" y="148"/>
                    <a:pt x="220" y="153"/>
                    <a:pt x="221" y="153"/>
                  </a:cubicBezTo>
                  <a:cubicBezTo>
                    <a:pt x="223" y="154"/>
                    <a:pt x="225" y="157"/>
                    <a:pt x="224" y="159"/>
                  </a:cubicBezTo>
                  <a:cubicBezTo>
                    <a:pt x="223" y="161"/>
                    <a:pt x="222" y="163"/>
                    <a:pt x="220" y="163"/>
                  </a:cubicBezTo>
                  <a:cubicBezTo>
                    <a:pt x="219" y="163"/>
                    <a:pt x="219" y="163"/>
                    <a:pt x="218" y="162"/>
                  </a:cubicBezTo>
                  <a:cubicBezTo>
                    <a:pt x="217" y="162"/>
                    <a:pt x="199" y="156"/>
                    <a:pt x="198" y="128"/>
                  </a:cubicBezTo>
                  <a:cubicBezTo>
                    <a:pt x="174" y="116"/>
                    <a:pt x="163" y="132"/>
                    <a:pt x="162" y="134"/>
                  </a:cubicBezTo>
                  <a:cubicBezTo>
                    <a:pt x="161" y="135"/>
                    <a:pt x="160" y="136"/>
                    <a:pt x="158" y="136"/>
                  </a:cubicBezTo>
                  <a:cubicBezTo>
                    <a:pt x="157" y="136"/>
                    <a:pt x="157" y="136"/>
                    <a:pt x="156" y="136"/>
                  </a:cubicBezTo>
                  <a:cubicBezTo>
                    <a:pt x="154" y="134"/>
                    <a:pt x="153" y="131"/>
                    <a:pt x="154" y="129"/>
                  </a:cubicBezTo>
                  <a:cubicBezTo>
                    <a:pt x="154" y="129"/>
                    <a:pt x="168" y="105"/>
                    <a:pt x="198" y="118"/>
                  </a:cubicBezTo>
                  <a:cubicBezTo>
                    <a:pt x="200" y="103"/>
                    <a:pt x="205" y="94"/>
                    <a:pt x="209" y="89"/>
                  </a:cubicBezTo>
                  <a:cubicBezTo>
                    <a:pt x="204" y="85"/>
                    <a:pt x="198" y="79"/>
                    <a:pt x="194" y="69"/>
                  </a:cubicBezTo>
                  <a:cubicBezTo>
                    <a:pt x="189" y="74"/>
                    <a:pt x="179" y="78"/>
                    <a:pt x="161" y="78"/>
                  </a:cubicBezTo>
                  <a:cubicBezTo>
                    <a:pt x="156" y="78"/>
                    <a:pt x="151" y="78"/>
                    <a:pt x="147" y="77"/>
                  </a:cubicBezTo>
                  <a:cubicBezTo>
                    <a:pt x="147" y="83"/>
                    <a:pt x="146" y="94"/>
                    <a:pt x="140" y="104"/>
                  </a:cubicBezTo>
                  <a:cubicBezTo>
                    <a:pt x="130" y="120"/>
                    <a:pt x="103" y="125"/>
                    <a:pt x="81" y="124"/>
                  </a:cubicBezTo>
                  <a:cubicBezTo>
                    <a:pt x="68" y="123"/>
                    <a:pt x="64" y="130"/>
                    <a:pt x="61" y="136"/>
                  </a:cubicBezTo>
                  <a:cubicBezTo>
                    <a:pt x="61" y="137"/>
                    <a:pt x="60" y="140"/>
                    <a:pt x="56" y="140"/>
                  </a:cubicBezTo>
                  <a:cubicBezTo>
                    <a:pt x="54" y="140"/>
                    <a:pt x="52" y="138"/>
                    <a:pt x="52" y="136"/>
                  </a:cubicBezTo>
                  <a:cubicBezTo>
                    <a:pt x="52" y="135"/>
                    <a:pt x="52" y="134"/>
                    <a:pt x="52" y="133"/>
                  </a:cubicBezTo>
                  <a:cubicBezTo>
                    <a:pt x="52" y="133"/>
                    <a:pt x="52" y="133"/>
                    <a:pt x="52" y="133"/>
                  </a:cubicBezTo>
                  <a:cubicBezTo>
                    <a:pt x="59" y="116"/>
                    <a:pt x="72" y="114"/>
                    <a:pt x="82" y="114"/>
                  </a:cubicBezTo>
                  <a:cubicBezTo>
                    <a:pt x="90" y="115"/>
                    <a:pt x="98" y="114"/>
                    <a:pt x="105" y="113"/>
                  </a:cubicBezTo>
                  <a:cubicBezTo>
                    <a:pt x="99" y="93"/>
                    <a:pt x="79" y="93"/>
                    <a:pt x="78" y="93"/>
                  </a:cubicBezTo>
                  <a:cubicBezTo>
                    <a:pt x="75" y="93"/>
                    <a:pt x="73" y="91"/>
                    <a:pt x="73" y="88"/>
                  </a:cubicBezTo>
                  <a:cubicBezTo>
                    <a:pt x="73" y="86"/>
                    <a:pt x="75" y="84"/>
                    <a:pt x="78" y="84"/>
                  </a:cubicBezTo>
                  <a:cubicBezTo>
                    <a:pt x="88" y="84"/>
                    <a:pt x="108" y="89"/>
                    <a:pt x="114" y="111"/>
                  </a:cubicBezTo>
                  <a:cubicBezTo>
                    <a:pt x="123" y="108"/>
                    <a:pt x="129" y="104"/>
                    <a:pt x="132" y="99"/>
                  </a:cubicBezTo>
                  <a:cubicBezTo>
                    <a:pt x="138" y="90"/>
                    <a:pt x="138" y="78"/>
                    <a:pt x="137" y="75"/>
                  </a:cubicBezTo>
                  <a:cubicBezTo>
                    <a:pt x="120" y="68"/>
                    <a:pt x="116" y="56"/>
                    <a:pt x="116" y="55"/>
                  </a:cubicBezTo>
                  <a:cubicBezTo>
                    <a:pt x="115" y="53"/>
                    <a:pt x="117" y="50"/>
                    <a:pt x="119" y="49"/>
                  </a:cubicBezTo>
                  <a:cubicBezTo>
                    <a:pt x="122" y="49"/>
                    <a:pt x="124" y="50"/>
                    <a:pt x="125" y="53"/>
                  </a:cubicBezTo>
                  <a:cubicBezTo>
                    <a:pt x="125" y="53"/>
                    <a:pt x="131" y="69"/>
                    <a:pt x="161" y="69"/>
                  </a:cubicBezTo>
                  <a:cubicBezTo>
                    <a:pt x="183" y="69"/>
                    <a:pt x="189" y="61"/>
                    <a:pt x="191" y="59"/>
                  </a:cubicBezTo>
                  <a:cubicBezTo>
                    <a:pt x="190" y="54"/>
                    <a:pt x="189" y="48"/>
                    <a:pt x="189" y="42"/>
                  </a:cubicBezTo>
                  <a:cubicBezTo>
                    <a:pt x="189" y="39"/>
                    <a:pt x="191" y="37"/>
                    <a:pt x="194" y="37"/>
                  </a:cubicBezTo>
                  <a:cubicBezTo>
                    <a:pt x="194" y="37"/>
                    <a:pt x="194" y="37"/>
                    <a:pt x="194" y="37"/>
                  </a:cubicBezTo>
                  <a:cubicBezTo>
                    <a:pt x="197" y="37"/>
                    <a:pt x="199" y="39"/>
                    <a:pt x="199" y="42"/>
                  </a:cubicBezTo>
                  <a:cubicBezTo>
                    <a:pt x="198" y="65"/>
                    <a:pt x="208" y="77"/>
                    <a:pt x="216" y="82"/>
                  </a:cubicBezTo>
                  <a:cubicBezTo>
                    <a:pt x="216" y="82"/>
                    <a:pt x="216" y="82"/>
                    <a:pt x="217" y="82"/>
                  </a:cubicBezTo>
                  <a:cubicBezTo>
                    <a:pt x="222" y="87"/>
                    <a:pt x="230" y="89"/>
                    <a:pt x="238" y="90"/>
                  </a:cubicBezTo>
                  <a:cubicBezTo>
                    <a:pt x="236" y="82"/>
                    <a:pt x="237" y="74"/>
                    <a:pt x="240" y="68"/>
                  </a:cubicBezTo>
                  <a:cubicBezTo>
                    <a:pt x="247" y="55"/>
                    <a:pt x="261" y="51"/>
                    <a:pt x="261" y="51"/>
                  </a:cubicBezTo>
                  <a:cubicBezTo>
                    <a:pt x="264" y="50"/>
                    <a:pt x="266" y="52"/>
                    <a:pt x="267" y="54"/>
                  </a:cubicBezTo>
                  <a:cubicBezTo>
                    <a:pt x="268" y="57"/>
                    <a:pt x="266" y="60"/>
                    <a:pt x="264" y="60"/>
                  </a:cubicBezTo>
                  <a:cubicBezTo>
                    <a:pt x="264" y="60"/>
                    <a:pt x="253" y="63"/>
                    <a:pt x="249" y="72"/>
                  </a:cubicBezTo>
                  <a:cubicBezTo>
                    <a:pt x="246" y="78"/>
                    <a:pt x="246" y="84"/>
                    <a:pt x="248" y="92"/>
                  </a:cubicBezTo>
                  <a:cubicBezTo>
                    <a:pt x="248" y="92"/>
                    <a:pt x="249" y="92"/>
                    <a:pt x="249" y="92"/>
                  </a:cubicBezTo>
                  <a:cubicBezTo>
                    <a:pt x="254" y="92"/>
                    <a:pt x="259" y="93"/>
                    <a:pt x="263" y="94"/>
                  </a:cubicBezTo>
                  <a:cubicBezTo>
                    <a:pt x="276" y="97"/>
                    <a:pt x="286" y="106"/>
                    <a:pt x="293" y="121"/>
                  </a:cubicBezTo>
                  <a:cubicBezTo>
                    <a:pt x="300" y="123"/>
                    <a:pt x="306" y="123"/>
                    <a:pt x="311" y="120"/>
                  </a:cubicBezTo>
                  <a:cubicBezTo>
                    <a:pt x="320" y="115"/>
                    <a:pt x="324" y="104"/>
                    <a:pt x="324" y="104"/>
                  </a:cubicBezTo>
                  <a:cubicBezTo>
                    <a:pt x="325" y="101"/>
                    <a:pt x="327" y="100"/>
                    <a:pt x="330" y="101"/>
                  </a:cubicBezTo>
                  <a:cubicBezTo>
                    <a:pt x="332" y="102"/>
                    <a:pt x="334" y="104"/>
                    <a:pt x="333" y="107"/>
                  </a:cubicBezTo>
                  <a:cubicBezTo>
                    <a:pt x="333" y="107"/>
                    <a:pt x="329" y="121"/>
                    <a:pt x="316" y="128"/>
                  </a:cubicBezTo>
                  <a:cubicBezTo>
                    <a:pt x="311" y="131"/>
                    <a:pt x="306" y="132"/>
                    <a:pt x="301" y="132"/>
                  </a:cubicBezTo>
                  <a:cubicBezTo>
                    <a:pt x="300" y="132"/>
                    <a:pt x="298" y="132"/>
                    <a:pt x="297" y="132"/>
                  </a:cubicBezTo>
                  <a:cubicBezTo>
                    <a:pt x="297" y="133"/>
                    <a:pt x="298" y="135"/>
                    <a:pt x="298" y="136"/>
                  </a:cubicBezTo>
                  <a:cubicBezTo>
                    <a:pt x="301" y="144"/>
                    <a:pt x="300" y="158"/>
                    <a:pt x="291" y="174"/>
                  </a:cubicBezTo>
                  <a:cubicBezTo>
                    <a:pt x="300" y="175"/>
                    <a:pt x="307" y="179"/>
                    <a:pt x="312" y="184"/>
                  </a:cubicBezTo>
                  <a:cubicBezTo>
                    <a:pt x="321" y="194"/>
                    <a:pt x="321" y="207"/>
                    <a:pt x="321" y="207"/>
                  </a:cubicBezTo>
                  <a:cubicBezTo>
                    <a:pt x="320" y="210"/>
                    <a:pt x="318" y="212"/>
                    <a:pt x="316" y="212"/>
                  </a:cubicBezTo>
                  <a:cubicBezTo>
                    <a:pt x="316" y="212"/>
                    <a:pt x="316" y="212"/>
                    <a:pt x="315" y="212"/>
                  </a:cubicBezTo>
                  <a:cubicBezTo>
                    <a:pt x="313" y="212"/>
                    <a:pt x="311" y="209"/>
                    <a:pt x="311" y="207"/>
                  </a:cubicBezTo>
                  <a:cubicBezTo>
                    <a:pt x="311" y="207"/>
                    <a:pt x="312" y="197"/>
                    <a:pt x="305" y="191"/>
                  </a:cubicBezTo>
                  <a:cubicBezTo>
                    <a:pt x="301" y="186"/>
                    <a:pt x="293" y="183"/>
                    <a:pt x="284" y="183"/>
                  </a:cubicBezTo>
                  <a:cubicBezTo>
                    <a:pt x="279" y="188"/>
                    <a:pt x="274" y="192"/>
                    <a:pt x="267" y="197"/>
                  </a:cubicBezTo>
                  <a:cubicBezTo>
                    <a:pt x="263" y="200"/>
                    <a:pt x="251" y="212"/>
                    <a:pt x="251" y="230"/>
                  </a:cubicBezTo>
                  <a:cubicBezTo>
                    <a:pt x="251" y="298"/>
                    <a:pt x="251" y="298"/>
                    <a:pt x="251" y="298"/>
                  </a:cubicBezTo>
                  <a:cubicBezTo>
                    <a:pt x="274" y="298"/>
                    <a:pt x="274" y="298"/>
                    <a:pt x="274" y="298"/>
                  </a:cubicBezTo>
                  <a:cubicBezTo>
                    <a:pt x="274" y="281"/>
                    <a:pt x="297" y="249"/>
                    <a:pt x="304" y="242"/>
                  </a:cubicBezTo>
                  <a:cubicBezTo>
                    <a:pt x="311" y="235"/>
                    <a:pt x="327" y="228"/>
                    <a:pt x="337" y="217"/>
                  </a:cubicBezTo>
                  <a:cubicBezTo>
                    <a:pt x="348" y="206"/>
                    <a:pt x="347" y="189"/>
                    <a:pt x="347" y="189"/>
                  </a:cubicBezTo>
                  <a:cubicBezTo>
                    <a:pt x="347" y="189"/>
                    <a:pt x="362" y="175"/>
                    <a:pt x="364" y="151"/>
                  </a:cubicBezTo>
                  <a:cubicBezTo>
                    <a:pt x="366" y="126"/>
                    <a:pt x="351" y="116"/>
                    <a:pt x="351" y="116"/>
                  </a:cubicBezTo>
                  <a:close/>
                </a:path>
              </a:pathLst>
            </a:custGeom>
            <a:solidFill>
              <a:srgbClr val="20286B"/>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625063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43ED5-A94E-2149-B8A3-FE6165781D4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82C6B79-CEF2-53DB-B3AA-7351CD8FFA76}"/>
              </a:ext>
            </a:extLst>
          </p:cNvPr>
          <p:cNvSpPr>
            <a:spLocks noGrp="1"/>
          </p:cNvSpPr>
          <p:nvPr>
            <p:ph type="title"/>
          </p:nvPr>
        </p:nvSpPr>
        <p:spPr>
          <a:xfrm>
            <a:off x="701749" y="365126"/>
            <a:ext cx="10652051" cy="1012198"/>
          </a:xfrm>
        </p:spPr>
        <p:txBody>
          <a:bodyPr>
            <a:normAutofit/>
          </a:bodyPr>
          <a:lstStyle/>
          <a:p>
            <a:pPr algn="ctr"/>
            <a:r>
              <a:rPr lang="vi-VN" sz="36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3 biện pháp phòng ngừa nhiễm trùng đường hô hấp cấp </a:t>
            </a:r>
            <a:endParaRPr lang="en-US" sz="36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65F24572-9D1B-3FBD-865C-2108936A519E}"/>
              </a:ext>
            </a:extLst>
          </p:cNvPr>
          <p:cNvGraphicFramePr/>
          <p:nvPr/>
        </p:nvGraphicFramePr>
        <p:xfrm>
          <a:off x="619576" y="2875382"/>
          <a:ext cx="10952847" cy="37026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phic 5" descr="Question Mark with solid fill">
            <a:extLst>
              <a:ext uri="{FF2B5EF4-FFF2-40B4-BE49-F238E27FC236}">
                <a16:creationId xmlns:a16="http://schemas.microsoft.com/office/drawing/2014/main" id="{89DA71C6-222B-3EE7-003C-2E8F4C6E00B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342486" y="1583225"/>
            <a:ext cx="1743777" cy="1743777"/>
          </a:xfrm>
          <a:prstGeom prst="rect">
            <a:avLst/>
          </a:prstGeom>
        </p:spPr>
      </p:pic>
      <p:pic>
        <p:nvPicPr>
          <p:cNvPr id="7" name="Graphic 6" descr="Surgical mask with solid fill">
            <a:extLst>
              <a:ext uri="{FF2B5EF4-FFF2-40B4-BE49-F238E27FC236}">
                <a16:creationId xmlns:a16="http://schemas.microsoft.com/office/drawing/2014/main" id="{5441CFBD-B9C6-8DC9-D2F7-8E78D79DF8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4110" y="1583225"/>
            <a:ext cx="1743777" cy="1743777"/>
          </a:xfrm>
          <a:prstGeom prst="rect">
            <a:avLst/>
          </a:prstGeom>
        </p:spPr>
      </p:pic>
      <p:pic>
        <p:nvPicPr>
          <p:cNvPr id="8" name="Graphic 7" descr="Needle with solid fill">
            <a:extLst>
              <a:ext uri="{FF2B5EF4-FFF2-40B4-BE49-F238E27FC236}">
                <a16:creationId xmlns:a16="http://schemas.microsoft.com/office/drawing/2014/main" id="{CB237E5D-9C32-C7CE-BCC4-3064AC45E7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64565" y="1583225"/>
            <a:ext cx="1743777" cy="1743777"/>
          </a:xfrm>
          <a:prstGeom prst="rect">
            <a:avLst/>
          </a:prstGeom>
        </p:spPr>
      </p:pic>
      <p:sp>
        <p:nvSpPr>
          <p:cNvPr id="9" name="Textfeld 7">
            <a:extLst>
              <a:ext uri="{FF2B5EF4-FFF2-40B4-BE49-F238E27FC236}">
                <a16:creationId xmlns:a16="http://schemas.microsoft.com/office/drawing/2014/main" id="{06A832D2-4DBC-A407-D3F3-0C9B5534DE48}"/>
              </a:ext>
            </a:extLst>
          </p:cNvPr>
          <p:cNvSpPr txBox="1">
            <a:spLocks/>
          </p:cNvSpPr>
          <p:nvPr/>
        </p:nvSpPr>
        <p:spPr>
          <a:xfrm>
            <a:off x="542923" y="6407169"/>
            <a:ext cx="11106150" cy="341632"/>
          </a:xfrm>
          <a:prstGeom prst="rect">
            <a:avLst/>
          </a:prstGeom>
          <a:solidFill>
            <a:schemeClr val="bg1"/>
          </a:solidFill>
        </p:spPr>
        <p:txBody>
          <a:bodyPr wrap="square" t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
                <a:prstClr val="black">
                  <a:lumMod val="50000"/>
                  <a:lumOff val="50000"/>
                </a:prstClr>
              </a:buClr>
              <a:buSzTx/>
              <a:buFont typeface="+mj-lt"/>
              <a:buAutoNum type="arabicPeriod"/>
              <a:tabLst/>
              <a:defRPr/>
            </a:pPr>
            <a:r>
              <a:rPr kumimoji="0" lang="de-DE" sz="600" b="0" i="0" u="none" strike="noStrike" kern="1200" cap="none" spc="0" normalizeH="0" baseline="0" noProof="0" dirty="0">
                <a:ln>
                  <a:noFill/>
                </a:ln>
                <a:solidFill>
                  <a:prstClr val="black">
                    <a:lumMod val="50000"/>
                    <a:lumOff val="50000"/>
                  </a:prstClr>
                </a:solidFill>
                <a:effectLst/>
                <a:uLnTx/>
                <a:uFillTx/>
                <a:latin typeface="Calibri"/>
                <a:ea typeface="MS PGothic" pitchFamily="34" charset="-128"/>
                <a:cs typeface="ＭＳ Ｐゴシック" charset="-128"/>
              </a:rPr>
              <a:t>Spicer KB, Glick C, Cavanaugh AM, Thoroughman D. Protective Immunity after Natural Infection with Severe Acute Respiratory Syndrome Coronavirus-2 (SARS-CoV-2) - Kentucky, USA, 2020. Int J Infect Dis. 2022 Jan;114:21-28. doi: 10.1016/j.ijid.2021.10.010. Epub 2021 Oct 12. PMID: 34649001; PMCID: PMC8506664.</a:t>
            </a:r>
          </a:p>
          <a:p>
            <a:pPr marL="228600" marR="0" lvl="0" indent="-228600" algn="l" defTabSz="914400" rtl="0" eaLnBrk="1" fontAlgn="auto" latinLnBrk="0" hangingPunct="1">
              <a:lnSpc>
                <a:spcPct val="90000"/>
              </a:lnSpc>
              <a:spcBef>
                <a:spcPts val="0"/>
              </a:spcBef>
              <a:spcAft>
                <a:spcPts val="0"/>
              </a:spcAft>
              <a:buClr>
                <a:prstClr val="black">
                  <a:lumMod val="50000"/>
                  <a:lumOff val="50000"/>
                </a:prstClr>
              </a:buClr>
              <a:buSzTx/>
              <a:buFont typeface="+mj-lt"/>
              <a:buAutoNum type="arabicPeriod"/>
              <a:tabLst/>
              <a:defRPr/>
            </a:pPr>
            <a:r>
              <a:rPr kumimoji="0" lang="de-DE" sz="600" b="0" i="0" u="none" strike="noStrike" kern="1200" cap="none" spc="0" normalizeH="0" baseline="0" noProof="0" dirty="0">
                <a:ln>
                  <a:noFill/>
                </a:ln>
                <a:solidFill>
                  <a:prstClr val="black">
                    <a:lumMod val="50000"/>
                    <a:lumOff val="50000"/>
                  </a:prstClr>
                </a:solidFill>
                <a:effectLst/>
                <a:uLnTx/>
                <a:uFillTx/>
                <a:latin typeface="Calibri"/>
                <a:ea typeface="MS PGothic" pitchFamily="34" charset="-128"/>
                <a:cs typeface="ＭＳ Ｐゴシック" charset="-128"/>
              </a:rPr>
              <a:t>Patalon T, Saciuk Y, Perez G, Peretz A, Ben-Tov A, Gazit S. Dynamics of Naturally Acquired Immunity Against Severe Acute Respiratory Syndrome Coronavirus 2 in Children and Adolescents. J Pediatr. 2023 Jun;257:113371. doi: 10.1016/j.jpeds.2023.02.016. Epub 2023 Mar 3. PMID: 36870558; PMCID: PMC9981270.</a:t>
            </a:r>
          </a:p>
          <a:p>
            <a:pPr marL="228600" marR="0" lvl="0" indent="-228600" algn="l" defTabSz="914400" rtl="0" eaLnBrk="1" fontAlgn="auto" latinLnBrk="0" hangingPunct="1">
              <a:lnSpc>
                <a:spcPct val="90000"/>
              </a:lnSpc>
              <a:spcBef>
                <a:spcPts val="0"/>
              </a:spcBef>
              <a:spcAft>
                <a:spcPts val="0"/>
              </a:spcAft>
              <a:buClr>
                <a:prstClr val="black">
                  <a:lumMod val="50000"/>
                  <a:lumOff val="50000"/>
                </a:prstClr>
              </a:buClr>
              <a:buSzTx/>
              <a:buFont typeface="+mj-lt"/>
              <a:buAutoNum type="arabicPeriod"/>
              <a:tabLst/>
              <a:defRPr/>
            </a:pPr>
            <a:r>
              <a:rPr kumimoji="0" lang="de-DE" sz="600" b="0" i="0" u="none" strike="noStrike" kern="1200" cap="none" spc="0" normalizeH="0" baseline="0" noProof="0" dirty="0">
                <a:ln>
                  <a:noFill/>
                </a:ln>
                <a:solidFill>
                  <a:prstClr val="black">
                    <a:lumMod val="50000"/>
                    <a:lumOff val="50000"/>
                  </a:prstClr>
                </a:solidFill>
                <a:effectLst/>
                <a:uLnTx/>
                <a:uFillTx/>
                <a:latin typeface="Calibri"/>
                <a:ea typeface="MS PGothic" pitchFamily="34" charset="-128"/>
                <a:cs typeface="ＭＳ Ｐゴシック" charset="-128"/>
              </a:rPr>
              <a:t>Gov.UK. Infection prevention and control (IPC) in adult social care: acute respiratory infection (ARI.  https://www.gov.uk/government/publications/infection-prevention-and-control-in-adult-social-care-acute-respiratory-infection/infection-prevention-and-control-ipc-in-adult-social-care-acute-respiratory-infection-ari</a:t>
            </a:r>
          </a:p>
        </p:txBody>
      </p:sp>
    </p:spTree>
    <p:extLst>
      <p:ext uri="{BB962C8B-B14F-4D97-AF65-F5344CB8AC3E}">
        <p14:creationId xmlns:p14="http://schemas.microsoft.com/office/powerpoint/2010/main" val="9118477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CE86C-7066-4751-E2E6-74E51278DE9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4094554-9214-BB3E-E959-C8621FC622E6}"/>
              </a:ext>
            </a:extLst>
          </p:cNvPr>
          <p:cNvSpPr>
            <a:spLocks noGrp="1"/>
          </p:cNvSpPr>
          <p:nvPr>
            <p:ph type="title"/>
          </p:nvPr>
        </p:nvSpPr>
        <p:spPr>
          <a:xfrm>
            <a:off x="0" y="365125"/>
            <a:ext cx="12192000" cy="811279"/>
          </a:xfrm>
        </p:spPr>
        <p:txBody>
          <a:bodyPr>
            <a:normAutofit/>
          </a:bodyPr>
          <a:lstStyle/>
          <a:p>
            <a:pPr algn="ctr"/>
            <a:r>
              <a:rPr lang="vi-VN"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Phương án 3: Lợi ích của các chương trình tiêm</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vi-VN"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chủng</a:t>
            </a:r>
            <a:r>
              <a:rPr lang="en-US" sz="32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12</a:t>
            </a:r>
            <a:endParaRPr lang="en-US" sz="32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 name="Rounded Rectangle 27">
            <a:extLst>
              <a:ext uri="{FF2B5EF4-FFF2-40B4-BE49-F238E27FC236}">
                <a16:creationId xmlns:a16="http://schemas.microsoft.com/office/drawing/2014/main" id="{F0C0C7B1-C87E-A7B1-3E06-882C8CE241CD}"/>
              </a:ext>
            </a:extLst>
          </p:cNvPr>
          <p:cNvSpPr/>
          <p:nvPr/>
        </p:nvSpPr>
        <p:spPr bwMode="gray">
          <a:xfrm>
            <a:off x="830459" y="2009132"/>
            <a:ext cx="2998168" cy="738849"/>
          </a:xfrm>
          <a:prstGeom prst="roundRect">
            <a:avLst>
              <a:gd name="adj" fmla="val 0"/>
            </a:avLst>
          </a:prstGeom>
          <a:solidFill>
            <a:schemeClr val="accent2">
              <a:lumMod val="50000"/>
            </a:schemeClr>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Bảo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vệ</a:t>
            </a: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khỏi</a:t>
            </a: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ác</a:t>
            </a: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bệnh</a:t>
            </a: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iên</a:t>
            </a:r>
            <a:r>
              <a:rPr kumimoji="0" lang="en-SG"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SG"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quan</a:t>
            </a:r>
            <a:endPar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Rounded Rectangle 32">
            <a:extLst>
              <a:ext uri="{FF2B5EF4-FFF2-40B4-BE49-F238E27FC236}">
                <a16:creationId xmlns:a16="http://schemas.microsoft.com/office/drawing/2014/main" id="{759EC16A-7C5B-D5B2-2387-257597E7CDD2}"/>
              </a:ext>
            </a:extLst>
          </p:cNvPr>
          <p:cNvSpPr/>
          <p:nvPr/>
        </p:nvSpPr>
        <p:spPr bwMode="gray">
          <a:xfrm>
            <a:off x="830459" y="2845345"/>
            <a:ext cx="2998168" cy="873135"/>
          </a:xfrm>
          <a:prstGeom prst="roundRect">
            <a:avLst>
              <a:gd name="adj" fmla="val 0"/>
            </a:avLst>
          </a:prstGeom>
          <a:solidFill>
            <a:schemeClr val="accent2">
              <a:lumMod val="50000"/>
            </a:schemeClr>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Bảo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vệ</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nhằm</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ngăn</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ngừa</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ự</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hát</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triển</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ủa</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tình</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trạ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khá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khá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inh</a:t>
            </a:r>
            <a:endPar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ounded Rectangle 33">
            <a:extLst>
              <a:ext uri="{FF2B5EF4-FFF2-40B4-BE49-F238E27FC236}">
                <a16:creationId xmlns:a16="http://schemas.microsoft.com/office/drawing/2014/main" id="{88A527C8-318C-7A56-A5D6-CA972A10C9E2}"/>
              </a:ext>
            </a:extLst>
          </p:cNvPr>
          <p:cNvSpPr/>
          <p:nvPr/>
        </p:nvSpPr>
        <p:spPr bwMode="gray">
          <a:xfrm>
            <a:off x="830459" y="3950130"/>
            <a:ext cx="2998168" cy="738849"/>
          </a:xfrm>
          <a:prstGeom prst="roundRect">
            <a:avLst>
              <a:gd name="adj" fmla="val 0"/>
            </a:avLst>
          </a:prstGeom>
          <a:solidFill>
            <a:schemeClr val="accent2">
              <a:lumMod val="50000"/>
            </a:schemeClr>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Thúc</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đẩy</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ô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bằ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xã</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hội</a:t>
            </a:r>
            <a:endPar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0" name="Rounded Rectangle 34">
            <a:extLst>
              <a:ext uri="{FF2B5EF4-FFF2-40B4-BE49-F238E27FC236}">
                <a16:creationId xmlns:a16="http://schemas.microsoft.com/office/drawing/2014/main" id="{2AE478E2-F3DB-3CF2-2780-2833D517566C}"/>
              </a:ext>
            </a:extLst>
          </p:cNvPr>
          <p:cNvSpPr/>
          <p:nvPr/>
        </p:nvSpPr>
        <p:spPr bwMode="gray">
          <a:xfrm>
            <a:off x="830459" y="4920629"/>
            <a:ext cx="2998168" cy="738849"/>
          </a:xfrm>
          <a:prstGeom prst="roundRect">
            <a:avLst>
              <a:gd name="adj" fmla="val 0"/>
            </a:avLst>
          </a:prstGeom>
          <a:solidFill>
            <a:schemeClr val="accent2">
              <a:lumMod val="50000"/>
            </a:schemeClr>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iễn</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dịch</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ộng</a:t>
            </a:r>
            <a:r>
              <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đồng</a:t>
            </a:r>
            <a:endParaRPr kumimoji="0" lang="en-US" sz="20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Rounded Rectangle 35">
            <a:extLst>
              <a:ext uri="{FF2B5EF4-FFF2-40B4-BE49-F238E27FC236}">
                <a16:creationId xmlns:a16="http://schemas.microsoft.com/office/drawing/2014/main" id="{356A0F80-36B2-EEC9-7643-F5E75F9642B9}"/>
              </a:ext>
            </a:extLst>
          </p:cNvPr>
          <p:cNvSpPr/>
          <p:nvPr/>
        </p:nvSpPr>
        <p:spPr bwMode="gray">
          <a:xfrm>
            <a:off x="8358535" y="1495817"/>
            <a:ext cx="2998168" cy="738849"/>
          </a:xfrm>
          <a:prstGeom prst="roundRect">
            <a:avLst>
              <a:gd name="adj" fmla="val 0"/>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err="1">
                <a:ln>
                  <a:noFill/>
                </a:ln>
                <a:solidFill>
                  <a:srgbClr val="FFFFFF"/>
                </a:solidFill>
                <a:effectLst/>
                <a:uLnTx/>
                <a:uFillTx/>
                <a:latin typeface="Arial"/>
                <a:ea typeface="+mn-ea"/>
                <a:cs typeface="+mn-cs"/>
              </a:rPr>
              <a:t>Loại</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trừ</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hoàn</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toàn</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mầm</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bệnh</a:t>
            </a: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0" name="Rounded Rectangle 36">
            <a:extLst>
              <a:ext uri="{FF2B5EF4-FFF2-40B4-BE49-F238E27FC236}">
                <a16:creationId xmlns:a16="http://schemas.microsoft.com/office/drawing/2014/main" id="{09761331-D817-4A30-D4AC-0A6B987DBEB7}"/>
              </a:ext>
            </a:extLst>
          </p:cNvPr>
          <p:cNvSpPr/>
          <p:nvPr/>
        </p:nvSpPr>
        <p:spPr bwMode="gray">
          <a:xfrm>
            <a:off x="8358535" y="2466316"/>
            <a:ext cx="2998168" cy="738849"/>
          </a:xfrm>
          <a:prstGeom prst="roundRect">
            <a:avLst>
              <a:gd name="adj" fmla="val 0"/>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err="1">
                <a:ln>
                  <a:noFill/>
                </a:ln>
                <a:solidFill>
                  <a:srgbClr val="FFFFFF"/>
                </a:solidFill>
                <a:effectLst/>
                <a:uLnTx/>
                <a:uFillTx/>
                <a:latin typeface="Arial"/>
                <a:ea typeface="+mn-ea"/>
                <a:cs typeface="+mn-cs"/>
              </a:rPr>
              <a:t>Kiểm</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soát</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dịch</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bệnh</a:t>
            </a: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2" name="Rounded Rectangle 37">
            <a:extLst>
              <a:ext uri="{FF2B5EF4-FFF2-40B4-BE49-F238E27FC236}">
                <a16:creationId xmlns:a16="http://schemas.microsoft.com/office/drawing/2014/main" id="{AFBF2D05-57C7-DD9A-C321-1A9A17BC0D2C}"/>
              </a:ext>
            </a:extLst>
          </p:cNvPr>
          <p:cNvSpPr/>
          <p:nvPr/>
        </p:nvSpPr>
        <p:spPr bwMode="gray">
          <a:xfrm>
            <a:off x="8358535" y="3436815"/>
            <a:ext cx="2998168" cy="738849"/>
          </a:xfrm>
          <a:prstGeom prst="roundRect">
            <a:avLst>
              <a:gd name="adj" fmla="val 0"/>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vi-VN" sz="1800" b="1" i="0" u="none" strike="noStrike" kern="0" cap="none" spc="0" normalizeH="0" baseline="0" noProof="0" dirty="0">
                <a:ln>
                  <a:noFill/>
                </a:ln>
                <a:solidFill>
                  <a:srgbClr val="FFFFFF"/>
                </a:solidFill>
                <a:effectLst/>
                <a:uLnTx/>
                <a:uFillTx/>
                <a:latin typeface="Arial"/>
                <a:ea typeface="+mn-ea"/>
                <a:cs typeface="+mn-cs"/>
              </a:rPr>
              <a:t>Thúc đẩy tăng trưởng kinh tế</a:t>
            </a: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3" name="Rounded Rectangle 38">
            <a:extLst>
              <a:ext uri="{FF2B5EF4-FFF2-40B4-BE49-F238E27FC236}">
                <a16:creationId xmlns:a16="http://schemas.microsoft.com/office/drawing/2014/main" id="{F6E01973-2353-4B4B-7B51-34DBF04852CE}"/>
              </a:ext>
            </a:extLst>
          </p:cNvPr>
          <p:cNvSpPr/>
          <p:nvPr/>
        </p:nvSpPr>
        <p:spPr bwMode="gray">
          <a:xfrm>
            <a:off x="8358535" y="4407314"/>
            <a:ext cx="2998168" cy="738849"/>
          </a:xfrm>
          <a:prstGeom prst="roundRect">
            <a:avLst>
              <a:gd name="adj" fmla="val 0"/>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vi-VN" sz="1800" b="1" i="0" u="none" strike="noStrike" kern="0" cap="none" spc="0" normalizeH="0" baseline="0" noProof="0" dirty="0">
                <a:ln>
                  <a:noFill/>
                </a:ln>
                <a:solidFill>
                  <a:srgbClr val="FFFFFF"/>
                </a:solidFill>
                <a:effectLst/>
                <a:uLnTx/>
                <a:uFillTx/>
                <a:latin typeface="Arial"/>
                <a:ea typeface="+mn-ea"/>
                <a:cs typeface="+mn-cs"/>
              </a:rPr>
              <a:t>Điều kiện tiên quyết để đạt được thịnh vượng</a:t>
            </a: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4" name="Rounded Rectangle 39">
            <a:extLst>
              <a:ext uri="{FF2B5EF4-FFF2-40B4-BE49-F238E27FC236}">
                <a16:creationId xmlns:a16="http://schemas.microsoft.com/office/drawing/2014/main" id="{8DC7EDF4-BCDA-8C09-44F0-B7928FB0B81F}"/>
              </a:ext>
            </a:extLst>
          </p:cNvPr>
          <p:cNvSpPr/>
          <p:nvPr/>
        </p:nvSpPr>
        <p:spPr bwMode="gray">
          <a:xfrm>
            <a:off x="8358535" y="5362925"/>
            <a:ext cx="2998168" cy="738849"/>
          </a:xfrm>
          <a:prstGeom prst="roundRect">
            <a:avLst>
              <a:gd name="adj" fmla="val 0"/>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err="1">
                <a:ln>
                  <a:noFill/>
                </a:ln>
                <a:solidFill>
                  <a:srgbClr val="FFFFFF"/>
                </a:solidFill>
                <a:effectLst/>
                <a:uLnTx/>
                <a:uFillTx/>
                <a:latin typeface="Arial"/>
                <a:ea typeface="+mn-ea"/>
                <a:cs typeface="+mn-cs"/>
              </a:rPr>
              <a:t>Điều</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kiện</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tiên</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quyết</a:t>
            </a:r>
            <a:r>
              <a:rPr kumimoji="0" lang="en-US" sz="1800" b="1" i="0" u="none" strike="noStrike" kern="0" cap="none" spc="0" normalizeH="0" baseline="0" noProof="0" dirty="0">
                <a:ln>
                  <a:noFill/>
                </a:ln>
                <a:solidFill>
                  <a:srgbClr val="FFFFFF"/>
                </a:solidFill>
                <a:effectLst/>
                <a:uLnTx/>
                <a:uFillTx/>
                <a:latin typeface="Arial"/>
                <a:ea typeface="+mn-ea"/>
                <a:cs typeface="+mn-cs"/>
              </a:rPr>
              <a:t> </a:t>
            </a:r>
            <a:r>
              <a:rPr kumimoji="0" lang="en-US" sz="1800" b="1" i="0" u="none" strike="noStrike" kern="0" cap="none" spc="0" normalizeH="0" baseline="0" noProof="0" dirty="0" err="1">
                <a:ln>
                  <a:noFill/>
                </a:ln>
                <a:solidFill>
                  <a:srgbClr val="FFFFFF"/>
                </a:solidFill>
                <a:effectLst/>
                <a:uLnTx/>
                <a:uFillTx/>
                <a:latin typeface="Arial"/>
                <a:ea typeface="+mn-ea"/>
                <a:cs typeface="+mn-cs"/>
              </a:rPr>
              <a:t>để</a:t>
            </a:r>
            <a:r>
              <a:rPr kumimoji="0" lang="en-US" sz="1800" b="1" i="0" u="none" strike="noStrike" kern="0" cap="none" spc="0" normalizeH="0" baseline="0" noProof="0" dirty="0">
                <a:ln>
                  <a:noFill/>
                </a:ln>
                <a:solidFill>
                  <a:srgbClr val="FFFFFF"/>
                </a:solidFill>
                <a:effectLst/>
                <a:uLnTx/>
                <a:uFillTx/>
                <a:latin typeface="Arial"/>
                <a:ea typeface="+mn-ea"/>
                <a:cs typeface="+mn-cs"/>
              </a:rPr>
              <a:t> di </a:t>
            </a:r>
            <a:r>
              <a:rPr kumimoji="0" lang="en-US" sz="1800" b="1" i="0" u="none" strike="noStrike" kern="0" cap="none" spc="0" normalizeH="0" baseline="0" noProof="0" dirty="0" err="1">
                <a:ln>
                  <a:noFill/>
                </a:ln>
                <a:solidFill>
                  <a:srgbClr val="FFFFFF"/>
                </a:solidFill>
                <a:effectLst/>
                <a:uLnTx/>
                <a:uFillTx/>
                <a:latin typeface="Arial"/>
                <a:ea typeface="+mn-ea"/>
                <a:cs typeface="+mn-cs"/>
              </a:rPr>
              <a:t>chuyển</a:t>
            </a: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A5D17120-5ECA-2B65-9279-F849757CCD8F}"/>
              </a:ext>
            </a:extLst>
          </p:cNvPr>
          <p:cNvSpPr/>
          <p:nvPr/>
        </p:nvSpPr>
        <p:spPr bwMode="gray">
          <a:xfrm>
            <a:off x="3828627" y="2009131"/>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802E5F9-7EBC-FAAC-6C98-C18674C8407B}"/>
              </a:ext>
            </a:extLst>
          </p:cNvPr>
          <p:cNvSpPr/>
          <p:nvPr/>
        </p:nvSpPr>
        <p:spPr bwMode="gray">
          <a:xfrm>
            <a:off x="3828627" y="2979629"/>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B7F45773-191A-997D-B595-89954B56CF9F}"/>
              </a:ext>
            </a:extLst>
          </p:cNvPr>
          <p:cNvSpPr/>
          <p:nvPr/>
        </p:nvSpPr>
        <p:spPr bwMode="gray">
          <a:xfrm>
            <a:off x="3828627" y="3950129"/>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94BA4978-65B8-5F29-FA2B-3EC68DAEFBE1}"/>
              </a:ext>
            </a:extLst>
          </p:cNvPr>
          <p:cNvSpPr/>
          <p:nvPr/>
        </p:nvSpPr>
        <p:spPr bwMode="gray">
          <a:xfrm>
            <a:off x="3828627" y="4920627"/>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8D0727E-4B0C-C2A6-4CDC-CA9787AD719C}"/>
              </a:ext>
            </a:extLst>
          </p:cNvPr>
          <p:cNvSpPr/>
          <p:nvPr/>
        </p:nvSpPr>
        <p:spPr bwMode="gray">
          <a:xfrm>
            <a:off x="8254395" y="1495816"/>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E3C80A28-637F-8386-E9AE-651B77454016}"/>
              </a:ext>
            </a:extLst>
          </p:cNvPr>
          <p:cNvSpPr/>
          <p:nvPr/>
        </p:nvSpPr>
        <p:spPr bwMode="gray">
          <a:xfrm>
            <a:off x="8254395" y="5362923"/>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22543EA-325E-8EF6-E468-7A8D00333D0B}"/>
              </a:ext>
            </a:extLst>
          </p:cNvPr>
          <p:cNvSpPr/>
          <p:nvPr/>
        </p:nvSpPr>
        <p:spPr bwMode="gray">
          <a:xfrm>
            <a:off x="8254395" y="2466315"/>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0C63D326-6A1D-CA24-5787-373207E22799}"/>
              </a:ext>
            </a:extLst>
          </p:cNvPr>
          <p:cNvSpPr/>
          <p:nvPr/>
        </p:nvSpPr>
        <p:spPr bwMode="gray">
          <a:xfrm>
            <a:off x="8254395" y="4407311"/>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1C594966-DAD5-D6B0-B9DE-4F38F4BAD716}"/>
              </a:ext>
            </a:extLst>
          </p:cNvPr>
          <p:cNvSpPr/>
          <p:nvPr/>
        </p:nvSpPr>
        <p:spPr bwMode="gray">
          <a:xfrm>
            <a:off x="8254395" y="3436813"/>
            <a:ext cx="103293" cy="738849"/>
          </a:xfrm>
          <a:prstGeom prst="rect">
            <a:avLst/>
          </a:prstGeom>
          <a:solidFill>
            <a:srgbClr val="0070C0">
              <a:lumMod val="20000"/>
              <a:lumOff val="80000"/>
            </a:srgbClr>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4" name="Freeform 5">
            <a:extLst>
              <a:ext uri="{FF2B5EF4-FFF2-40B4-BE49-F238E27FC236}">
                <a16:creationId xmlns:a16="http://schemas.microsoft.com/office/drawing/2014/main" id="{A138D1DE-B91C-36B3-6BF8-12C5D0F5B9DB}"/>
              </a:ext>
            </a:extLst>
          </p:cNvPr>
          <p:cNvSpPr/>
          <p:nvPr/>
        </p:nvSpPr>
        <p:spPr>
          <a:xfrm>
            <a:off x="6096000" y="1872488"/>
            <a:ext cx="2153265" cy="1976284"/>
          </a:xfrm>
          <a:custGeom>
            <a:avLst/>
            <a:gdLst>
              <a:gd name="connsiteX0" fmla="*/ 2153265 w 2153265"/>
              <a:gd name="connsiteY0" fmla="*/ 0 h 1976284"/>
              <a:gd name="connsiteX1" fmla="*/ 1691148 w 2153265"/>
              <a:gd name="connsiteY1" fmla="*/ 0 h 1976284"/>
              <a:gd name="connsiteX2" fmla="*/ 0 w 2153265"/>
              <a:gd name="connsiteY2" fmla="*/ 1976284 h 1976284"/>
            </a:gdLst>
            <a:ahLst/>
            <a:cxnLst>
              <a:cxn ang="0">
                <a:pos x="connsiteX0" y="connsiteY0"/>
              </a:cxn>
              <a:cxn ang="0">
                <a:pos x="connsiteX1" y="connsiteY1"/>
              </a:cxn>
              <a:cxn ang="0">
                <a:pos x="connsiteX2" y="connsiteY2"/>
              </a:cxn>
            </a:cxnLst>
            <a:rect l="l" t="t" r="r" b="b"/>
            <a:pathLst>
              <a:path w="2153265" h="1976284">
                <a:moveTo>
                  <a:pt x="2153265" y="0"/>
                </a:moveTo>
                <a:lnTo>
                  <a:pt x="1691148" y="0"/>
                </a:lnTo>
                <a:lnTo>
                  <a:pt x="0" y="1976284"/>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35" name="Straight Connector 34">
            <a:extLst>
              <a:ext uri="{FF2B5EF4-FFF2-40B4-BE49-F238E27FC236}">
                <a16:creationId xmlns:a16="http://schemas.microsoft.com/office/drawing/2014/main" id="{9FB66310-C472-B385-9813-0E17B21EB476}"/>
              </a:ext>
            </a:extLst>
          </p:cNvPr>
          <p:cNvCxnSpPr>
            <a:stCxn id="33" idx="1"/>
          </p:cNvCxnSpPr>
          <p:nvPr/>
        </p:nvCxnSpPr>
        <p:spPr>
          <a:xfrm flipH="1">
            <a:off x="6096001" y="3806238"/>
            <a:ext cx="2158394" cy="28067"/>
          </a:xfrm>
          <a:prstGeom prst="line">
            <a:avLst/>
          </a:prstGeom>
          <a:noFill/>
          <a:ln w="25400" cap="flat" cmpd="sng" algn="ctr">
            <a:solidFill>
              <a:srgbClr val="002060">
                <a:lumMod val="60000"/>
                <a:lumOff val="40000"/>
              </a:srgbClr>
            </a:solidFill>
            <a:prstDash val="solid"/>
            <a:headEnd type="triangle" w="lg" len="lg"/>
          </a:ln>
          <a:effectLst/>
        </p:spPr>
      </p:cxnSp>
      <p:sp>
        <p:nvSpPr>
          <p:cNvPr id="36" name="Freeform 79">
            <a:extLst>
              <a:ext uri="{FF2B5EF4-FFF2-40B4-BE49-F238E27FC236}">
                <a16:creationId xmlns:a16="http://schemas.microsoft.com/office/drawing/2014/main" id="{9895B276-CEA8-77C3-03FA-212A66CAD584}"/>
              </a:ext>
            </a:extLst>
          </p:cNvPr>
          <p:cNvSpPr/>
          <p:nvPr/>
        </p:nvSpPr>
        <p:spPr>
          <a:xfrm flipV="1">
            <a:off x="6096000" y="3848772"/>
            <a:ext cx="2153265" cy="1883577"/>
          </a:xfrm>
          <a:custGeom>
            <a:avLst/>
            <a:gdLst>
              <a:gd name="connsiteX0" fmla="*/ 2153265 w 2153265"/>
              <a:gd name="connsiteY0" fmla="*/ 0 h 1976284"/>
              <a:gd name="connsiteX1" fmla="*/ 1691148 w 2153265"/>
              <a:gd name="connsiteY1" fmla="*/ 0 h 1976284"/>
              <a:gd name="connsiteX2" fmla="*/ 0 w 2153265"/>
              <a:gd name="connsiteY2" fmla="*/ 1976284 h 1976284"/>
            </a:gdLst>
            <a:ahLst/>
            <a:cxnLst>
              <a:cxn ang="0">
                <a:pos x="connsiteX0" y="connsiteY0"/>
              </a:cxn>
              <a:cxn ang="0">
                <a:pos x="connsiteX1" y="connsiteY1"/>
              </a:cxn>
              <a:cxn ang="0">
                <a:pos x="connsiteX2" y="connsiteY2"/>
              </a:cxn>
            </a:cxnLst>
            <a:rect l="l" t="t" r="r" b="b"/>
            <a:pathLst>
              <a:path w="2153265" h="1976284">
                <a:moveTo>
                  <a:pt x="2153265" y="0"/>
                </a:moveTo>
                <a:lnTo>
                  <a:pt x="1691148" y="0"/>
                </a:lnTo>
                <a:lnTo>
                  <a:pt x="0" y="1976284"/>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7" name="Freeform 18">
            <a:extLst>
              <a:ext uri="{FF2B5EF4-FFF2-40B4-BE49-F238E27FC236}">
                <a16:creationId xmlns:a16="http://schemas.microsoft.com/office/drawing/2014/main" id="{D901E3E9-B306-77C5-A191-1D895D7A48A7}"/>
              </a:ext>
            </a:extLst>
          </p:cNvPr>
          <p:cNvSpPr/>
          <p:nvPr/>
        </p:nvSpPr>
        <p:spPr>
          <a:xfrm>
            <a:off x="6105832" y="2836050"/>
            <a:ext cx="2143433" cy="1012722"/>
          </a:xfrm>
          <a:custGeom>
            <a:avLst/>
            <a:gdLst>
              <a:gd name="connsiteX0" fmla="*/ 2143433 w 2143433"/>
              <a:gd name="connsiteY0" fmla="*/ 0 h 1012722"/>
              <a:gd name="connsiteX1" fmla="*/ 1691149 w 2143433"/>
              <a:gd name="connsiteY1" fmla="*/ 0 h 1012722"/>
              <a:gd name="connsiteX2" fmla="*/ 0 w 2143433"/>
              <a:gd name="connsiteY2" fmla="*/ 1012722 h 1012722"/>
            </a:gdLst>
            <a:ahLst/>
            <a:cxnLst>
              <a:cxn ang="0">
                <a:pos x="connsiteX0" y="connsiteY0"/>
              </a:cxn>
              <a:cxn ang="0">
                <a:pos x="connsiteX1" y="connsiteY1"/>
              </a:cxn>
              <a:cxn ang="0">
                <a:pos x="connsiteX2" y="connsiteY2"/>
              </a:cxn>
            </a:cxnLst>
            <a:rect l="l" t="t" r="r" b="b"/>
            <a:pathLst>
              <a:path w="2143433" h="1012722">
                <a:moveTo>
                  <a:pt x="2143433" y="0"/>
                </a:moveTo>
                <a:lnTo>
                  <a:pt x="1691149" y="0"/>
                </a:lnTo>
                <a:lnTo>
                  <a:pt x="0" y="1012722"/>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8" name="Freeform 80">
            <a:extLst>
              <a:ext uri="{FF2B5EF4-FFF2-40B4-BE49-F238E27FC236}">
                <a16:creationId xmlns:a16="http://schemas.microsoft.com/office/drawing/2014/main" id="{0B6DFA78-A518-99CD-F02D-16BB296D9F42}"/>
              </a:ext>
            </a:extLst>
          </p:cNvPr>
          <p:cNvSpPr/>
          <p:nvPr/>
        </p:nvSpPr>
        <p:spPr>
          <a:xfrm flipV="1">
            <a:off x="6105832" y="3827170"/>
            <a:ext cx="2143433" cy="963390"/>
          </a:xfrm>
          <a:custGeom>
            <a:avLst/>
            <a:gdLst>
              <a:gd name="connsiteX0" fmla="*/ 2143433 w 2143433"/>
              <a:gd name="connsiteY0" fmla="*/ 0 h 1012722"/>
              <a:gd name="connsiteX1" fmla="*/ 1691149 w 2143433"/>
              <a:gd name="connsiteY1" fmla="*/ 0 h 1012722"/>
              <a:gd name="connsiteX2" fmla="*/ 0 w 2143433"/>
              <a:gd name="connsiteY2" fmla="*/ 1012722 h 1012722"/>
            </a:gdLst>
            <a:ahLst/>
            <a:cxnLst>
              <a:cxn ang="0">
                <a:pos x="connsiteX0" y="connsiteY0"/>
              </a:cxn>
              <a:cxn ang="0">
                <a:pos x="connsiteX1" y="connsiteY1"/>
              </a:cxn>
              <a:cxn ang="0">
                <a:pos x="connsiteX2" y="connsiteY2"/>
              </a:cxn>
            </a:cxnLst>
            <a:rect l="l" t="t" r="r" b="b"/>
            <a:pathLst>
              <a:path w="2143433" h="1012722">
                <a:moveTo>
                  <a:pt x="2143433" y="0"/>
                </a:moveTo>
                <a:lnTo>
                  <a:pt x="1691149" y="0"/>
                </a:lnTo>
                <a:lnTo>
                  <a:pt x="0" y="1012722"/>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9" name="Freeform 81">
            <a:extLst>
              <a:ext uri="{FF2B5EF4-FFF2-40B4-BE49-F238E27FC236}">
                <a16:creationId xmlns:a16="http://schemas.microsoft.com/office/drawing/2014/main" id="{EF3D642B-6BBA-AC42-5642-FC511524FE04}"/>
              </a:ext>
            </a:extLst>
          </p:cNvPr>
          <p:cNvSpPr/>
          <p:nvPr/>
        </p:nvSpPr>
        <p:spPr>
          <a:xfrm flipH="1">
            <a:off x="3920823" y="2378554"/>
            <a:ext cx="2153265" cy="1470217"/>
          </a:xfrm>
          <a:custGeom>
            <a:avLst/>
            <a:gdLst>
              <a:gd name="connsiteX0" fmla="*/ 2153265 w 2153265"/>
              <a:gd name="connsiteY0" fmla="*/ 0 h 1976284"/>
              <a:gd name="connsiteX1" fmla="*/ 1691148 w 2153265"/>
              <a:gd name="connsiteY1" fmla="*/ 0 h 1976284"/>
              <a:gd name="connsiteX2" fmla="*/ 0 w 2153265"/>
              <a:gd name="connsiteY2" fmla="*/ 1976284 h 1976284"/>
            </a:gdLst>
            <a:ahLst/>
            <a:cxnLst>
              <a:cxn ang="0">
                <a:pos x="connsiteX0" y="connsiteY0"/>
              </a:cxn>
              <a:cxn ang="0">
                <a:pos x="connsiteX1" y="connsiteY1"/>
              </a:cxn>
              <a:cxn ang="0">
                <a:pos x="connsiteX2" y="connsiteY2"/>
              </a:cxn>
            </a:cxnLst>
            <a:rect l="l" t="t" r="r" b="b"/>
            <a:pathLst>
              <a:path w="2153265" h="1976284">
                <a:moveTo>
                  <a:pt x="2153265" y="0"/>
                </a:moveTo>
                <a:lnTo>
                  <a:pt x="1691148" y="0"/>
                </a:lnTo>
                <a:lnTo>
                  <a:pt x="0" y="1976284"/>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0" name="Freeform 82">
            <a:extLst>
              <a:ext uri="{FF2B5EF4-FFF2-40B4-BE49-F238E27FC236}">
                <a16:creationId xmlns:a16="http://schemas.microsoft.com/office/drawing/2014/main" id="{678DE65C-CDC0-21F4-B223-F1D7D654C5CC}"/>
              </a:ext>
            </a:extLst>
          </p:cNvPr>
          <p:cNvSpPr/>
          <p:nvPr/>
        </p:nvSpPr>
        <p:spPr>
          <a:xfrm flipH="1" flipV="1">
            <a:off x="3920822" y="3852763"/>
            <a:ext cx="2153265" cy="1437288"/>
          </a:xfrm>
          <a:custGeom>
            <a:avLst/>
            <a:gdLst>
              <a:gd name="connsiteX0" fmla="*/ 2153265 w 2153265"/>
              <a:gd name="connsiteY0" fmla="*/ 0 h 1976284"/>
              <a:gd name="connsiteX1" fmla="*/ 1691148 w 2153265"/>
              <a:gd name="connsiteY1" fmla="*/ 0 h 1976284"/>
              <a:gd name="connsiteX2" fmla="*/ 0 w 2153265"/>
              <a:gd name="connsiteY2" fmla="*/ 1976284 h 1976284"/>
            </a:gdLst>
            <a:ahLst/>
            <a:cxnLst>
              <a:cxn ang="0">
                <a:pos x="connsiteX0" y="connsiteY0"/>
              </a:cxn>
              <a:cxn ang="0">
                <a:pos x="connsiteX1" y="connsiteY1"/>
              </a:cxn>
              <a:cxn ang="0">
                <a:pos x="connsiteX2" y="connsiteY2"/>
              </a:cxn>
            </a:cxnLst>
            <a:rect l="l" t="t" r="r" b="b"/>
            <a:pathLst>
              <a:path w="2153265" h="1976284">
                <a:moveTo>
                  <a:pt x="2153265" y="0"/>
                </a:moveTo>
                <a:lnTo>
                  <a:pt x="1691148" y="0"/>
                </a:lnTo>
                <a:lnTo>
                  <a:pt x="0" y="1976284"/>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1" name="Freeform 83">
            <a:extLst>
              <a:ext uri="{FF2B5EF4-FFF2-40B4-BE49-F238E27FC236}">
                <a16:creationId xmlns:a16="http://schemas.microsoft.com/office/drawing/2014/main" id="{4D9A8FFA-ED27-09B4-9A66-A93C6417DEDC}"/>
              </a:ext>
            </a:extLst>
          </p:cNvPr>
          <p:cNvSpPr/>
          <p:nvPr/>
        </p:nvSpPr>
        <p:spPr>
          <a:xfrm flipH="1">
            <a:off x="3920820" y="3342411"/>
            <a:ext cx="2143433" cy="510353"/>
          </a:xfrm>
          <a:custGeom>
            <a:avLst/>
            <a:gdLst>
              <a:gd name="connsiteX0" fmla="*/ 2143433 w 2143433"/>
              <a:gd name="connsiteY0" fmla="*/ 0 h 1012722"/>
              <a:gd name="connsiteX1" fmla="*/ 1691149 w 2143433"/>
              <a:gd name="connsiteY1" fmla="*/ 0 h 1012722"/>
              <a:gd name="connsiteX2" fmla="*/ 0 w 2143433"/>
              <a:gd name="connsiteY2" fmla="*/ 1012722 h 1012722"/>
            </a:gdLst>
            <a:ahLst/>
            <a:cxnLst>
              <a:cxn ang="0">
                <a:pos x="connsiteX0" y="connsiteY0"/>
              </a:cxn>
              <a:cxn ang="0">
                <a:pos x="connsiteX1" y="connsiteY1"/>
              </a:cxn>
              <a:cxn ang="0">
                <a:pos x="connsiteX2" y="connsiteY2"/>
              </a:cxn>
            </a:cxnLst>
            <a:rect l="l" t="t" r="r" b="b"/>
            <a:pathLst>
              <a:path w="2143433" h="1012722">
                <a:moveTo>
                  <a:pt x="2143433" y="0"/>
                </a:moveTo>
                <a:lnTo>
                  <a:pt x="1691149" y="0"/>
                </a:lnTo>
                <a:lnTo>
                  <a:pt x="0" y="1012722"/>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2" name="Freeform 84">
            <a:extLst>
              <a:ext uri="{FF2B5EF4-FFF2-40B4-BE49-F238E27FC236}">
                <a16:creationId xmlns:a16="http://schemas.microsoft.com/office/drawing/2014/main" id="{A55FEE20-6CF7-C402-7DC1-88FADE29FD4B}"/>
              </a:ext>
            </a:extLst>
          </p:cNvPr>
          <p:cNvSpPr/>
          <p:nvPr/>
        </p:nvSpPr>
        <p:spPr>
          <a:xfrm flipH="1" flipV="1">
            <a:off x="3920820" y="3850205"/>
            <a:ext cx="2143433" cy="510353"/>
          </a:xfrm>
          <a:custGeom>
            <a:avLst/>
            <a:gdLst>
              <a:gd name="connsiteX0" fmla="*/ 2143433 w 2143433"/>
              <a:gd name="connsiteY0" fmla="*/ 0 h 1012722"/>
              <a:gd name="connsiteX1" fmla="*/ 1691149 w 2143433"/>
              <a:gd name="connsiteY1" fmla="*/ 0 h 1012722"/>
              <a:gd name="connsiteX2" fmla="*/ 0 w 2143433"/>
              <a:gd name="connsiteY2" fmla="*/ 1012722 h 1012722"/>
            </a:gdLst>
            <a:ahLst/>
            <a:cxnLst>
              <a:cxn ang="0">
                <a:pos x="connsiteX0" y="connsiteY0"/>
              </a:cxn>
              <a:cxn ang="0">
                <a:pos x="connsiteX1" y="connsiteY1"/>
              </a:cxn>
              <a:cxn ang="0">
                <a:pos x="connsiteX2" y="connsiteY2"/>
              </a:cxn>
            </a:cxnLst>
            <a:rect l="l" t="t" r="r" b="b"/>
            <a:pathLst>
              <a:path w="2143433" h="1012722">
                <a:moveTo>
                  <a:pt x="2143433" y="0"/>
                </a:moveTo>
                <a:lnTo>
                  <a:pt x="1691149" y="0"/>
                </a:lnTo>
                <a:lnTo>
                  <a:pt x="0" y="1012722"/>
                </a:lnTo>
              </a:path>
            </a:pathLst>
          </a:custGeom>
          <a:noFill/>
          <a:ln w="25400" cap="flat" cmpd="sng" algn="ctr">
            <a:solidFill>
              <a:srgbClr val="002060">
                <a:lumMod val="60000"/>
                <a:lumOff val="40000"/>
              </a:srgbClr>
            </a:solidFill>
            <a:prstDash val="solid"/>
            <a:headEnd type="triangle" w="lg" len="lg"/>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3" name="Oval 42">
            <a:extLst>
              <a:ext uri="{FF2B5EF4-FFF2-40B4-BE49-F238E27FC236}">
                <a16:creationId xmlns:a16="http://schemas.microsoft.com/office/drawing/2014/main" id="{929975EF-81C9-2532-D7F5-89B9D3FC608F}"/>
              </a:ext>
            </a:extLst>
          </p:cNvPr>
          <p:cNvSpPr/>
          <p:nvPr/>
        </p:nvSpPr>
        <p:spPr bwMode="gray">
          <a:xfrm>
            <a:off x="4944362" y="2682667"/>
            <a:ext cx="2303276" cy="2303276"/>
          </a:xfrm>
          <a:prstGeom prst="ellipse">
            <a:avLst/>
          </a:prstGeom>
          <a:solidFill>
            <a:srgbClr val="002060"/>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332A4742-C61F-002B-9B99-C2A2181A095D}"/>
              </a:ext>
            </a:extLst>
          </p:cNvPr>
          <p:cNvGrpSpPr/>
          <p:nvPr/>
        </p:nvGrpSpPr>
        <p:grpSpPr bwMode="gray">
          <a:xfrm>
            <a:off x="5492163" y="3068844"/>
            <a:ext cx="1507472" cy="1441775"/>
            <a:chOff x="3943845" y="3088082"/>
            <a:chExt cx="1507472" cy="1441775"/>
          </a:xfrm>
        </p:grpSpPr>
        <p:sp>
          <p:nvSpPr>
            <p:cNvPr id="45" name="Freeform 947">
              <a:extLst>
                <a:ext uri="{FF2B5EF4-FFF2-40B4-BE49-F238E27FC236}">
                  <a16:creationId xmlns:a16="http://schemas.microsoft.com/office/drawing/2014/main" id="{F2DAB216-7E5B-D01E-18BE-8CDE47D57485}"/>
                </a:ext>
              </a:extLst>
            </p:cNvPr>
            <p:cNvSpPr>
              <a:spLocks/>
            </p:cNvSpPr>
            <p:nvPr/>
          </p:nvSpPr>
          <p:spPr bwMode="gray">
            <a:xfrm>
              <a:off x="3943845" y="3552842"/>
              <a:ext cx="722587" cy="247645"/>
            </a:xfrm>
            <a:custGeom>
              <a:avLst/>
              <a:gdLst>
                <a:gd name="T0" fmla="*/ 1193 w 90"/>
                <a:gd name="T1" fmla="*/ 172 h 31"/>
                <a:gd name="T2" fmla="*/ 1020 w 90"/>
                <a:gd name="T3" fmla="*/ 0 h 31"/>
                <a:gd name="T4" fmla="*/ 173 w 90"/>
                <a:gd name="T5" fmla="*/ 0 h 31"/>
                <a:gd name="T6" fmla="*/ 0 w 90"/>
                <a:gd name="T7" fmla="*/ 172 h 31"/>
                <a:gd name="T8" fmla="*/ 0 w 90"/>
                <a:gd name="T9" fmla="*/ 316 h 31"/>
                <a:gd name="T10" fmla="*/ 783 w 90"/>
                <a:gd name="T11" fmla="*/ 316 h 31"/>
                <a:gd name="T12" fmla="*/ 873 w 90"/>
                <a:gd name="T13" fmla="*/ 405 h 31"/>
                <a:gd name="T14" fmla="*/ 873 w 90"/>
                <a:gd name="T15" fmla="*/ 405 h 31"/>
                <a:gd name="T16" fmla="*/ 1193 w 90"/>
                <a:gd name="T17" fmla="*/ 339 h 31"/>
                <a:gd name="T18" fmla="*/ 1193 w 90"/>
                <a:gd name="T19" fmla="*/ 172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31"/>
                <a:gd name="T32" fmla="*/ 90 w 90"/>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31">
                  <a:moveTo>
                    <a:pt x="90" y="13"/>
                  </a:moveTo>
                  <a:cubicBezTo>
                    <a:pt x="90" y="5"/>
                    <a:pt x="84" y="0"/>
                    <a:pt x="77" y="0"/>
                  </a:cubicBezTo>
                  <a:cubicBezTo>
                    <a:pt x="13" y="0"/>
                    <a:pt x="13" y="0"/>
                    <a:pt x="13" y="0"/>
                  </a:cubicBezTo>
                  <a:cubicBezTo>
                    <a:pt x="6" y="0"/>
                    <a:pt x="0" y="5"/>
                    <a:pt x="0" y="13"/>
                  </a:cubicBezTo>
                  <a:cubicBezTo>
                    <a:pt x="0" y="24"/>
                    <a:pt x="0" y="24"/>
                    <a:pt x="0" y="24"/>
                  </a:cubicBezTo>
                  <a:cubicBezTo>
                    <a:pt x="59" y="24"/>
                    <a:pt x="59" y="24"/>
                    <a:pt x="59" y="24"/>
                  </a:cubicBezTo>
                  <a:cubicBezTo>
                    <a:pt x="63" y="24"/>
                    <a:pt x="66" y="27"/>
                    <a:pt x="66" y="31"/>
                  </a:cubicBezTo>
                  <a:cubicBezTo>
                    <a:pt x="66" y="31"/>
                    <a:pt x="66" y="31"/>
                    <a:pt x="66" y="31"/>
                  </a:cubicBezTo>
                  <a:cubicBezTo>
                    <a:pt x="74" y="30"/>
                    <a:pt x="82" y="28"/>
                    <a:pt x="90" y="26"/>
                  </a:cubicBezTo>
                  <a:lnTo>
                    <a:pt x="90" y="13"/>
                  </a:ln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46" name="Freeform 948">
              <a:extLst>
                <a:ext uri="{FF2B5EF4-FFF2-40B4-BE49-F238E27FC236}">
                  <a16:creationId xmlns:a16="http://schemas.microsoft.com/office/drawing/2014/main" id="{8482316C-4B58-E065-3780-FDA5C349DAB8}"/>
                </a:ext>
              </a:extLst>
            </p:cNvPr>
            <p:cNvSpPr>
              <a:spLocks/>
            </p:cNvSpPr>
            <p:nvPr/>
          </p:nvSpPr>
          <p:spPr bwMode="gray">
            <a:xfrm>
              <a:off x="3943845" y="3759780"/>
              <a:ext cx="722587" cy="770077"/>
            </a:xfrm>
            <a:custGeom>
              <a:avLst/>
              <a:gdLst>
                <a:gd name="T0" fmla="*/ 173 w 90"/>
                <a:gd name="T1" fmla="*/ 1270 h 96"/>
                <a:gd name="T2" fmla="*/ 1020 w 90"/>
                <a:gd name="T3" fmla="*/ 1270 h 96"/>
                <a:gd name="T4" fmla="*/ 1193 w 90"/>
                <a:gd name="T5" fmla="*/ 1095 h 96"/>
                <a:gd name="T6" fmla="*/ 1193 w 90"/>
                <a:gd name="T7" fmla="*/ 0 h 96"/>
                <a:gd name="T8" fmla="*/ 873 w 90"/>
                <a:gd name="T9" fmla="*/ 66 h 96"/>
                <a:gd name="T10" fmla="*/ 873 w 90"/>
                <a:gd name="T11" fmla="*/ 832 h 96"/>
                <a:gd name="T12" fmla="*/ 783 w 90"/>
                <a:gd name="T13" fmla="*/ 910 h 96"/>
                <a:gd name="T14" fmla="*/ 0 w 90"/>
                <a:gd name="T15" fmla="*/ 910 h 96"/>
                <a:gd name="T16" fmla="*/ 0 w 90"/>
                <a:gd name="T17" fmla="*/ 1095 h 96"/>
                <a:gd name="T18" fmla="*/ 173 w 90"/>
                <a:gd name="T19" fmla="*/ 127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96"/>
                <a:gd name="T32" fmla="*/ 90 w 90"/>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96">
                  <a:moveTo>
                    <a:pt x="13" y="96"/>
                  </a:moveTo>
                  <a:cubicBezTo>
                    <a:pt x="77" y="96"/>
                    <a:pt x="77" y="96"/>
                    <a:pt x="77" y="96"/>
                  </a:cubicBezTo>
                  <a:cubicBezTo>
                    <a:pt x="84" y="96"/>
                    <a:pt x="90" y="90"/>
                    <a:pt x="90" y="83"/>
                  </a:cubicBezTo>
                  <a:cubicBezTo>
                    <a:pt x="90" y="0"/>
                    <a:pt x="90" y="0"/>
                    <a:pt x="90" y="0"/>
                  </a:cubicBezTo>
                  <a:cubicBezTo>
                    <a:pt x="82" y="2"/>
                    <a:pt x="74" y="4"/>
                    <a:pt x="66" y="5"/>
                  </a:cubicBezTo>
                  <a:cubicBezTo>
                    <a:pt x="66" y="63"/>
                    <a:pt x="66" y="63"/>
                    <a:pt x="66" y="63"/>
                  </a:cubicBezTo>
                  <a:cubicBezTo>
                    <a:pt x="66" y="67"/>
                    <a:pt x="63" y="69"/>
                    <a:pt x="59" y="69"/>
                  </a:cubicBezTo>
                  <a:cubicBezTo>
                    <a:pt x="0" y="69"/>
                    <a:pt x="0" y="69"/>
                    <a:pt x="0" y="69"/>
                  </a:cubicBezTo>
                  <a:cubicBezTo>
                    <a:pt x="0" y="83"/>
                    <a:pt x="0" y="83"/>
                    <a:pt x="0" y="83"/>
                  </a:cubicBezTo>
                  <a:cubicBezTo>
                    <a:pt x="0" y="90"/>
                    <a:pt x="6" y="96"/>
                    <a:pt x="13" y="96"/>
                  </a:cubicBez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47" name="Freeform 949">
              <a:extLst>
                <a:ext uri="{FF2B5EF4-FFF2-40B4-BE49-F238E27FC236}">
                  <a16:creationId xmlns:a16="http://schemas.microsoft.com/office/drawing/2014/main" id="{8FBBC413-99EC-C243-F17C-368983B3B1B4}"/>
                </a:ext>
              </a:extLst>
            </p:cNvPr>
            <p:cNvSpPr>
              <a:spLocks noEditPoints="1"/>
            </p:cNvSpPr>
            <p:nvPr/>
          </p:nvSpPr>
          <p:spPr bwMode="gray">
            <a:xfrm>
              <a:off x="4089720" y="3088082"/>
              <a:ext cx="424054" cy="393520"/>
            </a:xfrm>
            <a:custGeom>
              <a:avLst/>
              <a:gdLst>
                <a:gd name="T0" fmla="*/ 78 w 53"/>
                <a:gd name="T1" fmla="*/ 156 h 49"/>
                <a:gd name="T2" fmla="*/ 78 w 53"/>
                <a:gd name="T3" fmla="*/ 156 h 49"/>
                <a:gd name="T4" fmla="*/ 78 w 53"/>
                <a:gd name="T5" fmla="*/ 651 h 49"/>
                <a:gd name="T6" fmla="*/ 618 w 53"/>
                <a:gd name="T7" fmla="*/ 651 h 49"/>
                <a:gd name="T8" fmla="*/ 618 w 53"/>
                <a:gd name="T9" fmla="*/ 156 h 49"/>
                <a:gd name="T10" fmla="*/ 696 w 53"/>
                <a:gd name="T11" fmla="*/ 78 h 49"/>
                <a:gd name="T12" fmla="*/ 618 w 53"/>
                <a:gd name="T13" fmla="*/ 0 h 49"/>
                <a:gd name="T14" fmla="*/ 78 w 53"/>
                <a:gd name="T15" fmla="*/ 0 h 49"/>
                <a:gd name="T16" fmla="*/ 0 w 53"/>
                <a:gd name="T17" fmla="*/ 78 h 49"/>
                <a:gd name="T18" fmla="*/ 78 w 53"/>
                <a:gd name="T19" fmla="*/ 156 h 49"/>
                <a:gd name="T20" fmla="*/ 172 w 53"/>
                <a:gd name="T21" fmla="*/ 201 h 49"/>
                <a:gd name="T22" fmla="*/ 222 w 53"/>
                <a:gd name="T23" fmla="*/ 147 h 49"/>
                <a:gd name="T24" fmla="*/ 290 w 53"/>
                <a:gd name="T25" fmla="*/ 201 h 49"/>
                <a:gd name="T26" fmla="*/ 290 w 53"/>
                <a:gd name="T27" fmla="*/ 504 h 49"/>
                <a:gd name="T28" fmla="*/ 222 w 53"/>
                <a:gd name="T29" fmla="*/ 571 h 49"/>
                <a:gd name="T30" fmla="*/ 172 w 53"/>
                <a:gd name="T31" fmla="*/ 504 h 49"/>
                <a:gd name="T32" fmla="*/ 172 w 53"/>
                <a:gd name="T33" fmla="*/ 201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49"/>
                <a:gd name="T53" fmla="*/ 53 w 53"/>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49">
                  <a:moveTo>
                    <a:pt x="6" y="12"/>
                  </a:moveTo>
                  <a:cubicBezTo>
                    <a:pt x="6" y="12"/>
                    <a:pt x="6" y="12"/>
                    <a:pt x="6" y="12"/>
                  </a:cubicBezTo>
                  <a:cubicBezTo>
                    <a:pt x="6" y="49"/>
                    <a:pt x="6" y="49"/>
                    <a:pt x="6" y="49"/>
                  </a:cubicBezTo>
                  <a:cubicBezTo>
                    <a:pt x="47" y="49"/>
                    <a:pt x="47" y="49"/>
                    <a:pt x="47" y="49"/>
                  </a:cubicBezTo>
                  <a:cubicBezTo>
                    <a:pt x="47" y="12"/>
                    <a:pt x="47" y="12"/>
                    <a:pt x="47" y="12"/>
                  </a:cubicBezTo>
                  <a:cubicBezTo>
                    <a:pt x="50" y="12"/>
                    <a:pt x="53" y="9"/>
                    <a:pt x="53" y="6"/>
                  </a:cubicBezTo>
                  <a:cubicBezTo>
                    <a:pt x="53" y="3"/>
                    <a:pt x="50" y="0"/>
                    <a:pt x="47" y="0"/>
                  </a:cubicBezTo>
                  <a:cubicBezTo>
                    <a:pt x="6" y="0"/>
                    <a:pt x="6" y="0"/>
                    <a:pt x="6" y="0"/>
                  </a:cubicBezTo>
                  <a:cubicBezTo>
                    <a:pt x="3" y="0"/>
                    <a:pt x="0" y="3"/>
                    <a:pt x="0" y="6"/>
                  </a:cubicBezTo>
                  <a:cubicBezTo>
                    <a:pt x="0" y="9"/>
                    <a:pt x="3" y="12"/>
                    <a:pt x="6" y="12"/>
                  </a:cubicBezTo>
                  <a:close/>
                  <a:moveTo>
                    <a:pt x="13" y="15"/>
                  </a:moveTo>
                  <a:cubicBezTo>
                    <a:pt x="13" y="13"/>
                    <a:pt x="15" y="11"/>
                    <a:pt x="17" y="11"/>
                  </a:cubicBezTo>
                  <a:cubicBezTo>
                    <a:pt x="20" y="11"/>
                    <a:pt x="22" y="13"/>
                    <a:pt x="22" y="15"/>
                  </a:cubicBezTo>
                  <a:cubicBezTo>
                    <a:pt x="22" y="38"/>
                    <a:pt x="22" y="38"/>
                    <a:pt x="22" y="38"/>
                  </a:cubicBezTo>
                  <a:cubicBezTo>
                    <a:pt x="22" y="41"/>
                    <a:pt x="20" y="43"/>
                    <a:pt x="17" y="43"/>
                  </a:cubicBezTo>
                  <a:cubicBezTo>
                    <a:pt x="15" y="43"/>
                    <a:pt x="13" y="41"/>
                    <a:pt x="13" y="38"/>
                  </a:cubicBezTo>
                  <a:lnTo>
                    <a:pt x="13" y="15"/>
                  </a:ln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48" name="Freeform 950">
              <a:extLst>
                <a:ext uri="{FF2B5EF4-FFF2-40B4-BE49-F238E27FC236}">
                  <a16:creationId xmlns:a16="http://schemas.microsoft.com/office/drawing/2014/main" id="{00ED188F-2227-AD6D-EF41-2DEDEE60EFA1}"/>
                </a:ext>
              </a:extLst>
            </p:cNvPr>
            <p:cNvSpPr>
              <a:spLocks/>
            </p:cNvSpPr>
            <p:nvPr/>
          </p:nvSpPr>
          <p:spPr bwMode="gray">
            <a:xfrm>
              <a:off x="3943845" y="3987071"/>
              <a:ext cx="369775" cy="61063"/>
            </a:xfrm>
            <a:custGeom>
              <a:avLst/>
              <a:gdLst>
                <a:gd name="T0" fmla="*/ 611 w 46"/>
                <a:gd name="T1" fmla="*/ 45 h 8"/>
                <a:gd name="T2" fmla="*/ 562 w 46"/>
                <a:gd name="T3" fmla="*/ 0 h 8"/>
                <a:gd name="T4" fmla="*/ 0 w 46"/>
                <a:gd name="T5" fmla="*/ 0 h 8"/>
                <a:gd name="T6" fmla="*/ 0 w 46"/>
                <a:gd name="T7" fmla="*/ 90 h 8"/>
                <a:gd name="T8" fmla="*/ 562 w 46"/>
                <a:gd name="T9" fmla="*/ 90 h 8"/>
                <a:gd name="T10" fmla="*/ 611 w 46"/>
                <a:gd name="T11" fmla="*/ 45 h 8"/>
                <a:gd name="T12" fmla="*/ 0 60000 65536"/>
                <a:gd name="T13" fmla="*/ 0 60000 65536"/>
                <a:gd name="T14" fmla="*/ 0 60000 65536"/>
                <a:gd name="T15" fmla="*/ 0 60000 65536"/>
                <a:gd name="T16" fmla="*/ 0 60000 65536"/>
                <a:gd name="T17" fmla="*/ 0 60000 65536"/>
                <a:gd name="T18" fmla="*/ 0 w 46"/>
                <a:gd name="T19" fmla="*/ 0 h 8"/>
                <a:gd name="T20" fmla="*/ 46 w 46"/>
                <a:gd name="T21" fmla="*/ 8 h 8"/>
              </a:gdLst>
              <a:ahLst/>
              <a:cxnLst>
                <a:cxn ang="T12">
                  <a:pos x="T0" y="T1"/>
                </a:cxn>
                <a:cxn ang="T13">
                  <a:pos x="T2" y="T3"/>
                </a:cxn>
                <a:cxn ang="T14">
                  <a:pos x="T4" y="T5"/>
                </a:cxn>
                <a:cxn ang="T15">
                  <a:pos x="T6" y="T7"/>
                </a:cxn>
                <a:cxn ang="T16">
                  <a:pos x="T8" y="T9"/>
                </a:cxn>
                <a:cxn ang="T17">
                  <a:pos x="T10" y="T11"/>
                </a:cxn>
              </a:cxnLst>
              <a:rect l="T18" t="T19" r="T20" b="T21"/>
              <a:pathLst>
                <a:path w="46" h="8">
                  <a:moveTo>
                    <a:pt x="46" y="4"/>
                  </a:moveTo>
                  <a:cubicBezTo>
                    <a:pt x="46" y="2"/>
                    <a:pt x="44" y="0"/>
                    <a:pt x="42" y="0"/>
                  </a:cubicBezTo>
                  <a:cubicBezTo>
                    <a:pt x="0" y="0"/>
                    <a:pt x="0" y="0"/>
                    <a:pt x="0" y="0"/>
                  </a:cubicBezTo>
                  <a:cubicBezTo>
                    <a:pt x="0" y="8"/>
                    <a:pt x="0" y="8"/>
                    <a:pt x="0" y="8"/>
                  </a:cubicBezTo>
                  <a:cubicBezTo>
                    <a:pt x="42" y="8"/>
                    <a:pt x="42" y="8"/>
                    <a:pt x="42" y="8"/>
                  </a:cubicBezTo>
                  <a:cubicBezTo>
                    <a:pt x="44" y="8"/>
                    <a:pt x="46" y="6"/>
                    <a:pt x="46" y="4"/>
                  </a:cubicBez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49" name="Freeform 951">
              <a:extLst>
                <a:ext uri="{FF2B5EF4-FFF2-40B4-BE49-F238E27FC236}">
                  <a16:creationId xmlns:a16="http://schemas.microsoft.com/office/drawing/2014/main" id="{60B8699D-D62B-5306-D80B-64D7763E6A0A}"/>
                </a:ext>
              </a:extLst>
            </p:cNvPr>
            <p:cNvSpPr>
              <a:spLocks/>
            </p:cNvSpPr>
            <p:nvPr/>
          </p:nvSpPr>
          <p:spPr bwMode="gray">
            <a:xfrm>
              <a:off x="3943845" y="4112591"/>
              <a:ext cx="369775" cy="64455"/>
            </a:xfrm>
            <a:custGeom>
              <a:avLst/>
              <a:gdLst>
                <a:gd name="T0" fmla="*/ 611 w 46"/>
                <a:gd name="T1" fmla="*/ 57 h 8"/>
                <a:gd name="T2" fmla="*/ 562 w 46"/>
                <a:gd name="T3" fmla="*/ 0 h 8"/>
                <a:gd name="T4" fmla="*/ 0 w 46"/>
                <a:gd name="T5" fmla="*/ 0 h 8"/>
                <a:gd name="T6" fmla="*/ 0 w 46"/>
                <a:gd name="T7" fmla="*/ 107 h 8"/>
                <a:gd name="T8" fmla="*/ 562 w 46"/>
                <a:gd name="T9" fmla="*/ 107 h 8"/>
                <a:gd name="T10" fmla="*/ 611 w 46"/>
                <a:gd name="T11" fmla="*/ 57 h 8"/>
                <a:gd name="T12" fmla="*/ 0 60000 65536"/>
                <a:gd name="T13" fmla="*/ 0 60000 65536"/>
                <a:gd name="T14" fmla="*/ 0 60000 65536"/>
                <a:gd name="T15" fmla="*/ 0 60000 65536"/>
                <a:gd name="T16" fmla="*/ 0 60000 65536"/>
                <a:gd name="T17" fmla="*/ 0 60000 65536"/>
                <a:gd name="T18" fmla="*/ 0 w 46"/>
                <a:gd name="T19" fmla="*/ 0 h 8"/>
                <a:gd name="T20" fmla="*/ 46 w 46"/>
                <a:gd name="T21" fmla="*/ 8 h 8"/>
              </a:gdLst>
              <a:ahLst/>
              <a:cxnLst>
                <a:cxn ang="T12">
                  <a:pos x="T0" y="T1"/>
                </a:cxn>
                <a:cxn ang="T13">
                  <a:pos x="T2" y="T3"/>
                </a:cxn>
                <a:cxn ang="T14">
                  <a:pos x="T4" y="T5"/>
                </a:cxn>
                <a:cxn ang="T15">
                  <a:pos x="T6" y="T7"/>
                </a:cxn>
                <a:cxn ang="T16">
                  <a:pos x="T8" y="T9"/>
                </a:cxn>
                <a:cxn ang="T17">
                  <a:pos x="T10" y="T11"/>
                </a:cxn>
              </a:cxnLst>
              <a:rect l="T18" t="T19" r="T20" b="T21"/>
              <a:pathLst>
                <a:path w="46" h="8">
                  <a:moveTo>
                    <a:pt x="46" y="4"/>
                  </a:moveTo>
                  <a:cubicBezTo>
                    <a:pt x="46" y="2"/>
                    <a:pt x="44" y="0"/>
                    <a:pt x="42" y="0"/>
                  </a:cubicBezTo>
                  <a:cubicBezTo>
                    <a:pt x="0" y="0"/>
                    <a:pt x="0" y="0"/>
                    <a:pt x="0" y="0"/>
                  </a:cubicBezTo>
                  <a:cubicBezTo>
                    <a:pt x="0" y="8"/>
                    <a:pt x="0" y="8"/>
                    <a:pt x="0" y="8"/>
                  </a:cubicBezTo>
                  <a:cubicBezTo>
                    <a:pt x="42" y="8"/>
                    <a:pt x="42" y="8"/>
                    <a:pt x="42" y="8"/>
                  </a:cubicBezTo>
                  <a:cubicBezTo>
                    <a:pt x="44" y="8"/>
                    <a:pt x="46" y="6"/>
                    <a:pt x="46" y="4"/>
                  </a:cubicBez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grpSp>
          <p:nvGrpSpPr>
            <p:cNvPr id="50" name="Group 49">
              <a:extLst>
                <a:ext uri="{FF2B5EF4-FFF2-40B4-BE49-F238E27FC236}">
                  <a16:creationId xmlns:a16="http://schemas.microsoft.com/office/drawing/2014/main" id="{6C489DCD-2391-29A9-8EAE-5796D4DEFA13}"/>
                </a:ext>
              </a:extLst>
            </p:cNvPr>
            <p:cNvGrpSpPr/>
            <p:nvPr/>
          </p:nvGrpSpPr>
          <p:grpSpPr bwMode="gray">
            <a:xfrm rot="8100000">
              <a:off x="4481655" y="3489428"/>
              <a:ext cx="969662" cy="967434"/>
              <a:chOff x="12837206" y="1371167"/>
              <a:chExt cx="690563" cy="688975"/>
            </a:xfrm>
          </p:grpSpPr>
          <p:sp>
            <p:nvSpPr>
              <p:cNvPr id="52" name="Freeform 952">
                <a:extLst>
                  <a:ext uri="{FF2B5EF4-FFF2-40B4-BE49-F238E27FC236}">
                    <a16:creationId xmlns:a16="http://schemas.microsoft.com/office/drawing/2014/main" id="{6F7C7645-EF9A-46C8-CEF3-2A0FEBA7CB67}"/>
                  </a:ext>
                </a:extLst>
              </p:cNvPr>
              <p:cNvSpPr>
                <a:spLocks/>
              </p:cNvSpPr>
              <p:nvPr/>
            </p:nvSpPr>
            <p:spPr bwMode="gray">
              <a:xfrm>
                <a:off x="12987674" y="1479461"/>
                <a:ext cx="434975" cy="273050"/>
              </a:xfrm>
              <a:custGeom>
                <a:avLst/>
                <a:gdLst>
                  <a:gd name="T0" fmla="*/ 775 w 116"/>
                  <a:gd name="T1" fmla="*/ 393 h 73"/>
                  <a:gd name="T2" fmla="*/ 775 w 116"/>
                  <a:gd name="T3" fmla="*/ 393 h 73"/>
                  <a:gd name="T4" fmla="*/ 1028 w 116"/>
                  <a:gd name="T5" fmla="*/ 144 h 73"/>
                  <a:gd name="T6" fmla="*/ 1028 w 116"/>
                  <a:gd name="T7" fmla="*/ 144 h 73"/>
                  <a:gd name="T8" fmla="*/ 1356 w 116"/>
                  <a:gd name="T9" fmla="*/ 483 h 73"/>
                  <a:gd name="T10" fmla="*/ 1356 w 116"/>
                  <a:gd name="T11" fmla="*/ 483 h 73"/>
                  <a:gd name="T12" fmla="*/ 1122 w 116"/>
                  <a:gd name="T13" fmla="*/ 733 h 73"/>
                  <a:gd name="T14" fmla="*/ 909 w 116"/>
                  <a:gd name="T15" fmla="*/ 521 h 73"/>
                  <a:gd name="T16" fmla="*/ 791 w 116"/>
                  <a:gd name="T17" fmla="*/ 627 h 73"/>
                  <a:gd name="T18" fmla="*/ 976 w 116"/>
                  <a:gd name="T19" fmla="*/ 811 h 73"/>
                  <a:gd name="T20" fmla="*/ 987 w 116"/>
                  <a:gd name="T21" fmla="*/ 839 h 73"/>
                  <a:gd name="T22" fmla="*/ 1278 w 116"/>
                  <a:gd name="T23" fmla="*/ 773 h 73"/>
                  <a:gd name="T24" fmla="*/ 1462 w 116"/>
                  <a:gd name="T25" fmla="*/ 589 h 73"/>
                  <a:gd name="T26" fmla="*/ 1462 w 116"/>
                  <a:gd name="T27" fmla="*/ 368 h 73"/>
                  <a:gd name="T28" fmla="*/ 1413 w 116"/>
                  <a:gd name="T29" fmla="*/ 316 h 73"/>
                  <a:gd name="T30" fmla="*/ 1413 w 116"/>
                  <a:gd name="T31" fmla="*/ 316 h 73"/>
                  <a:gd name="T32" fmla="*/ 1188 w 116"/>
                  <a:gd name="T33" fmla="*/ 90 h 73"/>
                  <a:gd name="T34" fmla="*/ 1188 w 116"/>
                  <a:gd name="T35" fmla="*/ 106 h 73"/>
                  <a:gd name="T36" fmla="*/ 1134 w 116"/>
                  <a:gd name="T37" fmla="*/ 38 h 73"/>
                  <a:gd name="T38" fmla="*/ 1028 w 116"/>
                  <a:gd name="T39" fmla="*/ 0 h 73"/>
                  <a:gd name="T40" fmla="*/ 921 w 116"/>
                  <a:gd name="T41" fmla="*/ 38 h 73"/>
                  <a:gd name="T42" fmla="*/ 668 w 116"/>
                  <a:gd name="T43" fmla="*/ 290 h 73"/>
                  <a:gd name="T44" fmla="*/ 668 w 116"/>
                  <a:gd name="T45" fmla="*/ 290 h 73"/>
                  <a:gd name="T46" fmla="*/ 78 w 116"/>
                  <a:gd name="T47" fmla="*/ 876 h 73"/>
                  <a:gd name="T48" fmla="*/ 78 w 116"/>
                  <a:gd name="T49" fmla="*/ 876 h 73"/>
                  <a:gd name="T50" fmla="*/ 12 w 116"/>
                  <a:gd name="T51" fmla="*/ 954 h 73"/>
                  <a:gd name="T52" fmla="*/ 0 w 116"/>
                  <a:gd name="T53" fmla="*/ 954 h 73"/>
                  <a:gd name="T54" fmla="*/ 279 w 116"/>
                  <a:gd name="T55" fmla="*/ 888 h 73"/>
                  <a:gd name="T56" fmla="*/ 775 w 116"/>
                  <a:gd name="T57" fmla="*/ 393 h 7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73"/>
                  <a:gd name="T89" fmla="*/ 116 w 116"/>
                  <a:gd name="T90" fmla="*/ 73 h 7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73">
                    <a:moveTo>
                      <a:pt x="59" y="30"/>
                    </a:moveTo>
                    <a:cubicBezTo>
                      <a:pt x="59" y="30"/>
                      <a:pt x="59" y="30"/>
                      <a:pt x="59" y="30"/>
                    </a:cubicBezTo>
                    <a:cubicBezTo>
                      <a:pt x="78" y="11"/>
                      <a:pt x="78" y="11"/>
                      <a:pt x="78" y="11"/>
                    </a:cubicBezTo>
                    <a:cubicBezTo>
                      <a:pt x="78" y="11"/>
                      <a:pt x="78" y="11"/>
                      <a:pt x="78" y="11"/>
                    </a:cubicBezTo>
                    <a:cubicBezTo>
                      <a:pt x="103" y="37"/>
                      <a:pt x="103" y="37"/>
                      <a:pt x="103" y="37"/>
                    </a:cubicBezTo>
                    <a:cubicBezTo>
                      <a:pt x="103" y="37"/>
                      <a:pt x="103" y="37"/>
                      <a:pt x="103" y="37"/>
                    </a:cubicBezTo>
                    <a:cubicBezTo>
                      <a:pt x="85" y="56"/>
                      <a:pt x="85" y="56"/>
                      <a:pt x="85" y="56"/>
                    </a:cubicBezTo>
                    <a:cubicBezTo>
                      <a:pt x="69" y="40"/>
                      <a:pt x="69" y="40"/>
                      <a:pt x="69" y="40"/>
                    </a:cubicBezTo>
                    <a:cubicBezTo>
                      <a:pt x="60" y="48"/>
                      <a:pt x="60" y="48"/>
                      <a:pt x="60" y="48"/>
                    </a:cubicBezTo>
                    <a:cubicBezTo>
                      <a:pt x="74" y="62"/>
                      <a:pt x="74" y="62"/>
                      <a:pt x="74" y="62"/>
                    </a:cubicBezTo>
                    <a:cubicBezTo>
                      <a:pt x="74" y="62"/>
                      <a:pt x="75" y="63"/>
                      <a:pt x="75" y="64"/>
                    </a:cubicBezTo>
                    <a:cubicBezTo>
                      <a:pt x="83" y="63"/>
                      <a:pt x="90" y="61"/>
                      <a:pt x="97" y="59"/>
                    </a:cubicBezTo>
                    <a:cubicBezTo>
                      <a:pt x="111" y="45"/>
                      <a:pt x="111" y="45"/>
                      <a:pt x="111" y="45"/>
                    </a:cubicBezTo>
                    <a:cubicBezTo>
                      <a:pt x="116" y="40"/>
                      <a:pt x="116" y="33"/>
                      <a:pt x="111" y="28"/>
                    </a:cubicBezTo>
                    <a:cubicBezTo>
                      <a:pt x="107" y="24"/>
                      <a:pt x="107" y="24"/>
                      <a:pt x="107" y="24"/>
                    </a:cubicBezTo>
                    <a:cubicBezTo>
                      <a:pt x="107" y="24"/>
                      <a:pt x="107" y="24"/>
                      <a:pt x="107" y="24"/>
                    </a:cubicBezTo>
                    <a:cubicBezTo>
                      <a:pt x="90" y="7"/>
                      <a:pt x="90" y="7"/>
                      <a:pt x="90" y="7"/>
                    </a:cubicBezTo>
                    <a:cubicBezTo>
                      <a:pt x="90" y="8"/>
                      <a:pt x="90" y="8"/>
                      <a:pt x="90" y="8"/>
                    </a:cubicBezTo>
                    <a:cubicBezTo>
                      <a:pt x="86" y="3"/>
                      <a:pt x="86" y="3"/>
                      <a:pt x="86" y="3"/>
                    </a:cubicBezTo>
                    <a:cubicBezTo>
                      <a:pt x="84" y="1"/>
                      <a:pt x="81" y="0"/>
                      <a:pt x="78" y="0"/>
                    </a:cubicBezTo>
                    <a:cubicBezTo>
                      <a:pt x="75" y="0"/>
                      <a:pt x="72" y="1"/>
                      <a:pt x="70" y="3"/>
                    </a:cubicBezTo>
                    <a:cubicBezTo>
                      <a:pt x="51" y="22"/>
                      <a:pt x="51" y="22"/>
                      <a:pt x="51" y="22"/>
                    </a:cubicBezTo>
                    <a:cubicBezTo>
                      <a:pt x="51" y="22"/>
                      <a:pt x="51" y="22"/>
                      <a:pt x="51" y="22"/>
                    </a:cubicBezTo>
                    <a:cubicBezTo>
                      <a:pt x="6" y="67"/>
                      <a:pt x="6" y="67"/>
                      <a:pt x="6" y="67"/>
                    </a:cubicBezTo>
                    <a:cubicBezTo>
                      <a:pt x="6" y="67"/>
                      <a:pt x="6" y="67"/>
                      <a:pt x="6" y="67"/>
                    </a:cubicBezTo>
                    <a:cubicBezTo>
                      <a:pt x="1" y="73"/>
                      <a:pt x="1" y="73"/>
                      <a:pt x="1" y="73"/>
                    </a:cubicBezTo>
                    <a:cubicBezTo>
                      <a:pt x="0" y="73"/>
                      <a:pt x="0" y="73"/>
                      <a:pt x="0" y="73"/>
                    </a:cubicBezTo>
                    <a:cubicBezTo>
                      <a:pt x="7" y="71"/>
                      <a:pt x="14" y="69"/>
                      <a:pt x="21" y="68"/>
                    </a:cubicBezTo>
                    <a:lnTo>
                      <a:pt x="59" y="30"/>
                    </a:ln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53" name="Freeform 954">
                <a:extLst>
                  <a:ext uri="{FF2B5EF4-FFF2-40B4-BE49-F238E27FC236}">
                    <a16:creationId xmlns:a16="http://schemas.microsoft.com/office/drawing/2014/main" id="{C2E95E9B-FA31-107D-3EE2-09F8DC3748DB}"/>
                  </a:ext>
                </a:extLst>
              </p:cNvPr>
              <p:cNvSpPr>
                <a:spLocks/>
              </p:cNvSpPr>
              <p:nvPr/>
            </p:nvSpPr>
            <p:spPr bwMode="gray">
              <a:xfrm>
                <a:off x="12953093" y="1696605"/>
                <a:ext cx="401638" cy="244475"/>
              </a:xfrm>
              <a:custGeom>
                <a:avLst/>
                <a:gdLst>
                  <a:gd name="T0" fmla="*/ 144 w 107"/>
                  <a:gd name="T1" fmla="*/ 865 h 65"/>
                  <a:gd name="T2" fmla="*/ 156 w 107"/>
                  <a:gd name="T3" fmla="*/ 865 h 65"/>
                  <a:gd name="T4" fmla="*/ 515 w 107"/>
                  <a:gd name="T5" fmla="*/ 824 h 65"/>
                  <a:gd name="T6" fmla="*/ 688 w 107"/>
                  <a:gd name="T7" fmla="*/ 730 h 65"/>
                  <a:gd name="T8" fmla="*/ 766 w 107"/>
                  <a:gd name="T9" fmla="*/ 663 h 65"/>
                  <a:gd name="T10" fmla="*/ 766 w 107"/>
                  <a:gd name="T11" fmla="*/ 663 h 65"/>
                  <a:gd name="T12" fmla="*/ 1364 w 107"/>
                  <a:gd name="T13" fmla="*/ 66 h 65"/>
                  <a:gd name="T14" fmla="*/ 1364 w 107"/>
                  <a:gd name="T15" fmla="*/ 66 h 65"/>
                  <a:gd name="T16" fmla="*/ 1414 w 107"/>
                  <a:gd name="T17" fmla="*/ 0 h 65"/>
                  <a:gd name="T18" fmla="*/ 1123 w 107"/>
                  <a:gd name="T19" fmla="*/ 66 h 65"/>
                  <a:gd name="T20" fmla="*/ 1114 w 107"/>
                  <a:gd name="T21" fmla="*/ 118 h 65"/>
                  <a:gd name="T22" fmla="*/ 1073 w 107"/>
                  <a:gd name="T23" fmla="*/ 135 h 65"/>
                  <a:gd name="T24" fmla="*/ 1029 w 107"/>
                  <a:gd name="T25" fmla="*/ 118 h 65"/>
                  <a:gd name="T26" fmla="*/ 991 w 107"/>
                  <a:gd name="T27" fmla="*/ 78 h 65"/>
                  <a:gd name="T28" fmla="*/ 804 w 107"/>
                  <a:gd name="T29" fmla="*/ 95 h 65"/>
                  <a:gd name="T30" fmla="*/ 794 w 107"/>
                  <a:gd name="T31" fmla="*/ 95 h 65"/>
                  <a:gd name="T32" fmla="*/ 929 w 107"/>
                  <a:gd name="T33" fmla="*/ 213 h 65"/>
                  <a:gd name="T34" fmla="*/ 929 w 107"/>
                  <a:gd name="T35" fmla="*/ 291 h 65"/>
                  <a:gd name="T36" fmla="*/ 884 w 107"/>
                  <a:gd name="T37" fmla="*/ 320 h 65"/>
                  <a:gd name="T38" fmla="*/ 844 w 107"/>
                  <a:gd name="T39" fmla="*/ 291 h 65"/>
                  <a:gd name="T40" fmla="*/ 676 w 107"/>
                  <a:gd name="T41" fmla="*/ 118 h 65"/>
                  <a:gd name="T42" fmla="*/ 426 w 107"/>
                  <a:gd name="T43" fmla="*/ 370 h 65"/>
                  <a:gd name="T44" fmla="*/ 357 w 107"/>
                  <a:gd name="T45" fmla="*/ 398 h 65"/>
                  <a:gd name="T46" fmla="*/ 291 w 107"/>
                  <a:gd name="T47" fmla="*/ 370 h 65"/>
                  <a:gd name="T48" fmla="*/ 291 w 107"/>
                  <a:gd name="T49" fmla="*/ 242 h 65"/>
                  <a:gd name="T50" fmla="*/ 409 w 107"/>
                  <a:gd name="T51" fmla="*/ 118 h 65"/>
                  <a:gd name="T52" fmla="*/ 135 w 107"/>
                  <a:gd name="T53" fmla="*/ 185 h 65"/>
                  <a:gd name="T54" fmla="*/ 50 w 107"/>
                  <a:gd name="T55" fmla="*/ 360 h 65"/>
                  <a:gd name="T56" fmla="*/ 12 w 107"/>
                  <a:gd name="T57" fmla="*/ 708 h 65"/>
                  <a:gd name="T58" fmla="*/ 50 w 107"/>
                  <a:gd name="T59" fmla="*/ 824 h 65"/>
                  <a:gd name="T60" fmla="*/ 144 w 107"/>
                  <a:gd name="T61" fmla="*/ 865 h 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7"/>
                  <a:gd name="T94" fmla="*/ 0 h 65"/>
                  <a:gd name="T95" fmla="*/ 107 w 107"/>
                  <a:gd name="T96" fmla="*/ 65 h 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7" h="65">
                    <a:moveTo>
                      <a:pt x="11" y="65"/>
                    </a:moveTo>
                    <a:cubicBezTo>
                      <a:pt x="11" y="65"/>
                      <a:pt x="12" y="65"/>
                      <a:pt x="12" y="65"/>
                    </a:cubicBezTo>
                    <a:cubicBezTo>
                      <a:pt x="39" y="62"/>
                      <a:pt x="39" y="62"/>
                      <a:pt x="39" y="62"/>
                    </a:cubicBezTo>
                    <a:cubicBezTo>
                      <a:pt x="43" y="61"/>
                      <a:pt x="49" y="58"/>
                      <a:pt x="52" y="55"/>
                    </a:cubicBezTo>
                    <a:cubicBezTo>
                      <a:pt x="58" y="50"/>
                      <a:pt x="58" y="50"/>
                      <a:pt x="58" y="50"/>
                    </a:cubicBezTo>
                    <a:cubicBezTo>
                      <a:pt x="58" y="50"/>
                      <a:pt x="58" y="50"/>
                      <a:pt x="58" y="50"/>
                    </a:cubicBezTo>
                    <a:cubicBezTo>
                      <a:pt x="103" y="5"/>
                      <a:pt x="103" y="5"/>
                      <a:pt x="103" y="5"/>
                    </a:cubicBezTo>
                    <a:cubicBezTo>
                      <a:pt x="103" y="5"/>
                      <a:pt x="103" y="5"/>
                      <a:pt x="103" y="5"/>
                    </a:cubicBezTo>
                    <a:cubicBezTo>
                      <a:pt x="107" y="0"/>
                      <a:pt x="107" y="0"/>
                      <a:pt x="107" y="0"/>
                    </a:cubicBezTo>
                    <a:cubicBezTo>
                      <a:pt x="100" y="2"/>
                      <a:pt x="93" y="4"/>
                      <a:pt x="85" y="5"/>
                    </a:cubicBezTo>
                    <a:cubicBezTo>
                      <a:pt x="85" y="6"/>
                      <a:pt x="84" y="8"/>
                      <a:pt x="84" y="9"/>
                    </a:cubicBezTo>
                    <a:cubicBezTo>
                      <a:pt x="83" y="9"/>
                      <a:pt x="82" y="10"/>
                      <a:pt x="81" y="10"/>
                    </a:cubicBezTo>
                    <a:cubicBezTo>
                      <a:pt x="79" y="10"/>
                      <a:pt x="78" y="9"/>
                      <a:pt x="78" y="9"/>
                    </a:cubicBezTo>
                    <a:cubicBezTo>
                      <a:pt x="75" y="6"/>
                      <a:pt x="75" y="6"/>
                      <a:pt x="75" y="6"/>
                    </a:cubicBezTo>
                    <a:cubicBezTo>
                      <a:pt x="70" y="7"/>
                      <a:pt x="66" y="7"/>
                      <a:pt x="61" y="7"/>
                    </a:cubicBezTo>
                    <a:cubicBezTo>
                      <a:pt x="60" y="7"/>
                      <a:pt x="60" y="7"/>
                      <a:pt x="60" y="7"/>
                    </a:cubicBezTo>
                    <a:cubicBezTo>
                      <a:pt x="70" y="16"/>
                      <a:pt x="70" y="16"/>
                      <a:pt x="70" y="16"/>
                    </a:cubicBezTo>
                    <a:cubicBezTo>
                      <a:pt x="71" y="18"/>
                      <a:pt x="71" y="21"/>
                      <a:pt x="70" y="22"/>
                    </a:cubicBezTo>
                    <a:cubicBezTo>
                      <a:pt x="69" y="23"/>
                      <a:pt x="68" y="24"/>
                      <a:pt x="67" y="24"/>
                    </a:cubicBezTo>
                    <a:cubicBezTo>
                      <a:pt x="66" y="24"/>
                      <a:pt x="65" y="23"/>
                      <a:pt x="64" y="22"/>
                    </a:cubicBezTo>
                    <a:cubicBezTo>
                      <a:pt x="51" y="9"/>
                      <a:pt x="51" y="9"/>
                      <a:pt x="51" y="9"/>
                    </a:cubicBezTo>
                    <a:cubicBezTo>
                      <a:pt x="32" y="28"/>
                      <a:pt x="32" y="28"/>
                      <a:pt x="32" y="28"/>
                    </a:cubicBezTo>
                    <a:cubicBezTo>
                      <a:pt x="30" y="29"/>
                      <a:pt x="28" y="30"/>
                      <a:pt x="27" y="30"/>
                    </a:cubicBezTo>
                    <a:cubicBezTo>
                      <a:pt x="25" y="30"/>
                      <a:pt x="23" y="29"/>
                      <a:pt x="22" y="28"/>
                    </a:cubicBezTo>
                    <a:cubicBezTo>
                      <a:pt x="19" y="25"/>
                      <a:pt x="19" y="21"/>
                      <a:pt x="22" y="18"/>
                    </a:cubicBezTo>
                    <a:cubicBezTo>
                      <a:pt x="31" y="9"/>
                      <a:pt x="31" y="9"/>
                      <a:pt x="31" y="9"/>
                    </a:cubicBezTo>
                    <a:cubicBezTo>
                      <a:pt x="24" y="10"/>
                      <a:pt x="17" y="12"/>
                      <a:pt x="10" y="14"/>
                    </a:cubicBezTo>
                    <a:cubicBezTo>
                      <a:pt x="7" y="18"/>
                      <a:pt x="4" y="23"/>
                      <a:pt x="4" y="27"/>
                    </a:cubicBezTo>
                    <a:cubicBezTo>
                      <a:pt x="1" y="53"/>
                      <a:pt x="1" y="53"/>
                      <a:pt x="1" y="53"/>
                    </a:cubicBezTo>
                    <a:cubicBezTo>
                      <a:pt x="0" y="57"/>
                      <a:pt x="1" y="60"/>
                      <a:pt x="4" y="62"/>
                    </a:cubicBezTo>
                    <a:cubicBezTo>
                      <a:pt x="6" y="64"/>
                      <a:pt x="8" y="65"/>
                      <a:pt x="11" y="65"/>
                    </a:cubicBez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54" name="Freeform 955">
                <a:extLst>
                  <a:ext uri="{FF2B5EF4-FFF2-40B4-BE49-F238E27FC236}">
                    <a16:creationId xmlns:a16="http://schemas.microsoft.com/office/drawing/2014/main" id="{005C6647-5658-71F0-7381-8A98CFA76DD1}"/>
                  </a:ext>
                </a:extLst>
              </p:cNvPr>
              <p:cNvSpPr>
                <a:spLocks/>
              </p:cNvSpPr>
              <p:nvPr/>
            </p:nvSpPr>
            <p:spPr bwMode="gray">
              <a:xfrm>
                <a:off x="13351556" y="1371167"/>
                <a:ext cx="176213" cy="171450"/>
              </a:xfrm>
              <a:custGeom>
                <a:avLst/>
                <a:gdLst>
                  <a:gd name="T0" fmla="*/ 222 w 47"/>
                  <a:gd name="T1" fmla="*/ 596 h 46"/>
                  <a:gd name="T2" fmla="*/ 380 w 47"/>
                  <a:gd name="T3" fmla="*/ 453 h 46"/>
                  <a:gd name="T4" fmla="*/ 484 w 47"/>
                  <a:gd name="T5" fmla="*/ 556 h 46"/>
                  <a:gd name="T6" fmla="*/ 541 w 47"/>
                  <a:gd name="T7" fmla="*/ 585 h 46"/>
                  <a:gd name="T8" fmla="*/ 590 w 47"/>
                  <a:gd name="T9" fmla="*/ 556 h 46"/>
                  <a:gd name="T10" fmla="*/ 590 w 47"/>
                  <a:gd name="T11" fmla="*/ 453 h 46"/>
                  <a:gd name="T12" fmla="*/ 590 w 47"/>
                  <a:gd name="T13" fmla="*/ 453 h 46"/>
                  <a:gd name="T14" fmla="*/ 156 w 47"/>
                  <a:gd name="T15" fmla="*/ 28 h 46"/>
                  <a:gd name="T16" fmla="*/ 106 w 47"/>
                  <a:gd name="T17" fmla="*/ 0 h 46"/>
                  <a:gd name="T18" fmla="*/ 40 w 47"/>
                  <a:gd name="T19" fmla="*/ 28 h 46"/>
                  <a:gd name="T20" fmla="*/ 40 w 47"/>
                  <a:gd name="T21" fmla="*/ 127 h 46"/>
                  <a:gd name="T22" fmla="*/ 156 w 47"/>
                  <a:gd name="T23" fmla="*/ 232 h 46"/>
                  <a:gd name="T24" fmla="*/ 0 w 47"/>
                  <a:gd name="T25" fmla="*/ 376 h 46"/>
                  <a:gd name="T26" fmla="*/ 222 w 47"/>
                  <a:gd name="T27" fmla="*/ 596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
                  <a:gd name="T43" fmla="*/ 0 h 46"/>
                  <a:gd name="T44" fmla="*/ 47 w 47"/>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 h="46">
                    <a:moveTo>
                      <a:pt x="17" y="46"/>
                    </a:moveTo>
                    <a:cubicBezTo>
                      <a:pt x="29" y="35"/>
                      <a:pt x="29" y="35"/>
                      <a:pt x="29" y="35"/>
                    </a:cubicBezTo>
                    <a:cubicBezTo>
                      <a:pt x="37" y="43"/>
                      <a:pt x="37" y="43"/>
                      <a:pt x="37" y="43"/>
                    </a:cubicBezTo>
                    <a:cubicBezTo>
                      <a:pt x="38" y="45"/>
                      <a:pt x="40" y="45"/>
                      <a:pt x="41" y="45"/>
                    </a:cubicBezTo>
                    <a:cubicBezTo>
                      <a:pt x="43" y="45"/>
                      <a:pt x="44" y="45"/>
                      <a:pt x="45" y="43"/>
                    </a:cubicBezTo>
                    <a:cubicBezTo>
                      <a:pt x="47" y="41"/>
                      <a:pt x="47" y="37"/>
                      <a:pt x="45" y="35"/>
                    </a:cubicBezTo>
                    <a:cubicBezTo>
                      <a:pt x="45" y="35"/>
                      <a:pt x="45" y="35"/>
                      <a:pt x="45" y="35"/>
                    </a:cubicBezTo>
                    <a:cubicBezTo>
                      <a:pt x="12" y="2"/>
                      <a:pt x="12" y="2"/>
                      <a:pt x="12" y="2"/>
                    </a:cubicBezTo>
                    <a:cubicBezTo>
                      <a:pt x="10" y="1"/>
                      <a:pt x="9" y="0"/>
                      <a:pt x="8" y="0"/>
                    </a:cubicBezTo>
                    <a:cubicBezTo>
                      <a:pt x="6" y="0"/>
                      <a:pt x="5" y="1"/>
                      <a:pt x="3" y="2"/>
                    </a:cubicBezTo>
                    <a:cubicBezTo>
                      <a:pt x="1" y="4"/>
                      <a:pt x="1" y="8"/>
                      <a:pt x="3" y="10"/>
                    </a:cubicBezTo>
                    <a:cubicBezTo>
                      <a:pt x="12" y="18"/>
                      <a:pt x="12" y="18"/>
                      <a:pt x="12" y="18"/>
                    </a:cubicBezTo>
                    <a:cubicBezTo>
                      <a:pt x="0" y="29"/>
                      <a:pt x="0" y="29"/>
                      <a:pt x="0" y="29"/>
                    </a:cubicBezTo>
                    <a:lnTo>
                      <a:pt x="17" y="46"/>
                    </a:ln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sp>
            <p:nvSpPr>
              <p:cNvPr id="55" name="Freeform 956">
                <a:extLst>
                  <a:ext uri="{FF2B5EF4-FFF2-40B4-BE49-F238E27FC236}">
                    <a16:creationId xmlns:a16="http://schemas.microsoft.com/office/drawing/2014/main" id="{083FF1FF-03BB-5624-6DB1-6959AD34B89A}"/>
                  </a:ext>
                </a:extLst>
              </p:cNvPr>
              <p:cNvSpPr>
                <a:spLocks/>
              </p:cNvSpPr>
              <p:nvPr/>
            </p:nvSpPr>
            <p:spPr bwMode="gray">
              <a:xfrm>
                <a:off x="12837206" y="1941080"/>
                <a:ext cx="120650" cy="119062"/>
              </a:xfrm>
              <a:custGeom>
                <a:avLst/>
                <a:gdLst>
                  <a:gd name="T0" fmla="*/ 40 w 32"/>
                  <a:gd name="T1" fmla="*/ 413 h 32"/>
                  <a:gd name="T2" fmla="*/ 78 w 32"/>
                  <a:gd name="T3" fmla="*/ 401 h 32"/>
                  <a:gd name="T4" fmla="*/ 418 w 32"/>
                  <a:gd name="T5" fmla="*/ 77 h 32"/>
                  <a:gd name="T6" fmla="*/ 418 w 32"/>
                  <a:gd name="T7" fmla="*/ 12 h 32"/>
                  <a:gd name="T8" fmla="*/ 378 w 32"/>
                  <a:gd name="T9" fmla="*/ 0 h 32"/>
                  <a:gd name="T10" fmla="*/ 349 w 32"/>
                  <a:gd name="T11" fmla="*/ 12 h 32"/>
                  <a:gd name="T12" fmla="*/ 12 w 32"/>
                  <a:gd name="T13" fmla="*/ 335 h 32"/>
                  <a:gd name="T14" fmla="*/ 12 w 32"/>
                  <a:gd name="T15" fmla="*/ 401 h 32"/>
                  <a:gd name="T16" fmla="*/ 40 w 32"/>
                  <a:gd name="T17" fmla="*/ 413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32"/>
                  <a:gd name="T29" fmla="*/ 32 w 32"/>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32">
                    <a:moveTo>
                      <a:pt x="3" y="32"/>
                    </a:moveTo>
                    <a:cubicBezTo>
                      <a:pt x="4" y="32"/>
                      <a:pt x="5" y="32"/>
                      <a:pt x="6" y="31"/>
                    </a:cubicBezTo>
                    <a:cubicBezTo>
                      <a:pt x="31" y="6"/>
                      <a:pt x="31" y="6"/>
                      <a:pt x="31" y="6"/>
                    </a:cubicBezTo>
                    <a:cubicBezTo>
                      <a:pt x="32" y="5"/>
                      <a:pt x="32" y="2"/>
                      <a:pt x="31" y="1"/>
                    </a:cubicBezTo>
                    <a:cubicBezTo>
                      <a:pt x="30" y="0"/>
                      <a:pt x="29" y="0"/>
                      <a:pt x="28" y="0"/>
                    </a:cubicBezTo>
                    <a:cubicBezTo>
                      <a:pt x="27" y="0"/>
                      <a:pt x="27" y="0"/>
                      <a:pt x="26" y="1"/>
                    </a:cubicBezTo>
                    <a:cubicBezTo>
                      <a:pt x="1" y="26"/>
                      <a:pt x="1" y="26"/>
                      <a:pt x="1" y="26"/>
                    </a:cubicBezTo>
                    <a:cubicBezTo>
                      <a:pt x="0" y="27"/>
                      <a:pt x="0" y="30"/>
                      <a:pt x="1" y="31"/>
                    </a:cubicBezTo>
                    <a:cubicBezTo>
                      <a:pt x="2" y="32"/>
                      <a:pt x="3" y="32"/>
                      <a:pt x="3" y="32"/>
                    </a:cubicBezTo>
                    <a:close/>
                  </a:path>
                </a:pathLst>
              </a:custGeom>
              <a:solidFill>
                <a:srgbClr val="FFFFFF"/>
              </a:solidFill>
              <a:ln>
                <a:noFill/>
              </a:ln>
            </p:spPr>
            <p:txBody>
              <a:bodyPr/>
              <a:lstStyle/>
              <a:p>
                <a:pPr marL="0" marR="0" lvl="0" indent="0" algn="l"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S PGothic" pitchFamily="34" charset="-128"/>
                  <a:cs typeface="+mn-cs"/>
                </a:endParaRPr>
              </a:p>
            </p:txBody>
          </p:sp>
        </p:grpSp>
        <p:sp>
          <p:nvSpPr>
            <p:cNvPr id="51" name="Rounded Rectangle 74">
              <a:extLst>
                <a:ext uri="{FF2B5EF4-FFF2-40B4-BE49-F238E27FC236}">
                  <a16:creationId xmlns:a16="http://schemas.microsoft.com/office/drawing/2014/main" id="{4CDC6302-46EF-D24E-5E36-91329BB03578}"/>
                </a:ext>
              </a:extLst>
            </p:cNvPr>
            <p:cNvSpPr/>
            <p:nvPr/>
          </p:nvSpPr>
          <p:spPr bwMode="gray">
            <a:xfrm rot="5400000">
              <a:off x="4889582" y="3918578"/>
              <a:ext cx="56925" cy="142312"/>
            </a:xfrm>
            <a:prstGeom prst="roundRect">
              <a:avLst/>
            </a:prstGeom>
            <a:solidFill>
              <a:srgbClr val="FFFFFF"/>
            </a:solidFill>
            <a:ln w="25400" cap="flat" cmpd="sng" algn="ctr">
              <a:noFill/>
              <a:prstDash val="solid"/>
            </a:ln>
            <a:effectLst/>
          </p:spPr>
          <p:txBody>
            <a:bodyPr rtlCol="0" anchor="ctr"/>
            <a:lstStyle/>
            <a:p>
              <a:pPr marL="0" marR="0" lvl="0" indent="0" algn="ctr" defTabSz="54423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sp>
        <p:nvSpPr>
          <p:cNvPr id="57" name="Text Placeholder 9">
            <a:extLst>
              <a:ext uri="{FF2B5EF4-FFF2-40B4-BE49-F238E27FC236}">
                <a16:creationId xmlns:a16="http://schemas.microsoft.com/office/drawing/2014/main" id="{240BAFB7-0B0E-B4EB-90C4-932ABF771114}"/>
              </a:ext>
            </a:extLst>
          </p:cNvPr>
          <p:cNvSpPr txBox="1">
            <a:spLocks/>
          </p:cNvSpPr>
          <p:nvPr/>
        </p:nvSpPr>
        <p:spPr bwMode="gray">
          <a:xfrm>
            <a:off x="381260" y="6315566"/>
            <a:ext cx="11124566" cy="415018"/>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marL="0" indent="0" algn="l" defTabSz="544237" rtl="0" eaLnBrk="0" fontAlgn="base" hangingPunct="0">
              <a:lnSpc>
                <a:spcPct val="90000"/>
              </a:lnSpc>
              <a:spcBef>
                <a:spcPts val="200"/>
              </a:spcBef>
              <a:spcAft>
                <a:spcPct val="0"/>
              </a:spcAft>
              <a:buClr>
                <a:schemeClr val="tx2"/>
              </a:buClr>
              <a:buSzPct val="100000"/>
              <a:buFont typeface="Wingdings" panose="05000000000000000000" pitchFamily="2" charset="2"/>
              <a:buNone/>
              <a:defRPr sz="1000" kern="1200">
                <a:solidFill>
                  <a:schemeClr val="tx1"/>
                </a:solidFill>
                <a:latin typeface="+mn-lt"/>
                <a:ea typeface="MS PGothic" pitchFamily="34" charset="-128"/>
                <a:cs typeface="Arial" pitchFamily="34" charset="0"/>
              </a:defRPr>
            </a:lvl1pPr>
            <a:lvl2pPr marL="616045" indent="-260780" algn="l" defTabSz="544237" rtl="0" eaLnBrk="0" fontAlgn="base" hangingPunct="0">
              <a:lnSpc>
                <a:spcPct val="90000"/>
              </a:lnSpc>
              <a:spcBef>
                <a:spcPts val="1000"/>
              </a:spcBef>
              <a:spcAft>
                <a:spcPct val="0"/>
              </a:spcAft>
              <a:buClr>
                <a:schemeClr val="tx2"/>
              </a:buClr>
              <a:buFont typeface="Arial" charset="0"/>
              <a:buChar char="–"/>
              <a:defRPr sz="2000" kern="1200">
                <a:solidFill>
                  <a:schemeClr val="tx1"/>
                </a:solidFill>
                <a:latin typeface="+mn-lt"/>
                <a:ea typeface="MS PGothic" pitchFamily="34" charset="-128"/>
                <a:cs typeface="Arial"/>
              </a:defRPr>
            </a:lvl2pPr>
            <a:lvl3pPr marL="880606" indent="-194641" algn="l" defTabSz="544237" rtl="0" eaLnBrk="0" fontAlgn="base" hangingPunct="0">
              <a:lnSpc>
                <a:spcPct val="90000"/>
              </a:lnSpc>
              <a:spcBef>
                <a:spcPts val="500"/>
              </a:spcBef>
              <a:spcAft>
                <a:spcPct val="0"/>
              </a:spcAft>
              <a:buClr>
                <a:schemeClr val="tx2"/>
              </a:buClr>
              <a:buFont typeface="Wingdings" panose="05000000000000000000" pitchFamily="2" charset="2"/>
              <a:buChar char="§"/>
              <a:defRPr sz="1800" kern="1200">
                <a:solidFill>
                  <a:schemeClr val="tx1"/>
                </a:solidFill>
                <a:latin typeface="+mn-lt"/>
                <a:ea typeface="MS PGothic" pitchFamily="34" charset="-128"/>
                <a:cs typeface="Arial"/>
              </a:defRPr>
            </a:lvl3pPr>
            <a:lvl4pPr marL="1226423" indent="-272118" algn="l" defTabSz="544237" rtl="0" eaLnBrk="0" fontAlgn="base" hangingPunct="0">
              <a:lnSpc>
                <a:spcPct val="90000"/>
              </a:lnSpc>
              <a:spcBef>
                <a:spcPts val="200"/>
              </a:spcBef>
              <a:spcAft>
                <a:spcPct val="0"/>
              </a:spcAft>
              <a:buClr>
                <a:schemeClr val="tx2"/>
              </a:buClr>
              <a:buFont typeface="Arial" charset="0"/>
              <a:buChar char="–"/>
              <a:defRPr sz="1600" kern="1200">
                <a:solidFill>
                  <a:schemeClr val="tx1"/>
                </a:solidFill>
                <a:latin typeface="+mn-lt"/>
                <a:ea typeface="MS PGothic" pitchFamily="34" charset="-128"/>
                <a:cs typeface="Arial"/>
              </a:defRPr>
            </a:lvl4pPr>
            <a:lvl5pPr marL="1492872" indent="-196530" algn="l" defTabSz="544237" rtl="0" eaLnBrk="0" fontAlgn="base" hangingPunct="0">
              <a:lnSpc>
                <a:spcPct val="90000"/>
              </a:lnSpc>
              <a:spcBef>
                <a:spcPts val="100"/>
              </a:spcBef>
              <a:spcAft>
                <a:spcPct val="0"/>
              </a:spcAft>
              <a:buClr>
                <a:schemeClr val="tx2"/>
              </a:buClr>
              <a:buFont typeface="Wingdings" pitchFamily="2" charset="2"/>
              <a:buChar char="§"/>
              <a:defRPr sz="1400" kern="1200">
                <a:solidFill>
                  <a:schemeClr val="tx1"/>
                </a:solidFill>
                <a:latin typeface="+mn-lt"/>
                <a:ea typeface="MS PGothic" pitchFamily="34" charset="-128"/>
                <a:cs typeface="Arial"/>
              </a:defRPr>
            </a:lvl5pPr>
            <a:lvl6pPr marL="2993302" indent="-272118" algn="l" defTabSz="544237" rtl="0" eaLnBrk="1" latinLnBrk="0" hangingPunct="1">
              <a:spcBef>
                <a:spcPct val="20000"/>
              </a:spcBef>
              <a:buFont typeface="Arial"/>
              <a:buChar char="•"/>
              <a:defRPr sz="2417" kern="1200">
                <a:solidFill>
                  <a:schemeClr val="tx1"/>
                </a:solidFill>
                <a:latin typeface="+mn-lt"/>
                <a:ea typeface="+mn-ea"/>
                <a:cs typeface="+mn-cs"/>
              </a:defRPr>
            </a:lvl6pPr>
            <a:lvl7pPr marL="3537538" indent="-272118" algn="l" defTabSz="544237" rtl="0" eaLnBrk="1" latinLnBrk="0" hangingPunct="1">
              <a:spcBef>
                <a:spcPct val="20000"/>
              </a:spcBef>
              <a:buFont typeface="Arial"/>
              <a:buChar char="•"/>
              <a:defRPr sz="2417" kern="1200">
                <a:solidFill>
                  <a:schemeClr val="tx1"/>
                </a:solidFill>
                <a:latin typeface="+mn-lt"/>
                <a:ea typeface="+mn-ea"/>
                <a:cs typeface="+mn-cs"/>
              </a:defRPr>
            </a:lvl7pPr>
            <a:lvl8pPr marL="4081776" indent="-272118" algn="l" defTabSz="544237" rtl="0" eaLnBrk="1" latinLnBrk="0" hangingPunct="1">
              <a:spcBef>
                <a:spcPct val="20000"/>
              </a:spcBef>
              <a:buFont typeface="Arial"/>
              <a:buChar char="•"/>
              <a:defRPr sz="2417" kern="1200">
                <a:solidFill>
                  <a:schemeClr val="tx1"/>
                </a:solidFill>
                <a:latin typeface="+mn-lt"/>
                <a:ea typeface="+mn-ea"/>
                <a:cs typeface="+mn-cs"/>
              </a:defRPr>
            </a:lvl8pPr>
            <a:lvl9pPr marL="4626012" indent="-272118" algn="l" defTabSz="544237" rtl="0" eaLnBrk="1" latinLnBrk="0" hangingPunct="1">
              <a:spcBef>
                <a:spcPct val="20000"/>
              </a:spcBef>
              <a:buFont typeface="Arial"/>
              <a:buChar char="•"/>
              <a:defRPr sz="2417" kern="1200">
                <a:solidFill>
                  <a:schemeClr val="tx1"/>
                </a:solidFill>
                <a:latin typeface="+mn-lt"/>
                <a:ea typeface="+mn-ea"/>
                <a:cs typeface="+mn-cs"/>
              </a:defRPr>
            </a:lvl9pPr>
          </a:lstStyle>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2"/>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Andre FE, Booy R, Bock HL, Clemens J, Datta SK, John TJ, Lee BW, </a:t>
            </a:r>
            <a:r>
              <a:rPr kumimoji="0" lang="en-US" sz="600" b="0" i="0" u="none" strike="noStrike" kern="1200" cap="none" spc="0" normalizeH="0" baseline="0" noProof="0" dirty="0" err="1">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Lolekha</a:t>
            </a:r>
            <a:r>
              <a:rPr kumimoji="0" lang="en-US" sz="600" b="0" i="0" u="none" strike="noStrike" kern="1200" cap="none" spc="0" normalizeH="0" baseline="0" noProof="0" dirty="0">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 S, Peltola H, Ruff TA, </a:t>
            </a:r>
            <a:r>
              <a:rPr kumimoji="0" lang="en-US" sz="600" b="0" i="0" u="none" strike="noStrike" kern="1200" cap="none" spc="0" normalizeH="0" baseline="0" noProof="0" dirty="0" err="1">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Santosham</a:t>
            </a:r>
            <a:r>
              <a:rPr kumimoji="0" lang="en-US" sz="600" b="0" i="0" u="none" strike="noStrike" kern="1200" cap="none" spc="0" normalizeH="0" baseline="0" noProof="0" dirty="0">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 M, Schmitt HJ. Vaccination greatly reduces disease, disability, death and inequity worldwide. Bull World Health Organ. 2008 Feb;86(2):140-6. </a:t>
            </a:r>
            <a:r>
              <a:rPr kumimoji="0" lang="en-US" sz="600" b="0" i="0" u="none" strike="noStrike" kern="1200" cap="none" spc="0" normalizeH="0" baseline="0" noProof="0" dirty="0" err="1">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doi</a:t>
            </a:r>
            <a:r>
              <a:rPr kumimoji="0" lang="en-US" sz="600" b="0" i="0" u="none" strike="noStrike" kern="1200" cap="none" spc="0" normalizeH="0" baseline="0" noProof="0" dirty="0">
                <a:ln>
                  <a:noFill/>
                </a:ln>
                <a:solidFill>
                  <a:srgbClr val="000000">
                    <a:lumMod val="50000"/>
                    <a:lumOff val="50000"/>
                  </a:srgbClr>
                </a:solidFill>
                <a:effectLst/>
                <a:uLnTx/>
                <a:uFillTx/>
                <a:latin typeface="Roboto" panose="02000000000000000000" pitchFamily="2" charset="0"/>
                <a:ea typeface="MS PGothic" pitchFamily="34" charset="-128"/>
                <a:cs typeface="Arial" pitchFamily="34" charset="0"/>
              </a:rPr>
              <a:t>: 10.2471/blt.07.040089. PMID: 18297169; PMCID: PMC2647387.</a:t>
            </a:r>
            <a:endParaRPr kumimoji="0" lang="en-US" sz="600" b="0" i="0" u="none" strike="noStrike" kern="1200" cap="none" spc="0" normalizeH="0" baseline="0" noProof="0" dirty="0">
              <a:ln>
                <a:noFill/>
              </a:ln>
              <a:solidFill>
                <a:srgbClr val="000000">
                  <a:lumMod val="50000"/>
                  <a:lumOff val="50000"/>
                </a:srgbClr>
              </a:solidFill>
              <a:effectLst/>
              <a:uLnTx/>
              <a:uFillTx/>
              <a:latin typeface="Arial"/>
              <a:ea typeface="MS PGothic" pitchFamily="34" charset="-128"/>
              <a:cs typeface="Arial" pitchFamily="34" charset="0"/>
            </a:endParaRPr>
          </a:p>
          <a:p>
            <a:pPr marL="228600" marR="0" lvl="0" indent="-228600" algn="l" defTabSz="544237" rtl="0" eaLnBrk="0" fontAlgn="base" latinLnBrk="0" hangingPunct="0">
              <a:lnSpc>
                <a:spcPct val="90000"/>
              </a:lnSpc>
              <a:spcBef>
                <a:spcPts val="200"/>
              </a:spcBef>
              <a:spcAft>
                <a:spcPct val="0"/>
              </a:spcAft>
              <a:buClr>
                <a:srgbClr val="000000">
                  <a:lumMod val="50000"/>
                  <a:lumOff val="50000"/>
                </a:srgbClr>
              </a:buClr>
              <a:buSzPct val="100000"/>
              <a:buFont typeface="+mj-lt"/>
              <a:buAutoNum type="arabicPeriod" startAt="12"/>
              <a:tabLst/>
              <a:defRPr/>
            </a:pPr>
            <a:endParaRPr kumimoji="0" lang="de-DE" sz="600" b="0" i="0" u="none" strike="noStrike" kern="1200" cap="none" spc="0" normalizeH="0" baseline="0" noProof="0" dirty="0">
              <a:ln>
                <a:noFill/>
              </a:ln>
              <a:solidFill>
                <a:srgbClr val="000000">
                  <a:lumMod val="50000"/>
                  <a:lumOff val="50000"/>
                </a:srgbClr>
              </a:solidFill>
              <a:effectLst/>
              <a:highlight>
                <a:srgbClr val="FFFF00"/>
              </a:highlight>
              <a:uLnTx/>
              <a:uFillTx/>
              <a:latin typeface="Arial"/>
              <a:ea typeface="MS PGothic" pitchFamily="34" charset="-128"/>
              <a:cs typeface="Arial" pitchFamily="34" charset="0"/>
            </a:endParaRPr>
          </a:p>
        </p:txBody>
      </p:sp>
    </p:spTree>
    <p:extLst>
      <p:ext uri="{BB962C8B-B14F-4D97-AF65-F5344CB8AC3E}">
        <p14:creationId xmlns:p14="http://schemas.microsoft.com/office/powerpoint/2010/main" val="1311147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5FA0D-6050-115B-1079-9D2502809EC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CBDB349-473C-415C-E4E3-85E14729B388}"/>
              </a:ext>
            </a:extLst>
          </p:cNvPr>
          <p:cNvSpPr>
            <a:spLocks noGrp="1"/>
          </p:cNvSpPr>
          <p:nvPr>
            <p:ph type="title"/>
          </p:nvPr>
        </p:nvSpPr>
        <p:spPr>
          <a:xfrm>
            <a:off x="0" y="39449"/>
            <a:ext cx="12192000" cy="1325563"/>
          </a:xfrm>
        </p:spPr>
        <p:txBody>
          <a:bodyPr>
            <a:normAutofit/>
          </a:bodyPr>
          <a:lstStyle/>
          <a:p>
            <a:pPr algn="ctr"/>
            <a:r>
              <a:rPr lang="vi-VN"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Phương án 3: Lợi ích của các chương trình tiêm</a:t>
            </a:r>
            <a:r>
              <a:rPr lang="en-US"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 </a:t>
            </a:r>
            <a:r>
              <a:rPr lang="vi-VN" sz="3400" b="1" spc="-50" dirty="0">
                <a:solidFill>
                  <a:srgbClr val="002060"/>
                </a:solidFill>
                <a:latin typeface="Calibri" panose="020F0502020204030204" pitchFamily="34" charset="0"/>
                <a:ea typeface="Calibri" panose="020F0502020204030204" pitchFamily="34" charset="0"/>
                <a:cs typeface="Calibri" panose="020F0502020204030204" pitchFamily="34" charset="0"/>
                <a:sym typeface="+mn-ea"/>
              </a:rPr>
              <a:t>chủng</a:t>
            </a:r>
            <a:endParaRPr lang="en-US" sz="3200" b="1" spc="-50"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1">
            <a:extLst>
              <a:ext uri="{FF2B5EF4-FFF2-40B4-BE49-F238E27FC236}">
                <a16:creationId xmlns:a16="http://schemas.microsoft.com/office/drawing/2014/main" id="{8B150AA7-75D2-9735-97AF-DAE8CEA47318}"/>
              </a:ext>
            </a:extLst>
          </p:cNvPr>
          <p:cNvSpPr txBox="1">
            <a:spLocks/>
          </p:cNvSpPr>
          <p:nvPr/>
        </p:nvSpPr>
        <p:spPr bwMode="gray">
          <a:xfrm>
            <a:off x="6935252" y="5630982"/>
            <a:ext cx="4727740" cy="9233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0" indent="0" algn="l" defTabSz="544237" rtl="0" eaLnBrk="0" fontAlgn="base" hangingPunct="0">
              <a:lnSpc>
                <a:spcPct val="90000"/>
              </a:lnSpc>
              <a:spcBef>
                <a:spcPct val="0"/>
              </a:spcBef>
              <a:spcAft>
                <a:spcPct val="0"/>
              </a:spcAft>
              <a:buClr>
                <a:schemeClr val="tx2"/>
              </a:buClr>
              <a:buSzPct val="100000"/>
              <a:buFont typeface="Wingdings" panose="05000000000000000000" pitchFamily="2" charset="2"/>
              <a:buNone/>
              <a:defRPr lang="en-US" sz="2000" b="1" i="0" kern="1200" baseline="0" smtClean="0">
                <a:solidFill>
                  <a:schemeClr val="accent6">
                    <a:lumMod val="75000"/>
                  </a:schemeClr>
                </a:solidFill>
                <a:latin typeface="+mn-lt"/>
                <a:ea typeface="MS PGothic" pitchFamily="34" charset="-128"/>
                <a:cs typeface="ＭＳ Ｐゴシック" charset="-128"/>
              </a:defRPr>
            </a:lvl1pPr>
            <a:lvl2pPr marL="616045" indent="-260780" algn="l" defTabSz="544237" rtl="0" eaLnBrk="0" fontAlgn="base" hangingPunct="0">
              <a:lnSpc>
                <a:spcPts val="3809"/>
              </a:lnSpc>
              <a:spcBef>
                <a:spcPct val="0"/>
              </a:spcBef>
              <a:spcAft>
                <a:spcPct val="0"/>
              </a:spcAft>
              <a:buClr>
                <a:schemeClr val="tx2"/>
              </a:buClr>
              <a:buFont typeface="Arial" charset="0"/>
              <a:buNone/>
              <a:defRPr lang="en-US" sz="3583" kern="1200" smtClean="0">
                <a:solidFill>
                  <a:schemeClr val="accent1"/>
                </a:solidFill>
                <a:latin typeface="Arial"/>
                <a:ea typeface="MS PGothic" pitchFamily="34" charset="-128"/>
                <a:cs typeface="ＭＳ Ｐゴシック" charset="-128"/>
              </a:defRPr>
            </a:lvl2pPr>
            <a:lvl3pPr marL="880606" indent="-194641" algn="l" defTabSz="544237" rtl="0" eaLnBrk="0" fontAlgn="base" hangingPunct="0">
              <a:lnSpc>
                <a:spcPts val="3809"/>
              </a:lnSpc>
              <a:spcBef>
                <a:spcPct val="0"/>
              </a:spcBef>
              <a:spcAft>
                <a:spcPct val="0"/>
              </a:spcAft>
              <a:buClr>
                <a:schemeClr val="tx2"/>
              </a:buClr>
              <a:buFont typeface="Wingdings" panose="05000000000000000000" pitchFamily="2" charset="2"/>
              <a:buNone/>
              <a:defRPr lang="en-US" sz="3583" kern="1200" smtClean="0">
                <a:solidFill>
                  <a:schemeClr val="accent1"/>
                </a:solidFill>
                <a:latin typeface="Arial"/>
                <a:ea typeface="MS PGothic" pitchFamily="34" charset="-128"/>
                <a:cs typeface="ＭＳ Ｐゴシック" charset="-128"/>
              </a:defRPr>
            </a:lvl3pPr>
            <a:lvl4pPr marL="1226423" indent="-272118" algn="l" defTabSz="544237" rtl="0" eaLnBrk="0" fontAlgn="base" hangingPunct="0">
              <a:lnSpc>
                <a:spcPts val="3809"/>
              </a:lnSpc>
              <a:spcBef>
                <a:spcPct val="0"/>
              </a:spcBef>
              <a:spcAft>
                <a:spcPct val="0"/>
              </a:spcAft>
              <a:buClr>
                <a:schemeClr val="tx2"/>
              </a:buClr>
              <a:buFont typeface="Arial" charset="0"/>
              <a:buNone/>
              <a:defRPr lang="en-US" sz="3583" kern="1200" smtClean="0">
                <a:solidFill>
                  <a:schemeClr val="accent1"/>
                </a:solidFill>
                <a:latin typeface="Arial"/>
                <a:ea typeface="MS PGothic" pitchFamily="34" charset="-128"/>
                <a:cs typeface="ＭＳ Ｐゴシック" charset="-128"/>
              </a:defRPr>
            </a:lvl4pPr>
            <a:lvl5pPr marL="1492872" indent="-196530" algn="l" defTabSz="544237" rtl="0" eaLnBrk="0" fontAlgn="base" hangingPunct="0">
              <a:lnSpc>
                <a:spcPts val="3809"/>
              </a:lnSpc>
              <a:spcBef>
                <a:spcPct val="0"/>
              </a:spcBef>
              <a:spcAft>
                <a:spcPct val="0"/>
              </a:spcAft>
              <a:buClr>
                <a:schemeClr val="tx2"/>
              </a:buClr>
              <a:buFont typeface="Wingdings" pitchFamily="2" charset="2"/>
              <a:buNone/>
              <a:defRPr lang="en-US" sz="3583" kern="1200" smtClean="0">
                <a:solidFill>
                  <a:schemeClr val="accent1"/>
                </a:solidFill>
                <a:latin typeface="Arial"/>
                <a:ea typeface="MS PGothic" pitchFamily="34" charset="-128"/>
                <a:cs typeface="ＭＳ Ｐゴシック" charset="-128"/>
              </a:defRPr>
            </a:lvl5pPr>
            <a:lvl6pPr marL="2993302" indent="-272118" algn="l" defTabSz="544237" rtl="0" eaLnBrk="1" latinLnBrk="0" hangingPunct="1">
              <a:spcBef>
                <a:spcPct val="20000"/>
              </a:spcBef>
              <a:buFont typeface="Arial"/>
              <a:buChar char="•"/>
              <a:defRPr sz="2417" kern="1200">
                <a:solidFill>
                  <a:schemeClr val="tx1"/>
                </a:solidFill>
                <a:latin typeface="+mn-lt"/>
                <a:ea typeface="+mn-ea"/>
                <a:cs typeface="+mn-cs"/>
              </a:defRPr>
            </a:lvl6pPr>
            <a:lvl7pPr marL="3537538" indent="-272118" algn="l" defTabSz="544237" rtl="0" eaLnBrk="1" latinLnBrk="0" hangingPunct="1">
              <a:spcBef>
                <a:spcPct val="20000"/>
              </a:spcBef>
              <a:buFont typeface="Arial"/>
              <a:buChar char="•"/>
              <a:defRPr sz="2417" kern="1200">
                <a:solidFill>
                  <a:schemeClr val="tx1"/>
                </a:solidFill>
                <a:latin typeface="+mn-lt"/>
                <a:ea typeface="+mn-ea"/>
                <a:cs typeface="+mn-cs"/>
              </a:defRPr>
            </a:lvl7pPr>
            <a:lvl8pPr marL="4081776" indent="-272118" algn="l" defTabSz="544237" rtl="0" eaLnBrk="1" latinLnBrk="0" hangingPunct="1">
              <a:spcBef>
                <a:spcPct val="20000"/>
              </a:spcBef>
              <a:buFont typeface="Arial"/>
              <a:buChar char="•"/>
              <a:defRPr sz="2417" kern="1200">
                <a:solidFill>
                  <a:schemeClr val="tx1"/>
                </a:solidFill>
                <a:latin typeface="+mn-lt"/>
                <a:ea typeface="+mn-ea"/>
                <a:cs typeface="+mn-cs"/>
              </a:defRPr>
            </a:lvl8pPr>
            <a:lvl9pPr marL="4626012" indent="-272118" algn="l" defTabSz="544237" rtl="0" eaLnBrk="1" latinLnBrk="0" hangingPunct="1">
              <a:spcBef>
                <a:spcPct val="20000"/>
              </a:spcBef>
              <a:buFont typeface="Arial"/>
              <a:buChar char="•"/>
              <a:defRPr sz="2417" kern="1200">
                <a:solidFill>
                  <a:schemeClr val="tx1"/>
                </a:solidFill>
                <a:latin typeface="+mn-lt"/>
                <a:ea typeface="+mn-ea"/>
                <a:cs typeface="+mn-cs"/>
              </a:defRPr>
            </a:lvl9pPr>
          </a:lstStyle>
          <a:p>
            <a:pPr marL="0" marR="0" lvl="0" indent="0" algn="ctr" defTabSz="544237" rtl="0" eaLnBrk="0" fontAlgn="base" latinLnBrk="0" hangingPunct="0">
              <a:lnSpc>
                <a:spcPct val="90000"/>
              </a:lnSpc>
              <a:spcBef>
                <a:spcPct val="0"/>
              </a:spcBef>
              <a:spcAft>
                <a:spcPct val="0"/>
              </a:spcAft>
              <a:buClr>
                <a:srgbClr val="0070C0"/>
              </a:buClr>
              <a:buSzPct val="100000"/>
              <a:buFont typeface="Wingdings" panose="05000000000000000000" pitchFamily="2" charset="2"/>
              <a:buNone/>
              <a:tabLst/>
              <a:defRPr/>
            </a:pPr>
            <a:r>
              <a:rPr kumimoji="0" lang="de-DE" sz="2000" b="1" i="0" u="none" strike="noStrike" kern="1200" cap="none" spc="0" normalizeH="0" baseline="0" noProof="0" dirty="0">
                <a:ln>
                  <a:noFill/>
                </a:ln>
                <a:solidFill>
                  <a:srgbClr val="003FE2"/>
                </a:solidFill>
                <a:effectLst/>
                <a:uLnTx/>
                <a:uFillTx/>
                <a:latin typeface="Arial"/>
                <a:ea typeface="MS PGothic" pitchFamily="34" charset="-128"/>
              </a:rPr>
              <a:t>Việc truyền thông về các mục tiêu tiêm chủng đóng vai trò quan trọng đối với sự thành công</a:t>
            </a:r>
          </a:p>
        </p:txBody>
      </p:sp>
      <p:sp>
        <p:nvSpPr>
          <p:cNvPr id="7" name="TextBox 6">
            <a:extLst>
              <a:ext uri="{FF2B5EF4-FFF2-40B4-BE49-F238E27FC236}">
                <a16:creationId xmlns:a16="http://schemas.microsoft.com/office/drawing/2014/main" id="{A476E540-ED32-CFDA-B3AD-36B1D362C979}"/>
              </a:ext>
            </a:extLst>
          </p:cNvPr>
          <p:cNvSpPr txBox="1"/>
          <p:nvPr/>
        </p:nvSpPr>
        <p:spPr>
          <a:xfrm>
            <a:off x="7246045" y="1639480"/>
            <a:ext cx="4106154" cy="994118"/>
          </a:xfrm>
          <a:prstGeom prst="rect">
            <a:avLst/>
          </a:prstGeom>
          <a:solidFill>
            <a:srgbClr val="002060">
              <a:lumMod val="10000"/>
              <a:lumOff val="90000"/>
            </a:srgbClr>
          </a:solidFill>
          <a:ln>
            <a:solidFill>
              <a:srgbClr val="000000"/>
            </a:solidFill>
          </a:ln>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vi-VN" sz="1800" b="1"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Tiêm vắc-xin cho tất cả mọi người</a:t>
            </a:r>
            <a:r>
              <a:rPr kumimoji="0" lang="de-DE" sz="1800" b="1" i="0"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1</a:t>
            </a:r>
            <a:r>
              <a:rPr kumimoji="0" lang="de-DE" sz="1800" b="1"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p>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de-DE"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vd: influenza &amp; COVID-19)</a:t>
            </a:r>
          </a:p>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p:txBody>
      </p:sp>
      <p:sp>
        <p:nvSpPr>
          <p:cNvPr id="8" name="TextBox 7">
            <a:extLst>
              <a:ext uri="{FF2B5EF4-FFF2-40B4-BE49-F238E27FC236}">
                <a16:creationId xmlns:a16="http://schemas.microsoft.com/office/drawing/2014/main" id="{638FEBD4-4A02-75F4-2D43-E1D143F2930C}"/>
              </a:ext>
            </a:extLst>
          </p:cNvPr>
          <p:cNvSpPr txBox="1"/>
          <p:nvPr/>
        </p:nvSpPr>
        <p:spPr>
          <a:xfrm>
            <a:off x="7246045" y="2724840"/>
            <a:ext cx="4106156" cy="1166473"/>
          </a:xfrm>
          <a:prstGeom prst="rect">
            <a:avLst/>
          </a:prstGeom>
          <a:solidFill>
            <a:srgbClr val="002060">
              <a:lumMod val="25000"/>
              <a:lumOff val="75000"/>
            </a:srgbClr>
          </a:solidFill>
          <a:ln>
            <a:solidFill>
              <a:srgbClr val="000000"/>
            </a:solidFill>
          </a:ln>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vi-VN" sz="1800" b="1"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Tiêm vắc-xin </a:t>
            </a:r>
            <a:r>
              <a:rPr kumimoji="0" lang="vi-VN"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theo từng nhóm nguy cơ cá nhân</a:t>
            </a:r>
            <a:r>
              <a:rPr kumimoji="0" lang="de-DE"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vd: tuổi từ 50 hoặc bệnh mạn tính) </a:t>
            </a:r>
            <a:r>
              <a:rPr kumimoji="0" lang="de-DE" sz="1800" b="0" i="0"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1</a:t>
            </a:r>
            <a:r>
              <a:rPr kumimoji="0" lang="de-DE"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p>
          <a:p>
            <a:pPr marL="0" marR="0" lvl="0" indent="0" algn="l" defTabSz="457200" rtl="0" eaLnBrk="0" fontAlgn="base" latinLnBrk="0" hangingPunct="0">
              <a:lnSpc>
                <a:spcPct val="90000"/>
              </a:lnSpc>
              <a:spcBef>
                <a:spcPts val="600"/>
              </a:spcBef>
              <a:spcAft>
                <a:spcPct val="0"/>
              </a:spcAft>
              <a:buClr>
                <a:srgbClr val="95B3D7"/>
              </a:buClr>
              <a:buSzPct val="100000"/>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p:txBody>
      </p:sp>
      <p:sp>
        <p:nvSpPr>
          <p:cNvPr id="9" name="TextBox 8">
            <a:extLst>
              <a:ext uri="{FF2B5EF4-FFF2-40B4-BE49-F238E27FC236}">
                <a16:creationId xmlns:a16="http://schemas.microsoft.com/office/drawing/2014/main" id="{3A294D9C-ECCA-8711-7F2F-44B86C057A83}"/>
              </a:ext>
            </a:extLst>
          </p:cNvPr>
          <p:cNvSpPr txBox="1"/>
          <p:nvPr/>
        </p:nvSpPr>
        <p:spPr>
          <a:xfrm>
            <a:off x="7246045" y="3982555"/>
            <a:ext cx="4106149" cy="1166473"/>
          </a:xfrm>
          <a:prstGeom prst="rect">
            <a:avLst/>
          </a:prstGeom>
          <a:solidFill>
            <a:srgbClr val="002060">
              <a:lumMod val="50000"/>
              <a:lumOff val="50000"/>
            </a:srgbClr>
          </a:solidFill>
          <a:ln>
            <a:solidFill>
              <a:srgbClr val="000000"/>
            </a:solidFill>
          </a:ln>
        </p:spPr>
        <p:txBody>
          <a:bodyPr wrap="square" tIns="45720" rtlCol="0" anchor="ctr">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vi-VN" sz="1800" b="1" i="0" u="none" strike="noStrike" kern="0" cap="none" spc="0" normalizeH="0" baseline="0" noProof="0" dirty="0">
                <a:ln>
                  <a:noFill/>
                </a:ln>
                <a:solidFill>
                  <a:srgbClr val="FFFFFF"/>
                </a:solidFill>
                <a:effectLst/>
                <a:uLnTx/>
                <a:uFillTx/>
                <a:latin typeface="Arial"/>
                <a:ea typeface="MS PGothic" pitchFamily="34" charset="-128"/>
                <a:cs typeface="ＭＳ Ｐゴシック" charset="-128"/>
              </a:rPr>
              <a:t>Thực hiện tiêm chủng </a:t>
            </a:r>
            <a:r>
              <a:rPr kumimoji="0" lang="vi-VN" sz="1800" b="0" i="0" u="none" strike="noStrike" kern="0" cap="none" spc="0" normalizeH="0" baseline="0" noProof="0" dirty="0">
                <a:ln>
                  <a:noFill/>
                </a:ln>
                <a:solidFill>
                  <a:srgbClr val="FFFFFF"/>
                </a:solidFill>
                <a:effectLst/>
                <a:uLnTx/>
                <a:uFillTx/>
                <a:latin typeface="Arial"/>
                <a:ea typeface="MS PGothic" pitchFamily="34" charset="-128"/>
                <a:cs typeface="ＭＳ Ｐゴシック" charset="-128"/>
              </a:rPr>
              <a:t>theo định hướng bệnh lý hoặc mục tiêu sức khỏe cộng đồng</a:t>
            </a:r>
            <a:r>
              <a:rPr kumimoji="0" lang="de-DE" sz="1800" b="0" i="0" u="none" strike="noStrike" kern="0" cap="none" spc="0" normalizeH="0" baseline="30000" noProof="0" dirty="0">
                <a:ln>
                  <a:noFill/>
                </a:ln>
                <a:solidFill>
                  <a:srgbClr val="FFFFFF"/>
                </a:solidFill>
                <a:effectLst/>
                <a:uLnTx/>
                <a:uFillTx/>
                <a:latin typeface="Arial"/>
                <a:ea typeface="MS PGothic" pitchFamily="34" charset="-128"/>
                <a:cs typeface="ＭＳ Ｐゴシック" charset="-128"/>
              </a:rPr>
              <a:t>32</a:t>
            </a:r>
          </a:p>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endParaRPr kumimoji="0" lang="de-DE" sz="1800" b="0" i="0" u="none" strike="noStrike" kern="0" cap="none" spc="0" normalizeH="0" baseline="0" noProof="0" dirty="0">
              <a:ln>
                <a:noFill/>
              </a:ln>
              <a:solidFill>
                <a:srgbClr val="FFFFFF"/>
              </a:solidFill>
              <a:effectLst/>
              <a:uLnTx/>
              <a:uFillTx/>
              <a:latin typeface="Arial"/>
              <a:ea typeface="MS PGothic" pitchFamily="34" charset="-128"/>
              <a:cs typeface="ＭＳ Ｐゴシック" charset="-128"/>
            </a:endParaRPr>
          </a:p>
        </p:txBody>
      </p:sp>
      <p:sp>
        <p:nvSpPr>
          <p:cNvPr id="11" name="TextBox 10">
            <a:extLst>
              <a:ext uri="{FF2B5EF4-FFF2-40B4-BE49-F238E27FC236}">
                <a16:creationId xmlns:a16="http://schemas.microsoft.com/office/drawing/2014/main" id="{2F7158B2-93A6-9EA0-4372-FBF00DB10330}"/>
              </a:ext>
            </a:extLst>
          </p:cNvPr>
          <p:cNvSpPr txBox="1"/>
          <p:nvPr/>
        </p:nvSpPr>
        <p:spPr>
          <a:xfrm>
            <a:off x="420745" y="1144281"/>
            <a:ext cx="5300749" cy="2548390"/>
          </a:xfrm>
          <a:prstGeom prst="rect">
            <a:avLst/>
          </a:prstGeom>
          <a:noFill/>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vi-VN" sz="1800" b="0" i="0" u="none" strike="noStrike" kern="1200" cap="none" spc="0" normalizeH="0" baseline="0" noProof="0" dirty="0">
                <a:ln>
                  <a:noFill/>
                </a:ln>
                <a:solidFill>
                  <a:srgbClr val="000000"/>
                </a:solidFill>
                <a:effectLst/>
                <a:highlight>
                  <a:srgbClr val="FFFF00"/>
                </a:highlight>
                <a:uLnTx/>
                <a:uFillTx/>
                <a:latin typeface="Arial"/>
                <a:ea typeface="MS PGothic" pitchFamily="34" charset="-128"/>
                <a:cs typeface="ＭＳ Ｐゴシック" charset="-128"/>
              </a:rPr>
              <a:t>Các vắc-xin hiện có phòng ngừa các tác nhân gây</a:t>
            </a:r>
            <a:r>
              <a:rPr kumimoji="0" lang="en-US" sz="1800" b="0" i="0" u="none" strike="noStrike" kern="1200" cap="none" spc="0" normalizeH="0" baseline="0" noProof="0" dirty="0">
                <a:ln>
                  <a:noFill/>
                </a:ln>
                <a:solidFill>
                  <a:srgbClr val="000000"/>
                </a:solidFill>
                <a:effectLst/>
                <a:highlight>
                  <a:srgbClr val="FFFF00"/>
                </a:highlight>
                <a:uLnTx/>
                <a:uFillTx/>
                <a:latin typeface="Arial"/>
                <a:ea typeface="MS PGothic" pitchFamily="34" charset="-128"/>
                <a:cs typeface="ＭＳ Ｐゴシック" charset="-128"/>
              </a:rPr>
              <a:t> </a:t>
            </a:r>
            <a:r>
              <a:rPr kumimoji="0" lang="vi-VN" sz="1800" b="0" i="0" u="none" strike="noStrike" kern="1200" cap="none" spc="0" normalizeH="0" baseline="0" noProof="0" dirty="0">
                <a:ln>
                  <a:noFill/>
                </a:ln>
                <a:solidFill>
                  <a:srgbClr val="000000"/>
                </a:solidFill>
                <a:effectLst/>
                <a:highlight>
                  <a:srgbClr val="FFFF00"/>
                </a:highlight>
                <a:uLnTx/>
                <a:uFillTx/>
                <a:latin typeface="Arial"/>
                <a:ea typeface="MS PGothic" pitchFamily="34" charset="-128"/>
                <a:cs typeface="ＭＳ Ｐゴシック" charset="-128"/>
              </a:rPr>
              <a:t>bệnh đường hô hấp</a:t>
            </a:r>
            <a:r>
              <a:rPr kumimoji="0" lang="de-DE" sz="1800" b="0" i="0" u="none" strike="noStrike" kern="1200" cap="none" spc="0" normalizeH="0" baseline="0" noProof="0" dirty="0">
                <a:ln>
                  <a:noFill/>
                </a:ln>
                <a:solidFill>
                  <a:srgbClr val="000000"/>
                </a:solidFill>
                <a:effectLst/>
                <a:highlight>
                  <a:srgbClr val="FFFF00"/>
                </a:highlight>
                <a:uLnTx/>
                <a:uFillTx/>
                <a:latin typeface="Arial"/>
                <a:ea typeface="MS PGothic" pitchFamily="34" charset="-128"/>
                <a:cs typeface="ＭＳ Ｐゴシック" charset="-128"/>
              </a:rPr>
              <a:t>:</a:t>
            </a: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rPr>
              <a:t>C. diphtheriae</a:t>
            </a:r>
            <a:r>
              <a:rPr kumimoji="0" lang="de-DE" sz="1800" b="0" i="1" u="none" strike="noStrike" kern="1200" cap="none" spc="0" normalizeH="0" baseline="30000" noProof="0" dirty="0">
                <a:ln>
                  <a:noFill/>
                </a:ln>
                <a:solidFill>
                  <a:srgbClr val="000000"/>
                </a:solidFill>
                <a:effectLst/>
                <a:uLnTx/>
                <a:uFillTx/>
                <a:latin typeface="Arial"/>
                <a:ea typeface="MS PGothic" pitchFamily="34" charset="-128"/>
                <a:cs typeface="ＭＳ Ｐゴシック" charset="-128"/>
              </a:rPr>
              <a:t>31</a:t>
            </a:r>
            <a:endPar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rPr>
              <a:t>B. pertussis</a:t>
            </a:r>
            <a:r>
              <a:rPr kumimoji="0" lang="de-DE" sz="1800" b="0" i="1" u="none" strike="noStrike" kern="1200" cap="none" spc="0" normalizeH="0" baseline="30000" noProof="0" dirty="0">
                <a:ln>
                  <a:noFill/>
                </a:ln>
                <a:solidFill>
                  <a:srgbClr val="000000"/>
                </a:solidFill>
                <a:effectLst/>
                <a:uLnTx/>
                <a:uFillTx/>
                <a:latin typeface="Arial"/>
                <a:ea typeface="MS PGothic" pitchFamily="34" charset="-128"/>
                <a:cs typeface="ＭＳ Ｐゴシック" charset="-128"/>
              </a:rPr>
              <a:t>31</a:t>
            </a:r>
            <a:endPar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1" i="1" u="none" strike="noStrike" kern="1200" cap="none" spc="0" normalizeH="0" baseline="0" noProof="0" dirty="0">
                <a:ln>
                  <a:noFill/>
                </a:ln>
                <a:solidFill>
                  <a:srgbClr val="FF0000"/>
                </a:solidFill>
                <a:effectLst/>
                <a:uLnTx/>
                <a:uFillTx/>
                <a:latin typeface="Arial"/>
                <a:ea typeface="MS PGothic" pitchFamily="34" charset="-128"/>
                <a:cs typeface="ＭＳ Ｐゴシック" charset="-128"/>
              </a:rPr>
              <a:t>S. pneumoniae</a:t>
            </a:r>
            <a:r>
              <a:rPr kumimoji="0" lang="de-DE" sz="1800" b="1" i="1" u="none" strike="noStrike" kern="1200" cap="none" spc="0" normalizeH="0" baseline="30000" noProof="0" dirty="0">
                <a:ln>
                  <a:noFill/>
                </a:ln>
                <a:solidFill>
                  <a:srgbClr val="FF0000"/>
                </a:solidFill>
                <a:effectLst/>
                <a:uLnTx/>
                <a:uFillTx/>
                <a:latin typeface="Arial"/>
                <a:ea typeface="MS PGothic" pitchFamily="34" charset="-128"/>
                <a:cs typeface="ＭＳ Ｐゴシック" charset="-128"/>
              </a:rPr>
              <a:t>31</a:t>
            </a:r>
            <a:endParaRPr kumimoji="0" lang="de-DE" sz="1800" b="1" i="1" u="none" strike="noStrike" kern="1200" cap="none" spc="0" normalizeH="0" baseline="0" noProof="0" dirty="0">
              <a:ln>
                <a:noFill/>
              </a:ln>
              <a:solidFill>
                <a:srgbClr val="FF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1" i="0"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rPr>
              <a:t>SARS-CoV-2</a:t>
            </a:r>
            <a:r>
              <a:rPr kumimoji="0" lang="de-DE" sz="1800" b="0" i="1" u="none" strike="noStrike" kern="1200" cap="none" spc="0" normalizeH="0" baseline="30000" noProof="0" dirty="0">
                <a:ln>
                  <a:noFill/>
                </a:ln>
                <a:solidFill>
                  <a:srgbClr val="000000"/>
                </a:solidFill>
                <a:effectLst/>
                <a:uLnTx/>
                <a:uFillTx/>
                <a:latin typeface="Arial"/>
                <a:ea typeface="MS PGothic" pitchFamily="34" charset="-128"/>
                <a:cs typeface="ＭＳ Ｐゴシック" charset="-128"/>
              </a:rPr>
              <a:t>31</a:t>
            </a:r>
            <a:endPar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1" i="0"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rPr>
              <a:t>Influenza A, B</a:t>
            </a:r>
            <a:r>
              <a:rPr kumimoji="0" lang="de-DE" sz="1800" b="0" i="1" u="none" strike="noStrike" kern="1200" cap="none" spc="0" normalizeH="0" baseline="30000" noProof="0" dirty="0">
                <a:ln>
                  <a:noFill/>
                </a:ln>
                <a:solidFill>
                  <a:srgbClr val="000000"/>
                </a:solidFill>
                <a:effectLst/>
                <a:uLnTx/>
                <a:uFillTx/>
                <a:latin typeface="Arial"/>
                <a:ea typeface="MS PGothic" pitchFamily="34" charset="-128"/>
                <a:cs typeface="ＭＳ Ｐゴシック" charset="-128"/>
              </a:rPr>
              <a:t>31</a:t>
            </a:r>
            <a:endParaRPr kumimoji="0" lang="de-DE" sz="1800" b="0" i="1" u="none" strike="noStrike" kern="120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de-DE" sz="1800" b="1" i="0" u="none" strike="noStrike" kern="1200" cap="none" spc="0" normalizeH="0" baseline="0" noProof="0" dirty="0">
                <a:ln>
                  <a:noFill/>
                </a:ln>
                <a:solidFill>
                  <a:srgbClr val="FF0000"/>
                </a:solidFill>
                <a:effectLst/>
                <a:uLnTx/>
                <a:uFillTx/>
                <a:latin typeface="Arial"/>
                <a:ea typeface="MS PGothic" pitchFamily="34" charset="-128"/>
                <a:cs typeface="ＭＳ Ｐゴシック" charset="-128"/>
              </a:rPr>
              <a:t>RSV</a:t>
            </a:r>
            <a:r>
              <a:rPr kumimoji="0" lang="de-DE" sz="1800" b="1" i="0" u="none" strike="noStrike" kern="1200" cap="none" spc="0" normalizeH="0" baseline="30000" noProof="0" dirty="0">
                <a:ln>
                  <a:noFill/>
                </a:ln>
                <a:solidFill>
                  <a:srgbClr val="FF0000"/>
                </a:solidFill>
                <a:effectLst/>
                <a:uLnTx/>
                <a:uFillTx/>
                <a:latin typeface="Arial"/>
                <a:ea typeface="MS PGothic" pitchFamily="34" charset="-128"/>
                <a:cs typeface="ＭＳ Ｐゴシック" charset="-128"/>
              </a:rPr>
              <a:t>32</a:t>
            </a:r>
            <a:endParaRPr kumimoji="0" lang="de-DE" sz="1800" b="1" i="0" u="none" strike="noStrike" kern="1200" cap="none" spc="0" normalizeH="0" baseline="0" noProof="0" dirty="0">
              <a:ln>
                <a:noFill/>
              </a:ln>
              <a:solidFill>
                <a:srgbClr val="FF0000"/>
              </a:solidFill>
              <a:effectLst/>
              <a:uLnTx/>
              <a:uFillTx/>
              <a:latin typeface="Arial"/>
              <a:ea typeface="MS PGothic" pitchFamily="34" charset="-128"/>
              <a:cs typeface="ＭＳ Ｐゴシック" charset="-128"/>
            </a:endParaRPr>
          </a:p>
        </p:txBody>
      </p:sp>
      <p:cxnSp>
        <p:nvCxnSpPr>
          <p:cNvPr id="12" name="Straight Connector 11">
            <a:extLst>
              <a:ext uri="{FF2B5EF4-FFF2-40B4-BE49-F238E27FC236}">
                <a16:creationId xmlns:a16="http://schemas.microsoft.com/office/drawing/2014/main" id="{2C61B1C7-CDB3-EA16-F4CC-6F86F055AABD}"/>
              </a:ext>
            </a:extLst>
          </p:cNvPr>
          <p:cNvCxnSpPr/>
          <p:nvPr/>
        </p:nvCxnSpPr>
        <p:spPr>
          <a:xfrm>
            <a:off x="6080442" y="1196874"/>
            <a:ext cx="0" cy="4963886"/>
          </a:xfrm>
          <a:prstGeom prst="line">
            <a:avLst/>
          </a:prstGeom>
          <a:noFill/>
          <a:ln w="25400">
            <a:solidFill>
              <a:srgbClr val="A6A6A6">
                <a:lumMod val="75000"/>
              </a:srgbClr>
            </a:solidFill>
            <a:round/>
            <a:headEnd/>
            <a:tailEnd/>
          </a:ln>
          <a:effectLst/>
        </p:spPr>
      </p:cxnSp>
      <p:sp>
        <p:nvSpPr>
          <p:cNvPr id="13" name="TextBox 12">
            <a:extLst>
              <a:ext uri="{FF2B5EF4-FFF2-40B4-BE49-F238E27FC236}">
                <a16:creationId xmlns:a16="http://schemas.microsoft.com/office/drawing/2014/main" id="{2BF29BDE-01F3-36A6-2469-A4C7FA3090D1}"/>
              </a:ext>
            </a:extLst>
          </p:cNvPr>
          <p:cNvSpPr txBox="1"/>
          <p:nvPr/>
        </p:nvSpPr>
        <p:spPr>
          <a:xfrm>
            <a:off x="734356" y="4018169"/>
            <a:ext cx="4958145" cy="1895904"/>
          </a:xfrm>
          <a:prstGeom prst="rect">
            <a:avLst/>
          </a:prstGeom>
          <a:noFill/>
          <a:ln w="57150">
            <a:solidFill>
              <a:srgbClr val="002060">
                <a:lumMod val="10000"/>
                <a:lumOff val="90000"/>
              </a:srgbClr>
            </a:solidFill>
          </a:ln>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Các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vắc-xin</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hiện</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có</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có</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thể</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giúp</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làm</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giảm</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a:t>
            </a: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en-GB" sz="1800" b="0" i="1"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Viêm</a:t>
            </a:r>
            <a:r>
              <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phổi</a:t>
            </a:r>
            <a:r>
              <a:rPr kumimoji="0" lang="en-GB" sz="1800" b="0" i="1"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3</a:t>
            </a:r>
            <a:endPar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en-GB" sz="1800" b="0" i="1"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Viêm</a:t>
            </a:r>
            <a:r>
              <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tai giữa</a:t>
            </a:r>
            <a:r>
              <a:rPr kumimoji="0" lang="en-GB" sz="1800" b="0" i="1"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3</a:t>
            </a:r>
            <a:endPar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en-GB" sz="1800" b="0" i="1"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Viêm</a:t>
            </a:r>
            <a:r>
              <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1"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khí</a:t>
            </a:r>
            <a:r>
              <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quản</a:t>
            </a:r>
            <a:r>
              <a:rPr kumimoji="0" lang="en-GB" sz="1800" b="0" i="1"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3</a:t>
            </a:r>
            <a:endParaRPr kumimoji="0" lang="en-GB" sz="1800" b="0" i="1"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a:p>
            <a:pPr marL="829987" marR="0" lvl="1" indent="-285750" algn="l" defTabSz="457200" rtl="0" eaLnBrk="0" fontAlgn="base" latinLnBrk="0" hangingPunct="0">
              <a:lnSpc>
                <a:spcPct val="90000"/>
              </a:lnSpc>
              <a:spcBef>
                <a:spcPts val="600"/>
              </a:spcBef>
              <a:spcAft>
                <a:spcPct val="0"/>
              </a:spcAft>
              <a:buClr>
                <a:srgbClr val="95B3D7"/>
              </a:buClr>
              <a:buSzPct val="100000"/>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Di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chứng</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lâu</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dài</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liên</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quan</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đến</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a:t>
            </a:r>
            <a:r>
              <a:rPr kumimoji="0" lang="en-GB" sz="1800" b="0" i="0" u="none" strike="noStrike" kern="0" cap="none" spc="0" normalizeH="0" baseline="0" noProof="0" dirty="0" err="1">
                <a:ln>
                  <a:noFill/>
                </a:ln>
                <a:solidFill>
                  <a:srgbClr val="000000"/>
                </a:solidFill>
                <a:effectLst/>
                <a:uLnTx/>
                <a:uFillTx/>
                <a:latin typeface="Arial"/>
                <a:ea typeface="MS PGothic" pitchFamily="34" charset="-128"/>
                <a:cs typeface="ＭＳ Ｐゴシック" charset="-128"/>
              </a:rPr>
              <a:t>bệnh</a:t>
            </a:r>
            <a:r>
              <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rPr>
              <a:t> lý</a:t>
            </a:r>
            <a:r>
              <a:rPr kumimoji="0" lang="en-GB" sz="1800" b="0" i="0" u="none" strike="noStrike" kern="0" cap="none" spc="0" normalizeH="0" baseline="30000" noProof="0" dirty="0">
                <a:ln>
                  <a:noFill/>
                </a:ln>
                <a:solidFill>
                  <a:srgbClr val="000000"/>
                </a:solidFill>
                <a:effectLst/>
                <a:uLnTx/>
                <a:uFillTx/>
                <a:latin typeface="Arial"/>
                <a:ea typeface="MS PGothic" pitchFamily="34" charset="-128"/>
                <a:cs typeface="ＭＳ Ｐゴシック" charset="-128"/>
              </a:rPr>
              <a:t>34</a:t>
            </a:r>
            <a:endParaRPr kumimoji="0" lang="en-GB" sz="1800" b="0" i="0" u="none" strike="noStrike" kern="0" cap="none" spc="0" normalizeH="0" baseline="0" noProof="0" dirty="0">
              <a:ln>
                <a:noFill/>
              </a:ln>
              <a:solidFill>
                <a:srgbClr val="000000"/>
              </a:solidFill>
              <a:effectLst/>
              <a:uLnTx/>
              <a:uFillTx/>
              <a:latin typeface="Arial"/>
              <a:ea typeface="MS PGothic" pitchFamily="34" charset="-128"/>
              <a:cs typeface="ＭＳ Ｐゴシック" charset="-128"/>
            </a:endParaRPr>
          </a:p>
        </p:txBody>
      </p:sp>
      <p:sp>
        <p:nvSpPr>
          <p:cNvPr id="14" name="TextBox 13">
            <a:extLst>
              <a:ext uri="{FF2B5EF4-FFF2-40B4-BE49-F238E27FC236}">
                <a16:creationId xmlns:a16="http://schemas.microsoft.com/office/drawing/2014/main" id="{9EBBD952-2440-143C-B537-CC9AC362E5E7}"/>
              </a:ext>
            </a:extLst>
          </p:cNvPr>
          <p:cNvSpPr txBox="1"/>
          <p:nvPr/>
        </p:nvSpPr>
        <p:spPr>
          <a:xfrm>
            <a:off x="6468368" y="1144281"/>
            <a:ext cx="3367157" cy="341632"/>
          </a:xfrm>
          <a:prstGeom prst="rect">
            <a:avLst/>
          </a:prstGeom>
          <a:noFill/>
        </p:spPr>
        <p:txBody>
          <a:bodyPr wrap="square" tIns="45720" rtlCol="0">
            <a:spAutoFit/>
          </a:bodyPr>
          <a:lstStyle/>
          <a:p>
            <a:pPr marL="228600" marR="0" lvl="0" indent="-228600" algn="l" defTabSz="457200" rtl="0" eaLnBrk="0" fontAlgn="base" latinLnBrk="0" hangingPunct="0">
              <a:lnSpc>
                <a:spcPct val="90000"/>
              </a:lnSpc>
              <a:spcBef>
                <a:spcPts val="600"/>
              </a:spcBef>
              <a:spcAft>
                <a:spcPct val="0"/>
              </a:spcAft>
              <a:buClr>
                <a:srgbClr val="95B3D7"/>
              </a:buClr>
              <a:buSzPct val="100000"/>
              <a:buFontTx/>
              <a:buNone/>
              <a:tabLst/>
              <a:defRPr/>
            </a:pPr>
            <a:r>
              <a:rPr kumimoji="0" lang="vi-VN" sz="1800" b="0" i="0" u="none" strike="noStrike" kern="1200" cap="none" spc="0" normalizeH="0" baseline="0" noProof="0" dirty="0">
                <a:ln>
                  <a:noFill/>
                </a:ln>
                <a:solidFill>
                  <a:srgbClr val="000000"/>
                </a:solidFill>
                <a:effectLst/>
                <a:highlight>
                  <a:srgbClr val="00FF00"/>
                </a:highlight>
                <a:uLnTx/>
                <a:uFillTx/>
                <a:latin typeface="Arial"/>
                <a:ea typeface="MS PGothic" pitchFamily="34" charset="-128"/>
                <a:cs typeface="ＭＳ Ｐゴシック" charset="-128"/>
              </a:rPr>
              <a:t>Các phương pháp tiêm chủng</a:t>
            </a:r>
            <a:r>
              <a:rPr kumimoji="0" lang="en-GB" sz="1800" b="0" i="0" u="none" strike="noStrike" kern="1200" cap="none" spc="0" normalizeH="0" baseline="0" noProof="0" dirty="0">
                <a:ln>
                  <a:noFill/>
                </a:ln>
                <a:solidFill>
                  <a:srgbClr val="000000"/>
                </a:solidFill>
                <a:effectLst/>
                <a:highlight>
                  <a:srgbClr val="00FF00"/>
                </a:highlight>
                <a:uLnTx/>
                <a:uFillTx/>
                <a:latin typeface="Arial"/>
                <a:ea typeface="MS PGothic" pitchFamily="34" charset="-128"/>
                <a:cs typeface="ＭＳ Ｐゴシック" charset="-128"/>
              </a:rPr>
              <a:t>:</a:t>
            </a:r>
          </a:p>
        </p:txBody>
      </p:sp>
      <p:cxnSp>
        <p:nvCxnSpPr>
          <p:cNvPr id="15" name="Straight Arrow Connector 14">
            <a:extLst>
              <a:ext uri="{FF2B5EF4-FFF2-40B4-BE49-F238E27FC236}">
                <a16:creationId xmlns:a16="http://schemas.microsoft.com/office/drawing/2014/main" id="{5DC371A0-FEBD-1A4E-C2DA-F7A0D7C999D6}"/>
              </a:ext>
            </a:extLst>
          </p:cNvPr>
          <p:cNvCxnSpPr>
            <a:cxnSpLocks/>
            <a:stCxn id="9" idx="2"/>
            <a:endCxn id="6" idx="0"/>
          </p:cNvCxnSpPr>
          <p:nvPr/>
        </p:nvCxnSpPr>
        <p:spPr>
          <a:xfrm>
            <a:off x="9299120" y="5149028"/>
            <a:ext cx="2" cy="481954"/>
          </a:xfrm>
          <a:prstGeom prst="straightConnector1">
            <a:avLst/>
          </a:prstGeom>
          <a:noFill/>
          <a:ln w="38100">
            <a:solidFill>
              <a:srgbClr val="003FE2"/>
            </a:solidFill>
            <a:round/>
            <a:headEnd/>
            <a:tailEnd type="triangle"/>
          </a:ln>
          <a:effectLst/>
        </p:spPr>
      </p:cxnSp>
      <p:sp>
        <p:nvSpPr>
          <p:cNvPr id="16" name="TextBox 15">
            <a:extLst>
              <a:ext uri="{FF2B5EF4-FFF2-40B4-BE49-F238E27FC236}">
                <a16:creationId xmlns:a16="http://schemas.microsoft.com/office/drawing/2014/main" id="{244719E0-9809-7FF5-1052-CC860B4DBBBD}"/>
              </a:ext>
            </a:extLst>
          </p:cNvPr>
          <p:cNvSpPr txBox="1"/>
          <p:nvPr/>
        </p:nvSpPr>
        <p:spPr>
          <a:xfrm>
            <a:off x="420745" y="6092647"/>
            <a:ext cx="5675255" cy="70788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31. WHO (2023). Summary of WHO Position Papers – Recommendations for Routine Immunization. Available at: https://cdn.who.int/media/docs/default-source/immunization/immunization_schedules/table_1_feb_2023_english.pdf?sfvrsn=c7de0e97_11&amp;download=true Accessed August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32. WHO Respiratory Syncytial Virus disease. Available at: https://www.who.int/teams/health-product-policy-and-standards/standards-and-specifications/vaccine-standardization/respiratory-syncytial-virus-disease Accessed August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33. de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Sévaux</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JL, Venekamp RP,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Lutje</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V, Hak E,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Schilder</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AG, Sanders EA,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Damoiseaux</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RA. Pneumococcal conjugate vaccines for preventing acute otitis media in children. Cochrane Database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Syst</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Rev. 2020 Nov 24;11(11):CD001480.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doi</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10.1002/14651858.CD001480.pub6. PMID: 33231293; PMCID: PMC80968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34. </a:t>
            </a:r>
            <a:r>
              <a:rPr kumimoji="0" lang="en-GB" sz="500" b="0" i="0" u="none" strike="noStrike" kern="0" cap="none" spc="0" normalizeH="0" baseline="0" noProof="0" dirty="0" err="1">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Català</a:t>
            </a:r>
            <a:r>
              <a:rPr kumimoji="0" lang="en-GB" sz="5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 M. et al. (2024) ‘The effectiveness of covid-19 vaccines to prevent long covid symptoms: Staggered cohort study of data from the UK, Spain, and Estonia’, The Lancet Respiratory Medicine, 12(3), pp. 225–236. doi:10.1016/s2213-2600(23)00414-9. </a:t>
            </a:r>
          </a:p>
        </p:txBody>
      </p:sp>
    </p:spTree>
    <p:extLst>
      <p:ext uri="{BB962C8B-B14F-4D97-AF65-F5344CB8AC3E}">
        <p14:creationId xmlns:p14="http://schemas.microsoft.com/office/powerpoint/2010/main" val="12834009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FA9E21A-B775-4DB3-9542-C9D8089D7DEA}"/>
              </a:ext>
            </a:extLst>
          </p:cNvPr>
          <p:cNvSpPr>
            <a:spLocks noGrp="1"/>
          </p:cNvSpPr>
          <p:nvPr>
            <p:ph type="title" idx="4294967295"/>
          </p:nvPr>
        </p:nvSpPr>
        <p:spPr>
          <a:xfrm>
            <a:off x="179714" y="191951"/>
            <a:ext cx="11748977" cy="1042783"/>
          </a:xfrm>
        </p:spPr>
        <p:txBody>
          <a:bodyPr anchor="ctr">
            <a:noAutofit/>
          </a:bodyPr>
          <a:lstStyle/>
          <a:p>
            <a:pPr algn="ct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Tiêm</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phòng</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úm</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ho</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người</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bệnh</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mạch</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vành</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va</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suy</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tim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được</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khuyến</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cáo</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latin typeface="Calibri" panose="020F0502020204030204" pitchFamily="34" charset="0"/>
                <a:ea typeface="Calibri" panose="020F0502020204030204" pitchFamily="34" charset="0"/>
                <a:cs typeface="Calibri" panose="020F0502020204030204" pitchFamily="34" charset="0"/>
              </a:rPr>
              <a:t>bởi</a:t>
            </a:r>
            <a: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t> </a:t>
            </a:r>
            <a:br>
              <a:rPr lang="en-US" sz="2800" b="1" cap="none"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Hội</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tim Châu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Âu</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Trường</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môn</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tim/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Hiệp</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Hội</a:t>
            </a:r>
            <a:r>
              <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 Tim Hoa </a:t>
            </a:r>
            <a:r>
              <a:rPr lang="en-US" sz="2800" b="1" cap="none" dirty="0" err="1">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rPr>
              <a:t>Kỳ</a:t>
            </a:r>
            <a:endParaRPr lang="en-US" sz="2800" b="1" cap="none" dirty="0">
              <a:solidFill>
                <a:srgbClr val="002060"/>
              </a:solidFill>
              <a:highlight>
                <a:srgbClr val="00FF00"/>
              </a:highlight>
              <a:latin typeface="Calibri" panose="020F0502020204030204" pitchFamily="34" charset="0"/>
              <a:ea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9EA4EE91-EEDC-48AA-8D0D-3DAA54B1FAA2}"/>
              </a:ext>
            </a:extLst>
          </p:cNvPr>
          <p:cNvPicPr>
            <a:picLocks noChangeAspect="1"/>
          </p:cNvPicPr>
          <p:nvPr/>
        </p:nvPicPr>
        <p:blipFill rotWithShape="1">
          <a:blip r:embed="rId2"/>
          <a:srcRect b="25724"/>
          <a:stretch/>
        </p:blipFill>
        <p:spPr>
          <a:xfrm>
            <a:off x="268503" y="1748723"/>
            <a:ext cx="4760698" cy="1129086"/>
          </a:xfrm>
          <a:prstGeom prst="rect">
            <a:avLst/>
          </a:prstGeom>
          <a:ln>
            <a:noFill/>
          </a:ln>
          <a:effectLst/>
        </p:spPr>
      </p:pic>
      <p:graphicFrame>
        <p:nvGraphicFramePr>
          <p:cNvPr id="10" name="Table 9">
            <a:extLst>
              <a:ext uri="{FF2B5EF4-FFF2-40B4-BE49-F238E27FC236}">
                <a16:creationId xmlns:a16="http://schemas.microsoft.com/office/drawing/2014/main" id="{03F6D436-9C8A-4A49-BE18-805825454869}"/>
              </a:ext>
            </a:extLst>
          </p:cNvPr>
          <p:cNvGraphicFramePr>
            <a:graphicFrameLocks noGrp="1"/>
          </p:cNvGraphicFramePr>
          <p:nvPr/>
        </p:nvGraphicFramePr>
        <p:xfrm>
          <a:off x="179714" y="2977369"/>
          <a:ext cx="5089339" cy="1402080"/>
        </p:xfrm>
        <a:graphic>
          <a:graphicData uri="http://schemas.openxmlformats.org/drawingml/2006/table">
            <a:tbl>
              <a:tblPr firstRow="1" bandRow="1">
                <a:tableStyleId>{5940675A-B579-460E-94D1-54222C63F5DA}</a:tableStyleId>
              </a:tblPr>
              <a:tblGrid>
                <a:gridCol w="3566545">
                  <a:extLst>
                    <a:ext uri="{9D8B030D-6E8A-4147-A177-3AD203B41FA5}">
                      <a16:colId xmlns:a16="http://schemas.microsoft.com/office/drawing/2014/main" val="1296018190"/>
                    </a:ext>
                  </a:extLst>
                </a:gridCol>
                <a:gridCol w="761397">
                  <a:extLst>
                    <a:ext uri="{9D8B030D-6E8A-4147-A177-3AD203B41FA5}">
                      <a16:colId xmlns:a16="http://schemas.microsoft.com/office/drawing/2014/main" val="593470513"/>
                    </a:ext>
                  </a:extLst>
                </a:gridCol>
                <a:gridCol w="761397">
                  <a:extLst>
                    <a:ext uri="{9D8B030D-6E8A-4147-A177-3AD203B41FA5}">
                      <a16:colId xmlns:a16="http://schemas.microsoft.com/office/drawing/2014/main" val="2592017323"/>
                    </a:ext>
                  </a:extLst>
                </a:gridCol>
              </a:tblGrid>
              <a:tr h="298546">
                <a:tc>
                  <a:txBody>
                    <a:bodyPr/>
                    <a:lstStyle/>
                    <a:p>
                      <a:r>
                        <a:rPr lang="en-US" sz="1600" b="1" dirty="0">
                          <a:solidFill>
                            <a:schemeClr val="tx1"/>
                          </a:solidFill>
                        </a:rPr>
                        <a:t>Recommendation</a:t>
                      </a:r>
                      <a:endParaRPr lang="en-US" sz="1600" b="1" dirty="0">
                        <a:solidFill>
                          <a:schemeClr val="tx1"/>
                        </a:solidFill>
                        <a:latin typeface="+mj-lt"/>
                      </a:endParaRPr>
                    </a:p>
                  </a:txBody>
                  <a:tcPr>
                    <a:solidFill>
                      <a:schemeClr val="bg1"/>
                    </a:solidFill>
                  </a:tcPr>
                </a:tc>
                <a:tc>
                  <a:txBody>
                    <a:bodyPr/>
                    <a:lstStyle/>
                    <a:p>
                      <a:pPr algn="ctr"/>
                      <a:r>
                        <a:rPr lang="en-US" sz="1600" b="1" dirty="0">
                          <a:solidFill>
                            <a:schemeClr val="tx1"/>
                          </a:solidFill>
                        </a:rPr>
                        <a:t>Class</a:t>
                      </a:r>
                      <a:endParaRPr lang="en-US" sz="1600" b="1" dirty="0">
                        <a:solidFill>
                          <a:schemeClr val="tx1"/>
                        </a:solidFill>
                        <a:latin typeface="+mj-lt"/>
                      </a:endParaRPr>
                    </a:p>
                  </a:txBody>
                  <a:tcPr>
                    <a:solidFill>
                      <a:schemeClr val="bg1"/>
                    </a:solidFill>
                  </a:tcPr>
                </a:tc>
                <a:tc>
                  <a:txBody>
                    <a:bodyPr/>
                    <a:lstStyle/>
                    <a:p>
                      <a:pPr algn="ctr"/>
                      <a:r>
                        <a:rPr lang="en-US" sz="1600" b="1" dirty="0">
                          <a:solidFill>
                            <a:schemeClr val="tx1"/>
                          </a:solidFill>
                        </a:rPr>
                        <a:t>Level</a:t>
                      </a:r>
                      <a:endParaRPr lang="en-US" sz="1600" b="1" dirty="0">
                        <a:solidFill>
                          <a:schemeClr val="tx1"/>
                        </a:solidFill>
                        <a:latin typeface="+mj-lt"/>
                      </a:endParaRPr>
                    </a:p>
                  </a:txBody>
                  <a:tcPr>
                    <a:solidFill>
                      <a:schemeClr val="bg1"/>
                    </a:solidFill>
                  </a:tcPr>
                </a:tc>
                <a:extLst>
                  <a:ext uri="{0D108BD9-81ED-4DB2-BD59-A6C34878D82A}">
                    <a16:rowId xmlns:a16="http://schemas.microsoft.com/office/drawing/2014/main" val="2031181940"/>
                  </a:ext>
                </a:extLst>
              </a:tr>
              <a:tr h="842985">
                <a:tc>
                  <a:txBody>
                    <a:bodyPr/>
                    <a:lstStyle/>
                    <a:p>
                      <a:pPr lvl="0"/>
                      <a:r>
                        <a:rPr lang="en-US" sz="1600" dirty="0">
                          <a:solidFill>
                            <a:schemeClr val="tx1"/>
                          </a:solidFill>
                        </a:rPr>
                        <a:t>2019 ESC guidelines: Annual influenza vaccination is recommended for patients with chronic coronary syndromes especially in elderly</a:t>
                      </a:r>
                      <a:endParaRPr lang="en-US" sz="1600" dirty="0">
                        <a:solidFill>
                          <a:schemeClr val="tx1"/>
                        </a:solidFill>
                        <a:latin typeface="+mj-lt"/>
                      </a:endParaRPr>
                    </a:p>
                  </a:txBody>
                  <a:tcPr>
                    <a:solidFill>
                      <a:schemeClr val="bg1"/>
                    </a:solidFill>
                  </a:tcPr>
                </a:tc>
                <a:tc>
                  <a:txBody>
                    <a:bodyPr/>
                    <a:lstStyle/>
                    <a:p>
                      <a:pPr algn="ctr"/>
                      <a:r>
                        <a:rPr lang="en-US" sz="1600" dirty="0">
                          <a:solidFill>
                            <a:schemeClr val="tx1"/>
                          </a:solidFill>
                        </a:rPr>
                        <a:t>I</a:t>
                      </a:r>
                      <a:endParaRPr lang="en-US" sz="1600" dirty="0">
                        <a:solidFill>
                          <a:schemeClr val="tx1"/>
                        </a:solidFill>
                        <a:latin typeface="+mj-lt"/>
                      </a:endParaRPr>
                    </a:p>
                  </a:txBody>
                  <a:tcPr>
                    <a:solidFill>
                      <a:schemeClr val="bg1"/>
                    </a:solidFill>
                  </a:tcPr>
                </a:tc>
                <a:tc>
                  <a:txBody>
                    <a:bodyPr/>
                    <a:lstStyle/>
                    <a:p>
                      <a:pPr algn="ctr"/>
                      <a:r>
                        <a:rPr lang="en-US" sz="1600" dirty="0">
                          <a:solidFill>
                            <a:schemeClr val="tx1"/>
                          </a:solidFill>
                        </a:rPr>
                        <a:t>B</a:t>
                      </a:r>
                      <a:endParaRPr lang="en-US" sz="1600" dirty="0">
                        <a:solidFill>
                          <a:schemeClr val="tx1"/>
                        </a:solidFill>
                        <a:latin typeface="+mj-lt"/>
                      </a:endParaRPr>
                    </a:p>
                  </a:txBody>
                  <a:tcPr>
                    <a:solidFill>
                      <a:schemeClr val="bg1"/>
                    </a:solidFill>
                  </a:tcPr>
                </a:tc>
                <a:extLst>
                  <a:ext uri="{0D108BD9-81ED-4DB2-BD59-A6C34878D82A}">
                    <a16:rowId xmlns:a16="http://schemas.microsoft.com/office/drawing/2014/main" val="4132511469"/>
                  </a:ext>
                </a:extLst>
              </a:tr>
            </a:tbl>
          </a:graphicData>
        </a:graphic>
      </p:graphicFrame>
      <p:grpSp>
        <p:nvGrpSpPr>
          <p:cNvPr id="3" name="Group 2">
            <a:extLst>
              <a:ext uri="{FF2B5EF4-FFF2-40B4-BE49-F238E27FC236}">
                <a16:creationId xmlns:a16="http://schemas.microsoft.com/office/drawing/2014/main" id="{477C583A-1A72-A6B3-C3D7-AF3B01651F55}"/>
              </a:ext>
            </a:extLst>
          </p:cNvPr>
          <p:cNvGrpSpPr/>
          <p:nvPr/>
        </p:nvGrpSpPr>
        <p:grpSpPr>
          <a:xfrm>
            <a:off x="5367585" y="1523005"/>
            <a:ext cx="4127242" cy="2852234"/>
            <a:chOff x="6213824" y="1850737"/>
            <a:chExt cx="5889593" cy="4472164"/>
          </a:xfrm>
        </p:grpSpPr>
        <p:sp>
          <p:nvSpPr>
            <p:cNvPr id="16" name="Rectangle 15">
              <a:extLst>
                <a:ext uri="{FF2B5EF4-FFF2-40B4-BE49-F238E27FC236}">
                  <a16:creationId xmlns:a16="http://schemas.microsoft.com/office/drawing/2014/main" id="{77645BD3-9B14-4618-AB21-2EA75CB1E2D1}"/>
                </a:ext>
              </a:extLst>
            </p:cNvPr>
            <p:cNvSpPr/>
            <p:nvPr/>
          </p:nvSpPr>
          <p:spPr>
            <a:xfrm>
              <a:off x="6213824" y="1850737"/>
              <a:ext cx="5889593" cy="447216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875CBFD5-A5C9-4BF4-AFB0-54096A0ACCFC}"/>
                </a:ext>
              </a:extLst>
            </p:cNvPr>
            <p:cNvPicPr>
              <a:picLocks noChangeAspect="1"/>
            </p:cNvPicPr>
            <p:nvPr/>
          </p:nvPicPr>
          <p:blipFill rotWithShape="1">
            <a:blip r:embed="rId3"/>
            <a:srcRect b="39456"/>
            <a:stretch/>
          </p:blipFill>
          <p:spPr>
            <a:xfrm>
              <a:off x="6290585" y="1905000"/>
              <a:ext cx="5498119" cy="1578264"/>
            </a:xfrm>
            <a:prstGeom prst="rect">
              <a:avLst/>
            </a:prstGeom>
          </p:spPr>
        </p:pic>
        <p:grpSp>
          <p:nvGrpSpPr>
            <p:cNvPr id="4" name="Group 3">
              <a:extLst>
                <a:ext uri="{FF2B5EF4-FFF2-40B4-BE49-F238E27FC236}">
                  <a16:creationId xmlns:a16="http://schemas.microsoft.com/office/drawing/2014/main" id="{928130FF-CF2B-B383-BEAD-FF33940E1B35}"/>
                </a:ext>
              </a:extLst>
            </p:cNvPr>
            <p:cNvGrpSpPr/>
            <p:nvPr/>
          </p:nvGrpSpPr>
          <p:grpSpPr>
            <a:xfrm>
              <a:off x="6324107" y="4605920"/>
              <a:ext cx="5447273" cy="1702932"/>
              <a:chOff x="6487474" y="4279413"/>
              <a:chExt cx="5447273" cy="1702932"/>
            </a:xfrm>
          </p:grpSpPr>
          <p:pic>
            <p:nvPicPr>
              <p:cNvPr id="14" name="Picture 13">
                <a:extLst>
                  <a:ext uri="{FF2B5EF4-FFF2-40B4-BE49-F238E27FC236}">
                    <a16:creationId xmlns:a16="http://schemas.microsoft.com/office/drawing/2014/main" id="{44B8D5AE-A7B5-4A5A-B691-2DDFB762F999}"/>
                  </a:ext>
                </a:extLst>
              </p:cNvPr>
              <p:cNvPicPr>
                <a:picLocks noChangeAspect="1"/>
              </p:cNvPicPr>
              <p:nvPr/>
            </p:nvPicPr>
            <p:blipFill rotWithShape="1">
              <a:blip r:embed="rId4"/>
              <a:srcRect t="70666"/>
              <a:stretch/>
            </p:blipFill>
            <p:spPr>
              <a:xfrm>
                <a:off x="6487474" y="4279413"/>
                <a:ext cx="5447273" cy="1702932"/>
              </a:xfrm>
              <a:prstGeom prst="rect">
                <a:avLst/>
              </a:prstGeom>
            </p:spPr>
          </p:pic>
          <p:sp>
            <p:nvSpPr>
              <p:cNvPr id="12" name="Rectangle 11">
                <a:extLst>
                  <a:ext uri="{FF2B5EF4-FFF2-40B4-BE49-F238E27FC236}">
                    <a16:creationId xmlns:a16="http://schemas.microsoft.com/office/drawing/2014/main" id="{0F7EF613-0FB3-451E-AA2A-9CEC30E38147}"/>
                  </a:ext>
                </a:extLst>
              </p:cNvPr>
              <p:cNvSpPr/>
              <p:nvPr/>
            </p:nvSpPr>
            <p:spPr>
              <a:xfrm>
                <a:off x="6560952" y="4279413"/>
                <a:ext cx="5352072" cy="897020"/>
              </a:xfrm>
              <a:prstGeom prst="rect">
                <a:avLst/>
              </a:prstGeom>
              <a:noFill/>
              <a:ln w="19050">
                <a:solidFill>
                  <a:srgbClr val="EE7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2400" dirty="0">
                  <a:solidFill>
                    <a:prstClr val="white"/>
                  </a:solidFill>
                  <a:latin typeface="Georgia"/>
                </a:endParaRPr>
              </a:p>
            </p:txBody>
          </p:sp>
        </p:grpSp>
        <p:pic>
          <p:nvPicPr>
            <p:cNvPr id="13" name="Picture 12">
              <a:extLst>
                <a:ext uri="{FF2B5EF4-FFF2-40B4-BE49-F238E27FC236}">
                  <a16:creationId xmlns:a16="http://schemas.microsoft.com/office/drawing/2014/main" id="{1F3CEAE4-3219-4E6D-9356-D694EFA83C02}"/>
                </a:ext>
              </a:extLst>
            </p:cNvPr>
            <p:cNvPicPr>
              <a:picLocks noChangeAspect="1"/>
            </p:cNvPicPr>
            <p:nvPr/>
          </p:nvPicPr>
          <p:blipFill rotWithShape="1">
            <a:blip r:embed="rId4"/>
            <a:srcRect b="79110"/>
            <a:stretch/>
          </p:blipFill>
          <p:spPr>
            <a:xfrm>
              <a:off x="6324113" y="3316178"/>
              <a:ext cx="5447273" cy="1212711"/>
            </a:xfrm>
            <a:prstGeom prst="rect">
              <a:avLst/>
            </a:prstGeom>
          </p:spPr>
        </p:pic>
      </p:grpSp>
      <p:sp>
        <p:nvSpPr>
          <p:cNvPr id="2" name="Rectangle 1">
            <a:extLst>
              <a:ext uri="{FF2B5EF4-FFF2-40B4-BE49-F238E27FC236}">
                <a16:creationId xmlns:a16="http://schemas.microsoft.com/office/drawing/2014/main" id="{72F001B3-5387-4D97-8C13-51D3883A4382}"/>
              </a:ext>
            </a:extLst>
          </p:cNvPr>
          <p:cNvSpPr/>
          <p:nvPr/>
        </p:nvSpPr>
        <p:spPr>
          <a:xfrm>
            <a:off x="195933" y="1523004"/>
            <a:ext cx="5099081" cy="2852234"/>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20C1E27-F031-D449-CA1A-F4E2AECF9743}"/>
              </a:ext>
            </a:extLst>
          </p:cNvPr>
          <p:cNvPicPr>
            <a:picLocks noChangeAspect="1"/>
          </p:cNvPicPr>
          <p:nvPr/>
        </p:nvPicPr>
        <p:blipFill>
          <a:blip r:embed="rId5"/>
          <a:stretch>
            <a:fillRect/>
          </a:stretch>
        </p:blipFill>
        <p:spPr>
          <a:xfrm>
            <a:off x="114950" y="4447577"/>
            <a:ext cx="4127242" cy="1659678"/>
          </a:xfrm>
          <a:prstGeom prst="rect">
            <a:avLst/>
          </a:prstGeom>
        </p:spPr>
      </p:pic>
      <p:grpSp>
        <p:nvGrpSpPr>
          <p:cNvPr id="6" name="Group 5">
            <a:extLst>
              <a:ext uri="{FF2B5EF4-FFF2-40B4-BE49-F238E27FC236}">
                <a16:creationId xmlns:a16="http://schemas.microsoft.com/office/drawing/2014/main" id="{564F7F55-1F36-9E4A-12DB-2B64F13F7FDB}"/>
              </a:ext>
            </a:extLst>
          </p:cNvPr>
          <p:cNvGrpSpPr/>
          <p:nvPr/>
        </p:nvGrpSpPr>
        <p:grpSpPr>
          <a:xfrm>
            <a:off x="4281156" y="4493629"/>
            <a:ext cx="6392657" cy="2172420"/>
            <a:chOff x="1741250" y="3429000"/>
            <a:chExt cx="8900809" cy="3220939"/>
          </a:xfrm>
        </p:grpSpPr>
        <p:pic>
          <p:nvPicPr>
            <p:cNvPr id="7" name="Picture 6">
              <a:extLst>
                <a:ext uri="{FF2B5EF4-FFF2-40B4-BE49-F238E27FC236}">
                  <a16:creationId xmlns:a16="http://schemas.microsoft.com/office/drawing/2014/main" id="{8C4B4C69-1661-518A-AA99-EE5E90380008}"/>
                </a:ext>
              </a:extLst>
            </p:cNvPr>
            <p:cNvPicPr>
              <a:picLocks noChangeAspect="1"/>
            </p:cNvPicPr>
            <p:nvPr/>
          </p:nvPicPr>
          <p:blipFill>
            <a:blip r:embed="rId6"/>
            <a:stretch>
              <a:fillRect/>
            </a:stretch>
          </p:blipFill>
          <p:spPr>
            <a:xfrm>
              <a:off x="1921599" y="3429000"/>
              <a:ext cx="8348802" cy="3220939"/>
            </a:xfrm>
            <a:prstGeom prst="rect">
              <a:avLst/>
            </a:prstGeom>
          </p:spPr>
        </p:pic>
        <p:sp>
          <p:nvSpPr>
            <p:cNvPr id="15" name="Rectangle 14">
              <a:extLst>
                <a:ext uri="{FF2B5EF4-FFF2-40B4-BE49-F238E27FC236}">
                  <a16:creationId xmlns:a16="http://schemas.microsoft.com/office/drawing/2014/main" id="{1E7C6F16-C685-2C98-D53C-13C77BB69503}"/>
                </a:ext>
              </a:extLst>
            </p:cNvPr>
            <p:cNvSpPr/>
            <p:nvPr/>
          </p:nvSpPr>
          <p:spPr>
            <a:xfrm>
              <a:off x="1741250" y="5525311"/>
              <a:ext cx="8900809" cy="508126"/>
            </a:xfrm>
            <a:prstGeom prst="rect">
              <a:avLst/>
            </a:prstGeom>
            <a:noFill/>
            <a:ln w="19050">
              <a:solidFill>
                <a:srgbClr val="EE7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2400" dirty="0">
                <a:solidFill>
                  <a:prstClr val="white"/>
                </a:solidFill>
                <a:latin typeface="Georgia"/>
              </a:endParaRPr>
            </a:p>
          </p:txBody>
        </p:sp>
      </p:grpSp>
    </p:spTree>
    <p:extLst>
      <p:ext uri="{BB962C8B-B14F-4D97-AF65-F5344CB8AC3E}">
        <p14:creationId xmlns:p14="http://schemas.microsoft.com/office/powerpoint/2010/main" val="287860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2104511-C073-098E-1320-4290F1050027}"/>
              </a:ext>
            </a:extLst>
          </p:cNvPr>
          <p:cNvGrpSpPr/>
          <p:nvPr/>
        </p:nvGrpSpPr>
        <p:grpSpPr>
          <a:xfrm>
            <a:off x="1231834" y="697208"/>
            <a:ext cx="9470781" cy="3034814"/>
            <a:chOff x="721472" y="1066662"/>
            <a:chExt cx="9470781" cy="3034814"/>
          </a:xfrm>
        </p:grpSpPr>
        <p:pic>
          <p:nvPicPr>
            <p:cNvPr id="11" name="Picture 10" descr="A screenshot of a medical form&#10;&#10;Description automatically generated">
              <a:extLst>
                <a:ext uri="{FF2B5EF4-FFF2-40B4-BE49-F238E27FC236}">
                  <a16:creationId xmlns:a16="http://schemas.microsoft.com/office/drawing/2014/main" id="{D88C2A4D-5687-73F1-1709-BD9527A0078F}"/>
                </a:ext>
              </a:extLst>
            </p:cNvPr>
            <p:cNvPicPr>
              <a:picLocks noChangeAspect="1"/>
            </p:cNvPicPr>
            <p:nvPr/>
          </p:nvPicPr>
          <p:blipFill rotWithShape="1">
            <a:blip r:embed="rId2"/>
            <a:srcRect b="4433"/>
            <a:stretch/>
          </p:blipFill>
          <p:spPr>
            <a:xfrm>
              <a:off x="5414746" y="1066662"/>
              <a:ext cx="4777507" cy="3034814"/>
            </a:xfrm>
            <a:prstGeom prst="rect">
              <a:avLst/>
            </a:prstGeom>
          </p:spPr>
        </p:pic>
        <p:pic>
          <p:nvPicPr>
            <p:cNvPr id="5" name="Picture 4" descr="A close-up of a text&#10;&#10;Description automatically generated">
              <a:extLst>
                <a:ext uri="{FF2B5EF4-FFF2-40B4-BE49-F238E27FC236}">
                  <a16:creationId xmlns:a16="http://schemas.microsoft.com/office/drawing/2014/main" id="{A4D2BD82-CD9E-794B-F1EC-E5FA8310CE5C}"/>
                </a:ext>
              </a:extLst>
            </p:cNvPr>
            <p:cNvPicPr>
              <a:picLocks noChangeAspect="1"/>
            </p:cNvPicPr>
            <p:nvPr/>
          </p:nvPicPr>
          <p:blipFill>
            <a:blip r:embed="rId3"/>
            <a:stretch>
              <a:fillRect/>
            </a:stretch>
          </p:blipFill>
          <p:spPr>
            <a:xfrm>
              <a:off x="721472" y="2257057"/>
              <a:ext cx="4582406" cy="1844419"/>
            </a:xfrm>
            <a:prstGeom prst="rect">
              <a:avLst/>
            </a:prstGeom>
          </p:spPr>
        </p:pic>
      </p:grpSp>
      <p:pic>
        <p:nvPicPr>
          <p:cNvPr id="23" name="Picture 22">
            <a:extLst>
              <a:ext uri="{FF2B5EF4-FFF2-40B4-BE49-F238E27FC236}">
                <a16:creationId xmlns:a16="http://schemas.microsoft.com/office/drawing/2014/main" id="{001352D7-6C1E-709E-DB06-33200BFF54FA}"/>
              </a:ext>
            </a:extLst>
          </p:cNvPr>
          <p:cNvPicPr>
            <a:picLocks noChangeAspect="1"/>
          </p:cNvPicPr>
          <p:nvPr/>
        </p:nvPicPr>
        <p:blipFill rotWithShape="1">
          <a:blip r:embed="rId4"/>
          <a:srcRect l="2273" t="27261" r="3867" b="26303"/>
          <a:stretch/>
        </p:blipFill>
        <p:spPr>
          <a:xfrm>
            <a:off x="553121" y="649361"/>
            <a:ext cx="2381466" cy="1178191"/>
          </a:xfrm>
          <a:prstGeom prst="rect">
            <a:avLst/>
          </a:prstGeom>
        </p:spPr>
      </p:pic>
      <p:grpSp>
        <p:nvGrpSpPr>
          <p:cNvPr id="4" name="Group 3">
            <a:extLst>
              <a:ext uri="{FF2B5EF4-FFF2-40B4-BE49-F238E27FC236}">
                <a16:creationId xmlns:a16="http://schemas.microsoft.com/office/drawing/2014/main" id="{4041D602-E290-567B-CAD2-B17C98EC7EBB}"/>
              </a:ext>
            </a:extLst>
          </p:cNvPr>
          <p:cNvGrpSpPr/>
          <p:nvPr/>
        </p:nvGrpSpPr>
        <p:grpSpPr>
          <a:xfrm>
            <a:off x="1231834" y="3931085"/>
            <a:ext cx="10236165" cy="2462401"/>
            <a:chOff x="721473" y="4281959"/>
            <a:chExt cx="10236165" cy="2462401"/>
          </a:xfrm>
        </p:grpSpPr>
        <p:pic>
          <p:nvPicPr>
            <p:cNvPr id="2" name="Picture 1">
              <a:extLst>
                <a:ext uri="{FF2B5EF4-FFF2-40B4-BE49-F238E27FC236}">
                  <a16:creationId xmlns:a16="http://schemas.microsoft.com/office/drawing/2014/main" id="{D04797B1-9C23-6BC1-D812-872C73D40AF2}"/>
                </a:ext>
              </a:extLst>
            </p:cNvPr>
            <p:cNvPicPr>
              <a:picLocks noChangeAspect="1"/>
            </p:cNvPicPr>
            <p:nvPr/>
          </p:nvPicPr>
          <p:blipFill>
            <a:blip r:embed="rId5"/>
            <a:stretch>
              <a:fillRect/>
            </a:stretch>
          </p:blipFill>
          <p:spPr>
            <a:xfrm>
              <a:off x="5414746" y="4281959"/>
              <a:ext cx="5542892" cy="2462401"/>
            </a:xfrm>
            <a:prstGeom prst="rect">
              <a:avLst/>
            </a:prstGeom>
          </p:spPr>
        </p:pic>
        <p:pic>
          <p:nvPicPr>
            <p:cNvPr id="3" name="Picture 2">
              <a:extLst>
                <a:ext uri="{FF2B5EF4-FFF2-40B4-BE49-F238E27FC236}">
                  <a16:creationId xmlns:a16="http://schemas.microsoft.com/office/drawing/2014/main" id="{EE621924-C34C-E12A-890E-4412A0FA3FC2}"/>
                </a:ext>
              </a:extLst>
            </p:cNvPr>
            <p:cNvPicPr>
              <a:picLocks noChangeAspect="1"/>
            </p:cNvPicPr>
            <p:nvPr/>
          </p:nvPicPr>
          <p:blipFill>
            <a:blip r:embed="rId6"/>
            <a:stretch>
              <a:fillRect/>
            </a:stretch>
          </p:blipFill>
          <p:spPr>
            <a:xfrm>
              <a:off x="721473" y="4281959"/>
              <a:ext cx="4582405" cy="2452182"/>
            </a:xfrm>
            <a:prstGeom prst="rect">
              <a:avLst/>
            </a:prstGeom>
          </p:spPr>
        </p:pic>
      </p:grpSp>
    </p:spTree>
    <p:extLst>
      <p:ext uri="{BB962C8B-B14F-4D97-AF65-F5344CB8AC3E}">
        <p14:creationId xmlns:p14="http://schemas.microsoft.com/office/powerpoint/2010/main" val="143815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F15C6-6FE1-59D6-EA1F-4EB00E35E04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2013E79-7605-97D6-5749-187F9151DE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FF821-6580-7F47-B22F-68A918DC7168}"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20E99A3-9190-1E5D-5730-2A53DB534BC7}"/>
              </a:ext>
            </a:extLst>
          </p:cNvPr>
          <p:cNvSpPr txBox="1"/>
          <p:nvPr/>
        </p:nvSpPr>
        <p:spPr>
          <a:xfrm>
            <a:off x="680074" y="445970"/>
            <a:ext cx="1125792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350"/>
              </a:spcAft>
              <a:buClrTx/>
              <a:buSzTx/>
              <a:buFontTx/>
              <a:buNone/>
              <a:tabLst/>
              <a:defRPr/>
            </a:pPr>
            <a:r>
              <a:rPr kumimoji="0" lang="vi-VN"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huyến cáo ACIP về tiêm vắc-xin phế cầu ở người lớn</a:t>
            </a:r>
          </a:p>
        </p:txBody>
      </p:sp>
      <p:pic>
        <p:nvPicPr>
          <p:cNvPr id="2" name="Picture 1">
            <a:extLst>
              <a:ext uri="{FF2B5EF4-FFF2-40B4-BE49-F238E27FC236}">
                <a16:creationId xmlns:a16="http://schemas.microsoft.com/office/drawing/2014/main" id="{6E556342-9A02-A636-D0B7-65750A8E731D}"/>
              </a:ext>
            </a:extLst>
          </p:cNvPr>
          <p:cNvPicPr>
            <a:picLocks noChangeAspect="1"/>
          </p:cNvPicPr>
          <p:nvPr/>
        </p:nvPicPr>
        <p:blipFill>
          <a:blip r:embed="rId2"/>
          <a:stretch>
            <a:fillRect/>
          </a:stretch>
        </p:blipFill>
        <p:spPr>
          <a:xfrm>
            <a:off x="7086600" y="3678874"/>
            <a:ext cx="4287444" cy="1970814"/>
          </a:xfrm>
          <a:prstGeom prst="rect">
            <a:avLst/>
          </a:prstGeom>
          <a:ln>
            <a:solidFill>
              <a:srgbClr val="0000FF"/>
            </a:solidFill>
          </a:ln>
        </p:spPr>
      </p:pic>
      <p:sp>
        <p:nvSpPr>
          <p:cNvPr id="3" name="TextBox 2">
            <a:extLst>
              <a:ext uri="{FF2B5EF4-FFF2-40B4-BE49-F238E27FC236}">
                <a16:creationId xmlns:a16="http://schemas.microsoft.com/office/drawing/2014/main" id="{B36B1C18-A034-295C-36AA-7F7097612278}"/>
              </a:ext>
            </a:extLst>
          </p:cNvPr>
          <p:cNvSpPr txBox="1"/>
          <p:nvPr/>
        </p:nvSpPr>
        <p:spPr>
          <a:xfrm>
            <a:off x="293593" y="6129910"/>
            <a:ext cx="1126336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3"/>
              </a:rPr>
              <a:t>1. </a:t>
            </a:r>
            <a:r>
              <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3"/>
              </a:rPr>
              <a:t>Pneumococcal Vaccine for Adults Aged ≥19 Years: Recommendations of the Advisory Committee on Immunization Practices, United States, 2023</a:t>
            </a:r>
            <a:r>
              <a:rPr kumimoji="0" lang="vi-VN"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4"/>
              </a:rPr>
              <a:t>MMWR</a:t>
            </a:r>
            <a:endParaRPr kumimoji="0" lang="vi-VN"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4"/>
              </a:rPr>
              <a:t>2. </a:t>
            </a:r>
            <a:r>
              <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hlinkClick r:id="rId4"/>
              </a:rPr>
              <a:t>Expanded Recommendations for Use of Pneumococcal Conjugate Vaccines Among Adults Aged ≥50 Years: Recommendations of the Advisory Committee on Immunization Practices — United States, 2024</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4" name="TextBox 3">
            <a:extLst>
              <a:ext uri="{FF2B5EF4-FFF2-40B4-BE49-F238E27FC236}">
                <a16:creationId xmlns:a16="http://schemas.microsoft.com/office/drawing/2014/main" id="{A9240DB9-7746-BB60-A2CE-F799B9929B92}"/>
              </a:ext>
            </a:extLst>
          </p:cNvPr>
          <p:cNvSpPr txBox="1"/>
          <p:nvPr/>
        </p:nvSpPr>
        <p:spPr>
          <a:xfrm>
            <a:off x="600241" y="1641493"/>
            <a:ext cx="6030685" cy="4462760"/>
          </a:xfrm>
          <a:prstGeom prst="rect">
            <a:avLst/>
          </a:prstGeom>
          <a:solidFill>
            <a:sysClr val="window" lastClr="FFFFFF">
              <a:lumMod val="95000"/>
            </a:sysClr>
          </a:solidFill>
        </p:spPr>
        <p:txBody>
          <a:bodyPr wrap="square" tIns="91440" bIns="0">
            <a:spAutoFit/>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vi-VN" sz="2800" b="1" i="0" u="none" strike="noStrike" kern="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Điểm chính cập nhật</a:t>
            </a:r>
            <a:endParaRPr kumimoji="0" lang="vi-VN" sz="2800" b="0" i="0" u="none" strike="noStrike" kern="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1200"/>
              </a:spcBef>
              <a:spcAft>
                <a:spcPts val="1200"/>
              </a:spcAft>
              <a:buClrTx/>
              <a:buSzTx/>
              <a:buFontTx/>
              <a:buAutoNum type="arabicPeriod"/>
              <a:tabLst/>
              <a:defRPr/>
            </a:pPr>
            <a:r>
              <a:rPr kumimoji="0" lang="vi-VN" sz="2800" b="0" i="0" u="none" strike="noStrike" kern="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ạ thấp độ tuổi nên tiêm ngừa vaccine phế cầu </a:t>
            </a:r>
            <a:r>
              <a:rPr kumimoji="0" lang="vi-VN" sz="2800" b="0" i="0" u="none" strike="noStrike" kern="0" cap="none" spc="0" normalizeH="0" baseline="0" noProof="0" dirty="0">
                <a:ln>
                  <a:noFill/>
                </a:ln>
                <a:solidFill>
                  <a:prstClr val="black"/>
                </a:solidFill>
                <a:effectLst/>
                <a:highlight>
                  <a:srgbClr val="00FF00"/>
                </a:highlight>
                <a:uLnTx/>
                <a:uFillTx/>
                <a:latin typeface="Calibri" panose="020F0502020204030204" pitchFamily="34" charset="0"/>
                <a:ea typeface="Calibri" panose="020F0502020204030204" pitchFamily="34" charset="0"/>
                <a:cs typeface="Calibri" panose="020F0502020204030204" pitchFamily="34" charset="0"/>
              </a:rPr>
              <a:t>từ 65 xuống 50 tuổi</a:t>
            </a:r>
            <a:r>
              <a:rPr kumimoji="0" lang="vi-VN" sz="2800" b="0" i="0" u="none" strike="noStrike" kern="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bất kể có hoặc không có yếu tố nguy cơ</a:t>
            </a:r>
          </a:p>
          <a:p>
            <a:pPr marL="342900" marR="0" lvl="0" indent="-342900" algn="l" defTabSz="914400" rtl="0" eaLnBrk="1" fontAlgn="auto" latinLnBrk="0" hangingPunct="1">
              <a:lnSpc>
                <a:spcPct val="100000"/>
              </a:lnSpc>
              <a:spcBef>
                <a:spcPts val="1200"/>
              </a:spcBef>
              <a:spcAft>
                <a:spcPts val="1200"/>
              </a:spcAft>
              <a:buClrTx/>
              <a:buSzTx/>
              <a:buFontTx/>
              <a:buAutoNum type="arabicPeriod"/>
              <a:tabLst/>
              <a:defRPr/>
            </a:pPr>
            <a:r>
              <a:rPr kumimoji="0" lang="vi-VN" sz="2800" b="0" i="0" u="none" strike="noStrike" kern="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hóm đối tượng 19-49 tuổi có yếu tố nguy cơ</a:t>
            </a:r>
          </a:p>
          <a:p>
            <a:pPr marL="342900" marR="0" lvl="0" indent="-342900" algn="l" defTabSz="914400" rtl="0" eaLnBrk="1" fontAlgn="auto" latinLnBrk="0" hangingPunct="1">
              <a:lnSpc>
                <a:spcPct val="100000"/>
              </a:lnSpc>
              <a:spcBef>
                <a:spcPts val="1200"/>
              </a:spcBef>
              <a:spcAft>
                <a:spcPts val="1200"/>
              </a:spcAft>
              <a:buClrTx/>
              <a:buSzTx/>
              <a:buFontTx/>
              <a:buAutoNum type="arabicPeriod"/>
              <a:tabLst/>
              <a:defRPr/>
            </a:pPr>
            <a:r>
              <a:rPr kumimoji="0" lang="vi-VN" sz="2800" b="0" i="0" u="none" strike="noStrike" kern="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ựa chọn vắc-xin phế cầu</a:t>
            </a:r>
          </a:p>
        </p:txBody>
      </p:sp>
      <p:pic>
        <p:nvPicPr>
          <p:cNvPr id="7" name="Picture 6">
            <a:extLst>
              <a:ext uri="{FF2B5EF4-FFF2-40B4-BE49-F238E27FC236}">
                <a16:creationId xmlns:a16="http://schemas.microsoft.com/office/drawing/2014/main" id="{6A778E3B-465B-1500-9122-2BE1D1C87731}"/>
              </a:ext>
            </a:extLst>
          </p:cNvPr>
          <p:cNvPicPr>
            <a:picLocks noChangeAspect="1"/>
          </p:cNvPicPr>
          <p:nvPr/>
        </p:nvPicPr>
        <p:blipFill>
          <a:blip r:embed="rId5"/>
          <a:stretch>
            <a:fillRect/>
          </a:stretch>
        </p:blipFill>
        <p:spPr>
          <a:xfrm>
            <a:off x="7086600" y="1641493"/>
            <a:ext cx="4287445" cy="1970814"/>
          </a:xfrm>
          <a:prstGeom prst="rect">
            <a:avLst/>
          </a:prstGeom>
          <a:ln>
            <a:solidFill>
              <a:srgbClr val="0000FF"/>
            </a:solidFill>
          </a:ln>
        </p:spPr>
      </p:pic>
    </p:spTree>
    <p:extLst>
      <p:ext uri="{BB962C8B-B14F-4D97-AF65-F5344CB8AC3E}">
        <p14:creationId xmlns:p14="http://schemas.microsoft.com/office/powerpoint/2010/main" val="2128990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DF6F7-6AEA-7D46-2477-46D994F0FC28}"/>
              </a:ext>
            </a:extLst>
          </p:cNvPr>
          <p:cNvSpPr>
            <a:spLocks noGrp="1"/>
          </p:cNvSpPr>
          <p:nvPr>
            <p:ph type="title"/>
          </p:nvPr>
        </p:nvSpPr>
        <p:spPr>
          <a:xfrm>
            <a:off x="223283" y="581283"/>
            <a:ext cx="2711303" cy="5695433"/>
          </a:xfrm>
        </p:spPr>
        <p:txBody>
          <a:bodyPr>
            <a:normAutofit/>
          </a:bodyPr>
          <a:lstStyle/>
          <a:p>
            <a:pPr>
              <a:lnSpc>
                <a:spcPts val="3840"/>
              </a:lnSpc>
              <a:spcBef>
                <a:spcPts val="600"/>
              </a:spcBef>
              <a:spcAft>
                <a:spcPts val="600"/>
              </a:spcAft>
            </a:pPr>
            <a:r>
              <a:rPr lang="vi-VN" sz="3200" b="1" dirty="0">
                <a:solidFill>
                  <a:srgbClr val="002060"/>
                </a:solidFill>
                <a:latin typeface="Calibri" panose="020F0502020204030204" pitchFamily="34" charset="0"/>
                <a:ea typeface="Calibri" panose="020F0502020204030204" pitchFamily="34" charset="0"/>
                <a:cs typeface="Calibri" panose="020F0502020204030204" pitchFamily="34" charset="0"/>
              </a:rPr>
              <a:t>Tiêm chủng như một chiến lược dự phòng tim mạch mới</a:t>
            </a:r>
            <a:br>
              <a:rPr lang="en-US" sz="3600" b="1" dirty="0">
                <a:solidFill>
                  <a:srgbClr val="002060"/>
                </a:solidFill>
                <a:latin typeface="+mn-lt"/>
              </a:rPr>
            </a:br>
            <a:endParaRPr lang="en-US" sz="3600" b="1" dirty="0">
              <a:solidFill>
                <a:srgbClr val="002060"/>
              </a:solidFill>
              <a:latin typeface="+mn-lt"/>
            </a:endParaRPr>
          </a:p>
        </p:txBody>
      </p:sp>
      <p:pic>
        <p:nvPicPr>
          <p:cNvPr id="5" name="Picture 4">
            <a:extLst>
              <a:ext uri="{FF2B5EF4-FFF2-40B4-BE49-F238E27FC236}">
                <a16:creationId xmlns:a16="http://schemas.microsoft.com/office/drawing/2014/main" id="{982516B9-CF39-4B2E-E14B-C7771DDD2F6B}"/>
              </a:ext>
            </a:extLst>
          </p:cNvPr>
          <p:cNvPicPr>
            <a:picLocks noChangeAspect="1"/>
          </p:cNvPicPr>
          <p:nvPr/>
        </p:nvPicPr>
        <p:blipFill>
          <a:blip r:embed="rId2"/>
          <a:stretch>
            <a:fillRect/>
          </a:stretch>
        </p:blipFill>
        <p:spPr>
          <a:xfrm>
            <a:off x="3030278" y="109074"/>
            <a:ext cx="9016413" cy="6639852"/>
          </a:xfrm>
          <a:prstGeom prst="rect">
            <a:avLst/>
          </a:prstGeom>
        </p:spPr>
      </p:pic>
      <p:sp>
        <p:nvSpPr>
          <p:cNvPr id="6" name="TextBox 5">
            <a:extLst>
              <a:ext uri="{FF2B5EF4-FFF2-40B4-BE49-F238E27FC236}">
                <a16:creationId xmlns:a16="http://schemas.microsoft.com/office/drawing/2014/main" id="{EC93587B-3511-4B34-53B0-66878C9CD4E2}"/>
              </a:ext>
            </a:extLst>
          </p:cNvPr>
          <p:cNvSpPr txBox="1"/>
          <p:nvPr/>
        </p:nvSpPr>
        <p:spPr>
          <a:xfrm>
            <a:off x="223283" y="5114260"/>
            <a:ext cx="2232837" cy="738664"/>
          </a:xfrm>
          <a:prstGeom prst="rect">
            <a:avLst/>
          </a:prstGeom>
          <a:noFill/>
        </p:spPr>
        <p:txBody>
          <a:bodyPr wrap="square" rtlCol="0">
            <a:spAutoFit/>
          </a:bodyPr>
          <a:lstStyle/>
          <a:p>
            <a:endParaRPr lang="en-US" sz="1400" b="1" dirty="0"/>
          </a:p>
          <a:p>
            <a:r>
              <a:rPr lang="en-US" sz="1400" b="1" dirty="0"/>
              <a:t> European Heart Journal (2025) 00, 1–14 </a:t>
            </a:r>
          </a:p>
        </p:txBody>
      </p:sp>
    </p:spTree>
    <p:extLst>
      <p:ext uri="{BB962C8B-B14F-4D97-AF65-F5344CB8AC3E}">
        <p14:creationId xmlns:p14="http://schemas.microsoft.com/office/powerpoint/2010/main" val="33224368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F15C6-6FE1-59D6-EA1F-4EB00E35E045}"/>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34B8CC42-35FF-97E0-E7C4-938C022CC581}"/>
              </a:ext>
            </a:extLst>
          </p:cNvPr>
          <p:cNvSpPr txBox="1"/>
          <p:nvPr/>
        </p:nvSpPr>
        <p:spPr>
          <a:xfrm>
            <a:off x="245705" y="6407412"/>
            <a:ext cx="700962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2">
                  <a:extLst>
                    <a:ext uri="{A12FA001-AC4F-418D-AE19-62706E023703}">
                      <ahyp:hlinkClr xmlns:ahyp="http://schemas.microsoft.com/office/drawing/2018/hyperlinkcolor" val="tx"/>
                    </a:ext>
                  </a:extLst>
                </a:hlinkClick>
              </a:rPr>
              <a:t>Pneumococcal Vaccine Recommendations | Pneumococcal | CDC</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ccessed: August 2025</a:t>
            </a:r>
          </a:p>
        </p:txBody>
      </p:sp>
      <p:sp>
        <p:nvSpPr>
          <p:cNvPr id="5" name="Rectangle: Rounded Corners 4">
            <a:extLst>
              <a:ext uri="{FF2B5EF4-FFF2-40B4-BE49-F238E27FC236}">
                <a16:creationId xmlns:a16="http://schemas.microsoft.com/office/drawing/2014/main" id="{969A9940-5F6F-4162-21A4-C3585CFD6CA9}"/>
              </a:ext>
            </a:extLst>
          </p:cNvPr>
          <p:cNvSpPr/>
          <p:nvPr/>
        </p:nvSpPr>
        <p:spPr>
          <a:xfrm>
            <a:off x="96418" y="2355981"/>
            <a:ext cx="12024000" cy="3901837"/>
          </a:xfrm>
          <a:prstGeom prst="roundRect">
            <a:avLst>
              <a:gd name="adj" fmla="val 4628"/>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DA94D997-8617-FFBD-B9AF-AA8F87D80686}"/>
              </a:ext>
            </a:extLst>
          </p:cNvPr>
          <p:cNvSpPr txBox="1"/>
          <p:nvPr/>
        </p:nvSpPr>
        <p:spPr>
          <a:xfrm>
            <a:off x="245705" y="2235036"/>
            <a:ext cx="11688148" cy="3901837"/>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CÁC ĐIỂM CHÍNH</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CDC khuyến nghị tiêm vắc-xin phế cầu khuẩn cho trẻ em dưới 5 tuổi và </a:t>
            </a:r>
            <a:r>
              <a:rPr kumimoji="0" lang="vi-VN"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gười lớn từ 50 tuổi</a:t>
            </a: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trở lên</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CDC cũng khuyến nghị tiêm vắc-xin phế cầu khuẩn cho trẻ em và </a:t>
            </a:r>
            <a:r>
              <a:rPr kumimoji="0" lang="vi-VN"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gười lớn có nguy cơ cao</a:t>
            </a: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mắc bệnh phế cầu khuẩn</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Cần</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0" i="0" u="none" strike="noStrike" kern="1200" cap="none" spc="0" normalizeH="0" baseline="0" noProof="0" dirty="0" err="1">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phải</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t</a:t>
            </a: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uân theo lịch tiêm chủng được khuyến nghị để đảm bảo rằng bệnh nhân của bạn </a:t>
            </a:r>
            <a:r>
              <a:rPr kumimoji="0" lang="en-US" sz="2400" b="0" i="0" u="none" strike="noStrike" kern="1200" cap="none" spc="0" normalizeH="0" baseline="0" noProof="0" dirty="0" err="1">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được</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0" i="0" u="none" strike="noStrike" kern="1200" cap="none" spc="0" normalizeH="0" baseline="0" noProof="0" dirty="0" err="1">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tiêm</a:t>
            </a:r>
            <a:r>
              <a:rPr kumimoji="0" lang="vi-VN"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 các loại vắc-xin phế cầu khuẩn cần thiết</a:t>
            </a:r>
            <a:r>
              <a:rPr kumimoji="0" lang="en-US" sz="2400" b="0" i="0" u="none" strike="noStrike" kern="1200" cap="none" spc="0" normalizeH="0" baseline="0" noProof="0" dirty="0">
                <a:ln>
                  <a:noFill/>
                </a:ln>
                <a:solidFill>
                  <a:srgbClr val="1C1D1F"/>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
        <p:nvSpPr>
          <p:cNvPr id="17" name="TextBox 16">
            <a:extLst>
              <a:ext uri="{FF2B5EF4-FFF2-40B4-BE49-F238E27FC236}">
                <a16:creationId xmlns:a16="http://schemas.microsoft.com/office/drawing/2014/main" id="{A20E99A3-9190-1E5D-5730-2A53DB534BC7}"/>
              </a:ext>
            </a:extLst>
          </p:cNvPr>
          <p:cNvSpPr txBox="1"/>
          <p:nvPr/>
        </p:nvSpPr>
        <p:spPr>
          <a:xfrm>
            <a:off x="49762" y="1687498"/>
            <a:ext cx="1168814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350"/>
              </a:spcAft>
              <a:buClrTx/>
              <a:buSzTx/>
              <a:buFontTx/>
              <a:buNone/>
              <a:tabLst/>
              <a:defRPr/>
            </a:pP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Cập</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nhật</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khuyến</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cáo</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CDC Hoa </a:t>
            </a: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Kỳ</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200" b="1" i="0" u="none" strike="noStrike" kern="1200" cap="none" spc="0" normalizeH="0" baseline="0" noProof="0" dirty="0" err="1">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tháng</a:t>
            </a:r>
            <a:r>
              <a:rPr kumimoji="0" lang="en-US" sz="32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10-2024</a:t>
            </a:r>
          </a:p>
        </p:txBody>
      </p:sp>
      <p:pic>
        <p:nvPicPr>
          <p:cNvPr id="19" name="Picture 18" descr="A blue and black text&#10;&#10;Description automatically generated">
            <a:extLst>
              <a:ext uri="{FF2B5EF4-FFF2-40B4-BE49-F238E27FC236}">
                <a16:creationId xmlns:a16="http://schemas.microsoft.com/office/drawing/2014/main" id="{A41A8326-30D2-BC88-AC74-4A87E3B6A34D}"/>
              </a:ext>
            </a:extLst>
          </p:cNvPr>
          <p:cNvPicPr>
            <a:picLocks noChangeAspect="1"/>
          </p:cNvPicPr>
          <p:nvPr/>
        </p:nvPicPr>
        <p:blipFill>
          <a:blip r:embed="rId3"/>
          <a:srcRect l="644"/>
          <a:stretch/>
        </p:blipFill>
        <p:spPr>
          <a:xfrm>
            <a:off x="0" y="242052"/>
            <a:ext cx="11856097" cy="1442288"/>
          </a:xfrm>
          <a:prstGeom prst="rect">
            <a:avLst/>
          </a:prstGeom>
        </p:spPr>
      </p:pic>
    </p:spTree>
    <p:extLst>
      <p:ext uri="{BB962C8B-B14F-4D97-AF65-F5344CB8AC3E}">
        <p14:creationId xmlns:p14="http://schemas.microsoft.com/office/powerpoint/2010/main" val="33231792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92D83-4F64-3D08-677C-2D016CA029A0}"/>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282DB297-3ABD-1BAF-6808-420E5B8160E5}"/>
              </a:ext>
            </a:extLst>
          </p:cNvPr>
          <p:cNvSpPr txBox="1"/>
          <p:nvPr/>
        </p:nvSpPr>
        <p:spPr>
          <a:xfrm>
            <a:off x="680074" y="501072"/>
            <a:ext cx="1125792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350"/>
              </a:spcAft>
              <a:buClrTx/>
              <a:buSzTx/>
              <a:buFontTx/>
              <a:buNone/>
              <a:tabLst/>
              <a:defRPr/>
            </a:pPr>
            <a:r>
              <a:rPr kumimoji="0" lang="vi-VN"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ướng dẫn thực hành tiêm chủng phế cầu ở người lớn hiện tại</a:t>
            </a:r>
          </a:p>
        </p:txBody>
      </p:sp>
      <p:sp>
        <p:nvSpPr>
          <p:cNvPr id="5" name="Rectangle 4">
            <a:extLst>
              <a:ext uri="{FF2B5EF4-FFF2-40B4-BE49-F238E27FC236}">
                <a16:creationId xmlns:a16="http://schemas.microsoft.com/office/drawing/2014/main" id="{90CEACA3-243D-A959-D1BB-80F31F0C24AC}"/>
              </a:ext>
            </a:extLst>
          </p:cNvPr>
          <p:cNvSpPr>
            <a:spLocks noChangeArrowheads="1"/>
          </p:cNvSpPr>
          <p:nvPr/>
        </p:nvSpPr>
        <p:spPr bwMode="auto">
          <a:xfrm>
            <a:off x="228600" y="181830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charset="0"/>
              <a:ea typeface="+mn-ea"/>
              <a:cs typeface="Calibri" panose="020F0502020204030204" charset="0"/>
            </a:endParaRPr>
          </a:p>
        </p:txBody>
      </p:sp>
      <p:sp>
        <p:nvSpPr>
          <p:cNvPr id="8" name="Rectangle 5">
            <a:extLst>
              <a:ext uri="{FF2B5EF4-FFF2-40B4-BE49-F238E27FC236}">
                <a16:creationId xmlns:a16="http://schemas.microsoft.com/office/drawing/2014/main" id="{008A5604-4FFB-7176-2947-135E5768CFB0}"/>
              </a:ext>
            </a:extLst>
          </p:cNvPr>
          <p:cNvSpPr>
            <a:spLocks noChangeArrowheads="1"/>
          </p:cNvSpPr>
          <p:nvPr/>
        </p:nvSpPr>
        <p:spPr bwMode="auto">
          <a:xfrm>
            <a:off x="228600" y="548225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charset="0"/>
              <a:ea typeface="+mn-ea"/>
              <a:cs typeface="Calibri" panose="020F0502020204030204" charset="0"/>
            </a:endParaRPr>
          </a:p>
        </p:txBody>
      </p:sp>
      <p:sp>
        <p:nvSpPr>
          <p:cNvPr id="9" name="TextBox 8">
            <a:extLst>
              <a:ext uri="{FF2B5EF4-FFF2-40B4-BE49-F238E27FC236}">
                <a16:creationId xmlns:a16="http://schemas.microsoft.com/office/drawing/2014/main" id="{6E57A79A-05FD-9A03-747A-16C5F69DB246}"/>
              </a:ext>
            </a:extLst>
          </p:cNvPr>
          <p:cNvSpPr txBox="1"/>
          <p:nvPr/>
        </p:nvSpPr>
        <p:spPr>
          <a:xfrm>
            <a:off x="266902" y="1445767"/>
            <a:ext cx="3665492"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2400" b="1" i="0" u="none" strike="noStrike" kern="1200" cap="none" spc="0" normalizeH="0" baseline="0" noProof="0" dirty="0">
                <a:ln>
                  <a:noFill/>
                </a:ln>
                <a:solidFill>
                  <a:prstClr val="black"/>
                </a:solidFill>
                <a:effectLst/>
                <a:uLnTx/>
                <a:uFillTx/>
                <a:latin typeface="Calibri" panose="020F0502020204030204" charset="0"/>
                <a:ea typeface="+mn-ea"/>
                <a:cs typeface="+mn-cs"/>
              </a:rPr>
              <a:t>ACIP 2023, trên đối tượng được khuyến cáo tiêm vắc xin phế cầu:</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prstClr val="black"/>
                </a:solidFill>
                <a:effectLst/>
                <a:uLnTx/>
                <a:uFillTx/>
                <a:latin typeface="Calibri" panose="020F0502020204030204" charset="0"/>
                <a:ea typeface="+mn-ea"/>
                <a:cs typeface="Calibri" panose="020F0502020204030204" charset="0"/>
              </a:rPr>
              <a:t>Có thể hoàn thành lịch tiêm chủng với 1 liều PCV20</a:t>
            </a:r>
            <a:r>
              <a:rPr kumimoji="0" lang="vi-VN" sz="2400" b="0" i="0" u="none" strike="noStrike" kern="1200" cap="none" spc="0" normalizeH="0" baseline="30000" noProof="0" dirty="0">
                <a:ln>
                  <a:noFill/>
                </a:ln>
                <a:solidFill>
                  <a:prstClr val="black"/>
                </a:solidFill>
                <a:effectLst/>
                <a:uLnTx/>
                <a:uFillTx/>
                <a:latin typeface="Calibri" panose="020F0502020204030204" charset="0"/>
                <a:ea typeface="+mn-ea"/>
                <a:cs typeface="Calibri" panose="020F0502020204030204" charset="0"/>
              </a:rPr>
              <a:t>1-2</a:t>
            </a:r>
            <a:endParaRPr kumimoji="0" lang="vi-VN" sz="2400" b="0" i="0" u="none" strike="noStrike" kern="1200" cap="none" spc="0" normalizeH="0" baseline="0" noProof="0" dirty="0">
              <a:ln>
                <a:noFill/>
              </a:ln>
              <a:solidFill>
                <a:prstClr val="black"/>
              </a:solidFill>
              <a:effectLst/>
              <a:uLnTx/>
              <a:uFillTx/>
              <a:latin typeface="Calibri" panose="020F0502020204030204" charset="0"/>
              <a:ea typeface="+mn-ea"/>
              <a:cs typeface="Calibri" panose="020F050202020403020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prstClr val="black"/>
                </a:solidFill>
                <a:effectLst/>
                <a:uLnTx/>
                <a:uFillTx/>
                <a:latin typeface="Calibri" panose="020F0502020204030204" charset="0"/>
                <a:ea typeface="+mn-ea"/>
                <a:cs typeface="Calibri" panose="020F0502020204030204" charset="0"/>
              </a:rPr>
              <a:t>Tiền sử tiêm vắc xin khác nhau (PCV13, PPSV23, chưa rõ tiền sử), có thể hoàn thành bằng 1 liều PCV20</a:t>
            </a:r>
            <a:r>
              <a:rPr kumimoji="0" lang="vi-VN" sz="2400" b="0" i="0" u="none" strike="noStrike" kern="1200" cap="none" spc="0" normalizeH="0" baseline="30000" noProof="0" dirty="0">
                <a:ln>
                  <a:noFill/>
                </a:ln>
                <a:solidFill>
                  <a:prstClr val="black"/>
                </a:solidFill>
                <a:effectLst/>
                <a:uLnTx/>
                <a:uFillTx/>
                <a:latin typeface="Calibri" panose="020F0502020204030204" charset="0"/>
                <a:ea typeface="+mn-ea"/>
                <a:cs typeface="Calibri" panose="020F0502020204030204" charset="0"/>
              </a:rPr>
              <a:t>1-2</a:t>
            </a:r>
          </a:p>
        </p:txBody>
      </p:sp>
      <p:grpSp>
        <p:nvGrpSpPr>
          <p:cNvPr id="20" name="Group 19">
            <a:extLst>
              <a:ext uri="{FF2B5EF4-FFF2-40B4-BE49-F238E27FC236}">
                <a16:creationId xmlns:a16="http://schemas.microsoft.com/office/drawing/2014/main" id="{08A54F53-C086-2858-1778-9EFE2506F84D}"/>
              </a:ext>
            </a:extLst>
          </p:cNvPr>
          <p:cNvGrpSpPr/>
          <p:nvPr/>
        </p:nvGrpSpPr>
        <p:grpSpPr>
          <a:xfrm>
            <a:off x="3986372" y="1435077"/>
            <a:ext cx="8019321" cy="4896054"/>
            <a:chOff x="3657598" y="1844946"/>
            <a:chExt cx="8305802" cy="4807196"/>
          </a:xfrm>
        </p:grpSpPr>
        <p:pic>
          <p:nvPicPr>
            <p:cNvPr id="21" name="Picture 20">
              <a:extLst>
                <a:ext uri="{FF2B5EF4-FFF2-40B4-BE49-F238E27FC236}">
                  <a16:creationId xmlns:a16="http://schemas.microsoft.com/office/drawing/2014/main" id="{DD139CB3-8220-D144-94E5-6C284BC77734}"/>
                </a:ext>
              </a:extLst>
            </p:cNvPr>
            <p:cNvPicPr>
              <a:picLocks noChangeAspect="1"/>
            </p:cNvPicPr>
            <p:nvPr/>
          </p:nvPicPr>
          <p:blipFill>
            <a:blip r:embed="rId2"/>
            <a:stretch>
              <a:fillRect/>
            </a:stretch>
          </p:blipFill>
          <p:spPr>
            <a:xfrm>
              <a:off x="3657598" y="1844946"/>
              <a:ext cx="8305802" cy="4807196"/>
            </a:xfrm>
            <a:prstGeom prst="rect">
              <a:avLst/>
            </a:prstGeom>
          </p:spPr>
        </p:pic>
        <p:sp>
          <p:nvSpPr>
            <p:cNvPr id="22" name="Rectangle 21">
              <a:extLst>
                <a:ext uri="{FF2B5EF4-FFF2-40B4-BE49-F238E27FC236}">
                  <a16:creationId xmlns:a16="http://schemas.microsoft.com/office/drawing/2014/main" id="{CF4D8687-8DC1-759E-AFC1-35753ABDA151}"/>
                </a:ext>
              </a:extLst>
            </p:cNvPr>
            <p:cNvSpPr/>
            <p:nvPr/>
          </p:nvSpPr>
          <p:spPr>
            <a:xfrm>
              <a:off x="5687885" y="1894928"/>
              <a:ext cx="6212673" cy="478158"/>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8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Tiền sử tiêm vắc xin</a:t>
              </a:r>
              <a:r>
                <a:rPr kumimoji="0" lang="vi-VN" sz="2800" b="1" i="0" u="none" strike="noStrike" kern="1200" cap="none" spc="0" normalizeH="0" baseline="30000" noProof="0" dirty="0">
                  <a:ln>
                    <a:noFill/>
                  </a:ln>
                  <a:solidFill>
                    <a:srgbClr val="FFFF00"/>
                  </a:solidFill>
                  <a:effectLst/>
                  <a:uLnTx/>
                  <a:uFillTx/>
                  <a:latin typeface="Calibri" panose="020F0502020204030204" charset="0"/>
                  <a:ea typeface="+mn-ea"/>
                  <a:cs typeface="Calibri" panose="020F0502020204030204" charset="0"/>
                </a:rPr>
                <a:t>1-2</a:t>
              </a:r>
              <a:endParaRPr kumimoji="0" lang="en-US" sz="2800" b="1" i="0" u="none" strike="noStrike" kern="1200" cap="none" spc="0" normalizeH="0" baseline="30000" noProof="0" dirty="0">
                <a:ln>
                  <a:noFill/>
                </a:ln>
                <a:solidFill>
                  <a:srgbClr val="FFFF00"/>
                </a:solidFill>
                <a:effectLst/>
                <a:uLnTx/>
                <a:uFillTx/>
                <a:latin typeface="Calibri" panose="020F0502020204030204" charset="0"/>
                <a:ea typeface="+mn-ea"/>
                <a:cs typeface="Calibri" panose="020F0502020204030204" charset="0"/>
              </a:endParaRPr>
            </a:p>
          </p:txBody>
        </p:sp>
        <p:sp>
          <p:nvSpPr>
            <p:cNvPr id="23" name="TextBox 22">
              <a:extLst>
                <a:ext uri="{FF2B5EF4-FFF2-40B4-BE49-F238E27FC236}">
                  <a16:creationId xmlns:a16="http://schemas.microsoft.com/office/drawing/2014/main" id="{A4536D9C-5013-6D82-5E26-263B5B469F2A}"/>
                </a:ext>
              </a:extLst>
            </p:cNvPr>
            <p:cNvSpPr txBox="1"/>
            <p:nvPr/>
          </p:nvSpPr>
          <p:spPr>
            <a:xfrm>
              <a:off x="5655228" y="2472470"/>
              <a:ext cx="1529943" cy="574162"/>
            </a:xfrm>
            <a:prstGeom prst="rect">
              <a:avLst/>
            </a:prstGeom>
            <a:solidFill>
              <a:srgbClr val="002060"/>
            </a:solid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Chưa tiê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chưa rõ tiền sử </a:t>
              </a:r>
              <a:endParaRPr kumimoji="0" lang="en-US" sz="16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endParaRPr>
            </a:p>
          </p:txBody>
        </p:sp>
        <p:sp>
          <p:nvSpPr>
            <p:cNvPr id="24" name="TextBox 23">
              <a:extLst>
                <a:ext uri="{FF2B5EF4-FFF2-40B4-BE49-F238E27FC236}">
                  <a16:creationId xmlns:a16="http://schemas.microsoft.com/office/drawing/2014/main" id="{1DF6353A-508C-6AEE-02CF-734FCD68AB6F}"/>
                </a:ext>
              </a:extLst>
            </p:cNvPr>
            <p:cNvSpPr txBox="1"/>
            <p:nvPr/>
          </p:nvSpPr>
          <p:spPr>
            <a:xfrm>
              <a:off x="7315904" y="2498630"/>
              <a:ext cx="1360713" cy="483506"/>
            </a:xfrm>
            <a:prstGeom prst="rect">
              <a:avLst/>
            </a:prstGeom>
            <a:solidFill>
              <a:srgbClr val="002060"/>
            </a:solidFill>
          </p:spPr>
          <p:txBody>
            <a:bodyPr wrap="square" lIns="91440"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0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PCV1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2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gt; 1 năm trước)</a:t>
              </a:r>
              <a:endParaRPr kumimoji="0" lang="en-US" sz="12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endParaRPr>
            </a:p>
          </p:txBody>
        </p:sp>
        <p:sp>
          <p:nvSpPr>
            <p:cNvPr id="25" name="TextBox 24">
              <a:extLst>
                <a:ext uri="{FF2B5EF4-FFF2-40B4-BE49-F238E27FC236}">
                  <a16:creationId xmlns:a16="http://schemas.microsoft.com/office/drawing/2014/main" id="{39D89C6D-F166-4CA7-190D-C1A31231854E}"/>
                </a:ext>
              </a:extLst>
            </p:cNvPr>
            <p:cNvSpPr txBox="1"/>
            <p:nvPr/>
          </p:nvSpPr>
          <p:spPr>
            <a:xfrm>
              <a:off x="8931730" y="2488543"/>
              <a:ext cx="1360713" cy="528834"/>
            </a:xfrm>
            <a:prstGeom prst="rect">
              <a:avLst/>
            </a:prstGeom>
            <a:solidFill>
              <a:srgbClr val="002060"/>
            </a:solidFill>
          </p:spPr>
          <p:txBody>
            <a:bodyPr wrap="square" tIns="4572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0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PPSV2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2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gt; 1 năm trước)</a:t>
              </a:r>
              <a:endParaRPr kumimoji="0" lang="en-US" sz="12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endParaRPr>
            </a:p>
          </p:txBody>
        </p:sp>
        <p:sp>
          <p:nvSpPr>
            <p:cNvPr id="26" name="TextBox 25">
              <a:extLst>
                <a:ext uri="{FF2B5EF4-FFF2-40B4-BE49-F238E27FC236}">
                  <a16:creationId xmlns:a16="http://schemas.microsoft.com/office/drawing/2014/main" id="{E627E978-6AA8-3A97-B801-D12967891D23}"/>
                </a:ext>
              </a:extLst>
            </p:cNvPr>
            <p:cNvSpPr txBox="1"/>
            <p:nvPr/>
          </p:nvSpPr>
          <p:spPr>
            <a:xfrm>
              <a:off x="10433456" y="2469964"/>
              <a:ext cx="1529943" cy="589272"/>
            </a:xfrm>
            <a:prstGeom prst="rect">
              <a:avLst/>
            </a:prstGeom>
            <a:solidFill>
              <a:srgbClr val="002060"/>
            </a:solidFill>
          </p:spPr>
          <p:txBody>
            <a:bodyPr wrap="square" lIns="0" tIns="91440" rIns="0" b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PCV13 và PPSV2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1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gt; 5 năm trước)</a:t>
              </a:r>
              <a:endParaRPr kumimoji="0" lang="en-US" sz="11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endParaRPr>
            </a:p>
          </p:txBody>
        </p:sp>
        <p:sp>
          <p:nvSpPr>
            <p:cNvPr id="27" name="Rectangle 26">
              <a:extLst>
                <a:ext uri="{FF2B5EF4-FFF2-40B4-BE49-F238E27FC236}">
                  <a16:creationId xmlns:a16="http://schemas.microsoft.com/office/drawing/2014/main" id="{18958338-0BA0-BB93-FF2E-BA246F5B54CE}"/>
                </a:ext>
              </a:extLst>
            </p:cNvPr>
            <p:cNvSpPr/>
            <p:nvPr/>
          </p:nvSpPr>
          <p:spPr>
            <a:xfrm>
              <a:off x="3688420" y="1884841"/>
              <a:ext cx="1920207" cy="117183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000" b="1" i="0" u="none" strike="noStrike" kern="1200" cap="none" spc="0" normalizeH="0" baseline="0" noProof="0" dirty="0">
                  <a:ln>
                    <a:noFill/>
                  </a:ln>
                  <a:solidFill>
                    <a:srgbClr val="FFFF00"/>
                  </a:solidFill>
                  <a:effectLst/>
                  <a:uLnTx/>
                  <a:uFillTx/>
                  <a:latin typeface="Calibri" panose="020F0502020204030204" charset="0"/>
                  <a:ea typeface="+mn-ea"/>
                  <a:cs typeface="Calibri" panose="020F0502020204030204" charset="0"/>
                </a:rPr>
                <a:t>Đối tượng được khuyến cáo</a:t>
              </a:r>
              <a:r>
                <a:rPr kumimoji="0" lang="vi-VN" sz="2000" b="1" i="0" u="none" strike="noStrike" kern="1200" cap="none" spc="0" normalizeH="0" baseline="30000" noProof="0" dirty="0">
                  <a:ln>
                    <a:noFill/>
                  </a:ln>
                  <a:solidFill>
                    <a:srgbClr val="FFFF00"/>
                  </a:solidFill>
                  <a:effectLst/>
                  <a:uLnTx/>
                  <a:uFillTx/>
                  <a:latin typeface="Calibri" panose="020F0502020204030204" charset="0"/>
                  <a:ea typeface="+mn-ea"/>
                  <a:cs typeface="Calibri" panose="020F0502020204030204" charset="0"/>
                </a:rPr>
                <a:t>1-2</a:t>
              </a:r>
              <a:endParaRPr kumimoji="0" lang="en-US" sz="2000" b="1" i="0" u="none" strike="noStrike" kern="1200" cap="none" spc="0" normalizeH="0" baseline="30000" noProof="0" dirty="0">
                <a:ln>
                  <a:noFill/>
                </a:ln>
                <a:solidFill>
                  <a:srgbClr val="FFFF00"/>
                </a:solidFill>
                <a:effectLst/>
                <a:uLnTx/>
                <a:uFillTx/>
                <a:latin typeface="Calibri" panose="020F0502020204030204" charset="0"/>
                <a:ea typeface="+mn-ea"/>
                <a:cs typeface="Calibri" panose="020F0502020204030204" charset="0"/>
              </a:endParaRPr>
            </a:p>
          </p:txBody>
        </p:sp>
      </p:grpSp>
      <p:grpSp>
        <p:nvGrpSpPr>
          <p:cNvPr id="28" name="Group 27">
            <a:extLst>
              <a:ext uri="{FF2B5EF4-FFF2-40B4-BE49-F238E27FC236}">
                <a16:creationId xmlns:a16="http://schemas.microsoft.com/office/drawing/2014/main" id="{672A729B-329B-4D35-A50D-9FBB11FF446F}"/>
              </a:ext>
            </a:extLst>
          </p:cNvPr>
          <p:cNvGrpSpPr/>
          <p:nvPr/>
        </p:nvGrpSpPr>
        <p:grpSpPr>
          <a:xfrm>
            <a:off x="1428395" y="5802165"/>
            <a:ext cx="2011166" cy="451002"/>
            <a:chOff x="496173" y="3802162"/>
            <a:chExt cx="2011166" cy="451002"/>
          </a:xfrm>
        </p:grpSpPr>
        <p:sp>
          <p:nvSpPr>
            <p:cNvPr id="29" name="Rectangle: Rounded Corners 28">
              <a:extLst>
                <a:ext uri="{FF2B5EF4-FFF2-40B4-BE49-F238E27FC236}">
                  <a16:creationId xmlns:a16="http://schemas.microsoft.com/office/drawing/2014/main" id="{8D26FEEC-0F4F-7FF2-3BB7-1A1BD578450A}"/>
                </a:ext>
              </a:extLst>
            </p:cNvPr>
            <p:cNvSpPr/>
            <p:nvPr/>
          </p:nvSpPr>
          <p:spPr>
            <a:xfrm>
              <a:off x="1220174" y="3802162"/>
              <a:ext cx="1287165" cy="451002"/>
            </a:xfrm>
            <a:prstGeom prst="roundRect">
              <a:avLst>
                <a:gd name="adj" fmla="val 6173"/>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1225" rtl="0" eaLnBrk="1" fontAlgn="auto" latinLnBrk="0" hangingPunct="1">
                <a:lnSpc>
                  <a:spcPct val="100000"/>
                </a:lnSpc>
                <a:spcBef>
                  <a:spcPts val="0"/>
                </a:spcBef>
                <a:spcAft>
                  <a:spcPts val="0"/>
                </a:spcAft>
                <a:buClrTx/>
                <a:buSzTx/>
                <a:buFontTx/>
                <a:buNone/>
                <a:tabLst/>
                <a:defRPr/>
              </a:pPr>
              <a:r>
                <a:rPr kumimoji="0" lang="vi-VN" sz="2000" b="0" i="0" u="none" strike="noStrike" kern="1200" cap="none" spc="0" normalizeH="0" baseline="0" noProof="0" dirty="0">
                  <a:ln>
                    <a:noFill/>
                  </a:ln>
                  <a:solidFill>
                    <a:prstClr val="white"/>
                  </a:solidFill>
                  <a:effectLst/>
                  <a:uLnTx/>
                  <a:uFillTx/>
                  <a:latin typeface="Calibri" panose="020F0502020204030204" charset="0"/>
                  <a:ea typeface="+mn-ea"/>
                  <a:cs typeface="+mn-cs"/>
                </a:rPr>
                <a:t>= PCV20</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0" name="Picture 29">
              <a:extLst>
                <a:ext uri="{FF2B5EF4-FFF2-40B4-BE49-F238E27FC236}">
                  <a16:creationId xmlns:a16="http://schemas.microsoft.com/office/drawing/2014/main" id="{5F4508BD-8B37-4B70-83EB-82AFDE3C788E}"/>
                </a:ext>
              </a:extLst>
            </p:cNvPr>
            <p:cNvPicPr>
              <a:picLocks noChangeAspect="1"/>
            </p:cNvPicPr>
            <p:nvPr/>
          </p:nvPicPr>
          <p:blipFill>
            <a:blip r:embed="rId3"/>
            <a:stretch>
              <a:fillRect/>
            </a:stretch>
          </p:blipFill>
          <p:spPr>
            <a:xfrm>
              <a:off x="496173" y="3824479"/>
              <a:ext cx="724001" cy="428685"/>
            </a:xfrm>
            <a:prstGeom prst="rect">
              <a:avLst/>
            </a:prstGeom>
          </p:spPr>
        </p:pic>
      </p:grpSp>
      <p:sp>
        <p:nvSpPr>
          <p:cNvPr id="31" name="TextBox 30">
            <a:extLst>
              <a:ext uri="{FF2B5EF4-FFF2-40B4-BE49-F238E27FC236}">
                <a16:creationId xmlns:a16="http://schemas.microsoft.com/office/drawing/2014/main" id="{B1A1A903-76A8-F08C-978B-1626D0B8FA89}"/>
              </a:ext>
            </a:extLst>
          </p:cNvPr>
          <p:cNvSpPr txBox="1"/>
          <p:nvPr/>
        </p:nvSpPr>
        <p:spPr>
          <a:xfrm>
            <a:off x="303085" y="6488668"/>
            <a:ext cx="1158582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hlinkClick r:id="rId4"/>
              </a:rPr>
              <a:t>1.</a:t>
            </a:r>
            <a:r>
              <a:rPr kumimoji="0" lang="en-US"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hlinkClick r:id="rId4"/>
              </a:rPr>
              <a:t>MMWR, Expanded Recommendations for Use of Pneumococcal Conjugate Vaccines Among Adults Aged ≥50 Years: Recommendations of the Advisory Committee on Immunization Practices — United States, 2024</a:t>
            </a:r>
            <a:endParaRPr kumimoji="0" lang="vi-VN"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rPr>
              <a:t>2.</a:t>
            </a:r>
            <a:r>
              <a:rPr kumimoji="0" lang="vi-VN"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rPr>
              <a:t> </a:t>
            </a:r>
            <a:r>
              <a:rPr kumimoji="0" lang="en-US" sz="900" b="0" i="0" u="none" strike="noStrike" kern="1200" cap="none" spc="0" normalizeH="0" baseline="0" noProof="0" dirty="0">
                <a:ln>
                  <a:noFill/>
                </a:ln>
                <a:solidFill>
                  <a:prstClr val="black"/>
                </a:solidFill>
                <a:effectLst/>
                <a:uLnTx/>
                <a:uFillTx/>
                <a:latin typeface="Calibri" panose="020F0502020204030204" charset="0"/>
                <a:ea typeface="Calibri" panose="020F0502020204030204" charset="0"/>
                <a:cs typeface="Calibri" panose="020F0502020204030204" charset="0"/>
              </a:rPr>
              <a:t>Centers for Disease Control and Prevention. Pneumococcal vaccine timing for adults. October 2024. Accessed 12.06.2025. https://www.cdc.gov/pneumococcal/downloads/Vaccine-Timing-Adults-JobAid.pdf</a:t>
            </a:r>
          </a:p>
        </p:txBody>
      </p:sp>
    </p:spTree>
    <p:extLst>
      <p:ext uri="{BB962C8B-B14F-4D97-AF65-F5344CB8AC3E}">
        <p14:creationId xmlns:p14="http://schemas.microsoft.com/office/powerpoint/2010/main" val="37795336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8222469-F86F-04BA-68DC-058F64E80C5B}"/>
              </a:ext>
            </a:extLst>
          </p:cNvPr>
          <p:cNvPicPr>
            <a:picLocks noChangeAspect="1"/>
          </p:cNvPicPr>
          <p:nvPr/>
        </p:nvPicPr>
        <p:blipFill>
          <a:blip r:embed="rId3"/>
          <a:stretch>
            <a:fillRect/>
          </a:stretch>
        </p:blipFill>
        <p:spPr>
          <a:xfrm>
            <a:off x="3009922" y="1304778"/>
            <a:ext cx="1962640" cy="2783205"/>
          </a:xfrm>
          <a:prstGeom prst="rect">
            <a:avLst/>
          </a:prstGeom>
          <a:ln>
            <a:solidFill>
              <a:srgbClr val="F49C34"/>
            </a:solidFill>
          </a:ln>
        </p:spPr>
      </p:pic>
      <p:pic>
        <p:nvPicPr>
          <p:cNvPr id="6" name="Picture 5">
            <a:extLst>
              <a:ext uri="{FF2B5EF4-FFF2-40B4-BE49-F238E27FC236}">
                <a16:creationId xmlns:a16="http://schemas.microsoft.com/office/drawing/2014/main" id="{F04D7A10-11E5-46AE-F4AF-0F5E8FFB74A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contrast="-20000"/>
                    </a14:imgEffect>
                  </a14:imgLayer>
                </a14:imgProps>
              </a:ext>
            </a:extLst>
          </a:blip>
          <a:stretch>
            <a:fillRect/>
          </a:stretch>
        </p:blipFill>
        <p:spPr>
          <a:xfrm>
            <a:off x="5503693" y="1342611"/>
            <a:ext cx="5533287" cy="2199127"/>
          </a:xfrm>
          <a:prstGeom prst="rect">
            <a:avLst/>
          </a:prstGeom>
        </p:spPr>
      </p:pic>
      <p:pic>
        <p:nvPicPr>
          <p:cNvPr id="7" name="Picture 6">
            <a:extLst>
              <a:ext uri="{FF2B5EF4-FFF2-40B4-BE49-F238E27FC236}">
                <a16:creationId xmlns:a16="http://schemas.microsoft.com/office/drawing/2014/main" id="{8D200C16-7825-E556-F8D8-AD5FC1140B95}"/>
              </a:ext>
            </a:extLst>
          </p:cNvPr>
          <p:cNvPicPr>
            <a:picLocks noChangeAspect="1"/>
          </p:cNvPicPr>
          <p:nvPr/>
        </p:nvPicPr>
        <p:blipFill>
          <a:blip r:embed="rId6"/>
          <a:stretch>
            <a:fillRect/>
          </a:stretch>
        </p:blipFill>
        <p:spPr>
          <a:xfrm>
            <a:off x="623888" y="1327125"/>
            <a:ext cx="1884822" cy="2736519"/>
          </a:xfrm>
          <a:prstGeom prst="rect">
            <a:avLst/>
          </a:prstGeom>
          <a:ln>
            <a:solidFill>
              <a:srgbClr val="0000C9"/>
            </a:solidFill>
          </a:ln>
        </p:spPr>
      </p:pic>
      <p:grpSp>
        <p:nvGrpSpPr>
          <p:cNvPr id="27" name="Group 26">
            <a:extLst>
              <a:ext uri="{FF2B5EF4-FFF2-40B4-BE49-F238E27FC236}">
                <a16:creationId xmlns:a16="http://schemas.microsoft.com/office/drawing/2014/main" id="{BC66B227-FA01-B1FE-41A7-C99B959E140B}"/>
              </a:ext>
            </a:extLst>
          </p:cNvPr>
          <p:cNvGrpSpPr/>
          <p:nvPr/>
        </p:nvGrpSpPr>
        <p:grpSpPr>
          <a:xfrm>
            <a:off x="5858540" y="3678865"/>
            <a:ext cx="5081494" cy="2544135"/>
            <a:chOff x="5993245" y="3995207"/>
            <a:chExt cx="4320736" cy="2365577"/>
          </a:xfrm>
        </p:grpSpPr>
        <p:sp>
          <p:nvSpPr>
            <p:cNvPr id="12" name="TextBox 11">
              <a:extLst>
                <a:ext uri="{FF2B5EF4-FFF2-40B4-BE49-F238E27FC236}">
                  <a16:creationId xmlns:a16="http://schemas.microsoft.com/office/drawing/2014/main" id="{C9110C55-DDB5-2367-7BED-198D2075C7DB}"/>
                </a:ext>
              </a:extLst>
            </p:cNvPr>
            <p:cNvSpPr txBox="1"/>
            <p:nvPr/>
          </p:nvSpPr>
          <p:spPr bwMode="gray">
            <a:xfrm>
              <a:off x="7003171" y="6145340"/>
              <a:ext cx="2901025" cy="215444"/>
            </a:xfrm>
            <a:prstGeom prst="rect">
              <a:avLst/>
            </a:prstGeom>
            <a:noFill/>
            <a:ln w="19050">
              <a:noFill/>
            </a:ln>
          </p:spPr>
          <p:txBody>
            <a:bodyPr wrap="square">
              <a:spAutoFit/>
            </a:bodyPr>
            <a:lstStyle/>
            <a:p>
              <a:r>
                <a:rPr lang="en-US" sz="800"/>
                <a:t>https://www.heart.org/en/health-topics/vaccines/fact-sheet</a:t>
              </a:r>
            </a:p>
          </p:txBody>
        </p:sp>
        <p:grpSp>
          <p:nvGrpSpPr>
            <p:cNvPr id="20" name="Group 19">
              <a:extLst>
                <a:ext uri="{FF2B5EF4-FFF2-40B4-BE49-F238E27FC236}">
                  <a16:creationId xmlns:a16="http://schemas.microsoft.com/office/drawing/2014/main" id="{74403678-644C-C75D-3B3E-5371F2A925A0}"/>
                </a:ext>
              </a:extLst>
            </p:cNvPr>
            <p:cNvGrpSpPr/>
            <p:nvPr/>
          </p:nvGrpSpPr>
          <p:grpSpPr>
            <a:xfrm>
              <a:off x="5993245" y="3995207"/>
              <a:ext cx="4320736" cy="2172310"/>
              <a:chOff x="1451174" y="4436482"/>
              <a:chExt cx="4320736" cy="2172310"/>
            </a:xfrm>
          </p:grpSpPr>
          <p:pic>
            <p:nvPicPr>
              <p:cNvPr id="9" name="Picture 8">
                <a:extLst>
                  <a:ext uri="{FF2B5EF4-FFF2-40B4-BE49-F238E27FC236}">
                    <a16:creationId xmlns:a16="http://schemas.microsoft.com/office/drawing/2014/main" id="{2C53EB40-8339-2410-09A5-41E7C4BFF607}"/>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20000"/>
                        </a14:imgEffect>
                      </a14:imgLayer>
                    </a14:imgProps>
                  </a:ext>
                </a:extLst>
              </a:blip>
              <a:stretch>
                <a:fillRect/>
              </a:stretch>
            </p:blipFill>
            <p:spPr>
              <a:xfrm>
                <a:off x="2051314" y="4436482"/>
                <a:ext cx="3720596" cy="1786518"/>
              </a:xfrm>
              <a:prstGeom prst="rect">
                <a:avLst/>
              </a:prstGeom>
              <a:ln>
                <a:solidFill>
                  <a:schemeClr val="accent1"/>
                </a:solidFill>
              </a:ln>
            </p:spPr>
          </p:pic>
          <p:sp>
            <p:nvSpPr>
              <p:cNvPr id="10" name="TextBox 9">
                <a:extLst>
                  <a:ext uri="{FF2B5EF4-FFF2-40B4-BE49-F238E27FC236}">
                    <a16:creationId xmlns:a16="http://schemas.microsoft.com/office/drawing/2014/main" id="{0A1E5B58-2674-A618-3E7E-0E78602E4FD4}"/>
                  </a:ext>
                </a:extLst>
              </p:cNvPr>
              <p:cNvSpPr txBox="1"/>
              <p:nvPr/>
            </p:nvSpPr>
            <p:spPr bwMode="gray">
              <a:xfrm>
                <a:off x="2461100" y="6257372"/>
                <a:ext cx="2901024" cy="351420"/>
              </a:xfrm>
              <a:prstGeom prst="rect">
                <a:avLst/>
              </a:prstGeom>
              <a:noFill/>
              <a:ln w="19050">
                <a:noFill/>
              </a:ln>
            </p:spPr>
            <p:txBody>
              <a:bodyPr spcFirstLastPara="1" wrap="none" lIns="0" tIns="0" rIns="0" bIns="0" rtlCol="0" anchor="t" anchorCtr="0">
                <a:noAutofit/>
              </a:bodyPr>
              <a:lstStyle/>
              <a:p>
                <a:pPr algn="l"/>
                <a:r>
                  <a:rPr lang="en-US" dirty="0">
                    <a:latin typeface="Arial" panose="020B0604020202020204" pitchFamily="34" charset="0"/>
                    <a:cs typeface="Arial" panose="020B0604020202020204" pitchFamily="34" charset="0"/>
                  </a:rPr>
                  <a:t>Hội </a:t>
                </a:r>
                <a:r>
                  <a:rPr lang="en-US" dirty="0" err="1">
                    <a:latin typeface="Arial" panose="020B0604020202020204" pitchFamily="34" charset="0"/>
                    <a:cs typeface="Arial" panose="020B0604020202020204" pitchFamily="34" charset="0"/>
                  </a:rPr>
                  <a:t>ti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ạch</a:t>
                </a:r>
                <a:r>
                  <a:rPr lang="en-US" dirty="0">
                    <a:latin typeface="Arial" panose="020B0604020202020204" pitchFamily="34" charset="0"/>
                    <a:cs typeface="Arial" panose="020B0604020202020204" pitchFamily="34" charset="0"/>
                  </a:rPr>
                  <a:t> Hoa </a:t>
                </a:r>
                <a:r>
                  <a:rPr lang="en-US" dirty="0" err="1">
                    <a:latin typeface="Arial" panose="020B0604020202020204" pitchFamily="34" charset="0"/>
                    <a:cs typeface="Arial" panose="020B0604020202020204" pitchFamily="34" charset="0"/>
                  </a:rPr>
                  <a:t>Kỳ</a:t>
                </a:r>
                <a:r>
                  <a:rPr lang="en-US" dirty="0">
                    <a:latin typeface="Arial" panose="020B0604020202020204" pitchFamily="34" charset="0"/>
                    <a:cs typeface="Arial" panose="020B0604020202020204" pitchFamily="34" charset="0"/>
                  </a:rPr>
                  <a:t> (AHA)</a:t>
                </a:r>
              </a:p>
            </p:txBody>
          </p:sp>
          <p:pic>
            <p:nvPicPr>
              <p:cNvPr id="13" name="Picture 12">
                <a:extLst>
                  <a:ext uri="{FF2B5EF4-FFF2-40B4-BE49-F238E27FC236}">
                    <a16:creationId xmlns:a16="http://schemas.microsoft.com/office/drawing/2014/main" id="{9DDB5058-2866-9AAB-EA1B-25423A1B8270}"/>
                  </a:ext>
                </a:extLst>
              </p:cNvPr>
              <p:cNvPicPr>
                <a:picLocks noChangeAspect="1"/>
              </p:cNvPicPr>
              <p:nvPr/>
            </p:nvPicPr>
            <p:blipFill>
              <a:blip r:embed="rId9"/>
              <a:stretch>
                <a:fillRect/>
              </a:stretch>
            </p:blipFill>
            <p:spPr>
              <a:xfrm>
                <a:off x="1451174" y="5010875"/>
                <a:ext cx="457200" cy="585218"/>
              </a:xfrm>
              <a:prstGeom prst="rect">
                <a:avLst/>
              </a:prstGeom>
            </p:spPr>
          </p:pic>
        </p:grpSp>
      </p:grpSp>
      <p:sp>
        <p:nvSpPr>
          <p:cNvPr id="22" name="AutoShape 4" descr="Centers for Disease Control and Prevention. CDC twenty four seven. Saving Lives, Protecting People">
            <a:extLst>
              <a:ext uri="{FF2B5EF4-FFF2-40B4-BE49-F238E27FC236}">
                <a16:creationId xmlns:a16="http://schemas.microsoft.com/office/drawing/2014/main" id="{D5A487C5-AEAE-420F-85EE-8E0169DA4A4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4D974E0C-403D-D1DB-5C3B-EBEEDA7848E7}"/>
              </a:ext>
            </a:extLst>
          </p:cNvPr>
          <p:cNvGrpSpPr/>
          <p:nvPr/>
        </p:nvGrpSpPr>
        <p:grpSpPr>
          <a:xfrm>
            <a:off x="678817" y="4449247"/>
            <a:ext cx="4293745" cy="1657824"/>
            <a:chOff x="678817" y="4449247"/>
            <a:chExt cx="4293745" cy="1657824"/>
          </a:xfrm>
        </p:grpSpPr>
        <p:grpSp>
          <p:nvGrpSpPr>
            <p:cNvPr id="19" name="Group 18">
              <a:extLst>
                <a:ext uri="{FF2B5EF4-FFF2-40B4-BE49-F238E27FC236}">
                  <a16:creationId xmlns:a16="http://schemas.microsoft.com/office/drawing/2014/main" id="{50D550A0-697F-8D02-98BE-B52B7DB484D8}"/>
                </a:ext>
              </a:extLst>
            </p:cNvPr>
            <p:cNvGrpSpPr/>
            <p:nvPr/>
          </p:nvGrpSpPr>
          <p:grpSpPr>
            <a:xfrm>
              <a:off x="678817" y="4449247"/>
              <a:ext cx="4293745" cy="1657824"/>
              <a:chOff x="6713316" y="4685006"/>
              <a:chExt cx="4293745" cy="1657824"/>
            </a:xfrm>
          </p:grpSpPr>
          <p:sp>
            <p:nvSpPr>
              <p:cNvPr id="15" name="TextBox 14">
                <a:extLst>
                  <a:ext uri="{FF2B5EF4-FFF2-40B4-BE49-F238E27FC236}">
                    <a16:creationId xmlns:a16="http://schemas.microsoft.com/office/drawing/2014/main" id="{6A1A9DFE-55FF-3C44-4A4F-601D9919A19F}"/>
                  </a:ext>
                </a:extLst>
              </p:cNvPr>
              <p:cNvSpPr txBox="1"/>
              <p:nvPr/>
            </p:nvSpPr>
            <p:spPr bwMode="gray">
              <a:xfrm>
                <a:off x="6713316" y="4685006"/>
                <a:ext cx="4293745" cy="738664"/>
              </a:xfrm>
              <a:prstGeom prst="rect">
                <a:avLst/>
              </a:prstGeom>
              <a:noFill/>
              <a:ln w="19050">
                <a:solidFill>
                  <a:schemeClr val="accent1"/>
                </a:solidFill>
              </a:ln>
            </p:spPr>
            <p:txBody>
              <a:bodyPr wrap="square">
                <a:spAutoFit/>
              </a:bodyPr>
              <a:lstStyle/>
              <a:p>
                <a:pPr algn="l"/>
                <a:r>
                  <a:rPr lang="en-US" sz="1400" b="0" i="0" cap="all" dirty="0">
                    <a:solidFill>
                      <a:srgbClr val="B25225"/>
                    </a:solidFill>
                    <a:effectLst/>
                    <a:latin typeface="Poppins" panose="00000500000000000000" pitchFamily="2" charset="0"/>
                  </a:rPr>
                  <a:t>RSV vaccine recommendations</a:t>
                </a:r>
              </a:p>
              <a:p>
                <a:pPr algn="l"/>
                <a:r>
                  <a:rPr lang="en-US" sz="1400" b="1" i="0" dirty="0">
                    <a:solidFill>
                      <a:srgbClr val="1C1D1F"/>
                    </a:solidFill>
                    <a:effectLst/>
                    <a:latin typeface="Nunito" pitchFamily="2" charset="0"/>
                  </a:rPr>
                  <a:t>RSV vaccine</a:t>
                </a:r>
                <a:r>
                  <a:rPr lang="en-US" sz="1400" b="0" i="0" dirty="0">
                    <a:solidFill>
                      <a:srgbClr val="1C1D1F"/>
                    </a:solidFill>
                    <a:effectLst/>
                    <a:latin typeface="Nunito" pitchFamily="2" charset="0"/>
                  </a:rPr>
                  <a:t> recommendations for people ages 50 and older have been updated as of June 25, 2025.</a:t>
                </a:r>
              </a:p>
            </p:txBody>
          </p:sp>
          <p:sp>
            <p:nvSpPr>
              <p:cNvPr id="16" name="TextBox 15">
                <a:extLst>
                  <a:ext uri="{FF2B5EF4-FFF2-40B4-BE49-F238E27FC236}">
                    <a16:creationId xmlns:a16="http://schemas.microsoft.com/office/drawing/2014/main" id="{69C07927-AD33-33C0-4573-AC020F7C9A83}"/>
                  </a:ext>
                </a:extLst>
              </p:cNvPr>
              <p:cNvSpPr txBox="1"/>
              <p:nvPr/>
            </p:nvSpPr>
            <p:spPr bwMode="gray">
              <a:xfrm>
                <a:off x="7544388" y="5653022"/>
                <a:ext cx="3455648" cy="364462"/>
              </a:xfrm>
              <a:prstGeom prst="rect">
                <a:avLst/>
              </a:prstGeom>
              <a:noFill/>
              <a:ln w="19050">
                <a:noFill/>
              </a:ln>
            </p:spPr>
            <p:txBody>
              <a:bodyPr spcFirstLastPara="1" wrap="none" lIns="0" tIns="0" rIns="0" bIns="0" rtlCol="0" anchor="t" anchorCtr="0">
                <a:noAutofit/>
              </a:bodyPr>
              <a:lstStyle/>
              <a:p>
                <a:pPr algn="l"/>
                <a:r>
                  <a:rPr lang="en-US" err="1">
                    <a:latin typeface="Arial" panose="020B0604020202020204" pitchFamily="34" charset="0"/>
                    <a:cs typeface="Arial" panose="020B0604020202020204" pitchFamily="34" charset="0"/>
                  </a:rPr>
                  <a:t>Cơ</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quan</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quản</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lý</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bệnh</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ật</a:t>
                </a:r>
                <a:r>
                  <a:rPr lang="en-US">
                    <a:latin typeface="Arial" panose="020B0604020202020204" pitchFamily="34" charset="0"/>
                    <a:cs typeface="Arial" panose="020B0604020202020204" pitchFamily="34" charset="0"/>
                  </a:rPr>
                  <a:t> Hoa </a:t>
                </a:r>
                <a:r>
                  <a:rPr lang="en-US" err="1">
                    <a:latin typeface="Arial" panose="020B0604020202020204" pitchFamily="34" charset="0"/>
                    <a:cs typeface="Arial" panose="020B0604020202020204" pitchFamily="34" charset="0"/>
                  </a:rPr>
                  <a:t>Kỳ</a:t>
                </a:r>
                <a:endParaRPr lang="en-US">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5C99A5F-D158-0CE9-15E8-254075E685D3}"/>
                  </a:ext>
                </a:extLst>
              </p:cNvPr>
              <p:cNvSpPr txBox="1"/>
              <p:nvPr/>
            </p:nvSpPr>
            <p:spPr bwMode="gray">
              <a:xfrm>
                <a:off x="7286465" y="6127386"/>
                <a:ext cx="3720596" cy="215444"/>
              </a:xfrm>
              <a:prstGeom prst="rect">
                <a:avLst/>
              </a:prstGeom>
              <a:noFill/>
              <a:ln w="19050">
                <a:noFill/>
              </a:ln>
            </p:spPr>
            <p:txBody>
              <a:bodyPr wrap="square">
                <a:spAutoFit/>
              </a:bodyPr>
              <a:lstStyle/>
              <a:p>
                <a:r>
                  <a:rPr lang="en-US" sz="800"/>
                  <a:t>https://www.cdc.gov/rsv/hcp/vaccine-clinical-guidance/older-adults.html</a:t>
                </a:r>
              </a:p>
            </p:txBody>
          </p:sp>
        </p:grpSp>
        <p:pic>
          <p:nvPicPr>
            <p:cNvPr id="26" name="Picture 25">
              <a:extLst>
                <a:ext uri="{FF2B5EF4-FFF2-40B4-BE49-F238E27FC236}">
                  <a16:creationId xmlns:a16="http://schemas.microsoft.com/office/drawing/2014/main" id="{BC765180-1DC5-A920-CE6D-2F8ADE765FEE}"/>
                </a:ext>
              </a:extLst>
            </p:cNvPr>
            <p:cNvPicPr>
              <a:picLocks noChangeAspect="1"/>
            </p:cNvPicPr>
            <p:nvPr/>
          </p:nvPicPr>
          <p:blipFill>
            <a:blip r:embed="rId10"/>
            <a:stretch>
              <a:fillRect/>
            </a:stretch>
          </p:blipFill>
          <p:spPr>
            <a:xfrm>
              <a:off x="678817" y="5297813"/>
              <a:ext cx="636325" cy="483912"/>
            </a:xfrm>
            <a:prstGeom prst="rect">
              <a:avLst/>
            </a:prstGeom>
          </p:spPr>
        </p:pic>
      </p:grpSp>
      <p:sp>
        <p:nvSpPr>
          <p:cNvPr id="2" name="TextBox 1">
            <a:extLst>
              <a:ext uri="{FF2B5EF4-FFF2-40B4-BE49-F238E27FC236}">
                <a16:creationId xmlns:a16="http://schemas.microsoft.com/office/drawing/2014/main" id="{6C68E004-4A98-35FA-A3E3-680FAC81DB2B}"/>
              </a:ext>
            </a:extLst>
          </p:cNvPr>
          <p:cNvSpPr txBox="1"/>
          <p:nvPr/>
        </p:nvSpPr>
        <p:spPr>
          <a:xfrm>
            <a:off x="678817" y="311834"/>
            <a:ext cx="1125792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350"/>
              </a:spcAft>
              <a:buClrTx/>
              <a:buSzTx/>
              <a:buFontTx/>
              <a:buNone/>
              <a:tabLst/>
              <a:defRPr/>
            </a:pPr>
            <a:r>
              <a:rPr kumimoji="0" lang="en-US" sz="36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huyến</a:t>
            </a:r>
            <a: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cáo</a:t>
            </a:r>
            <a: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dự</a:t>
            </a:r>
            <a: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hòng</a:t>
            </a:r>
            <a: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6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RSV</a:t>
            </a:r>
            <a:endParaRPr kumimoji="0" lang="vi-VN" sz="36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77047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43FED38C-25D5-9868-4B21-3BB2BED3D629}"/>
              </a:ext>
            </a:extLst>
          </p:cNvPr>
          <p:cNvGrpSpPr/>
          <p:nvPr/>
        </p:nvGrpSpPr>
        <p:grpSpPr>
          <a:xfrm>
            <a:off x="250368" y="1445695"/>
            <a:ext cx="6094519" cy="4455057"/>
            <a:chOff x="365388" y="2043714"/>
            <a:chExt cx="6650452" cy="4455057"/>
          </a:xfrm>
        </p:grpSpPr>
        <p:pic>
          <p:nvPicPr>
            <p:cNvPr id="5" name="Picture 4" descr="A close-up of a white background&#10;&#10;Description automatically generated">
              <a:extLst>
                <a:ext uri="{FF2B5EF4-FFF2-40B4-BE49-F238E27FC236}">
                  <a16:creationId xmlns:a16="http://schemas.microsoft.com/office/drawing/2014/main" id="{55836EF4-ACC6-554D-53D2-F15249383CA6}"/>
                </a:ext>
              </a:extLst>
            </p:cNvPr>
            <p:cNvPicPr>
              <a:picLocks noChangeAspect="1"/>
            </p:cNvPicPr>
            <p:nvPr/>
          </p:nvPicPr>
          <p:blipFill>
            <a:blip r:embed="rId3"/>
            <a:srcRect t="56630"/>
            <a:stretch/>
          </p:blipFill>
          <p:spPr>
            <a:xfrm>
              <a:off x="365388" y="2043714"/>
              <a:ext cx="6650452" cy="757130"/>
            </a:xfrm>
            <a:prstGeom prst="rect">
              <a:avLst/>
            </a:prstGeom>
          </p:spPr>
        </p:pic>
        <p:grpSp>
          <p:nvGrpSpPr>
            <p:cNvPr id="17" name="Group 16">
              <a:extLst>
                <a:ext uri="{FF2B5EF4-FFF2-40B4-BE49-F238E27FC236}">
                  <a16:creationId xmlns:a16="http://schemas.microsoft.com/office/drawing/2014/main" id="{EFA74E6C-6794-7D74-F415-9D29B9F196E3}"/>
                </a:ext>
              </a:extLst>
            </p:cNvPr>
            <p:cNvGrpSpPr/>
            <p:nvPr/>
          </p:nvGrpSpPr>
          <p:grpSpPr>
            <a:xfrm>
              <a:off x="464157" y="2730917"/>
              <a:ext cx="6551683" cy="3767854"/>
              <a:chOff x="464158" y="2730917"/>
              <a:chExt cx="5495946" cy="3259572"/>
            </a:xfrm>
          </p:grpSpPr>
          <p:pic>
            <p:nvPicPr>
              <p:cNvPr id="9" name="Picture 8" descr="A close-up of a grey background&#10;&#10;Description automatically generated">
                <a:extLst>
                  <a:ext uri="{FF2B5EF4-FFF2-40B4-BE49-F238E27FC236}">
                    <a16:creationId xmlns:a16="http://schemas.microsoft.com/office/drawing/2014/main" id="{91F0CE10-A904-7E92-2464-774672154047}"/>
                  </a:ext>
                </a:extLst>
              </p:cNvPr>
              <p:cNvPicPr>
                <a:picLocks noChangeAspect="1"/>
              </p:cNvPicPr>
              <p:nvPr/>
            </p:nvPicPr>
            <p:blipFill>
              <a:blip r:embed="rId4"/>
              <a:stretch>
                <a:fillRect/>
              </a:stretch>
            </p:blipFill>
            <p:spPr>
              <a:xfrm>
                <a:off x="533340" y="2730917"/>
                <a:ext cx="5426764" cy="936117"/>
              </a:xfrm>
              <a:prstGeom prst="rect">
                <a:avLst/>
              </a:prstGeom>
            </p:spPr>
          </p:pic>
          <p:pic>
            <p:nvPicPr>
              <p:cNvPr id="7" name="Picture 6" descr="A screenshot of a medical survey&#10;&#10;Description automatically generated">
                <a:extLst>
                  <a:ext uri="{FF2B5EF4-FFF2-40B4-BE49-F238E27FC236}">
                    <a16:creationId xmlns:a16="http://schemas.microsoft.com/office/drawing/2014/main" id="{C851F32F-5051-AA7F-7860-F9DDD88E7954}"/>
                  </a:ext>
                </a:extLst>
              </p:cNvPr>
              <p:cNvPicPr>
                <a:picLocks noChangeAspect="1"/>
              </p:cNvPicPr>
              <p:nvPr/>
            </p:nvPicPr>
            <p:blipFill>
              <a:blip r:embed="rId5"/>
              <a:stretch>
                <a:fillRect/>
              </a:stretch>
            </p:blipFill>
            <p:spPr>
              <a:xfrm>
                <a:off x="464158" y="3738382"/>
                <a:ext cx="5426764" cy="2252107"/>
              </a:xfrm>
              <a:prstGeom prst="rect">
                <a:avLst/>
              </a:prstGeom>
            </p:spPr>
          </p:pic>
        </p:grpSp>
      </p:grpSp>
      <p:sp>
        <p:nvSpPr>
          <p:cNvPr id="10" name="TextBox 9">
            <a:extLst>
              <a:ext uri="{FF2B5EF4-FFF2-40B4-BE49-F238E27FC236}">
                <a16:creationId xmlns:a16="http://schemas.microsoft.com/office/drawing/2014/main" id="{8C15A097-6A6A-32F1-775A-8C73D1728197}"/>
              </a:ext>
            </a:extLst>
          </p:cNvPr>
          <p:cNvSpPr txBox="1"/>
          <p:nvPr/>
        </p:nvSpPr>
        <p:spPr>
          <a:xfrm>
            <a:off x="1262739" y="5896953"/>
            <a:ext cx="470273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Tiêm chủng cúm và phế cầu </a:t>
            </a:r>
            <a:r>
              <a:rPr kumimoji="0" lang="vi-VN"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ên được </a:t>
            </a: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cân nhắc để dự phòng Suy Tim Nhập Viện</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687D8700-C8FE-8EDB-FB34-925249799565}"/>
              </a:ext>
            </a:extLst>
          </p:cNvPr>
          <p:cNvSpPr txBox="1"/>
          <p:nvPr/>
        </p:nvSpPr>
        <p:spPr>
          <a:xfrm>
            <a:off x="250368" y="441669"/>
            <a:ext cx="11475661" cy="563231"/>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ội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tim</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mạch</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Châu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Âu</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ESC)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huyến</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cáo</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tiêm</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gừa</a:t>
            </a:r>
            <a:r>
              <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vi-VN"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ắc-</a:t>
            </a:r>
            <a:r>
              <a:rPr kumimoji="0" lang="en-US" sz="3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xin</a:t>
            </a:r>
            <a:endParaRPr kumimoji="0" lang="en-US" sz="3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49CE5326-34D1-D4B6-E641-596B1337340B}"/>
              </a:ext>
            </a:extLst>
          </p:cNvPr>
          <p:cNvSpPr txBox="1"/>
          <p:nvPr/>
        </p:nvSpPr>
        <p:spPr>
          <a:xfrm>
            <a:off x="6096000" y="6367964"/>
            <a:ext cx="6094520"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uropean Heart Journal (2021) 42, 35993726, doi:10.1093/</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urheartj</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hab368</a:t>
            </a:r>
          </a:p>
        </p:txBody>
      </p:sp>
      <p:sp>
        <p:nvSpPr>
          <p:cNvPr id="11" name="Rectangle 10">
            <a:extLst>
              <a:ext uri="{FF2B5EF4-FFF2-40B4-BE49-F238E27FC236}">
                <a16:creationId xmlns:a16="http://schemas.microsoft.com/office/drawing/2014/main" id="{7912B112-B958-3F1C-BA7E-199B185193E2}"/>
              </a:ext>
            </a:extLst>
          </p:cNvPr>
          <p:cNvSpPr/>
          <p:nvPr/>
        </p:nvSpPr>
        <p:spPr>
          <a:xfrm>
            <a:off x="250369" y="5239528"/>
            <a:ext cx="6094520" cy="661224"/>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9D148AE-E6DB-FAC0-53DD-920F2272D9F9}"/>
              </a:ext>
            </a:extLst>
          </p:cNvPr>
          <p:cNvSpPr txBox="1"/>
          <p:nvPr/>
        </p:nvSpPr>
        <p:spPr>
          <a:xfrm>
            <a:off x="7619999" y="6621382"/>
            <a:ext cx="4313383" cy="253916"/>
          </a:xfrm>
          <a:prstGeom prst="rect">
            <a:avLst/>
          </a:prstGeom>
          <a:noFill/>
        </p:spPr>
        <p:txBody>
          <a:bodyPr wrap="square">
            <a:spAutoFit/>
          </a:bodyPr>
          <a:lstStyle/>
          <a:p>
            <a:r>
              <a:rPr lang="en-US" sz="1050" dirty="0"/>
              <a:t> https://doi.org/10.1093/eurheartj/ehaf384</a:t>
            </a:r>
          </a:p>
        </p:txBody>
      </p:sp>
      <p:pic>
        <p:nvPicPr>
          <p:cNvPr id="4" name="Picture 3">
            <a:extLst>
              <a:ext uri="{FF2B5EF4-FFF2-40B4-BE49-F238E27FC236}">
                <a16:creationId xmlns:a16="http://schemas.microsoft.com/office/drawing/2014/main" id="{D2EA2365-784F-35FD-8325-2BBCA780F1E6}"/>
              </a:ext>
            </a:extLst>
          </p:cNvPr>
          <p:cNvPicPr>
            <a:picLocks noChangeAspect="1"/>
          </p:cNvPicPr>
          <p:nvPr/>
        </p:nvPicPr>
        <p:blipFill>
          <a:blip r:embed="rId6"/>
          <a:stretch>
            <a:fillRect/>
          </a:stretch>
        </p:blipFill>
        <p:spPr>
          <a:xfrm>
            <a:off x="6510977" y="2058103"/>
            <a:ext cx="5568189" cy="4131237"/>
          </a:xfrm>
          <a:prstGeom prst="rect">
            <a:avLst/>
          </a:prstGeom>
        </p:spPr>
      </p:pic>
      <p:pic>
        <p:nvPicPr>
          <p:cNvPr id="8" name="Picture 7">
            <a:extLst>
              <a:ext uri="{FF2B5EF4-FFF2-40B4-BE49-F238E27FC236}">
                <a16:creationId xmlns:a16="http://schemas.microsoft.com/office/drawing/2014/main" id="{728FFE43-5EFE-3840-D7EB-FA8A72128155}"/>
              </a:ext>
            </a:extLst>
          </p:cNvPr>
          <p:cNvPicPr>
            <a:picLocks noChangeAspect="1"/>
          </p:cNvPicPr>
          <p:nvPr/>
        </p:nvPicPr>
        <p:blipFill>
          <a:blip r:embed="rId7"/>
          <a:stretch>
            <a:fillRect/>
          </a:stretch>
        </p:blipFill>
        <p:spPr>
          <a:xfrm>
            <a:off x="7597288" y="1389012"/>
            <a:ext cx="3395566" cy="625197"/>
          </a:xfrm>
          <a:prstGeom prst="rect">
            <a:avLst/>
          </a:prstGeom>
        </p:spPr>
      </p:pic>
      <p:sp>
        <p:nvSpPr>
          <p:cNvPr id="12" name="Rectangle 11">
            <a:extLst>
              <a:ext uri="{FF2B5EF4-FFF2-40B4-BE49-F238E27FC236}">
                <a16:creationId xmlns:a16="http://schemas.microsoft.com/office/drawing/2014/main" id="{E0893B9C-122F-A1E9-F12A-BB3C2D9AC786}"/>
              </a:ext>
            </a:extLst>
          </p:cNvPr>
          <p:cNvSpPr/>
          <p:nvPr/>
        </p:nvSpPr>
        <p:spPr>
          <a:xfrm>
            <a:off x="6585526" y="4030986"/>
            <a:ext cx="872343" cy="1298396"/>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573710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48EE66C0-68AC-5854-2945-59B27723B4A5}"/>
              </a:ext>
            </a:extLst>
          </p:cNvPr>
          <p:cNvSpPr txBox="1"/>
          <p:nvPr/>
        </p:nvSpPr>
        <p:spPr>
          <a:xfrm>
            <a:off x="332014" y="199738"/>
            <a:ext cx="1152797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Khuyến</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 </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cáo</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tiêm</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vắc</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xin</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cho</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người</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a:t>
            </a:r>
            <a:r>
              <a:rPr kumimoji="0" lang="en-US" sz="2800" b="1" i="0" u="none" strike="noStrike" kern="1200" cap="none" spc="0" normalizeH="0" baseline="0" noProof="0" dirty="0" err="1">
                <a:ln>
                  <a:noFill/>
                </a:ln>
                <a:solidFill>
                  <a:srgbClr val="002060"/>
                </a:solidFill>
                <a:effectLst/>
                <a:uLnTx/>
                <a:uFillTx/>
                <a:latin typeface="Arial" panose="020B0604020202020204"/>
                <a:ea typeface="+mn-ea"/>
                <a:cs typeface="+mn-cs"/>
                <a:sym typeface="+mn-ea"/>
              </a:rPr>
              <a:t>mắc</a:t>
            </a: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sym typeface="+mn-ea"/>
              </a:rPr>
              <a:t> COPD (</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GOLD 2025</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mn-ea"/>
              </a:rPr>
              <a:t>)</a:t>
            </a:r>
            <a:endPar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0FE48641-1B0D-698E-6FA6-78C17040A05D}"/>
              </a:ext>
            </a:extLst>
          </p:cNvPr>
          <p:cNvPicPr>
            <a:picLocks noChangeAspect="1"/>
          </p:cNvPicPr>
          <p:nvPr/>
        </p:nvPicPr>
        <p:blipFill>
          <a:blip r:embed="rId3"/>
          <a:stretch>
            <a:fillRect/>
          </a:stretch>
        </p:blipFill>
        <p:spPr>
          <a:xfrm>
            <a:off x="774698" y="1050876"/>
            <a:ext cx="3153609" cy="4061466"/>
          </a:xfrm>
          <a:prstGeom prst="rect">
            <a:avLst/>
          </a:prstGeom>
        </p:spPr>
      </p:pic>
      <p:pic>
        <p:nvPicPr>
          <p:cNvPr id="7" name="Picture 6">
            <a:extLst>
              <a:ext uri="{FF2B5EF4-FFF2-40B4-BE49-F238E27FC236}">
                <a16:creationId xmlns:a16="http://schemas.microsoft.com/office/drawing/2014/main" id="{47FD1367-F599-6BD6-5C72-014C1011FD72}"/>
              </a:ext>
            </a:extLst>
          </p:cNvPr>
          <p:cNvPicPr>
            <a:picLocks noChangeAspect="1"/>
          </p:cNvPicPr>
          <p:nvPr/>
        </p:nvPicPr>
        <p:blipFill>
          <a:blip r:embed="rId4"/>
          <a:stretch>
            <a:fillRect/>
          </a:stretch>
        </p:blipFill>
        <p:spPr>
          <a:xfrm>
            <a:off x="4407991" y="1001461"/>
            <a:ext cx="7009311" cy="4110100"/>
          </a:xfrm>
          <a:prstGeom prst="rect">
            <a:avLst/>
          </a:prstGeom>
        </p:spPr>
      </p:pic>
      <p:sp>
        <p:nvSpPr>
          <p:cNvPr id="10" name="TextBox 9">
            <a:extLst>
              <a:ext uri="{FF2B5EF4-FFF2-40B4-BE49-F238E27FC236}">
                <a16:creationId xmlns:a16="http://schemas.microsoft.com/office/drawing/2014/main" id="{7F441564-0B27-D72C-B32F-AF504B1430C6}"/>
              </a:ext>
            </a:extLst>
          </p:cNvPr>
          <p:cNvSpPr txBox="1"/>
          <p:nvPr/>
        </p:nvSpPr>
        <p:spPr>
          <a:xfrm>
            <a:off x="4407991" y="5228920"/>
            <a:ext cx="70755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Tiêm</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vaccine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dự</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phòng</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phế</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cầu</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cho</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thấy</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làm</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giảm</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tỉ</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lệ</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viêm</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phổi</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mắc</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phải</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ở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cộng</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đồng</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và</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đợt</a:t>
            </a:r>
            <a:r>
              <a:rPr kumimoji="0" lang="en-US" sz="1800" b="1" i="0" u="none" strike="noStrike" kern="0" cap="none" spc="0" normalizeH="0" baseline="0" noProof="0" dirty="0">
                <a:ln>
                  <a:noFill/>
                </a:ln>
                <a:solidFill>
                  <a:srgbClr val="FF0000"/>
                </a:solidFill>
                <a:effectLst/>
                <a:uLnTx/>
                <a:uFillTx/>
                <a:latin typeface="Arial" panose="020B0604020202020204"/>
                <a:ea typeface="+mn-ea"/>
                <a:cs typeface="+mn-cs"/>
              </a:rPr>
              <a:t> </a:t>
            </a:r>
            <a:r>
              <a:rPr kumimoji="0" lang="en-US" sz="1800" b="1" i="0" u="none" strike="noStrike" kern="0" cap="none" spc="0" normalizeH="0" baseline="0" noProof="0" dirty="0" err="1">
                <a:ln>
                  <a:noFill/>
                </a:ln>
                <a:solidFill>
                  <a:srgbClr val="FF0000"/>
                </a:solidFill>
                <a:effectLst/>
                <a:uLnTx/>
                <a:uFillTx/>
                <a:latin typeface="Arial" panose="020B0604020202020204"/>
                <a:ea typeface="+mn-ea"/>
                <a:cs typeface="+mn-cs"/>
              </a:rPr>
              <a:t>cấp</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trên</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những</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bệnh</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rPr>
              <a:t>nhân</a:t>
            </a:r>
            <a:r>
              <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rPr>
              <a:t> COPD</a:t>
            </a:r>
          </a:p>
        </p:txBody>
      </p:sp>
      <p:sp>
        <p:nvSpPr>
          <p:cNvPr id="11" name="Rectangle 10">
            <a:extLst>
              <a:ext uri="{FF2B5EF4-FFF2-40B4-BE49-F238E27FC236}">
                <a16:creationId xmlns:a16="http://schemas.microsoft.com/office/drawing/2014/main" id="{5C57A498-9E8D-64AD-C81D-3A66ABFB09D5}"/>
              </a:ext>
            </a:extLst>
          </p:cNvPr>
          <p:cNvSpPr/>
          <p:nvPr/>
        </p:nvSpPr>
        <p:spPr>
          <a:xfrm>
            <a:off x="4747107" y="2891617"/>
            <a:ext cx="6373974" cy="537384"/>
          </a:xfrm>
          <a:prstGeom prst="rect">
            <a:avLst/>
          </a:prstGeom>
          <a:noFill/>
          <a:ln w="3810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 name="Rectangle 4">
            <a:extLst>
              <a:ext uri="{FF2B5EF4-FFF2-40B4-BE49-F238E27FC236}">
                <a16:creationId xmlns:a16="http://schemas.microsoft.com/office/drawing/2014/main" id="{645133DA-86AB-69EF-1D13-D3186EC662E6}"/>
              </a:ext>
            </a:extLst>
          </p:cNvPr>
          <p:cNvSpPr/>
          <p:nvPr/>
        </p:nvSpPr>
        <p:spPr>
          <a:xfrm>
            <a:off x="774698" y="6308845"/>
            <a:ext cx="8077200" cy="3683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LD guideline 20</a:t>
            </a:r>
            <a:r>
              <a:rPr kumimoji="0" lang="en-US" altLang="vi-VN" sz="1800" b="0"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25</a:t>
            </a:r>
            <a:endParaRPr kumimoji="0" lang="vi-VN" sz="1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37073C1A-EC69-2C59-FAF6-4AA8C0EA35C9}"/>
              </a:ext>
            </a:extLst>
          </p:cNvPr>
          <p:cNvSpPr/>
          <p:nvPr/>
        </p:nvSpPr>
        <p:spPr>
          <a:xfrm>
            <a:off x="4756012" y="3496962"/>
            <a:ext cx="6513180" cy="433594"/>
          </a:xfrm>
          <a:prstGeom prst="rect">
            <a:avLst/>
          </a:prstGeom>
          <a:noFill/>
          <a:ln w="3810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417FCF09-7A8A-BDB9-459A-88AB50745AF2}"/>
              </a:ext>
            </a:extLst>
          </p:cNvPr>
          <p:cNvSpPr/>
          <p:nvPr/>
        </p:nvSpPr>
        <p:spPr>
          <a:xfrm>
            <a:off x="4756013" y="4364150"/>
            <a:ext cx="6513180" cy="52322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98833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772829" y="6420524"/>
            <a:ext cx="8077200" cy="33718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VN"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merican Diabetis Association 20</a:t>
            </a:r>
            <a:r>
              <a:rPr kumimoji="0" lang="en-US" altLang="vi-VN"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a:t>
            </a:r>
            <a:endParaRPr kumimoji="0" lang="en-US" altLang="vi-VN"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F8546690-365F-91EF-3922-EFED52B8B099}"/>
              </a:ext>
            </a:extLst>
          </p:cNvPr>
          <p:cNvPicPr>
            <a:picLocks noChangeAspect="1"/>
          </p:cNvPicPr>
          <p:nvPr/>
        </p:nvPicPr>
        <p:blipFill>
          <a:blip r:embed="rId2"/>
          <a:stretch>
            <a:fillRect/>
          </a:stretch>
        </p:blipFill>
        <p:spPr>
          <a:xfrm>
            <a:off x="4942012" y="1162245"/>
            <a:ext cx="6486525" cy="4857750"/>
          </a:xfrm>
          <a:prstGeom prst="rect">
            <a:avLst/>
          </a:prstGeom>
        </p:spPr>
      </p:pic>
      <p:pic>
        <p:nvPicPr>
          <p:cNvPr id="1028" name="Picture 4">
            <a:extLst>
              <a:ext uri="{FF2B5EF4-FFF2-40B4-BE49-F238E27FC236}">
                <a16:creationId xmlns:a16="http://schemas.microsoft.com/office/drawing/2014/main" id="{486FED38-CBE1-86EF-FB83-6045B908A4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543" y="1057095"/>
            <a:ext cx="3670816" cy="50680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5609A21-9C2C-261A-F201-39EB476F9AD9}"/>
              </a:ext>
            </a:extLst>
          </p:cNvPr>
          <p:cNvSpPr txBox="1"/>
          <p:nvPr/>
        </p:nvSpPr>
        <p:spPr>
          <a:xfrm>
            <a:off x="209255" y="390242"/>
            <a:ext cx="11475661" cy="480131"/>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vi-VN"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Khuyến cáo tiêm vaccin tr</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ên</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 </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bệnh</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 </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nhân</a:t>
            </a:r>
            <a:r>
              <a:rPr kumimoji="0" lang="vi-VN"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 Đái Tháo Đường</a:t>
            </a:r>
          </a:p>
        </p:txBody>
      </p:sp>
      <p:sp>
        <p:nvSpPr>
          <p:cNvPr id="3" name="Rectangle 2">
            <a:extLst>
              <a:ext uri="{FF2B5EF4-FFF2-40B4-BE49-F238E27FC236}">
                <a16:creationId xmlns:a16="http://schemas.microsoft.com/office/drawing/2014/main" id="{476BCB3D-63CE-7719-1957-38DE672974AF}"/>
              </a:ext>
            </a:extLst>
          </p:cNvPr>
          <p:cNvSpPr/>
          <p:nvPr/>
        </p:nvSpPr>
        <p:spPr>
          <a:xfrm>
            <a:off x="5036860" y="4421688"/>
            <a:ext cx="1820449" cy="425885"/>
          </a:xfrm>
          <a:prstGeom prst="rect">
            <a:avLst/>
          </a:prstGeom>
          <a:solidFill>
            <a:srgbClr val="D6D7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PSV23</a:t>
            </a:r>
          </a:p>
        </p:txBody>
      </p:sp>
      <p:sp>
        <p:nvSpPr>
          <p:cNvPr id="4" name="Rectangle 3">
            <a:extLst>
              <a:ext uri="{FF2B5EF4-FFF2-40B4-BE49-F238E27FC236}">
                <a16:creationId xmlns:a16="http://schemas.microsoft.com/office/drawing/2014/main" id="{34850650-691E-25B6-F8E4-B85113376D90}"/>
              </a:ext>
            </a:extLst>
          </p:cNvPr>
          <p:cNvSpPr/>
          <p:nvPr/>
        </p:nvSpPr>
        <p:spPr>
          <a:xfrm>
            <a:off x="4957435" y="2436312"/>
            <a:ext cx="6727481" cy="33718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177D845-6CEA-9808-1494-917121283D6F}"/>
              </a:ext>
            </a:extLst>
          </p:cNvPr>
          <p:cNvSpPr/>
          <p:nvPr/>
        </p:nvSpPr>
        <p:spPr>
          <a:xfrm>
            <a:off x="4942012" y="4847573"/>
            <a:ext cx="6727481" cy="71054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2495F1F8-B712-E468-7A2F-36FE85E867F1}"/>
              </a:ext>
            </a:extLst>
          </p:cNvPr>
          <p:cNvSpPr/>
          <p:nvPr/>
        </p:nvSpPr>
        <p:spPr>
          <a:xfrm>
            <a:off x="4942011" y="3747319"/>
            <a:ext cx="6727481" cy="63837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AB9EFC-A71E-C7C2-532C-52939295FB88}"/>
              </a:ext>
            </a:extLst>
          </p:cNvPr>
          <p:cNvPicPr>
            <a:picLocks noChangeAspect="1"/>
          </p:cNvPicPr>
          <p:nvPr/>
        </p:nvPicPr>
        <p:blipFill>
          <a:blip r:embed="rId2"/>
          <a:srcRect r="15058"/>
          <a:stretch>
            <a:fillRect/>
          </a:stretch>
        </p:blipFill>
        <p:spPr>
          <a:xfrm>
            <a:off x="218087" y="111642"/>
            <a:ext cx="5877912" cy="2243470"/>
          </a:xfrm>
          <a:prstGeom prst="rect">
            <a:avLst/>
          </a:prstGeom>
        </p:spPr>
      </p:pic>
      <p:pic>
        <p:nvPicPr>
          <p:cNvPr id="9" name="Picture 8">
            <a:extLst>
              <a:ext uri="{FF2B5EF4-FFF2-40B4-BE49-F238E27FC236}">
                <a16:creationId xmlns:a16="http://schemas.microsoft.com/office/drawing/2014/main" id="{3356931B-1173-FF8C-25E8-CA5E3A199413}"/>
              </a:ext>
            </a:extLst>
          </p:cNvPr>
          <p:cNvPicPr>
            <a:picLocks noChangeAspect="1"/>
          </p:cNvPicPr>
          <p:nvPr/>
        </p:nvPicPr>
        <p:blipFill>
          <a:blip r:embed="rId3"/>
          <a:stretch>
            <a:fillRect/>
          </a:stretch>
        </p:blipFill>
        <p:spPr>
          <a:xfrm>
            <a:off x="6096000" y="0"/>
            <a:ext cx="5877914" cy="6730409"/>
          </a:xfrm>
          <a:prstGeom prst="rect">
            <a:avLst/>
          </a:prstGeom>
        </p:spPr>
      </p:pic>
      <p:sp>
        <p:nvSpPr>
          <p:cNvPr id="10" name="TextBox 9">
            <a:extLst>
              <a:ext uri="{FF2B5EF4-FFF2-40B4-BE49-F238E27FC236}">
                <a16:creationId xmlns:a16="http://schemas.microsoft.com/office/drawing/2014/main" id="{6787D215-58B9-2F62-F4E5-681FEA28589C}"/>
              </a:ext>
            </a:extLst>
          </p:cNvPr>
          <p:cNvSpPr txBox="1"/>
          <p:nvPr/>
        </p:nvSpPr>
        <p:spPr>
          <a:xfrm>
            <a:off x="218086" y="2658140"/>
            <a:ext cx="4268854" cy="307777"/>
          </a:xfrm>
          <a:prstGeom prst="rect">
            <a:avLst/>
          </a:prstGeom>
          <a:noFill/>
        </p:spPr>
        <p:txBody>
          <a:bodyPr wrap="square" rtlCol="0">
            <a:spAutoFit/>
          </a:bodyPr>
          <a:lstStyle/>
          <a:p>
            <a:r>
              <a:rPr lang="en-US" sz="1400" i="1" dirty="0"/>
              <a:t>Am Coll </a:t>
            </a:r>
            <a:r>
              <a:rPr lang="en-US" sz="1400" i="1" dirty="0" err="1"/>
              <a:t>Cardiol</a:t>
            </a:r>
            <a:r>
              <a:rPr lang="en-US" sz="1400" dirty="0"/>
              <a:t>. 2025; XX: XXX-XX</a:t>
            </a:r>
          </a:p>
        </p:txBody>
      </p:sp>
    </p:spTree>
    <p:extLst>
      <p:ext uri="{BB962C8B-B14F-4D97-AF65-F5344CB8AC3E}">
        <p14:creationId xmlns:p14="http://schemas.microsoft.com/office/powerpoint/2010/main" val="13835118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372140"/>
            <a:ext cx="10515600" cy="975999"/>
          </a:xfrm>
        </p:spPr>
        <p:txBody>
          <a:bodyPr/>
          <a:lstStyle/>
          <a:p>
            <a:pPr algn="ctr"/>
            <a:r>
              <a:rPr lang="en-US" sz="3200" b="1" dirty="0">
                <a:solidFill>
                  <a:srgbClr val="002060"/>
                </a:solidFill>
              </a:rPr>
              <a:t>Thông </a:t>
            </a:r>
            <a:r>
              <a:rPr lang="en-US" sz="3200" b="1" dirty="0" err="1">
                <a:solidFill>
                  <a:srgbClr val="002060"/>
                </a:solidFill>
              </a:rPr>
              <a:t>điệp</a:t>
            </a:r>
            <a:r>
              <a:rPr lang="en-US" sz="3200" b="1" dirty="0">
                <a:solidFill>
                  <a:srgbClr val="002060"/>
                </a:solidFill>
              </a:rPr>
              <a:t> </a:t>
            </a:r>
            <a:r>
              <a:rPr lang="en-US" sz="3200" b="1" dirty="0" err="1">
                <a:solidFill>
                  <a:srgbClr val="002060"/>
                </a:solidFill>
              </a:rPr>
              <a:t>về</a:t>
            </a:r>
            <a:r>
              <a:rPr lang="en-US" sz="3200" b="1" dirty="0">
                <a:solidFill>
                  <a:srgbClr val="002060"/>
                </a:solidFill>
              </a:rPr>
              <a:t> </a:t>
            </a:r>
            <a:r>
              <a:rPr lang="en-US" sz="3200" b="1" dirty="0" err="1">
                <a:solidFill>
                  <a:srgbClr val="002060"/>
                </a:solidFill>
              </a:rPr>
              <a:t>phòng</a:t>
            </a:r>
            <a:r>
              <a:rPr lang="en-US" sz="3200" b="1" dirty="0">
                <a:solidFill>
                  <a:srgbClr val="002060"/>
                </a:solidFill>
              </a:rPr>
              <a:t> </a:t>
            </a:r>
            <a:r>
              <a:rPr lang="en-US" sz="3200" b="1" dirty="0" err="1">
                <a:solidFill>
                  <a:srgbClr val="002060"/>
                </a:solidFill>
              </a:rPr>
              <a:t>bệnh</a:t>
            </a:r>
            <a:r>
              <a:rPr lang="en-US" sz="3200" b="1" dirty="0">
                <a:solidFill>
                  <a:srgbClr val="002060"/>
                </a:solidFill>
              </a:rPr>
              <a:t> </a:t>
            </a:r>
            <a:r>
              <a:rPr lang="en-US" sz="3200" b="1" dirty="0" err="1">
                <a:solidFill>
                  <a:srgbClr val="002060"/>
                </a:solidFill>
              </a:rPr>
              <a:t>với</a:t>
            </a:r>
            <a:r>
              <a:rPr lang="en-US" sz="3200" b="1" dirty="0">
                <a:solidFill>
                  <a:srgbClr val="002060"/>
                </a:solidFill>
              </a:rPr>
              <a:t> </a:t>
            </a:r>
            <a:r>
              <a:rPr lang="vi-VN" sz="3200" b="1" dirty="0">
                <a:solidFill>
                  <a:srgbClr val="002060"/>
                </a:solidFill>
              </a:rPr>
              <a:t>vắc-xin</a:t>
            </a:r>
            <a:endParaRPr lang="en-US" sz="3200" b="1" dirty="0">
              <a:solidFill>
                <a:srgbClr val="002060"/>
              </a:solidFill>
            </a:endParaRPr>
          </a:p>
        </p:txBody>
      </p:sp>
      <p:sp>
        <p:nvSpPr>
          <p:cNvPr id="5" name="Content Placeholder 4"/>
          <p:cNvSpPr>
            <a:spLocks noGrp="1"/>
          </p:cNvSpPr>
          <p:nvPr>
            <p:ph idx="1"/>
          </p:nvPr>
        </p:nvSpPr>
        <p:spPr>
          <a:xfrm>
            <a:off x="838199" y="1796902"/>
            <a:ext cx="10836365" cy="3936257"/>
          </a:xfrm>
        </p:spPr>
        <p:txBody>
          <a:bodyPr>
            <a:noAutofit/>
          </a:bodyPr>
          <a:lstStyle/>
          <a:p>
            <a:pPr algn="just">
              <a:lnSpc>
                <a:spcPct val="150000"/>
              </a:lnSpc>
              <a:spcBef>
                <a:spcPct val="0"/>
              </a:spcBef>
              <a:spcAft>
                <a:spcPct val="0"/>
              </a:spcAft>
              <a:buFont typeface="Wingdings" panose="05000000000000000000" pitchFamily="2" charset="2"/>
              <a:buChar char="§"/>
            </a:pPr>
            <a:r>
              <a:rPr lang="en-US" altLang="en-US" sz="2400" dirty="0" err="1">
                <a:solidFill>
                  <a:srgbClr val="0000C9"/>
                </a:solidFill>
                <a:cs typeface="Arial" panose="020B0604020202020204" pitchFamily="34" charset="0"/>
                <a:sym typeface="+mn-ea"/>
              </a:rPr>
              <a:t>Phòng</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bệnh</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với</a:t>
            </a:r>
            <a:r>
              <a:rPr lang="en-US" altLang="en-US" sz="2400" dirty="0">
                <a:solidFill>
                  <a:srgbClr val="0000C9"/>
                </a:solidFill>
                <a:cs typeface="Arial" panose="020B0604020202020204" pitchFamily="34" charset="0"/>
                <a:sym typeface="+mn-ea"/>
              </a:rPr>
              <a:t> </a:t>
            </a:r>
            <a:r>
              <a:rPr lang="vi-VN" altLang="en-US" sz="2400" dirty="0">
                <a:solidFill>
                  <a:srgbClr val="0000C9"/>
                </a:solidFill>
                <a:cs typeface="Arial" panose="020B0604020202020204" pitchFamily="34" charset="0"/>
                <a:sym typeface="+mn-ea"/>
              </a:rPr>
              <a:t>vắc-xin</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là</a:t>
            </a:r>
            <a:r>
              <a:rPr lang="en-US" altLang="en-US" sz="2400" dirty="0">
                <a:solidFill>
                  <a:srgbClr val="0000C9"/>
                </a:solidFill>
                <a:cs typeface="Arial" panose="020B0604020202020204" pitchFamily="34" charset="0"/>
                <a:sym typeface="+mn-ea"/>
              </a:rPr>
              <a:t> biện </a:t>
            </a:r>
            <a:r>
              <a:rPr lang="en-US" altLang="en-US" sz="2400" dirty="0" err="1">
                <a:solidFill>
                  <a:srgbClr val="0000C9"/>
                </a:solidFill>
                <a:cs typeface="Arial" panose="020B0604020202020204" pitchFamily="34" charset="0"/>
                <a:sym typeface="+mn-ea"/>
              </a:rPr>
              <a:t>pháp</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quan</a:t>
            </a:r>
            <a:r>
              <a:rPr lang="en-US" altLang="en-US" sz="2400" dirty="0">
                <a:solidFill>
                  <a:srgbClr val="0000C9"/>
                </a:solidFill>
                <a:cs typeface="Arial" panose="020B0604020202020204" pitchFamily="34" charset="0"/>
                <a:sym typeface="+mn-ea"/>
              </a:rPr>
              <a:t> trọng, </a:t>
            </a:r>
            <a:r>
              <a:rPr lang="en-US" altLang="en-US" sz="2400" dirty="0" err="1">
                <a:solidFill>
                  <a:srgbClr val="0000C9"/>
                </a:solidFill>
                <a:cs typeface="Arial" panose="020B0604020202020204" pitchFamily="34" charset="0"/>
                <a:sym typeface="+mn-ea"/>
              </a:rPr>
              <a:t>chủ</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động</a:t>
            </a:r>
            <a:r>
              <a:rPr lang="en-US" altLang="en-US" sz="2400" dirty="0">
                <a:solidFill>
                  <a:srgbClr val="0000C9"/>
                </a:solidFill>
                <a:cs typeface="Arial" panose="020B0604020202020204" pitchFamily="34" charset="0"/>
                <a:sym typeface="+mn-ea"/>
              </a:rPr>
              <a:t> và </a:t>
            </a:r>
            <a:r>
              <a:rPr lang="en-US" altLang="en-US" sz="2400" dirty="0" err="1">
                <a:solidFill>
                  <a:srgbClr val="0000C9"/>
                </a:solidFill>
                <a:cs typeface="Arial" panose="020B0604020202020204" pitchFamily="34" charset="0"/>
                <a:sym typeface="+mn-ea"/>
              </a:rPr>
              <a:t>hiệu</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quả</a:t>
            </a:r>
            <a:endParaRPr lang="en-US" altLang="en-US" sz="2400" dirty="0">
              <a:solidFill>
                <a:srgbClr val="0000C9"/>
              </a:solidFill>
              <a:cs typeface="Arial" panose="020B0604020202020204" pitchFamily="34" charset="0"/>
            </a:endParaRPr>
          </a:p>
          <a:p>
            <a:pPr algn="just">
              <a:lnSpc>
                <a:spcPct val="150000"/>
              </a:lnSpc>
              <a:spcBef>
                <a:spcPct val="0"/>
              </a:spcBef>
              <a:spcAft>
                <a:spcPct val="0"/>
              </a:spcAft>
              <a:buFont typeface="Wingdings" panose="05000000000000000000" pitchFamily="2" charset="2"/>
              <a:buChar char="§"/>
            </a:pPr>
            <a:r>
              <a:rPr lang="en-US" altLang="en-US" sz="2400" dirty="0" err="1">
                <a:cs typeface="Arial" panose="020B0604020202020204" pitchFamily="34" charset="0"/>
                <a:sym typeface="+mn-ea"/>
              </a:rPr>
              <a:t>Mọi</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giá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đoạ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trong</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tiêm</a:t>
            </a:r>
            <a:r>
              <a:rPr lang="en-US" altLang="en-US" sz="2400" dirty="0">
                <a:cs typeface="Arial" panose="020B0604020202020204" pitchFamily="34" charset="0"/>
                <a:sym typeface="+mn-ea"/>
              </a:rPr>
              <a:t> </a:t>
            </a:r>
            <a:r>
              <a:rPr lang="vi-VN" altLang="en-US" sz="2400" dirty="0">
                <a:cs typeface="Arial" panose="020B0604020202020204" pitchFamily="34" charset="0"/>
                <a:sym typeface="+mn-ea"/>
              </a:rPr>
              <a:t>vắc-xi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cũng</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gây</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hậu</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quả</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nghiêm</a:t>
            </a:r>
            <a:r>
              <a:rPr lang="en-US" altLang="en-US" sz="2400" dirty="0">
                <a:cs typeface="Arial" panose="020B0604020202020204" pitchFamily="34" charset="0"/>
                <a:sym typeface="+mn-ea"/>
              </a:rPr>
              <a:t> trọng: </a:t>
            </a:r>
            <a:endParaRPr lang="en-US" altLang="en-US" sz="2400" dirty="0">
              <a:cs typeface="Arial" panose="020B0604020202020204" pitchFamily="34" charset="0"/>
            </a:endParaRPr>
          </a:p>
          <a:p>
            <a:pPr lvl="1" algn="just" eaLnBrk="1" hangingPunct="1">
              <a:lnSpc>
                <a:spcPct val="150000"/>
              </a:lnSpc>
              <a:spcBef>
                <a:spcPct val="0"/>
              </a:spcBef>
              <a:spcAft>
                <a:spcPct val="0"/>
              </a:spcAft>
            </a:pPr>
            <a:r>
              <a:rPr lang="en-US" altLang="en-US" sz="2000" dirty="0" err="1">
                <a:cs typeface="Arial" panose="020B0604020202020204" pitchFamily="34" charset="0"/>
                <a:sym typeface="+mn-ea"/>
              </a:rPr>
              <a:t>Kéo giảm thành</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tựu</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đã</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đạt </a:t>
            </a:r>
            <a:r>
              <a:rPr lang="en-US" altLang="en-US" sz="2000" dirty="0">
                <a:cs typeface="Arial" panose="020B0604020202020204" pitchFamily="34" charset="0"/>
                <a:sym typeface="+mn-ea"/>
              </a:rPr>
              <a:t>(</a:t>
            </a:r>
            <a:r>
              <a:rPr lang="en-US" altLang="en-US" sz="2000" dirty="0" err="1">
                <a:cs typeface="Arial" panose="020B0604020202020204" pitchFamily="34" charset="0"/>
                <a:sym typeface="+mn-ea"/>
              </a:rPr>
              <a:t>thanh</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toán bại</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liệt</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uốn</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ván</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sơ</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sinh</a:t>
            </a:r>
            <a:r>
              <a:rPr lang="en-US" altLang="en-US" sz="2000" dirty="0">
                <a:cs typeface="Arial" panose="020B0604020202020204" pitchFamily="34" charset="0"/>
                <a:sym typeface="+mn-ea"/>
              </a:rPr>
              <a:t>, …)</a:t>
            </a:r>
            <a:endParaRPr lang="en-US" altLang="en-US" sz="2000" dirty="0">
              <a:cs typeface="Arial" panose="020B0604020202020204" pitchFamily="34" charset="0"/>
            </a:endParaRPr>
          </a:p>
          <a:p>
            <a:pPr lvl="1" algn="just" eaLnBrk="1" hangingPunct="1">
              <a:lnSpc>
                <a:spcPct val="150000"/>
              </a:lnSpc>
              <a:spcBef>
                <a:spcPct val="0"/>
              </a:spcBef>
              <a:spcAft>
                <a:spcPct val="0"/>
              </a:spcAft>
            </a:pPr>
            <a:r>
              <a:rPr lang="en-US" altLang="en-US" sz="2000" dirty="0">
                <a:cs typeface="Arial" panose="020B0604020202020204" pitchFamily="34" charset="0"/>
                <a:sym typeface="+mn-ea"/>
              </a:rPr>
              <a:t>Tái </a:t>
            </a:r>
            <a:r>
              <a:rPr lang="en-US" altLang="en-US" sz="2000" dirty="0" err="1">
                <a:cs typeface="Arial" panose="020B0604020202020204" pitchFamily="34" charset="0"/>
                <a:sym typeface="+mn-ea"/>
              </a:rPr>
              <a:t>bùng</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phát</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các</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bệnh</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lý</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nguy</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hiểm</a:t>
            </a:r>
            <a:r>
              <a:rPr lang="en-US" altLang="en-US" sz="2000" dirty="0">
                <a:cs typeface="Arial" panose="020B0604020202020204" pitchFamily="34" charset="0"/>
                <a:sym typeface="+mn-ea"/>
              </a:rPr>
              <a:t> (ho </a:t>
            </a:r>
            <a:r>
              <a:rPr lang="en-US" altLang="en-US" sz="2000" dirty="0" err="1">
                <a:cs typeface="Arial" panose="020B0604020202020204" pitchFamily="34" charset="0"/>
                <a:sym typeface="+mn-ea"/>
              </a:rPr>
              <a:t>gà</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bạch</a:t>
            </a:r>
            <a:r>
              <a:rPr lang="en-US" altLang="en-US" sz="2000" dirty="0">
                <a:cs typeface="Arial" panose="020B0604020202020204" pitchFamily="34" charset="0"/>
                <a:sym typeface="+mn-ea"/>
              </a:rPr>
              <a:t> </a:t>
            </a:r>
            <a:r>
              <a:rPr lang="en-US" altLang="en-US" sz="2000" dirty="0" err="1">
                <a:cs typeface="Arial" panose="020B0604020202020204" pitchFamily="34" charset="0"/>
                <a:sym typeface="+mn-ea"/>
              </a:rPr>
              <a:t>hầu</a:t>
            </a:r>
            <a:r>
              <a:rPr lang="en-US" altLang="en-US" sz="2000" dirty="0">
                <a:cs typeface="Arial" panose="020B0604020202020204" pitchFamily="34" charset="0"/>
                <a:sym typeface="+mn-ea"/>
              </a:rPr>
              <a:t>...) </a:t>
            </a:r>
            <a:endParaRPr lang="en-US" altLang="en-US" sz="2000" dirty="0">
              <a:cs typeface="Arial" panose="020B0604020202020204" pitchFamily="34" charset="0"/>
            </a:endParaRPr>
          </a:p>
          <a:p>
            <a:pPr algn="just">
              <a:lnSpc>
                <a:spcPct val="150000"/>
              </a:lnSpc>
              <a:spcBef>
                <a:spcPct val="0"/>
              </a:spcBef>
              <a:spcAft>
                <a:spcPct val="0"/>
              </a:spcAft>
              <a:buFont typeface="Wingdings" panose="05000000000000000000" pitchFamily="2" charset="2"/>
              <a:buChar char="§"/>
            </a:pPr>
            <a:r>
              <a:rPr lang="en-US" altLang="en-US" sz="2400" dirty="0" err="1">
                <a:cs typeface="Arial" panose="020B0604020202020204" pitchFamily="34" charset="0"/>
                <a:sym typeface="+mn-ea"/>
              </a:rPr>
              <a:t>Phòng</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bệnh</a:t>
            </a:r>
            <a:r>
              <a:rPr lang="en-US" altLang="en-US" sz="2400" dirty="0">
                <a:cs typeface="Arial" panose="020B0604020202020204" pitchFamily="34" charset="0"/>
                <a:sym typeface="+mn-ea"/>
              </a:rPr>
              <a:t> với </a:t>
            </a:r>
            <a:r>
              <a:rPr lang="en-US" altLang="en-US" sz="2400" dirty="0" err="1">
                <a:cs typeface="Arial" panose="020B0604020202020204" pitchFamily="34" charset="0"/>
                <a:sym typeface="+mn-ea"/>
              </a:rPr>
              <a:t>vắc-xi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là</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đầu</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tư</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khô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ngoan</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hiệu</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quả</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đúng</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theo</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phương</a:t>
            </a:r>
            <a:r>
              <a:rPr lang="en-US" altLang="en-US" sz="2400" dirty="0">
                <a:cs typeface="Arial" panose="020B0604020202020204" pitchFamily="34" charset="0"/>
                <a:sym typeface="+mn-ea"/>
              </a:rPr>
              <a:t> </a:t>
            </a:r>
            <a:r>
              <a:rPr lang="en-US" altLang="en-US" sz="2400" dirty="0" err="1">
                <a:cs typeface="Arial" panose="020B0604020202020204" pitchFamily="34" charset="0"/>
                <a:sym typeface="+mn-ea"/>
              </a:rPr>
              <a:t>châm</a:t>
            </a:r>
            <a:r>
              <a:rPr lang="en-US" altLang="en-US" sz="2400" dirty="0">
                <a:cs typeface="Arial" panose="020B0604020202020204" pitchFamily="34" charset="0"/>
                <a:sym typeface="+mn-ea"/>
              </a:rPr>
              <a:t> </a:t>
            </a:r>
            <a:r>
              <a:rPr lang="en-US" altLang="en-US" sz="2400" dirty="0">
                <a:solidFill>
                  <a:srgbClr val="0000C9"/>
                </a:solidFill>
                <a:cs typeface="Arial" panose="020B0604020202020204" pitchFamily="34" charset="0"/>
                <a:sym typeface="+mn-ea"/>
              </a:rPr>
              <a:t>“</a:t>
            </a:r>
            <a:r>
              <a:rPr lang="en-US" altLang="en-US" sz="2400" dirty="0" err="1">
                <a:solidFill>
                  <a:srgbClr val="0000C9"/>
                </a:solidFill>
                <a:cs typeface="Arial" panose="020B0604020202020204" pitchFamily="34" charset="0"/>
                <a:sym typeface="+mn-ea"/>
              </a:rPr>
              <a:t>Phòng</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bệnh</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hơn</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chữa</a:t>
            </a:r>
            <a:r>
              <a:rPr lang="en-US" altLang="en-US" sz="2400" dirty="0">
                <a:solidFill>
                  <a:srgbClr val="0000C9"/>
                </a:solidFill>
                <a:cs typeface="Arial" panose="020B0604020202020204" pitchFamily="34" charset="0"/>
                <a:sym typeface="+mn-ea"/>
              </a:rPr>
              <a:t> </a:t>
            </a:r>
            <a:r>
              <a:rPr lang="en-US" altLang="en-US" sz="2400" dirty="0" err="1">
                <a:solidFill>
                  <a:srgbClr val="0000C9"/>
                </a:solidFill>
                <a:cs typeface="Arial" panose="020B0604020202020204" pitchFamily="34" charset="0"/>
                <a:sym typeface="+mn-ea"/>
              </a:rPr>
              <a:t>bệnh</a:t>
            </a:r>
            <a:r>
              <a:rPr lang="en-US" altLang="en-US" sz="2400" dirty="0">
                <a:solidFill>
                  <a:srgbClr val="0000C9"/>
                </a:solidFill>
                <a:cs typeface="Arial" panose="020B0604020202020204" pitchFamily="34" charset="0"/>
                <a:sym typeface="+mn-ea"/>
              </a:rPr>
              <a:t>!”</a:t>
            </a:r>
          </a:p>
        </p:txBody>
      </p:sp>
      <p:sp>
        <p:nvSpPr>
          <p:cNvPr id="25605" name="Rectangle 10"/>
          <p:cNvSpPr>
            <a:spLocks noChangeArrowheads="1"/>
          </p:cNvSpPr>
          <p:nvPr/>
        </p:nvSpPr>
        <p:spPr bwMode="auto">
          <a:xfrm>
            <a:off x="838200" y="6401996"/>
            <a:ext cx="10836365" cy="346247"/>
          </a:xfrm>
          <a:prstGeom prst="rect">
            <a:avLst/>
          </a:prstGeom>
          <a:noFill/>
          <a:ln w="9525">
            <a:noFill/>
            <a:miter lim="800000"/>
          </a:ln>
        </p:spPr>
        <p:txBody>
          <a:bodyPr wrap="square" lIns="68577" tIns="34289" rIns="68577" bIns="34289">
            <a:spAutoFit/>
          </a:bodyPr>
          <a:lstStyle/>
          <a:p>
            <a:pPr marL="0" marR="0" lvl="0" indent="0" algn="l" defTabSz="912495"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WHO SAGE pertussis working group Background paper SAGE April 2014, </a:t>
            </a:r>
            <a:r>
              <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2">
                  <a:extLst>
                    <a:ext uri="{A12FA001-AC4F-418D-AE19-62706E023703}">
                      <ahyp:hlinkClr xmlns:ahyp="http://schemas.microsoft.com/office/drawing/2018/hyperlinkcolor" val="tx"/>
                    </a:ext>
                  </a:extLst>
                </a:hlinkClick>
              </a:rPr>
              <a:t>http://www.who.int/immunization/sage/meetings/2014/april/1_Pertussis_background_FINAL4_web.pdf</a:t>
            </a:r>
            <a:r>
              <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cessed Apr 2025</a:t>
            </a:r>
            <a:endPar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2495"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 European Centre for Disease Prevention and Control. Shortage of acellular pertussis-containing vaccines and impact on immunization </a:t>
            </a:r>
            <a:r>
              <a:rPr kumimoji="0" lang="en-US" altLang="en-US" sz="9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rogrames</a:t>
            </a:r>
            <a:r>
              <a:rPr kumimoji="0" lang="en-US" alt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the EU/EEA – 8 October 2015. Stockholm: ECDC; 2015. </a:t>
            </a:r>
          </a:p>
        </p:txBody>
      </p:sp>
      <p:grpSp>
        <p:nvGrpSpPr>
          <p:cNvPr id="6" name="Group 5"/>
          <p:cNvGrpSpPr/>
          <p:nvPr/>
        </p:nvGrpSpPr>
        <p:grpSpPr>
          <a:xfrm>
            <a:off x="5419278" y="5376497"/>
            <a:ext cx="6110921" cy="850020"/>
            <a:chOff x="698500" y="1619251"/>
            <a:chExt cx="7780868" cy="958849"/>
          </a:xfrm>
        </p:grpSpPr>
        <p:pic>
          <p:nvPicPr>
            <p:cNvPr id="25606" name="Picture 2"/>
            <p:cNvPicPr>
              <a:picLocks noChangeAspect="1" noChangeArrowheads="1"/>
            </p:cNvPicPr>
            <p:nvPr/>
          </p:nvPicPr>
          <p:blipFill>
            <a:blip r:embed="rId3" cstate="print"/>
            <a:srcRect/>
            <a:stretch>
              <a:fillRect/>
            </a:stretch>
          </p:blipFill>
          <p:spPr bwMode="auto">
            <a:xfrm>
              <a:off x="2624668" y="1631952"/>
              <a:ext cx="2377017" cy="933449"/>
            </a:xfrm>
            <a:prstGeom prst="rect">
              <a:avLst/>
            </a:prstGeom>
            <a:noFill/>
            <a:ln w="9525">
              <a:noFill/>
              <a:miter lim="800000"/>
              <a:headEnd/>
              <a:tailEnd/>
            </a:ln>
          </p:spPr>
        </p:pic>
        <p:pic>
          <p:nvPicPr>
            <p:cNvPr id="25607" name="Picture 4" descr="Image result for cdc"/>
            <p:cNvPicPr>
              <a:picLocks noChangeAspect="1" noChangeArrowheads="1"/>
            </p:cNvPicPr>
            <p:nvPr/>
          </p:nvPicPr>
          <p:blipFill>
            <a:blip r:embed="rId4" cstate="print"/>
            <a:srcRect/>
            <a:stretch>
              <a:fillRect/>
            </a:stretch>
          </p:blipFill>
          <p:spPr bwMode="auto">
            <a:xfrm>
              <a:off x="5319185" y="1619251"/>
              <a:ext cx="3160183" cy="931333"/>
            </a:xfrm>
            <a:prstGeom prst="rect">
              <a:avLst/>
            </a:prstGeom>
            <a:noFill/>
            <a:ln w="9525">
              <a:noFill/>
              <a:miter lim="800000"/>
              <a:headEnd/>
              <a:tailEnd/>
            </a:ln>
          </p:spPr>
        </p:pic>
        <p:pic>
          <p:nvPicPr>
            <p:cNvPr id="25608" name="Picture 6" descr="Image result for ecdc"/>
            <p:cNvPicPr>
              <a:picLocks noChangeAspect="1" noChangeArrowheads="1"/>
            </p:cNvPicPr>
            <p:nvPr/>
          </p:nvPicPr>
          <p:blipFill>
            <a:blip r:embed="rId5" cstate="print"/>
            <a:srcRect/>
            <a:stretch>
              <a:fillRect/>
            </a:stretch>
          </p:blipFill>
          <p:spPr bwMode="auto">
            <a:xfrm>
              <a:off x="698500" y="1646767"/>
              <a:ext cx="1625600" cy="931333"/>
            </a:xfrm>
            <a:prstGeom prst="rect">
              <a:avLst/>
            </a:prstGeom>
            <a:noFill/>
            <a:ln w="9525">
              <a:noFill/>
              <a:miter lim="800000"/>
              <a:headEnd/>
              <a:tailEnd/>
            </a:ln>
          </p:spPr>
        </p:pic>
      </p:grpSp>
    </p:spTree>
    <p:extLst>
      <p:ext uri="{BB962C8B-B14F-4D97-AF65-F5344CB8AC3E}">
        <p14:creationId xmlns:p14="http://schemas.microsoft.com/office/powerpoint/2010/main" val="271189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959" y="-1"/>
            <a:ext cx="12192000" cy="6966815"/>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3333" b="-3333"/>
            </a:stretch>
          </a:blipFill>
        </p:spPr>
        <p:txBody>
          <a:bodyPr/>
          <a:lstStyle/>
          <a:p>
            <a:endParaRPr lang="en-US" sz="1200"/>
          </a:p>
        </p:txBody>
      </p:sp>
      <p:sp>
        <p:nvSpPr>
          <p:cNvPr id="6" name="Freeform 6"/>
          <p:cNvSpPr/>
          <p:nvPr/>
        </p:nvSpPr>
        <p:spPr>
          <a:xfrm>
            <a:off x="10617200" y="438207"/>
            <a:ext cx="1027926" cy="1214684"/>
          </a:xfrm>
          <a:custGeom>
            <a:avLst/>
            <a:gdLst/>
            <a:ahLst/>
            <a:cxnLst/>
            <a:rect l="l" t="t" r="r" b="b"/>
            <a:pathLst>
              <a:path w="1541889" h="1822026">
                <a:moveTo>
                  <a:pt x="0" y="0"/>
                </a:moveTo>
                <a:lnTo>
                  <a:pt x="1541889" y="0"/>
                </a:lnTo>
                <a:lnTo>
                  <a:pt x="1541889" y="1822026"/>
                </a:lnTo>
                <a:lnTo>
                  <a:pt x="0" y="18220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sz="1200"/>
          </a:p>
        </p:txBody>
      </p:sp>
      <p:sp>
        <p:nvSpPr>
          <p:cNvPr id="8" name="TextBox 8"/>
          <p:cNvSpPr txBox="1"/>
          <p:nvPr/>
        </p:nvSpPr>
        <p:spPr>
          <a:xfrm>
            <a:off x="685801" y="4743450"/>
            <a:ext cx="4218779" cy="1777410"/>
          </a:xfrm>
          <a:prstGeom prst="rect">
            <a:avLst/>
          </a:prstGeom>
        </p:spPr>
        <p:txBody>
          <a:bodyPr lIns="0" tIns="0" rIns="0" bIns="0" rtlCol="0" anchor="t">
            <a:spAutoFit/>
          </a:bodyPr>
          <a:lstStyle/>
          <a:p>
            <a:pPr>
              <a:lnSpc>
                <a:spcPts val="2800"/>
              </a:lnSpc>
              <a:spcBef>
                <a:spcPct val="0"/>
              </a:spcBef>
            </a:pPr>
            <a:r>
              <a:rPr lang="en-US" sz="2000" dirty="0">
                <a:solidFill>
                  <a:srgbClr val="FFFFFF"/>
                </a:solidFill>
                <a:latin typeface="Poppins"/>
              </a:rPr>
              <a:t>If you have any questions or consultation regarding the presentation of the medical center you can contact us</a:t>
            </a:r>
            <a:endParaRPr lang="vi-VN" sz="2000" dirty="0">
              <a:solidFill>
                <a:srgbClr val="FFFFFF"/>
              </a:solidFill>
              <a:latin typeface="Poppins"/>
            </a:endParaRPr>
          </a:p>
          <a:p>
            <a:pPr>
              <a:lnSpc>
                <a:spcPts val="2800"/>
              </a:lnSpc>
              <a:spcBef>
                <a:spcPct val="0"/>
              </a:spcBef>
            </a:pPr>
            <a:r>
              <a:rPr lang="vi-VN" sz="2000" dirty="0">
                <a:solidFill>
                  <a:srgbClr val="FFFFFF"/>
                </a:solidFill>
                <a:latin typeface="Poppins"/>
              </a:rPr>
              <a:t>Email: nguyenvtan10@gmail.com</a:t>
            </a:r>
            <a:endParaRPr lang="en-US" sz="2000" dirty="0">
              <a:solidFill>
                <a:srgbClr val="FFFFFF"/>
              </a:solidFill>
              <a:latin typeface="Poppins"/>
            </a:endParaRPr>
          </a:p>
        </p:txBody>
      </p:sp>
      <p:sp>
        <p:nvSpPr>
          <p:cNvPr id="9" name="TextBox 9"/>
          <p:cNvSpPr txBox="1"/>
          <p:nvPr/>
        </p:nvSpPr>
        <p:spPr>
          <a:xfrm>
            <a:off x="685801" y="1638185"/>
            <a:ext cx="3894819" cy="2643672"/>
          </a:xfrm>
          <a:prstGeom prst="rect">
            <a:avLst/>
          </a:prstGeom>
        </p:spPr>
        <p:txBody>
          <a:bodyPr lIns="0" tIns="0" rIns="0" bIns="0" rtlCol="0" anchor="t">
            <a:spAutoFit/>
          </a:bodyPr>
          <a:lstStyle/>
          <a:p>
            <a:pPr>
              <a:lnSpc>
                <a:spcPts val="10351"/>
              </a:lnSpc>
            </a:pPr>
            <a:r>
              <a:rPr lang="en-US" sz="8626" dirty="0">
                <a:solidFill>
                  <a:srgbClr val="FFFFFF"/>
                </a:solidFill>
                <a:latin typeface="Poppins Bold"/>
              </a:rPr>
              <a:t>Thank You!</a:t>
            </a:r>
          </a:p>
        </p:txBody>
      </p:sp>
      <p:sp>
        <p:nvSpPr>
          <p:cNvPr id="10" name="AutoShape 10"/>
          <p:cNvSpPr/>
          <p:nvPr/>
        </p:nvSpPr>
        <p:spPr>
          <a:xfrm>
            <a:off x="685800" y="4504214"/>
            <a:ext cx="3913473" cy="0"/>
          </a:xfrm>
          <a:prstGeom prst="line">
            <a:avLst/>
          </a:prstGeom>
          <a:ln w="38100" cap="flat">
            <a:solidFill>
              <a:srgbClr val="FFFFFF"/>
            </a:solidFill>
            <a:prstDash val="solid"/>
            <a:headEnd type="none" w="sm" len="sm"/>
            <a:tailEnd type="none" w="sm" len="sm"/>
          </a:ln>
        </p:spPr>
        <p:txBody>
          <a:bodyPr/>
          <a:lstStyle/>
          <a:p>
            <a:endParaRPr lang="en-US" sz="1200"/>
          </a:p>
        </p:txBody>
      </p:sp>
    </p:spTree>
    <p:extLst>
      <p:ext uri="{BB962C8B-B14F-4D97-AF65-F5344CB8AC3E}">
        <p14:creationId xmlns:p14="http://schemas.microsoft.com/office/powerpoint/2010/main" val="1489576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BCB3EE2-1CBC-5296-3F76-36CD067E562D}"/>
              </a:ext>
            </a:extLst>
          </p:cNvPr>
          <p:cNvGrpSpPr/>
          <p:nvPr/>
        </p:nvGrpSpPr>
        <p:grpSpPr>
          <a:xfrm>
            <a:off x="0" y="2585253"/>
            <a:ext cx="12192000" cy="1347759"/>
            <a:chOff x="0" y="2585256"/>
            <a:chExt cx="12192000" cy="1047404"/>
          </a:xfrm>
        </p:grpSpPr>
        <p:sp>
          <p:nvSpPr>
            <p:cNvPr id="3" name="Rectangle 2">
              <a:extLst>
                <a:ext uri="{FF2B5EF4-FFF2-40B4-BE49-F238E27FC236}">
                  <a16:creationId xmlns:a16="http://schemas.microsoft.com/office/drawing/2014/main" id="{695CD746-A5B8-FF7F-76C5-F32DE2087265}"/>
                </a:ext>
              </a:extLst>
            </p:cNvPr>
            <p:cNvSpPr/>
            <p:nvPr/>
          </p:nvSpPr>
          <p:spPr>
            <a:xfrm>
              <a:off x="0" y="2585256"/>
              <a:ext cx="12191999" cy="1047404"/>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480A0D9-931F-3DC5-113C-8EBDD3A580F2}"/>
                </a:ext>
              </a:extLst>
            </p:cNvPr>
            <p:cNvSpPr txBox="1"/>
            <p:nvPr/>
          </p:nvSpPr>
          <p:spPr>
            <a:xfrm>
              <a:off x="1" y="2869770"/>
              <a:ext cx="12191999" cy="478374"/>
            </a:xfrm>
            <a:prstGeom prst="rect">
              <a:avLst/>
            </a:prstGeom>
            <a:noFill/>
          </p:spPr>
          <p:txBody>
            <a:bodyPr wrap="square" rtlCol="0">
              <a:spAutoFit/>
            </a:bodyPr>
            <a:lstStyle/>
            <a:p>
              <a:pPr algn="ctr"/>
              <a:r>
                <a:rPr lang="en-US" sz="3400" b="1" dirty="0">
                  <a:solidFill>
                    <a:schemeClr val="bg1"/>
                  </a:solidFill>
                  <a:latin typeface="Arial" panose="020B0604020202020204" pitchFamily="34" charset="0"/>
                  <a:cs typeface="Arial" panose="020B0604020202020204" pitchFamily="34" charset="0"/>
                </a:rPr>
                <a:t>GÁNH NẶNG CỦA PHẾ CẦU </a:t>
              </a:r>
            </a:p>
          </p:txBody>
        </p:sp>
      </p:grpSp>
    </p:spTree>
    <p:extLst>
      <p:ext uri="{BB962C8B-B14F-4D97-AF65-F5344CB8AC3E}">
        <p14:creationId xmlns:p14="http://schemas.microsoft.com/office/powerpoint/2010/main" val="3948375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513572-D096-1576-FE4B-E53B4A00DE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0513572-D096-1576-FE4B-E53B4A00DE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3F2CF5-189A-DCC5-BBDF-E333C52A390C}"/>
              </a:ext>
            </a:extLst>
          </p:cNvPr>
          <p:cNvSpPr>
            <a:spLocks noGrp="1"/>
          </p:cNvSpPr>
          <p:nvPr>
            <p:ph type="title"/>
          </p:nvPr>
        </p:nvSpPr>
        <p:spPr>
          <a:xfrm>
            <a:off x="1" y="147062"/>
            <a:ext cx="12191995" cy="1033669"/>
          </a:xfrm>
        </p:spPr>
        <p:txBody>
          <a:bodyPr vert="horz" lIns="91440" tIns="45720" rIns="91440" bIns="45720" rtlCol="0" anchor="ctr">
            <a:noAutofit/>
          </a:bodyPr>
          <a:lstStyle/>
          <a:p>
            <a:pPr algn="ct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Thống</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kê</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về</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hững</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guyên</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hân</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gây</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tử</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vong</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hàng</a:t>
            </a:r>
            <a:r>
              <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alt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đầu</a:t>
            </a:r>
            <a:endParaRPr lang="en-US" alt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7D8A9853-A0D1-5EA0-9832-5C82C9EAF015}"/>
              </a:ext>
            </a:extLst>
          </p:cNvPr>
          <p:cNvPicPr>
            <a:picLocks noChangeAspect="1"/>
          </p:cNvPicPr>
          <p:nvPr/>
        </p:nvPicPr>
        <p:blipFill rotWithShape="1">
          <a:blip r:embed="rId6"/>
          <a:srcRect l="12696"/>
          <a:stretch/>
        </p:blipFill>
        <p:spPr>
          <a:xfrm>
            <a:off x="6010557" y="1726303"/>
            <a:ext cx="5947143" cy="4087155"/>
          </a:xfrm>
          <a:prstGeom prst="rect">
            <a:avLst/>
          </a:prstGeom>
        </p:spPr>
      </p:pic>
      <p:pic>
        <p:nvPicPr>
          <p:cNvPr id="31" name="Picture 30">
            <a:extLst>
              <a:ext uri="{FF2B5EF4-FFF2-40B4-BE49-F238E27FC236}">
                <a16:creationId xmlns:a16="http://schemas.microsoft.com/office/drawing/2014/main" id="{7F0FFF98-36BE-AF32-CD92-EC2BB32179E3}"/>
              </a:ext>
            </a:extLst>
          </p:cNvPr>
          <p:cNvPicPr>
            <a:picLocks noChangeAspect="1"/>
          </p:cNvPicPr>
          <p:nvPr/>
        </p:nvPicPr>
        <p:blipFill>
          <a:blip r:embed="rId7"/>
          <a:stretch>
            <a:fillRect/>
          </a:stretch>
        </p:blipFill>
        <p:spPr>
          <a:xfrm>
            <a:off x="474379" y="1376086"/>
            <a:ext cx="5419814" cy="4639458"/>
          </a:xfrm>
          <a:prstGeom prst="rect">
            <a:avLst/>
          </a:prstGeom>
        </p:spPr>
      </p:pic>
      <p:sp>
        <p:nvSpPr>
          <p:cNvPr id="7" name="TextBox 6">
            <a:extLst>
              <a:ext uri="{FF2B5EF4-FFF2-40B4-BE49-F238E27FC236}">
                <a16:creationId xmlns:a16="http://schemas.microsoft.com/office/drawing/2014/main" id="{BD3BBD25-51C4-CA18-2A6F-0ACFF3C188D9}"/>
              </a:ext>
            </a:extLst>
          </p:cNvPr>
          <p:cNvSpPr txBox="1"/>
          <p:nvPr/>
        </p:nvSpPr>
        <p:spPr>
          <a:xfrm>
            <a:off x="913023" y="6015544"/>
            <a:ext cx="10717162" cy="369332"/>
          </a:xfrm>
          <a:prstGeom prst="rect">
            <a:avLst/>
          </a:prstGeom>
          <a:noFill/>
        </p:spPr>
        <p:txBody>
          <a:bodyPr wrap="square">
            <a:spAutoFit/>
          </a:bodyPr>
          <a:lstStyle/>
          <a:p>
            <a:r>
              <a:rPr lang="en-US" sz="900" dirty="0">
                <a:hlinkClick r:id="rId8"/>
              </a:rPr>
              <a:t>https://www.who.int/news-room/fact-sheets/detail/the-top-10-causes-of-death#:~:text=Leading%20causes%20of%20death%20globally,of%20deaths%20globally%20in%202019</a:t>
            </a:r>
            <a:r>
              <a:rPr lang="en-US" sz="900" dirty="0"/>
              <a:t>. </a:t>
            </a:r>
          </a:p>
          <a:p>
            <a:r>
              <a:rPr lang="en-US" sz="900" dirty="0"/>
              <a:t>Accessed: September 15 2024</a:t>
            </a:r>
          </a:p>
        </p:txBody>
      </p:sp>
    </p:spTree>
    <p:extLst>
      <p:ext uri="{BB962C8B-B14F-4D97-AF65-F5344CB8AC3E}">
        <p14:creationId xmlns:p14="http://schemas.microsoft.com/office/powerpoint/2010/main" val="26169734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B74566-BC32-CD9B-0744-6F1EC9BF13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0B74566-BC32-CD9B-0744-6F1EC9BF1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C5C605-37AB-C5F6-82A1-A00BBB99EF00}"/>
              </a:ext>
            </a:extLst>
          </p:cNvPr>
          <p:cNvSpPr>
            <a:spLocks noGrp="1"/>
          </p:cNvSpPr>
          <p:nvPr>
            <p:ph type="title"/>
          </p:nvPr>
        </p:nvSpPr>
        <p:spPr>
          <a:xfrm>
            <a:off x="-9525" y="107315"/>
            <a:ext cx="12201525" cy="1205879"/>
          </a:xfrm>
          <a:noFill/>
        </p:spPr>
        <p:txBody>
          <a:bodyPr vert="horz"/>
          <a:lstStyle/>
          <a:p>
            <a:pPr algn="ct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Phế</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cầu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khuẩ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là</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một</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trong</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hững</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guyê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nhân</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hính</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br>
              <a:rPr lang="vi-VN" sz="3200" b="1" dirty="0">
                <a:solidFill>
                  <a:srgbClr val="002060"/>
                </a:solidFill>
                <a:latin typeface="Calibri" panose="020F0502020204030204" pitchFamily="34" charset="0"/>
                <a:ea typeface="Calibri" panose="020F0502020204030204" pitchFamily="34" charset="0"/>
                <a:cs typeface="Calibri" panose="020F0502020204030204" pitchFamily="34" charset="0"/>
              </a:rPr>
            </a:b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ủa</a:t>
            </a:r>
            <a:r>
              <a:rPr lang="vi-VN"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v</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iêm</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phổi</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mắc</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phải</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3200" b="1" dirty="0" err="1">
                <a:solidFill>
                  <a:srgbClr val="002060"/>
                </a:solidFill>
                <a:latin typeface="Calibri" panose="020F0502020204030204" pitchFamily="34" charset="0"/>
                <a:ea typeface="Calibri" panose="020F0502020204030204" pitchFamily="34" charset="0"/>
                <a:cs typeface="Calibri" panose="020F0502020204030204" pitchFamily="34" charset="0"/>
              </a:rPr>
              <a:t>cộng</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đồng</a:t>
            </a:r>
            <a:r>
              <a:rPr lang="vi-VN"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CAP)</a:t>
            </a:r>
            <a:endParaRPr lang="en-US" sz="3200" b="1" baseline="30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43A259A-E315-90E0-233C-D42051A9ABDF}"/>
              </a:ext>
            </a:extLst>
          </p:cNvPr>
          <p:cNvSpPr txBox="1"/>
          <p:nvPr/>
        </p:nvSpPr>
        <p:spPr>
          <a:xfrm>
            <a:off x="-1774" y="6369257"/>
            <a:ext cx="7835958" cy="415498"/>
          </a:xfrm>
          <a:prstGeom prst="rect">
            <a:avLst/>
          </a:prstGeom>
          <a:noFill/>
        </p:spPr>
        <p:txBody>
          <a:bodyPr wrap="square">
            <a:spAutoFit/>
          </a:bodyPr>
          <a:lstStyle/>
          <a:p>
            <a:pPr>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1) </a:t>
            </a: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hlinkClick r:id="rId5"/>
              </a:rPr>
              <a:t>https://www.theayurveda.org/ayurveda/respiratory-tract-infection-symptoms-and-treatment</a:t>
            </a: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en-US" sz="1050" dirty="0"/>
              <a:t>Accessed: September 15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1" name="Picture 4" descr="1 Million People In The U S Hospitalized Each Year With Community-Acquired  Pneumonia – excel-medical.com">
            <a:extLst>
              <a:ext uri="{FF2B5EF4-FFF2-40B4-BE49-F238E27FC236}">
                <a16:creationId xmlns:a16="http://schemas.microsoft.com/office/drawing/2014/main" id="{7D72A1E3-1CA6-1DCF-03F8-6FF87D58EB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851" t="2136" r="1801" b="1587"/>
          <a:stretch/>
        </p:blipFill>
        <p:spPr bwMode="auto">
          <a:xfrm>
            <a:off x="7283303" y="1826168"/>
            <a:ext cx="4685414" cy="408188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606ED228-E85F-DCCF-0E94-1302FBD3780E}"/>
              </a:ext>
            </a:extLst>
          </p:cNvPr>
          <p:cNvGrpSpPr/>
          <p:nvPr/>
        </p:nvGrpSpPr>
        <p:grpSpPr>
          <a:xfrm>
            <a:off x="223284" y="1531088"/>
            <a:ext cx="6945165" cy="4623244"/>
            <a:chOff x="223284" y="1980257"/>
            <a:chExt cx="6945165" cy="4481536"/>
          </a:xfrm>
        </p:grpSpPr>
        <p:pic>
          <p:nvPicPr>
            <p:cNvPr id="13" name="Picture 2" descr="Respiratory Tract Infection Symptoms and Treatment">
              <a:extLst>
                <a:ext uri="{FF2B5EF4-FFF2-40B4-BE49-F238E27FC236}">
                  <a16:creationId xmlns:a16="http://schemas.microsoft.com/office/drawing/2014/main" id="{9AF9E0AE-CCD3-9132-2375-C2B53CB6D9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3284" y="1980257"/>
              <a:ext cx="6945165" cy="448153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EF225EB1-A461-0035-8826-9AE97FEEB0E5}"/>
                </a:ext>
              </a:extLst>
            </p:cNvPr>
            <p:cNvSpPr/>
            <p:nvPr/>
          </p:nvSpPr>
          <p:spPr>
            <a:xfrm>
              <a:off x="5405173" y="2266292"/>
              <a:ext cx="1484725" cy="370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FA2AFB65-CB9A-D96B-F97C-A9BF10FA7551}"/>
              </a:ext>
            </a:extLst>
          </p:cNvPr>
          <p:cNvSpPr txBox="1"/>
          <p:nvPr/>
        </p:nvSpPr>
        <p:spPr>
          <a:xfrm>
            <a:off x="-3" y="6594845"/>
            <a:ext cx="9803030" cy="415498"/>
          </a:xfrm>
          <a:prstGeom prst="rect">
            <a:avLst/>
          </a:prstGeom>
          <a:noFill/>
        </p:spPr>
        <p:txBody>
          <a:bodyPr wrap="square">
            <a:spAutoFit/>
          </a:bodyPr>
          <a:lstStyle/>
          <a:p>
            <a:pPr>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2) </a:t>
            </a: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hlinkClick r:id="rId8"/>
              </a:rPr>
              <a:t>https://www.excel-medical.com/1-million-people-in-the-u-s-hospitalized-each-year-with-community-acquired-pneumonia/</a:t>
            </a: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en-US" sz="1050" dirty="0"/>
              <a:t>Accessed: September 15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11728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BB7019A1-F5B2-A343-BE55-FC64A847C174}"/>
              </a:ext>
            </a:extLst>
          </p:cNvPr>
          <p:cNvGrpSpPr/>
          <p:nvPr/>
        </p:nvGrpSpPr>
        <p:grpSpPr>
          <a:xfrm>
            <a:off x="3783694" y="1201797"/>
            <a:ext cx="8328329" cy="1999961"/>
            <a:chOff x="4108056" y="1201796"/>
            <a:chExt cx="8003967" cy="1998309"/>
          </a:xfrm>
        </p:grpSpPr>
        <p:sp>
          <p:nvSpPr>
            <p:cNvPr id="3" name="Google Shape;859;p119">
              <a:extLst>
                <a:ext uri="{FF2B5EF4-FFF2-40B4-BE49-F238E27FC236}">
                  <a16:creationId xmlns:a16="http://schemas.microsoft.com/office/drawing/2014/main" id="{B4C0993B-9D52-206A-B568-4AB05B420F49}"/>
                </a:ext>
              </a:extLst>
            </p:cNvPr>
            <p:cNvSpPr/>
            <p:nvPr/>
          </p:nvSpPr>
          <p:spPr>
            <a:xfrm>
              <a:off x="7636657" y="2791338"/>
              <a:ext cx="1477200" cy="408767"/>
            </a:xfrm>
            <a:prstGeom prst="roundRect">
              <a:avLst>
                <a:gd name="adj" fmla="val 16667"/>
              </a:avLst>
            </a:prstGeom>
            <a:gradFill>
              <a:gsLst>
                <a:gs pos="0">
                  <a:srgbClr val="5F497A"/>
                </a:gs>
                <a:gs pos="29000">
                  <a:srgbClr val="5F497A"/>
                </a:gs>
                <a:gs pos="50000">
                  <a:srgbClr val="92D050"/>
                </a:gs>
                <a:gs pos="100000">
                  <a:srgbClr val="92D050"/>
                </a:gs>
              </a:gsLst>
              <a:lin ang="0" scaled="0"/>
            </a:gradFill>
            <a:ln w="9525" cap="flat" cmpd="sng">
              <a:solidFill>
                <a:srgbClr val="4F6128"/>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vi-VN" sz="16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Viêm phổi</a:t>
              </a:r>
              <a:endParaRPr kumimoji="0" sz="16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5" name="Google Shape;861;p119">
              <a:extLst>
                <a:ext uri="{FF2B5EF4-FFF2-40B4-BE49-F238E27FC236}">
                  <a16:creationId xmlns:a16="http://schemas.microsoft.com/office/drawing/2014/main" id="{8CB635D5-9C87-546A-73B0-EA17A6AF2187}"/>
                </a:ext>
              </a:extLst>
            </p:cNvPr>
            <p:cNvSpPr/>
            <p:nvPr/>
          </p:nvSpPr>
          <p:spPr>
            <a:xfrm>
              <a:off x="6833497" y="1201796"/>
              <a:ext cx="2140298" cy="546315"/>
            </a:xfrm>
            <a:prstGeom prst="roundRect">
              <a:avLst>
                <a:gd name="adj" fmla="val 16667"/>
              </a:avLst>
            </a:prstGeom>
            <a:solidFill>
              <a:srgbClr val="133049"/>
            </a:solidFill>
            <a:ln>
              <a:noFill/>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vi-VN" sz="18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Bệnh do phế cầu</a:t>
              </a:r>
              <a:r>
                <a:rPr kumimoji="0" lang="en-US" sz="18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1</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 name="Google Shape;862;p119">
              <a:extLst>
                <a:ext uri="{FF2B5EF4-FFF2-40B4-BE49-F238E27FC236}">
                  <a16:creationId xmlns:a16="http://schemas.microsoft.com/office/drawing/2014/main" id="{B887E480-5501-3811-2C99-800907119FFC}"/>
                </a:ext>
              </a:extLst>
            </p:cNvPr>
            <p:cNvSpPr/>
            <p:nvPr/>
          </p:nvSpPr>
          <p:spPr>
            <a:xfrm>
              <a:off x="5110098" y="2039673"/>
              <a:ext cx="1477200" cy="408767"/>
            </a:xfrm>
            <a:prstGeom prst="roundRect">
              <a:avLst>
                <a:gd name="adj" fmla="val 16667"/>
              </a:avLst>
            </a:prstGeom>
            <a:solidFill>
              <a:srgbClr val="5F497A"/>
            </a:solidFill>
            <a:ln w="9525" cap="flat" cmpd="sng">
              <a:solidFill>
                <a:srgbClr val="5F497A"/>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vi-VN" sz="16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Xâm lấn</a:t>
              </a:r>
              <a:endParaRPr kumimoji="0" sz="16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7" name="Google Shape;863;p119">
              <a:extLst>
                <a:ext uri="{FF2B5EF4-FFF2-40B4-BE49-F238E27FC236}">
                  <a16:creationId xmlns:a16="http://schemas.microsoft.com/office/drawing/2014/main" id="{9D31F58E-7625-41F3-1CA5-FB6991BB95D3}"/>
                </a:ext>
              </a:extLst>
            </p:cNvPr>
            <p:cNvSpPr/>
            <p:nvPr/>
          </p:nvSpPr>
          <p:spPr>
            <a:xfrm>
              <a:off x="9385223" y="2039673"/>
              <a:ext cx="1477200" cy="408767"/>
            </a:xfrm>
            <a:prstGeom prst="roundRect">
              <a:avLst>
                <a:gd name="adj" fmla="val 16667"/>
              </a:avLst>
            </a:prstGeom>
            <a:solidFill>
              <a:srgbClr val="92D050"/>
            </a:solidFill>
            <a:ln w="28575" cap="flat" cmpd="sng">
              <a:solidFill>
                <a:srgbClr val="92D050"/>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vi-VN" sz="1400" b="0" i="0" u="none" strike="noStrike" kern="0" cap="none" spc="0" normalizeH="0" baseline="0" noProof="0" dirty="0">
                  <a:ln>
                    <a:noFill/>
                  </a:ln>
                  <a:solidFill>
                    <a:srgbClr val="37424A"/>
                  </a:solidFill>
                  <a:effectLst/>
                  <a:uLnTx/>
                  <a:uFillTx/>
                  <a:latin typeface="Arial" panose="020B0604020202020204" pitchFamily="34" charset="0"/>
                  <a:ea typeface="+mn-ea"/>
                  <a:cs typeface="Arial" panose="020B0604020202020204" pitchFamily="34" charset="0"/>
                  <a:sym typeface="Arial"/>
                </a:rPr>
                <a:t>Ko xâm lấn</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 name="Google Shape;864;p119">
              <a:extLst>
                <a:ext uri="{FF2B5EF4-FFF2-40B4-BE49-F238E27FC236}">
                  <a16:creationId xmlns:a16="http://schemas.microsoft.com/office/drawing/2014/main" id="{C3687632-AF64-C3D3-653D-DFD89CB16A94}"/>
                </a:ext>
              </a:extLst>
            </p:cNvPr>
            <p:cNvSpPr/>
            <p:nvPr/>
          </p:nvSpPr>
          <p:spPr>
            <a:xfrm>
              <a:off x="4108056" y="2786195"/>
              <a:ext cx="1477200" cy="408767"/>
            </a:xfrm>
            <a:prstGeom prst="roundRect">
              <a:avLst>
                <a:gd name="adj" fmla="val 16667"/>
              </a:avLst>
            </a:prstGeom>
            <a:solidFill>
              <a:srgbClr val="5F497A"/>
            </a:solidFill>
            <a:ln w="9525" cap="flat" cmpd="sng">
              <a:solidFill>
                <a:srgbClr val="5F497A"/>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lang="vi-VN" sz="2200" kern="0" baseline="30000" dirty="0">
                  <a:solidFill>
                    <a:srgbClr val="FFFFFF"/>
                  </a:solidFill>
                  <a:latin typeface="Arial" panose="020B0604020202020204" pitchFamily="34" charset="0"/>
                  <a:ea typeface="Arial"/>
                  <a:cs typeface="Arial" panose="020B0604020202020204" pitchFamily="34" charset="0"/>
                  <a:sym typeface="Arial"/>
                </a:rPr>
                <a:t>Viêm màng não</a:t>
              </a:r>
              <a:endParaRPr kumimoji="0" sz="22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9" name="Google Shape;865;p119">
              <a:extLst>
                <a:ext uri="{FF2B5EF4-FFF2-40B4-BE49-F238E27FC236}">
                  <a16:creationId xmlns:a16="http://schemas.microsoft.com/office/drawing/2014/main" id="{8239D165-3941-3ECA-A231-E2C4227058DF}"/>
                </a:ext>
              </a:extLst>
            </p:cNvPr>
            <p:cNvSpPr/>
            <p:nvPr/>
          </p:nvSpPr>
          <p:spPr>
            <a:xfrm>
              <a:off x="5848698" y="2780366"/>
              <a:ext cx="1477200" cy="408767"/>
            </a:xfrm>
            <a:prstGeom prst="roundRect">
              <a:avLst>
                <a:gd name="adj" fmla="val 16667"/>
              </a:avLst>
            </a:prstGeom>
            <a:solidFill>
              <a:srgbClr val="5F497A"/>
            </a:solidFill>
            <a:ln w="9525" cap="flat" cmpd="sng">
              <a:solidFill>
                <a:srgbClr val="5F497A"/>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vi-VN" sz="16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Nhiễm trùng huyết</a:t>
              </a:r>
              <a:endParaRPr kumimoji="0" sz="16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0" name="Google Shape;866;p119">
              <a:extLst>
                <a:ext uri="{FF2B5EF4-FFF2-40B4-BE49-F238E27FC236}">
                  <a16:creationId xmlns:a16="http://schemas.microsoft.com/office/drawing/2014/main" id="{72E7F97E-4CB8-FB98-0D13-BD3EF2DC9A44}"/>
                </a:ext>
              </a:extLst>
            </p:cNvPr>
            <p:cNvSpPr/>
            <p:nvPr/>
          </p:nvSpPr>
          <p:spPr>
            <a:xfrm>
              <a:off x="9264858" y="2777775"/>
              <a:ext cx="1477200" cy="408767"/>
            </a:xfrm>
            <a:prstGeom prst="roundRect">
              <a:avLst>
                <a:gd name="adj" fmla="val 16667"/>
              </a:avLst>
            </a:prstGeom>
            <a:solidFill>
              <a:srgbClr val="92D050"/>
            </a:solidFill>
            <a:ln w="9525" cap="flat" cmpd="sng">
              <a:solidFill>
                <a:srgbClr val="92D050"/>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lang="en-US" sz="1400" kern="0" dirty="0" err="1">
                  <a:solidFill>
                    <a:srgbClr val="37424A"/>
                  </a:solidFill>
                  <a:latin typeface="Arial" panose="020B0604020202020204" pitchFamily="34" charset="0"/>
                  <a:ea typeface="Arial"/>
                  <a:cs typeface="Arial" panose="020B0604020202020204" pitchFamily="34" charset="0"/>
                  <a:sym typeface="Arial"/>
                </a:rPr>
                <a:t>Viêm</a:t>
              </a:r>
              <a:r>
                <a:rPr lang="en-US" sz="1400" kern="0" dirty="0">
                  <a:solidFill>
                    <a:srgbClr val="37424A"/>
                  </a:solidFill>
                  <a:latin typeface="Arial" panose="020B0604020202020204" pitchFamily="34" charset="0"/>
                  <a:ea typeface="Arial"/>
                  <a:cs typeface="Arial" panose="020B0604020202020204" pitchFamily="34" charset="0"/>
                  <a:sym typeface="Arial"/>
                </a:rPr>
                <a:t> tai </a:t>
              </a:r>
              <a:r>
                <a:rPr lang="en-US" sz="1400" kern="0" dirty="0" err="1">
                  <a:solidFill>
                    <a:srgbClr val="37424A"/>
                  </a:solidFill>
                  <a:latin typeface="Arial" panose="020B0604020202020204" pitchFamily="34" charset="0"/>
                  <a:ea typeface="Arial"/>
                  <a:cs typeface="Arial" panose="020B0604020202020204" pitchFamily="34" charset="0"/>
                  <a:sym typeface="Arial"/>
                </a:rPr>
                <a:t>giữa</a:t>
              </a:r>
              <a:r>
                <a:rPr lang="en-US" sz="1400" kern="0" dirty="0">
                  <a:solidFill>
                    <a:srgbClr val="37424A"/>
                  </a:solidFill>
                  <a:latin typeface="Arial" panose="020B0604020202020204" pitchFamily="34" charset="0"/>
                  <a:ea typeface="Arial"/>
                  <a:cs typeface="Arial" panose="020B0604020202020204" pitchFamily="34" charset="0"/>
                  <a:sym typeface="Arial"/>
                </a:rPr>
                <a:t> </a:t>
              </a:r>
              <a:r>
                <a:rPr lang="en-US" sz="1400" kern="0" dirty="0" err="1">
                  <a:solidFill>
                    <a:srgbClr val="37424A"/>
                  </a:solidFill>
                  <a:latin typeface="Arial" panose="020B0604020202020204" pitchFamily="34" charset="0"/>
                  <a:ea typeface="Arial"/>
                  <a:cs typeface="Arial" panose="020B0604020202020204" pitchFamily="34" charset="0"/>
                  <a:sym typeface="Arial"/>
                </a:rPr>
                <a:t>cấp</a:t>
              </a:r>
              <a:endParaRPr kumimoji="0" sz="1400" b="0" i="0" u="none" strike="noStrike" kern="0" cap="none" spc="0" normalizeH="0" baseline="30000" noProof="0" dirty="0">
                <a:ln>
                  <a:noFill/>
                </a:ln>
                <a:solidFill>
                  <a:srgbClr val="37424A"/>
                </a:solidFill>
                <a:effectLst/>
                <a:uLnTx/>
                <a:uFillTx/>
                <a:latin typeface="Arial" panose="020B0604020202020204" pitchFamily="34" charset="0"/>
                <a:ea typeface="Arial"/>
                <a:cs typeface="Arial" panose="020B0604020202020204" pitchFamily="34" charset="0"/>
                <a:sym typeface="Arial"/>
              </a:endParaRPr>
            </a:p>
          </p:txBody>
        </p:sp>
        <p:sp>
          <p:nvSpPr>
            <p:cNvPr id="11" name="Google Shape;867;p119">
              <a:extLst>
                <a:ext uri="{FF2B5EF4-FFF2-40B4-BE49-F238E27FC236}">
                  <a16:creationId xmlns:a16="http://schemas.microsoft.com/office/drawing/2014/main" id="{BA1380FD-90D9-E7A7-0158-306EB76DAAC7}"/>
                </a:ext>
              </a:extLst>
            </p:cNvPr>
            <p:cNvSpPr/>
            <p:nvPr/>
          </p:nvSpPr>
          <p:spPr>
            <a:xfrm>
              <a:off x="10862423" y="2778656"/>
              <a:ext cx="1249600" cy="408767"/>
            </a:xfrm>
            <a:prstGeom prst="roundRect">
              <a:avLst>
                <a:gd name="adj" fmla="val 16667"/>
              </a:avLst>
            </a:prstGeom>
            <a:solidFill>
              <a:srgbClr val="92D050"/>
            </a:solidFill>
            <a:ln w="9525" cap="flat" cmpd="sng">
              <a:solidFill>
                <a:srgbClr val="92D050"/>
              </a:solidFill>
              <a:prstDash val="solid"/>
              <a:round/>
              <a:headEnd type="none" w="sm" len="sm"/>
              <a:tailEnd type="none" w="sm" len="sm"/>
            </a:ln>
            <a:effectLst>
              <a:outerShdw blurRad="57785" dist="33020" dir="3180000" algn="ctr">
                <a:srgbClr val="000000">
                  <a:alpha val="29803"/>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Viêm</a:t>
              </a:r>
              <a:r>
                <a:rPr kumimoji="0" lang="en-US" sz="1600" b="0"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 </a:t>
              </a:r>
              <a:r>
                <a:rPr kumimoji="0" lang="en-US" sz="1600" b="0"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xoang</a:t>
              </a:r>
              <a:endParaRPr kumimoji="0" sz="1600" b="0" i="0" u="none" strike="noStrike" kern="0" cap="none" spc="0" normalizeH="0" baseline="30000" noProof="0" dirty="0">
                <a:ln>
                  <a:noFill/>
                </a:ln>
                <a:solidFill>
                  <a:srgbClr val="37424A"/>
                </a:solidFill>
                <a:effectLst/>
                <a:uLnTx/>
                <a:uFillTx/>
                <a:latin typeface="Arial" panose="020B0604020202020204" pitchFamily="34" charset="0"/>
                <a:ea typeface="Arial"/>
                <a:cs typeface="Arial" panose="020B0604020202020204" pitchFamily="34" charset="0"/>
                <a:sym typeface="Arial"/>
              </a:endParaRPr>
            </a:p>
          </p:txBody>
        </p:sp>
        <p:cxnSp>
          <p:nvCxnSpPr>
            <p:cNvPr id="12" name="Google Shape;868;p119">
              <a:extLst>
                <a:ext uri="{FF2B5EF4-FFF2-40B4-BE49-F238E27FC236}">
                  <a16:creationId xmlns:a16="http://schemas.microsoft.com/office/drawing/2014/main" id="{7BACB748-7824-6855-E53B-4230DBDEA0CB}"/>
                </a:ext>
              </a:extLst>
            </p:cNvPr>
            <p:cNvCxnSpPr/>
            <p:nvPr/>
          </p:nvCxnSpPr>
          <p:spPr>
            <a:xfrm>
              <a:off x="5848698" y="1875972"/>
              <a:ext cx="4275125" cy="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3" name="Google Shape;869;p119">
              <a:extLst>
                <a:ext uri="{FF2B5EF4-FFF2-40B4-BE49-F238E27FC236}">
                  <a16:creationId xmlns:a16="http://schemas.microsoft.com/office/drawing/2014/main" id="{26DFA866-9E06-032A-47E7-4CDAB61862EF}"/>
                </a:ext>
              </a:extLst>
            </p:cNvPr>
            <p:cNvCxnSpPr/>
            <p:nvPr/>
          </p:nvCxnSpPr>
          <p:spPr>
            <a:xfrm>
              <a:off x="7903646" y="1748111"/>
              <a:ext cx="0" cy="127861"/>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4" name="Google Shape;870;p119">
              <a:extLst>
                <a:ext uri="{FF2B5EF4-FFF2-40B4-BE49-F238E27FC236}">
                  <a16:creationId xmlns:a16="http://schemas.microsoft.com/office/drawing/2014/main" id="{4BC5B17F-C64D-CCE4-9986-45F696914116}"/>
                </a:ext>
              </a:extLst>
            </p:cNvPr>
            <p:cNvCxnSpPr>
              <a:endCxn id="6" idx="0"/>
            </p:cNvCxnSpPr>
            <p:nvPr/>
          </p:nvCxnSpPr>
          <p:spPr>
            <a:xfrm>
              <a:off x="5848698" y="1875823"/>
              <a:ext cx="0" cy="16385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5" name="Google Shape;871;p119">
              <a:extLst>
                <a:ext uri="{FF2B5EF4-FFF2-40B4-BE49-F238E27FC236}">
                  <a16:creationId xmlns:a16="http://schemas.microsoft.com/office/drawing/2014/main" id="{92A5AE02-CA1B-4A13-A64C-22690CF327B0}"/>
                </a:ext>
              </a:extLst>
            </p:cNvPr>
            <p:cNvCxnSpPr>
              <a:endCxn id="7" idx="0"/>
            </p:cNvCxnSpPr>
            <p:nvPr/>
          </p:nvCxnSpPr>
          <p:spPr>
            <a:xfrm>
              <a:off x="10123823" y="1875823"/>
              <a:ext cx="0" cy="16385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6" name="Google Shape;872;p119">
              <a:extLst>
                <a:ext uri="{FF2B5EF4-FFF2-40B4-BE49-F238E27FC236}">
                  <a16:creationId xmlns:a16="http://schemas.microsoft.com/office/drawing/2014/main" id="{9C158744-9792-1019-6946-416E290A7E71}"/>
                </a:ext>
              </a:extLst>
            </p:cNvPr>
            <p:cNvCxnSpPr/>
            <p:nvPr/>
          </p:nvCxnSpPr>
          <p:spPr>
            <a:xfrm>
              <a:off x="4846108" y="2619890"/>
              <a:ext cx="1741190" cy="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7" name="Google Shape;873;p119">
              <a:extLst>
                <a:ext uri="{FF2B5EF4-FFF2-40B4-BE49-F238E27FC236}">
                  <a16:creationId xmlns:a16="http://schemas.microsoft.com/office/drawing/2014/main" id="{848FE9DC-1605-B212-6CF8-D78426A1A1AD}"/>
                </a:ext>
              </a:extLst>
            </p:cNvPr>
            <p:cNvCxnSpPr>
              <a:endCxn id="8" idx="0"/>
            </p:cNvCxnSpPr>
            <p:nvPr/>
          </p:nvCxnSpPr>
          <p:spPr>
            <a:xfrm>
              <a:off x="4846656" y="2601030"/>
              <a:ext cx="0" cy="185167"/>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8" name="Google Shape;874;p119">
              <a:extLst>
                <a:ext uri="{FF2B5EF4-FFF2-40B4-BE49-F238E27FC236}">
                  <a16:creationId xmlns:a16="http://schemas.microsoft.com/office/drawing/2014/main" id="{24819D07-6F9A-A853-F291-C39A686AC2CB}"/>
                </a:ext>
              </a:extLst>
            </p:cNvPr>
            <p:cNvCxnSpPr>
              <a:endCxn id="9" idx="0"/>
            </p:cNvCxnSpPr>
            <p:nvPr/>
          </p:nvCxnSpPr>
          <p:spPr>
            <a:xfrm>
              <a:off x="6587298" y="2609080"/>
              <a:ext cx="0" cy="171286"/>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19" name="Google Shape;875;p119">
              <a:extLst>
                <a:ext uri="{FF2B5EF4-FFF2-40B4-BE49-F238E27FC236}">
                  <a16:creationId xmlns:a16="http://schemas.microsoft.com/office/drawing/2014/main" id="{BA400056-5E07-629A-7FAA-A69362EB4A1F}"/>
                </a:ext>
              </a:extLst>
            </p:cNvPr>
            <p:cNvCxnSpPr/>
            <p:nvPr/>
          </p:nvCxnSpPr>
          <p:spPr>
            <a:xfrm>
              <a:off x="8375257" y="2619890"/>
              <a:ext cx="3237801" cy="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20" name="Google Shape;876;p119">
              <a:extLst>
                <a:ext uri="{FF2B5EF4-FFF2-40B4-BE49-F238E27FC236}">
                  <a16:creationId xmlns:a16="http://schemas.microsoft.com/office/drawing/2014/main" id="{82B16369-4232-0F42-9E12-B88852580BAD}"/>
                </a:ext>
              </a:extLst>
            </p:cNvPr>
            <p:cNvCxnSpPr/>
            <p:nvPr/>
          </p:nvCxnSpPr>
          <p:spPr>
            <a:xfrm>
              <a:off x="8375257" y="2619890"/>
              <a:ext cx="0" cy="157885"/>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21" name="Google Shape;877;p119">
              <a:extLst>
                <a:ext uri="{FF2B5EF4-FFF2-40B4-BE49-F238E27FC236}">
                  <a16:creationId xmlns:a16="http://schemas.microsoft.com/office/drawing/2014/main" id="{558263DE-8B75-7ECA-8C73-206E87A38B2D}"/>
                </a:ext>
              </a:extLst>
            </p:cNvPr>
            <p:cNvCxnSpPr>
              <a:stCxn id="7" idx="2"/>
            </p:cNvCxnSpPr>
            <p:nvPr/>
          </p:nvCxnSpPr>
          <p:spPr>
            <a:xfrm>
              <a:off x="10123823" y="2448440"/>
              <a:ext cx="0" cy="330178"/>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22" name="Google Shape;878;p119">
              <a:extLst>
                <a:ext uri="{FF2B5EF4-FFF2-40B4-BE49-F238E27FC236}">
                  <a16:creationId xmlns:a16="http://schemas.microsoft.com/office/drawing/2014/main" id="{8FC3B677-47FB-AEC0-EBD6-935F0F31902A}"/>
                </a:ext>
              </a:extLst>
            </p:cNvPr>
            <p:cNvCxnSpPr/>
            <p:nvPr/>
          </p:nvCxnSpPr>
          <p:spPr>
            <a:xfrm>
              <a:off x="11613058" y="2619890"/>
              <a:ext cx="0" cy="158765"/>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cxnSp>
          <p:nvCxnSpPr>
            <p:cNvPr id="23" name="Google Shape;879;p119">
              <a:extLst>
                <a:ext uri="{FF2B5EF4-FFF2-40B4-BE49-F238E27FC236}">
                  <a16:creationId xmlns:a16="http://schemas.microsoft.com/office/drawing/2014/main" id="{7D3EB12D-39C6-6A1F-D47B-7B7C7DD36E37}"/>
                </a:ext>
              </a:extLst>
            </p:cNvPr>
            <p:cNvCxnSpPr>
              <a:stCxn id="9" idx="3"/>
              <a:endCxn id="3" idx="1"/>
            </p:cNvCxnSpPr>
            <p:nvPr/>
          </p:nvCxnSpPr>
          <p:spPr>
            <a:xfrm>
              <a:off x="7325898" y="2984750"/>
              <a:ext cx="310759" cy="10972"/>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grpSp>
      <p:sp>
        <p:nvSpPr>
          <p:cNvPr id="24" name="Google Shape;880;p119">
            <a:extLst>
              <a:ext uri="{FF2B5EF4-FFF2-40B4-BE49-F238E27FC236}">
                <a16:creationId xmlns:a16="http://schemas.microsoft.com/office/drawing/2014/main" id="{86F9F4E5-9637-9496-F170-25FCFB68984A}"/>
              </a:ext>
            </a:extLst>
          </p:cNvPr>
          <p:cNvSpPr/>
          <p:nvPr/>
        </p:nvSpPr>
        <p:spPr>
          <a:xfrm>
            <a:off x="5735710" y="2654465"/>
            <a:ext cx="3514793" cy="1236676"/>
          </a:xfrm>
          <a:prstGeom prst="rect">
            <a:avLst/>
          </a:prstGeom>
          <a:noFill/>
          <a:ln w="38100"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27" name="Google Shape;855;p119">
            <a:extLst>
              <a:ext uri="{FF2B5EF4-FFF2-40B4-BE49-F238E27FC236}">
                <a16:creationId xmlns:a16="http://schemas.microsoft.com/office/drawing/2014/main" id="{2FBB3BE6-1394-C52E-9B99-738D8DB26EDE}"/>
              </a:ext>
            </a:extLst>
          </p:cNvPr>
          <p:cNvSpPr txBox="1">
            <a:spLocks/>
          </p:cNvSpPr>
          <p:nvPr/>
        </p:nvSpPr>
        <p:spPr>
          <a:xfrm>
            <a:off x="1851799" y="-13146"/>
            <a:ext cx="8229600" cy="830210"/>
          </a:xfrm>
          <a:prstGeom prst="rect">
            <a:avLst/>
          </a:prstGeom>
          <a:noFill/>
          <a:ln>
            <a:noFill/>
          </a:ln>
        </p:spPr>
        <p:txBody>
          <a:bodyPr spcFirstLastPara="1" wrap="square" lIns="91425" tIns="45700" rIns="91425" bIns="45700" anchor="ctr" anchorCtr="0">
            <a:noAutofit/>
          </a:bodyPr>
          <a:lstStyle>
            <a:lvl1pPr algn="l" defTabSz="914400" rtl="0" eaLnBrk="1" latinLnBrk="0" hangingPunct="1">
              <a:lnSpc>
                <a:spcPct val="85000"/>
              </a:lnSpc>
              <a:spcBef>
                <a:spcPts val="0"/>
              </a:spcBef>
              <a:buNone/>
              <a:defRPr lang="en-US" sz="2700" b="1" kern="1200" dirty="0">
                <a:solidFill>
                  <a:schemeClr val="accent1">
                    <a:lumMod val="75000"/>
                  </a:schemeClr>
                </a:solidFill>
                <a:latin typeface="Noto Sans" panose="020B0502040504020204" pitchFamily="34"/>
                <a:ea typeface="Noto Sans" panose="020B0502040504020204" pitchFamily="34"/>
                <a:cs typeface="Noto Sans" panose="020B0502040504020204" pitchFamily="34"/>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lang="vi-VN" sz="3200" dirty="0">
                <a:solidFill>
                  <a:srgbClr val="002060"/>
                </a:solidFill>
                <a:latin typeface="Calibri" panose="020F0502020204030204" pitchFamily="34" charset="0"/>
                <a:ea typeface="Calibri" panose="020F0502020204030204" pitchFamily="34" charset="0"/>
                <a:cs typeface="Calibri" panose="020F0502020204030204" pitchFamily="34" charset="0"/>
              </a:rPr>
              <a:t>Bệnh phế cầu ở người lớn</a:t>
            </a:r>
            <a:endParaRPr kumimoji="0" lang="en-GB"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8" name="Google Shape;856;p119">
            <a:extLst>
              <a:ext uri="{FF2B5EF4-FFF2-40B4-BE49-F238E27FC236}">
                <a16:creationId xmlns:a16="http://schemas.microsoft.com/office/drawing/2014/main" id="{D0B3A8E9-2C5E-51B6-5DD0-C2F9509CC4CF}"/>
              </a:ext>
            </a:extLst>
          </p:cNvPr>
          <p:cNvSpPr txBox="1">
            <a:spLocks/>
          </p:cNvSpPr>
          <p:nvPr/>
        </p:nvSpPr>
        <p:spPr>
          <a:xfrm>
            <a:off x="334372" y="6321016"/>
            <a:ext cx="11522665" cy="435593"/>
          </a:xfrm>
          <a:prstGeom prst="rect">
            <a:avLst/>
          </a:prstGeom>
          <a:noFill/>
          <a:ln>
            <a:noFill/>
          </a:ln>
        </p:spPr>
        <p:txBody>
          <a:bodyPr spcFirstLastPara="1" wrap="square" lIns="91425" tIns="45700" rIns="91425" bIns="45700" anchor="b" anchorCtr="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Noto Sans" panose="020B0502040504020204" pitchFamily="34"/>
                <a:ea typeface="Noto Sans" panose="020B0502040504020204" pitchFamily="34"/>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Noto Sans" panose="020B0502040504020204" pitchFamily="34"/>
                <a:ea typeface="Noto Sans" panose="020B0502040504020204" pitchFamily="34"/>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Noto Sans" panose="020B0502040504020204" pitchFamily="34"/>
                <a:ea typeface="Noto Sans" panose="020B0502040504020204" pitchFamily="34"/>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Noto Sans" panose="020B0502040504020204" pitchFamily="34"/>
                <a:ea typeface="Noto Sans" panose="020B0502040504020204" pitchFamily="34"/>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Pts val="1050"/>
              <a:buFont typeface="Arial" panose="020B0604020202020204" pitchFamily="34" charset="0"/>
              <a:buNone/>
              <a:tabLst/>
              <a:defRPr/>
            </a:pP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a:t>
            </a:r>
          </a:p>
          <a:p>
            <a:pPr marL="0" marR="0" lvl="0" indent="0" algn="l" defTabSz="914400" rtl="0" eaLnBrk="1" fontAlgn="auto" latinLnBrk="0" hangingPunct="1">
              <a:lnSpc>
                <a:spcPct val="90000"/>
              </a:lnSpc>
              <a:spcBef>
                <a:spcPts val="0"/>
              </a:spcBef>
              <a:spcAft>
                <a:spcPts val="0"/>
              </a:spcAft>
              <a:buClrTx/>
              <a:buSzPts val="1050"/>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1. </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World Health Organization (WHO). </a:t>
            </a:r>
            <a:r>
              <a:rPr kumimoji="0" lang="en-GB" sz="800" b="0" i="1" u="none" strike="noStrike" kern="1200" cap="none" spc="0" normalizeH="0" baseline="0" noProof="0" err="1">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Wkly</a:t>
            </a:r>
            <a:r>
              <a:rPr kumimoji="0" lang="en-GB" sz="800" b="0" i="1"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a:t>
            </a:r>
            <a:r>
              <a:rPr kumimoji="0" lang="en-GB" sz="800" b="0" i="1" u="none" strike="noStrike" kern="1200" cap="none" spc="0" normalizeH="0" baseline="0" noProof="0" err="1">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Epidemiol</a:t>
            </a:r>
            <a:r>
              <a:rPr kumimoji="0" lang="en-GB" sz="800" b="0" i="1"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Rec.</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2012;87:129-144. </a:t>
            </a:r>
            <a:r>
              <a:rPr kumimoji="0" lang="en-GB" sz="800" b="1"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2. </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Said MA, et al. </a:t>
            </a:r>
            <a:r>
              <a:rPr kumimoji="0" lang="en-GB" sz="800" b="0" i="1" u="none" strike="noStrike" kern="1200" cap="none" spc="0" normalizeH="0" baseline="0" noProof="0" err="1">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PLoS</a:t>
            </a:r>
            <a:r>
              <a:rPr kumimoji="0" lang="en-GB" sz="800" b="0" i="1"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One</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2013;8:e60273. </a:t>
            </a:r>
            <a:r>
              <a:rPr kumimoji="0" lang="en-GB" sz="800" b="1"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3. </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Jansen AG, et al. </a:t>
            </a:r>
            <a:r>
              <a:rPr kumimoji="0" lang="en-GB" sz="800" b="0" i="1"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Clin Infect Dis</a:t>
            </a:r>
            <a:r>
              <a:rPr kumimoji="0" lang="en-GB" sz="800" b="0" i="0" u="none" strike="noStrike" kern="1200" cap="none" spc="0" normalizeH="0" baseline="0" noProof="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rPr>
              <a:t>. 2009;49:e23-e29.</a:t>
            </a:r>
          </a:p>
        </p:txBody>
      </p:sp>
      <p:grpSp>
        <p:nvGrpSpPr>
          <p:cNvPr id="29" name="Group 143">
            <a:extLst>
              <a:ext uri="{FF2B5EF4-FFF2-40B4-BE49-F238E27FC236}">
                <a16:creationId xmlns:a16="http://schemas.microsoft.com/office/drawing/2014/main" id="{334ABA3C-1359-AEA4-9D0B-6499B7C19D19}"/>
              </a:ext>
            </a:extLst>
          </p:cNvPr>
          <p:cNvGrpSpPr>
            <a:grpSpLocks/>
          </p:cNvGrpSpPr>
          <p:nvPr/>
        </p:nvGrpSpPr>
        <p:grpSpPr bwMode="auto">
          <a:xfrm>
            <a:off x="-132320" y="1201796"/>
            <a:ext cx="4362817" cy="3786327"/>
            <a:chOff x="4476913" y="1186852"/>
            <a:chExt cx="6203131" cy="4285045"/>
          </a:xfrm>
        </p:grpSpPr>
        <p:grpSp>
          <p:nvGrpSpPr>
            <p:cNvPr id="30" name="Group 144">
              <a:extLst>
                <a:ext uri="{FF2B5EF4-FFF2-40B4-BE49-F238E27FC236}">
                  <a16:creationId xmlns:a16="http://schemas.microsoft.com/office/drawing/2014/main" id="{AEEBD56F-B4DE-D6A4-B7C2-2349FE0357DB}"/>
                </a:ext>
              </a:extLst>
            </p:cNvPr>
            <p:cNvGrpSpPr>
              <a:grpSpLocks/>
            </p:cNvGrpSpPr>
            <p:nvPr/>
          </p:nvGrpSpPr>
          <p:grpSpPr bwMode="auto">
            <a:xfrm>
              <a:off x="5638243" y="1710880"/>
              <a:ext cx="2729553" cy="769606"/>
              <a:chOff x="6886087" y="1921387"/>
              <a:chExt cx="2729553" cy="769606"/>
            </a:xfrm>
          </p:grpSpPr>
          <p:sp>
            <p:nvSpPr>
              <p:cNvPr id="59" name="Freeform 173">
                <a:extLst>
                  <a:ext uri="{FF2B5EF4-FFF2-40B4-BE49-F238E27FC236}">
                    <a16:creationId xmlns:a16="http://schemas.microsoft.com/office/drawing/2014/main" id="{A4235D23-1FD7-D8E6-76AA-7A2055743B27}"/>
                  </a:ext>
                </a:extLst>
              </p:cNvPr>
              <p:cNvSpPr/>
              <p:nvPr/>
            </p:nvSpPr>
            <p:spPr>
              <a:xfrm>
                <a:off x="6899365" y="1921387"/>
                <a:ext cx="2716275" cy="769606"/>
              </a:xfrm>
              <a:custGeom>
                <a:avLst/>
                <a:gdLst>
                  <a:gd name="connsiteX0" fmla="*/ 2560320 w 2715768"/>
                  <a:gd name="connsiteY0" fmla="*/ 768096 h 768096"/>
                  <a:gd name="connsiteX1" fmla="*/ 2359152 w 2715768"/>
                  <a:gd name="connsiteY1" fmla="*/ 466344 h 768096"/>
                  <a:gd name="connsiteX2" fmla="*/ 0 w 2715768"/>
                  <a:gd name="connsiteY2" fmla="*/ 466344 h 768096"/>
                  <a:gd name="connsiteX3" fmla="*/ 0 w 2715768"/>
                  <a:gd name="connsiteY3" fmla="*/ 0 h 768096"/>
                  <a:gd name="connsiteX4" fmla="*/ 2368296 w 2715768"/>
                  <a:gd name="connsiteY4" fmla="*/ 0 h 768096"/>
                  <a:gd name="connsiteX5" fmla="*/ 2715768 w 2715768"/>
                  <a:gd name="connsiteY5" fmla="*/ 594360 h 768096"/>
                  <a:gd name="connsiteX6" fmla="*/ 2560320 w 2715768"/>
                  <a:gd name="connsiteY6" fmla="*/ 768096 h 76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768" h="768096">
                    <a:moveTo>
                      <a:pt x="2560320" y="768096"/>
                    </a:moveTo>
                    <a:lnTo>
                      <a:pt x="2359152" y="466344"/>
                    </a:lnTo>
                    <a:lnTo>
                      <a:pt x="0" y="466344"/>
                    </a:lnTo>
                    <a:lnTo>
                      <a:pt x="0" y="0"/>
                    </a:lnTo>
                    <a:lnTo>
                      <a:pt x="2368296" y="0"/>
                    </a:lnTo>
                    <a:lnTo>
                      <a:pt x="2715768" y="594360"/>
                    </a:lnTo>
                    <a:lnTo>
                      <a:pt x="2560320" y="768096"/>
                    </a:lnTo>
                    <a:close/>
                  </a:path>
                </a:pathLst>
              </a:custGeom>
              <a:gradFill>
                <a:gsLst>
                  <a:gs pos="0">
                    <a:srgbClr val="616365">
                      <a:lumMod val="40000"/>
                      <a:lumOff val="60000"/>
                    </a:srgbClr>
                  </a:gs>
                  <a:gs pos="100000">
                    <a:srgbClr val="00447C">
                      <a:lumMod val="20000"/>
                      <a:lumOff val="80000"/>
                      <a:alpha val="0"/>
                    </a:srgbClr>
                  </a:gs>
                </a:gsLst>
                <a:lin ang="10800000" scaled="0"/>
              </a:gradFill>
              <a:ln w="25400" cap="flat" cmpd="sng" algn="ctr">
                <a:noFill/>
                <a:prstDash val="solid"/>
              </a:ln>
              <a:effectLst/>
            </p:spPr>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Text Box 11">
                <a:extLst>
                  <a:ext uri="{FF2B5EF4-FFF2-40B4-BE49-F238E27FC236}">
                    <a16:creationId xmlns:a16="http://schemas.microsoft.com/office/drawing/2014/main" id="{EBBCD344-E128-831F-AE79-52CF28914970}"/>
                  </a:ext>
                </a:extLst>
              </p:cNvPr>
              <p:cNvSpPr txBox="1">
                <a:spLocks noChangeArrowheads="1"/>
              </p:cNvSpPr>
              <p:nvPr/>
            </p:nvSpPr>
            <p:spPr bwMode="auto">
              <a:xfrm>
                <a:off x="6886087" y="1986038"/>
                <a:ext cx="2378555" cy="348316"/>
              </a:xfrm>
              <a:prstGeom prst="rect">
                <a:avLst/>
              </a:prstGeom>
              <a:noFill/>
              <a:ln w="9525">
                <a:noFill/>
                <a:miter lim="800000"/>
                <a:headEnd/>
                <a:tailEnd/>
              </a:ln>
              <a:effectLst/>
            </p:spPr>
            <p:txBody>
              <a:bodyPr wrap="none" lIns="45720" rIns="45720" anchor="ctr">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lang="vi-VN" altLang="en-US" sz="1400" b="1" kern="0" dirty="0">
                    <a:solidFill>
                      <a:srgbClr val="000000"/>
                    </a:solidFill>
                    <a:latin typeface="Arial" panose="020B0604020202020204" pitchFamily="34" charset="0"/>
                    <a:ea typeface="MS Pゴシック" pitchFamily="-92" charset="-128"/>
                    <a:cs typeface="Arial" panose="020B0604020202020204" pitchFamily="34" charset="0"/>
                  </a:rPr>
                  <a:t>Nhiễm trùng huyết</a:t>
                </a:r>
                <a:endParaRPr kumimoji="0" lang="en-US" altLang="en-US" sz="1400" b="1" i="0" u="none" strike="noStrike" kern="0" cap="none" spc="0" normalizeH="0" baseline="0" noProof="0" dirty="0">
                  <a:ln>
                    <a:noFill/>
                  </a:ln>
                  <a:solidFill>
                    <a:srgbClr val="000000"/>
                  </a:solidFill>
                  <a:effectLst/>
                  <a:uLnTx/>
                  <a:uFillTx/>
                  <a:latin typeface="Arial" panose="020B0604020202020204" pitchFamily="34" charset="0"/>
                  <a:ea typeface="MS Pゴシック" pitchFamily="-92" charset="-128"/>
                  <a:cs typeface="Arial" panose="020B0604020202020204" pitchFamily="34" charset="0"/>
                </a:endParaRPr>
              </a:p>
            </p:txBody>
          </p:sp>
        </p:grpSp>
        <p:grpSp>
          <p:nvGrpSpPr>
            <p:cNvPr id="31" name="Group 145">
              <a:extLst>
                <a:ext uri="{FF2B5EF4-FFF2-40B4-BE49-F238E27FC236}">
                  <a16:creationId xmlns:a16="http://schemas.microsoft.com/office/drawing/2014/main" id="{6003FD88-D9FA-25F3-3335-8EA785234F83}"/>
                </a:ext>
              </a:extLst>
            </p:cNvPr>
            <p:cNvGrpSpPr>
              <a:grpSpLocks/>
            </p:cNvGrpSpPr>
            <p:nvPr/>
          </p:nvGrpSpPr>
          <p:grpSpPr bwMode="auto">
            <a:xfrm>
              <a:off x="6135215" y="1186852"/>
              <a:ext cx="2312248" cy="767672"/>
              <a:chOff x="7257497" y="1462919"/>
              <a:chExt cx="2312248" cy="767672"/>
            </a:xfrm>
          </p:grpSpPr>
          <p:sp>
            <p:nvSpPr>
              <p:cNvPr id="57" name="Freeform 171">
                <a:extLst>
                  <a:ext uri="{FF2B5EF4-FFF2-40B4-BE49-F238E27FC236}">
                    <a16:creationId xmlns:a16="http://schemas.microsoft.com/office/drawing/2014/main" id="{E42110E2-82A4-4FBA-7FFE-2E7215A3422A}"/>
                  </a:ext>
                </a:extLst>
              </p:cNvPr>
              <p:cNvSpPr/>
              <p:nvPr/>
            </p:nvSpPr>
            <p:spPr>
              <a:xfrm>
                <a:off x="7270775" y="1462919"/>
                <a:ext cx="2298970" cy="767672"/>
              </a:xfrm>
              <a:custGeom>
                <a:avLst/>
                <a:gdLst>
                  <a:gd name="connsiteX0" fmla="*/ 2560320 w 2715768"/>
                  <a:gd name="connsiteY0" fmla="*/ 768096 h 768096"/>
                  <a:gd name="connsiteX1" fmla="*/ 2359152 w 2715768"/>
                  <a:gd name="connsiteY1" fmla="*/ 466344 h 768096"/>
                  <a:gd name="connsiteX2" fmla="*/ 0 w 2715768"/>
                  <a:gd name="connsiteY2" fmla="*/ 466344 h 768096"/>
                  <a:gd name="connsiteX3" fmla="*/ 0 w 2715768"/>
                  <a:gd name="connsiteY3" fmla="*/ 0 h 768096"/>
                  <a:gd name="connsiteX4" fmla="*/ 2368296 w 2715768"/>
                  <a:gd name="connsiteY4" fmla="*/ 0 h 768096"/>
                  <a:gd name="connsiteX5" fmla="*/ 2715768 w 2715768"/>
                  <a:gd name="connsiteY5" fmla="*/ 594360 h 768096"/>
                  <a:gd name="connsiteX6" fmla="*/ 2560320 w 2715768"/>
                  <a:gd name="connsiteY6" fmla="*/ 768096 h 76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768" h="768096">
                    <a:moveTo>
                      <a:pt x="2560320" y="768096"/>
                    </a:moveTo>
                    <a:lnTo>
                      <a:pt x="2359152" y="466344"/>
                    </a:lnTo>
                    <a:lnTo>
                      <a:pt x="0" y="466344"/>
                    </a:lnTo>
                    <a:lnTo>
                      <a:pt x="0" y="0"/>
                    </a:lnTo>
                    <a:lnTo>
                      <a:pt x="2368296" y="0"/>
                    </a:lnTo>
                    <a:lnTo>
                      <a:pt x="2715768" y="594360"/>
                    </a:lnTo>
                    <a:lnTo>
                      <a:pt x="2560320" y="768096"/>
                    </a:lnTo>
                    <a:close/>
                  </a:path>
                </a:pathLst>
              </a:custGeom>
              <a:gradFill>
                <a:gsLst>
                  <a:gs pos="0">
                    <a:srgbClr val="616365">
                      <a:lumMod val="40000"/>
                      <a:lumOff val="60000"/>
                    </a:srgbClr>
                  </a:gs>
                  <a:gs pos="100000">
                    <a:srgbClr val="00447C">
                      <a:lumMod val="20000"/>
                      <a:lumOff val="80000"/>
                      <a:alpha val="0"/>
                    </a:srgbClr>
                  </a:gs>
                </a:gsLst>
                <a:lin ang="10800000" scaled="0"/>
              </a:gradFill>
              <a:ln w="25400" cap="flat" cmpd="sng" algn="ctr">
                <a:noFill/>
                <a:prstDash val="solid"/>
              </a:ln>
              <a:effectLst/>
            </p:spPr>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8" name="Text Box 11">
                <a:extLst>
                  <a:ext uri="{FF2B5EF4-FFF2-40B4-BE49-F238E27FC236}">
                    <a16:creationId xmlns:a16="http://schemas.microsoft.com/office/drawing/2014/main" id="{698F931E-F9B3-DBFD-A8BD-E18C8C064571}"/>
                  </a:ext>
                </a:extLst>
              </p:cNvPr>
              <p:cNvSpPr txBox="1">
                <a:spLocks noChangeArrowheads="1"/>
              </p:cNvSpPr>
              <p:nvPr/>
            </p:nvSpPr>
            <p:spPr bwMode="auto">
              <a:xfrm>
                <a:off x="7257497" y="1517288"/>
                <a:ext cx="2013886" cy="348316"/>
              </a:xfrm>
              <a:prstGeom prst="rect">
                <a:avLst/>
              </a:prstGeom>
              <a:noFill/>
              <a:ln w="9525">
                <a:noFill/>
                <a:miter lim="800000"/>
                <a:headEnd/>
                <a:tailEnd/>
              </a:ln>
              <a:effectLst/>
            </p:spPr>
            <p:txBody>
              <a:bodyPr wrap="none" lIns="45720" rIns="45720" anchor="ctr">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lang="vi-VN" altLang="en-US" sz="1400" b="1" kern="0" dirty="0">
                    <a:solidFill>
                      <a:srgbClr val="000000"/>
                    </a:solidFill>
                    <a:latin typeface="Arial" panose="020B0604020202020204" pitchFamily="34" charset="0"/>
                    <a:ea typeface="MS Pゴシック" pitchFamily="-92" charset="-128"/>
                    <a:cs typeface="Arial" panose="020B0604020202020204" pitchFamily="34" charset="0"/>
                  </a:rPr>
                  <a:t>Viêm màng não</a:t>
                </a:r>
                <a:endParaRPr kumimoji="0" lang="en-US" altLang="en-US" sz="1400" b="1" i="0" u="none" strike="noStrike" kern="0" cap="none" spc="0" normalizeH="0" baseline="0" noProof="0" dirty="0">
                  <a:ln>
                    <a:noFill/>
                  </a:ln>
                  <a:solidFill>
                    <a:srgbClr val="000000"/>
                  </a:solidFill>
                  <a:effectLst/>
                  <a:uLnTx/>
                  <a:uFillTx/>
                  <a:latin typeface="Arial" panose="020B0604020202020204" pitchFamily="34" charset="0"/>
                  <a:ea typeface="MS Pゴシック" pitchFamily="-92" charset="-128"/>
                  <a:cs typeface="Arial" panose="020B0604020202020204" pitchFamily="34" charset="0"/>
                </a:endParaRPr>
              </a:p>
            </p:txBody>
          </p:sp>
        </p:grpSp>
        <p:grpSp>
          <p:nvGrpSpPr>
            <p:cNvPr id="32" name="Group 146">
              <a:extLst>
                <a:ext uri="{FF2B5EF4-FFF2-40B4-BE49-F238E27FC236}">
                  <a16:creationId xmlns:a16="http://schemas.microsoft.com/office/drawing/2014/main" id="{2C4766B6-74A1-A91A-AEB8-4A1B840BBE94}"/>
                </a:ext>
              </a:extLst>
            </p:cNvPr>
            <p:cNvGrpSpPr>
              <a:grpSpLocks/>
            </p:cNvGrpSpPr>
            <p:nvPr/>
          </p:nvGrpSpPr>
          <p:grpSpPr bwMode="auto">
            <a:xfrm>
              <a:off x="4509154" y="3258956"/>
              <a:ext cx="2940571" cy="675661"/>
              <a:chOff x="-136361" y="3520278"/>
              <a:chExt cx="2940571" cy="675661"/>
            </a:xfrm>
          </p:grpSpPr>
          <p:sp>
            <p:nvSpPr>
              <p:cNvPr id="55" name="Rectangle 54">
                <a:extLst>
                  <a:ext uri="{FF2B5EF4-FFF2-40B4-BE49-F238E27FC236}">
                    <a16:creationId xmlns:a16="http://schemas.microsoft.com/office/drawing/2014/main" id="{084709DC-65DE-67E6-F927-7BC566CF1753}"/>
                  </a:ext>
                </a:extLst>
              </p:cNvPr>
              <p:cNvSpPr/>
              <p:nvPr/>
            </p:nvSpPr>
            <p:spPr>
              <a:xfrm>
                <a:off x="649400" y="3590696"/>
                <a:ext cx="2154810" cy="605243"/>
              </a:xfrm>
              <a:prstGeom prst="rect">
                <a:avLst/>
              </a:prstGeom>
              <a:gradFill>
                <a:gsLst>
                  <a:gs pos="0">
                    <a:sysClr val="window" lastClr="FFFFFF">
                      <a:alpha val="0"/>
                    </a:sysClr>
                  </a:gs>
                  <a:gs pos="100000">
                    <a:srgbClr val="616365">
                      <a:lumMod val="60000"/>
                      <a:lumOff val="40000"/>
                    </a:srgbClr>
                  </a:gs>
                </a:gsLst>
                <a:lin ang="0" scaled="0"/>
              </a:gradFill>
              <a:ln w="25400" cap="flat" cmpd="sng" algn="ctr">
                <a:noFill/>
                <a:prstDash val="solid"/>
              </a:ln>
              <a:effectLst/>
            </p:spPr>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6" name="Text Box 11">
                <a:extLst>
                  <a:ext uri="{FF2B5EF4-FFF2-40B4-BE49-F238E27FC236}">
                    <a16:creationId xmlns:a16="http://schemas.microsoft.com/office/drawing/2014/main" id="{D7D5A3C1-3400-683D-4164-B3890914AFF3}"/>
                  </a:ext>
                </a:extLst>
              </p:cNvPr>
              <p:cNvSpPr txBox="1">
                <a:spLocks noChangeArrowheads="1"/>
              </p:cNvSpPr>
              <p:nvPr/>
            </p:nvSpPr>
            <p:spPr bwMode="auto">
              <a:xfrm>
                <a:off x="-136361" y="3520278"/>
                <a:ext cx="2419576" cy="543372"/>
              </a:xfrm>
              <a:prstGeom prst="rect">
                <a:avLst/>
              </a:prstGeom>
              <a:noFill/>
              <a:ln w="9525">
                <a:noFill/>
                <a:miter lim="800000"/>
                <a:headEnd/>
                <a:tailEnd/>
              </a:ln>
              <a:effectLst/>
            </p:spPr>
            <p:txBody>
              <a:bodyPr wrap="none" lIns="45720" rIns="45720" anchor="ctr">
                <a:spAutoFit/>
              </a:bodyPr>
              <a:lstStyle/>
              <a:p>
                <a:pPr marL="0" marR="0" lvl="0" indent="0" algn="r" defTabSz="914400" rtl="0" eaLnBrk="0" fontAlgn="auto" latinLnBrk="0" hangingPunct="0">
                  <a:lnSpc>
                    <a:spcPct val="90000"/>
                  </a:lnSpc>
                  <a:spcBef>
                    <a:spcPts val="0"/>
                  </a:spcBef>
                  <a:spcAft>
                    <a:spcPts val="0"/>
                  </a:spcAft>
                  <a:buClrTx/>
                  <a:buSzPct val="90000"/>
                  <a:buFontTx/>
                  <a:buNone/>
                  <a:tabLst/>
                  <a:defRPr/>
                </a:pPr>
                <a:r>
                  <a:rPr lang="vi-VN" sz="1400" b="1" kern="0" dirty="0">
                    <a:solidFill>
                      <a:prstClr val="black"/>
                    </a:solidFill>
                    <a:latin typeface="Arial" panose="020B0604020202020204" pitchFamily="34" charset="0"/>
                    <a:cs typeface="Arial" panose="020B0604020202020204" pitchFamily="34" charset="0"/>
                  </a:rPr>
                  <a:t>Viêm phổi </a:t>
                </a:r>
                <a:r>
                  <a:rPr lang="vi-VN" sz="1400" b="1" kern="0" dirty="0" err="1">
                    <a:solidFill>
                      <a:prstClr val="black"/>
                    </a:solidFill>
                    <a:latin typeface="Arial" panose="020B0604020202020204" pitchFamily="34" charset="0"/>
                    <a:cs typeface="Arial" panose="020B0604020202020204" pitchFamily="34" charset="0"/>
                  </a:rPr>
                  <a:t>ko</a:t>
                </a:r>
                <a:r>
                  <a:rPr lang="vi-VN" sz="1400" b="1" kern="0" dirty="0">
                    <a:solidFill>
                      <a:prstClr val="black"/>
                    </a:solidFill>
                    <a:latin typeface="Arial" panose="020B0604020202020204" pitchFamily="34" charset="0"/>
                    <a:cs typeface="Arial" panose="020B0604020202020204" pitchFamily="34" charset="0"/>
                  </a:rPr>
                  <a:t> kèm</a:t>
                </a:r>
              </a:p>
              <a:p>
                <a:pPr marL="0" marR="0" lvl="0" indent="0" algn="r" defTabSz="914400" rtl="0" eaLnBrk="0" fontAlgn="auto" latinLnBrk="0" hangingPunct="0">
                  <a:lnSpc>
                    <a:spcPct val="90000"/>
                  </a:lnSpc>
                  <a:spcBef>
                    <a:spcPts val="0"/>
                  </a:spcBef>
                  <a:spcAft>
                    <a:spcPts val="0"/>
                  </a:spcAft>
                  <a:buClrTx/>
                  <a:buSzPct val="90000"/>
                  <a:buFontTx/>
                  <a:buNone/>
                  <a:tabLst/>
                  <a:defRPr/>
                </a:pPr>
                <a:r>
                  <a:rPr lang="vi-VN" sz="1400" b="1" kern="0" dirty="0">
                    <a:solidFill>
                      <a:prstClr val="black"/>
                    </a:solidFill>
                    <a:latin typeface="Arial" panose="020B0604020202020204" pitchFamily="34" charset="0"/>
                    <a:cs typeface="Arial" panose="020B0604020202020204" pitchFamily="34" charset="0"/>
                  </a:rPr>
                  <a:t> nhiễm trùng huyết</a:t>
                </a:r>
                <a:endParaRPr kumimoji="0" lang="en-US"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33" name="Group 147">
              <a:extLst>
                <a:ext uri="{FF2B5EF4-FFF2-40B4-BE49-F238E27FC236}">
                  <a16:creationId xmlns:a16="http://schemas.microsoft.com/office/drawing/2014/main" id="{635BDE4E-DB08-1080-0509-CE05FC0C577F}"/>
                </a:ext>
              </a:extLst>
            </p:cNvPr>
            <p:cNvGrpSpPr>
              <a:grpSpLocks/>
            </p:cNvGrpSpPr>
            <p:nvPr/>
          </p:nvGrpSpPr>
          <p:grpSpPr bwMode="auto">
            <a:xfrm>
              <a:off x="4476913" y="2243280"/>
              <a:ext cx="3490649" cy="605241"/>
              <a:chOff x="-148395" y="2631439"/>
              <a:chExt cx="3490649" cy="605241"/>
            </a:xfrm>
          </p:grpSpPr>
          <p:sp>
            <p:nvSpPr>
              <p:cNvPr id="53" name="Rectangle 52">
                <a:extLst>
                  <a:ext uri="{FF2B5EF4-FFF2-40B4-BE49-F238E27FC236}">
                    <a16:creationId xmlns:a16="http://schemas.microsoft.com/office/drawing/2014/main" id="{6B13FAFB-8503-5045-9C6C-58D3542D24E4}"/>
                  </a:ext>
                </a:extLst>
              </p:cNvPr>
              <p:cNvSpPr/>
              <p:nvPr/>
            </p:nvSpPr>
            <p:spPr>
              <a:xfrm>
                <a:off x="1187443" y="2702348"/>
                <a:ext cx="2154811" cy="479554"/>
              </a:xfrm>
              <a:prstGeom prst="rect">
                <a:avLst/>
              </a:prstGeom>
              <a:gradFill>
                <a:gsLst>
                  <a:gs pos="0">
                    <a:srgbClr val="616365">
                      <a:lumMod val="40000"/>
                      <a:lumOff val="60000"/>
                    </a:srgbClr>
                  </a:gs>
                  <a:gs pos="100000">
                    <a:srgbClr val="00447C">
                      <a:lumMod val="20000"/>
                      <a:lumOff val="80000"/>
                      <a:alpha val="0"/>
                    </a:srgbClr>
                  </a:gs>
                </a:gsLst>
                <a:lin ang="10800000" scaled="0"/>
              </a:gradFill>
              <a:ln w="25400" cap="flat" cmpd="sng" algn="ctr">
                <a:noFill/>
                <a:prstDash val="solid"/>
              </a:ln>
              <a:effectLst/>
            </p:spPr>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Text Box 11">
                <a:extLst>
                  <a:ext uri="{FF2B5EF4-FFF2-40B4-BE49-F238E27FC236}">
                    <a16:creationId xmlns:a16="http://schemas.microsoft.com/office/drawing/2014/main" id="{B1B2A676-845A-7C7A-893C-DDE3CEB106AE}"/>
                  </a:ext>
                </a:extLst>
              </p:cNvPr>
              <p:cNvSpPr txBox="1">
                <a:spLocks noChangeArrowheads="1"/>
              </p:cNvSpPr>
              <p:nvPr/>
            </p:nvSpPr>
            <p:spPr bwMode="auto">
              <a:xfrm>
                <a:off x="-148395" y="2631439"/>
                <a:ext cx="3146063" cy="605241"/>
              </a:xfrm>
              <a:prstGeom prst="rect">
                <a:avLst/>
              </a:prstGeom>
              <a:noFill/>
              <a:ln w="9525">
                <a:noFill/>
                <a:miter lim="800000"/>
                <a:headEnd/>
                <a:tailEnd/>
              </a:ln>
              <a:effectLst/>
            </p:spPr>
            <p:txBody>
              <a:bodyPr wrap="square" lIns="45720" rIns="45720" anchor="ctr">
                <a:spAutoFit/>
              </a:bodyPr>
              <a:lstStyle/>
              <a:p>
                <a:pPr marL="0" marR="0" lvl="0" indent="0" algn="r" defTabSz="914400" rtl="0" eaLnBrk="1" fontAlgn="auto" latinLnBrk="0" hangingPunct="1">
                  <a:lnSpc>
                    <a:spcPct val="100000"/>
                  </a:lnSpc>
                  <a:spcBef>
                    <a:spcPts val="0"/>
                  </a:spcBef>
                  <a:spcAft>
                    <a:spcPct val="0"/>
                  </a:spcAft>
                  <a:buClrTx/>
                  <a:buSzTx/>
                  <a:buFontTx/>
                  <a:buNone/>
                  <a:tabLst/>
                  <a:defRPr/>
                </a:pPr>
                <a:r>
                  <a:rPr lang="vi-VN" altLang="en-US" sz="1400" b="1" kern="0" dirty="0">
                    <a:solidFill>
                      <a:srgbClr val="000000"/>
                    </a:solidFill>
                    <a:latin typeface="Arial" panose="020B0604020202020204" pitchFamily="34" charset="0"/>
                    <a:ea typeface="ヒラギノ角ゴ ProN W3"/>
                    <a:cs typeface="Arial" panose="020B0604020202020204" pitchFamily="34" charset="0"/>
                  </a:rPr>
                  <a:t>Viêm phổi</a:t>
                </a:r>
              </a:p>
              <a:p>
                <a:pPr marL="0" marR="0" lvl="0" indent="0" algn="r" defTabSz="914400" rtl="0" eaLnBrk="1" fontAlgn="auto" latinLnBrk="0" hangingPunct="1">
                  <a:lnSpc>
                    <a:spcPct val="100000"/>
                  </a:lnSpc>
                  <a:spcBef>
                    <a:spcPts val="0"/>
                  </a:spcBef>
                  <a:spcAft>
                    <a:spcPct val="0"/>
                  </a:spcAft>
                  <a:buClrTx/>
                  <a:buSzTx/>
                  <a:buFontTx/>
                  <a:buNone/>
                  <a:tabLst/>
                  <a:defRPr/>
                </a:pPr>
                <a:r>
                  <a:rPr kumimoji="0" lang="vi-VN" altLang="en-US" sz="14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Kèm nhiễm trùng huyết</a:t>
                </a:r>
                <a:endParaRPr kumimoji="0" lang="en-US" altLang="en-US" sz="14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grpSp>
        <p:grpSp>
          <p:nvGrpSpPr>
            <p:cNvPr id="34" name="Group 148">
              <a:extLst>
                <a:ext uri="{FF2B5EF4-FFF2-40B4-BE49-F238E27FC236}">
                  <a16:creationId xmlns:a16="http://schemas.microsoft.com/office/drawing/2014/main" id="{25B9DA71-E459-914A-9F49-CB07376AA7FE}"/>
                </a:ext>
              </a:extLst>
            </p:cNvPr>
            <p:cNvGrpSpPr>
              <a:grpSpLocks/>
            </p:cNvGrpSpPr>
            <p:nvPr/>
          </p:nvGrpSpPr>
          <p:grpSpPr bwMode="auto">
            <a:xfrm>
              <a:off x="6142969" y="1660309"/>
              <a:ext cx="4537075" cy="3811588"/>
              <a:chOff x="2296627" y="1959263"/>
              <a:chExt cx="4537075" cy="3811588"/>
            </a:xfrm>
          </p:grpSpPr>
          <p:grpSp>
            <p:nvGrpSpPr>
              <p:cNvPr id="35" name="Group 34">
                <a:extLst>
                  <a:ext uri="{FF2B5EF4-FFF2-40B4-BE49-F238E27FC236}">
                    <a16:creationId xmlns:a16="http://schemas.microsoft.com/office/drawing/2014/main" id="{AD8A2492-BF3C-5223-25D6-AE79AAF69836}"/>
                  </a:ext>
                </a:extLst>
              </p:cNvPr>
              <p:cNvGrpSpPr/>
              <p:nvPr/>
            </p:nvGrpSpPr>
            <p:grpSpPr>
              <a:xfrm>
                <a:off x="2296627" y="2690913"/>
                <a:ext cx="4537075" cy="3079938"/>
                <a:chOff x="2279135" y="2617343"/>
                <a:chExt cx="4537075" cy="3079938"/>
              </a:xfrm>
              <a:solidFill>
                <a:srgbClr val="00457C"/>
              </a:solidFill>
            </p:grpSpPr>
            <p:sp>
              <p:nvSpPr>
                <p:cNvPr id="49" name="Freeform 163">
                  <a:extLst>
                    <a:ext uri="{FF2B5EF4-FFF2-40B4-BE49-F238E27FC236}">
                      <a16:creationId xmlns:a16="http://schemas.microsoft.com/office/drawing/2014/main" id="{A208F756-F451-D0CA-EB8C-CDC1E3A3565C}"/>
                    </a:ext>
                  </a:extLst>
                </p:cNvPr>
                <p:cNvSpPr/>
                <p:nvPr/>
              </p:nvSpPr>
              <p:spPr>
                <a:xfrm>
                  <a:off x="3625081" y="2617343"/>
                  <a:ext cx="1880023" cy="846307"/>
                </a:xfrm>
                <a:custGeom>
                  <a:avLst/>
                  <a:gdLst>
                    <a:gd name="connsiteX0" fmla="*/ 0 w 1857983"/>
                    <a:gd name="connsiteY0" fmla="*/ 476655 h 885217"/>
                    <a:gd name="connsiteX1" fmla="*/ 700392 w 1857983"/>
                    <a:gd name="connsiteY1" fmla="*/ 0 h 885217"/>
                    <a:gd name="connsiteX2" fmla="*/ 1857983 w 1857983"/>
                    <a:gd name="connsiteY2" fmla="*/ 418289 h 885217"/>
                    <a:gd name="connsiteX3" fmla="*/ 982494 w 1857983"/>
                    <a:gd name="connsiteY3" fmla="*/ 885217 h 885217"/>
                    <a:gd name="connsiteX4" fmla="*/ 0 w 1857983"/>
                    <a:gd name="connsiteY4" fmla="*/ 476655 h 885217"/>
                    <a:gd name="connsiteX0" fmla="*/ 0 w 1887166"/>
                    <a:gd name="connsiteY0" fmla="*/ 476655 h 885217"/>
                    <a:gd name="connsiteX1" fmla="*/ 700392 w 1887166"/>
                    <a:gd name="connsiteY1" fmla="*/ 0 h 885217"/>
                    <a:gd name="connsiteX2" fmla="*/ 1887166 w 1887166"/>
                    <a:gd name="connsiteY2" fmla="*/ 398834 h 885217"/>
                    <a:gd name="connsiteX3" fmla="*/ 982494 w 1887166"/>
                    <a:gd name="connsiteY3" fmla="*/ 885217 h 885217"/>
                    <a:gd name="connsiteX4" fmla="*/ 0 w 1887166"/>
                    <a:gd name="connsiteY4" fmla="*/ 476655 h 885217"/>
                    <a:gd name="connsiteX0" fmla="*/ 0 w 1887166"/>
                    <a:gd name="connsiteY0" fmla="*/ 437745 h 846307"/>
                    <a:gd name="connsiteX1" fmla="*/ 710119 w 1887166"/>
                    <a:gd name="connsiteY1" fmla="*/ 0 h 846307"/>
                    <a:gd name="connsiteX2" fmla="*/ 1887166 w 1887166"/>
                    <a:gd name="connsiteY2" fmla="*/ 359924 h 846307"/>
                    <a:gd name="connsiteX3" fmla="*/ 982494 w 1887166"/>
                    <a:gd name="connsiteY3" fmla="*/ 846307 h 846307"/>
                    <a:gd name="connsiteX4" fmla="*/ 0 w 1887166"/>
                    <a:gd name="connsiteY4" fmla="*/ 437745 h 846307"/>
                    <a:gd name="connsiteX0" fmla="*/ 0 w 1899073"/>
                    <a:gd name="connsiteY0" fmla="*/ 435364 h 846307"/>
                    <a:gd name="connsiteX1" fmla="*/ 722026 w 1899073"/>
                    <a:gd name="connsiteY1" fmla="*/ 0 h 846307"/>
                    <a:gd name="connsiteX2" fmla="*/ 1899073 w 1899073"/>
                    <a:gd name="connsiteY2" fmla="*/ 359924 h 846307"/>
                    <a:gd name="connsiteX3" fmla="*/ 994401 w 1899073"/>
                    <a:gd name="connsiteY3" fmla="*/ 846307 h 846307"/>
                    <a:gd name="connsiteX4" fmla="*/ 0 w 1899073"/>
                    <a:gd name="connsiteY4" fmla="*/ 435364 h 846307"/>
                    <a:gd name="connsiteX0" fmla="*/ 0 w 1899073"/>
                    <a:gd name="connsiteY0" fmla="*/ 435364 h 846307"/>
                    <a:gd name="connsiteX1" fmla="*/ 722026 w 1899073"/>
                    <a:gd name="connsiteY1" fmla="*/ 0 h 846307"/>
                    <a:gd name="connsiteX2" fmla="*/ 1899073 w 1899073"/>
                    <a:gd name="connsiteY2" fmla="*/ 359924 h 846307"/>
                    <a:gd name="connsiteX3" fmla="*/ 1006307 w 1899073"/>
                    <a:gd name="connsiteY3" fmla="*/ 846307 h 846307"/>
                    <a:gd name="connsiteX4" fmla="*/ 0 w 1899073"/>
                    <a:gd name="connsiteY4" fmla="*/ 435364 h 846307"/>
                    <a:gd name="connsiteX0" fmla="*/ 0 w 1880023"/>
                    <a:gd name="connsiteY0" fmla="*/ 435364 h 846307"/>
                    <a:gd name="connsiteX1" fmla="*/ 722026 w 1880023"/>
                    <a:gd name="connsiteY1" fmla="*/ 0 h 846307"/>
                    <a:gd name="connsiteX2" fmla="*/ 1880023 w 1880023"/>
                    <a:gd name="connsiteY2" fmla="*/ 352781 h 846307"/>
                    <a:gd name="connsiteX3" fmla="*/ 1006307 w 1880023"/>
                    <a:gd name="connsiteY3" fmla="*/ 846307 h 846307"/>
                    <a:gd name="connsiteX4" fmla="*/ 0 w 1880023"/>
                    <a:gd name="connsiteY4" fmla="*/ 435364 h 846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0023" h="846307">
                      <a:moveTo>
                        <a:pt x="0" y="435364"/>
                      </a:moveTo>
                      <a:lnTo>
                        <a:pt x="722026" y="0"/>
                      </a:lnTo>
                      <a:lnTo>
                        <a:pt x="1880023" y="352781"/>
                      </a:lnTo>
                      <a:lnTo>
                        <a:pt x="1006307" y="846307"/>
                      </a:lnTo>
                      <a:lnTo>
                        <a:pt x="0" y="435364"/>
                      </a:lnTo>
                      <a:close/>
                    </a:path>
                  </a:pathLst>
                </a:custGeom>
                <a:grp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0" name="Group 49">
                  <a:extLst>
                    <a:ext uri="{FF2B5EF4-FFF2-40B4-BE49-F238E27FC236}">
                      <a16:creationId xmlns:a16="http://schemas.microsoft.com/office/drawing/2014/main" id="{2037AC36-8F03-A4A7-17AC-E0165436988C}"/>
                    </a:ext>
                  </a:extLst>
                </p:cNvPr>
                <p:cNvGrpSpPr/>
                <p:nvPr/>
              </p:nvGrpSpPr>
              <p:grpSpPr>
                <a:xfrm>
                  <a:off x="2279135" y="2968368"/>
                  <a:ext cx="4537075" cy="2728913"/>
                  <a:chOff x="7260654" y="2971800"/>
                  <a:chExt cx="4537075" cy="2728913"/>
                </a:xfrm>
                <a:grpFill/>
              </p:grpSpPr>
              <p:sp>
                <p:nvSpPr>
                  <p:cNvPr id="51" name="Freeform 6">
                    <a:extLst>
                      <a:ext uri="{FF2B5EF4-FFF2-40B4-BE49-F238E27FC236}">
                        <a16:creationId xmlns:a16="http://schemas.microsoft.com/office/drawing/2014/main" id="{70FE7D1D-BEB5-0D54-1561-6DDC12AA77B0}"/>
                      </a:ext>
                    </a:extLst>
                  </p:cNvPr>
                  <p:cNvSpPr>
                    <a:spLocks/>
                  </p:cNvSpPr>
                  <p:nvPr/>
                </p:nvSpPr>
                <p:spPr bwMode="auto">
                  <a:xfrm>
                    <a:off x="7260654" y="3048000"/>
                    <a:ext cx="2457450" cy="2652713"/>
                  </a:xfrm>
                  <a:custGeom>
                    <a:avLst/>
                    <a:gdLst>
                      <a:gd name="T0" fmla="*/ 1486 w 1548"/>
                      <a:gd name="T1" fmla="*/ 262 h 1671"/>
                      <a:gd name="T2" fmla="*/ 852 w 1548"/>
                      <a:gd name="T3" fmla="*/ 0 h 1671"/>
                      <a:gd name="T4" fmla="*/ 0 w 1548"/>
                      <a:gd name="T5" fmla="*/ 1049 h 1671"/>
                      <a:gd name="T6" fmla="*/ 1542 w 1548"/>
                      <a:gd name="T7" fmla="*/ 1671 h 1671"/>
                      <a:gd name="T8" fmla="*/ 1548 w 1548"/>
                      <a:gd name="T9" fmla="*/ 1669 h 1671"/>
                      <a:gd name="T10" fmla="*/ 1486 w 1548"/>
                      <a:gd name="T11" fmla="*/ 260 h 1671"/>
                      <a:gd name="T12" fmla="*/ 1486 w 1548"/>
                      <a:gd name="T13" fmla="*/ 262 h 1671"/>
                    </a:gdLst>
                    <a:ahLst/>
                    <a:cxnLst>
                      <a:cxn ang="0">
                        <a:pos x="T0" y="T1"/>
                      </a:cxn>
                      <a:cxn ang="0">
                        <a:pos x="T2" y="T3"/>
                      </a:cxn>
                      <a:cxn ang="0">
                        <a:pos x="T4" y="T5"/>
                      </a:cxn>
                      <a:cxn ang="0">
                        <a:pos x="T6" y="T7"/>
                      </a:cxn>
                      <a:cxn ang="0">
                        <a:pos x="T8" y="T9"/>
                      </a:cxn>
                      <a:cxn ang="0">
                        <a:pos x="T10" y="T11"/>
                      </a:cxn>
                      <a:cxn ang="0">
                        <a:pos x="T12" y="T13"/>
                      </a:cxn>
                    </a:cxnLst>
                    <a:rect l="0" t="0" r="r" b="b"/>
                    <a:pathLst>
                      <a:path w="1548" h="1671">
                        <a:moveTo>
                          <a:pt x="1486" y="262"/>
                        </a:moveTo>
                        <a:lnTo>
                          <a:pt x="852" y="0"/>
                        </a:lnTo>
                        <a:lnTo>
                          <a:pt x="0" y="1049"/>
                        </a:lnTo>
                        <a:lnTo>
                          <a:pt x="1542" y="1671"/>
                        </a:lnTo>
                        <a:lnTo>
                          <a:pt x="1548" y="1669"/>
                        </a:lnTo>
                        <a:lnTo>
                          <a:pt x="1486" y="260"/>
                        </a:lnTo>
                        <a:lnTo>
                          <a:pt x="1486" y="262"/>
                        </a:lnTo>
                        <a:close/>
                      </a:path>
                    </a:pathLst>
                  </a:custGeom>
                  <a:grp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2" name="Freeform 7">
                    <a:extLst>
                      <a:ext uri="{FF2B5EF4-FFF2-40B4-BE49-F238E27FC236}">
                        <a16:creationId xmlns:a16="http://schemas.microsoft.com/office/drawing/2014/main" id="{99B4AE1C-24F7-A64C-18FA-586183E19A0F}"/>
                      </a:ext>
                    </a:extLst>
                  </p:cNvPr>
                  <p:cNvSpPr>
                    <a:spLocks/>
                  </p:cNvSpPr>
                  <p:nvPr/>
                </p:nvSpPr>
                <p:spPr bwMode="auto">
                  <a:xfrm>
                    <a:off x="9619679" y="2971800"/>
                    <a:ext cx="2178050" cy="2725738"/>
                  </a:xfrm>
                  <a:custGeom>
                    <a:avLst/>
                    <a:gdLst>
                      <a:gd name="T0" fmla="*/ 542 w 1372"/>
                      <a:gd name="T1" fmla="*/ 0 h 1717"/>
                      <a:gd name="T2" fmla="*/ 0 w 1372"/>
                      <a:gd name="T3" fmla="*/ 308 h 1717"/>
                      <a:gd name="T4" fmla="*/ 62 w 1372"/>
                      <a:gd name="T5" fmla="*/ 1717 h 1717"/>
                      <a:gd name="T6" fmla="*/ 1372 w 1372"/>
                      <a:gd name="T7" fmla="*/ 969 h 1717"/>
                      <a:gd name="T8" fmla="*/ 542 w 1372"/>
                      <a:gd name="T9" fmla="*/ 0 h 1717"/>
                    </a:gdLst>
                    <a:ahLst/>
                    <a:cxnLst>
                      <a:cxn ang="0">
                        <a:pos x="T0" y="T1"/>
                      </a:cxn>
                      <a:cxn ang="0">
                        <a:pos x="T2" y="T3"/>
                      </a:cxn>
                      <a:cxn ang="0">
                        <a:pos x="T4" y="T5"/>
                      </a:cxn>
                      <a:cxn ang="0">
                        <a:pos x="T6" y="T7"/>
                      </a:cxn>
                      <a:cxn ang="0">
                        <a:pos x="T8" y="T9"/>
                      </a:cxn>
                    </a:cxnLst>
                    <a:rect l="0" t="0" r="r" b="b"/>
                    <a:pathLst>
                      <a:path w="1372" h="1717">
                        <a:moveTo>
                          <a:pt x="542" y="0"/>
                        </a:moveTo>
                        <a:lnTo>
                          <a:pt x="0" y="308"/>
                        </a:lnTo>
                        <a:lnTo>
                          <a:pt x="62" y="1717"/>
                        </a:lnTo>
                        <a:lnTo>
                          <a:pt x="1372" y="969"/>
                        </a:lnTo>
                        <a:lnTo>
                          <a:pt x="542" y="0"/>
                        </a:lnTo>
                        <a:close/>
                      </a:path>
                    </a:pathLst>
                  </a:custGeom>
                  <a:grp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nvGrpSpPr>
              <p:cNvPr id="36" name="Group 35">
                <a:extLst>
                  <a:ext uri="{FF2B5EF4-FFF2-40B4-BE49-F238E27FC236}">
                    <a16:creationId xmlns:a16="http://schemas.microsoft.com/office/drawing/2014/main" id="{667661E1-B332-527A-1F47-774AF314EBD7}"/>
                  </a:ext>
                </a:extLst>
              </p:cNvPr>
              <p:cNvGrpSpPr/>
              <p:nvPr/>
            </p:nvGrpSpPr>
            <p:grpSpPr>
              <a:xfrm>
                <a:off x="3653892" y="2371235"/>
                <a:ext cx="1866900" cy="1162828"/>
                <a:chOff x="3627666" y="2297665"/>
                <a:chExt cx="1866900" cy="1162828"/>
              </a:xfrm>
              <a:solidFill>
                <a:srgbClr val="00447C">
                  <a:lumMod val="20000"/>
                  <a:lumOff val="80000"/>
                </a:srgbClr>
              </a:solidFill>
            </p:grpSpPr>
            <p:grpSp>
              <p:nvGrpSpPr>
                <p:cNvPr id="45" name="Group 44">
                  <a:extLst>
                    <a:ext uri="{FF2B5EF4-FFF2-40B4-BE49-F238E27FC236}">
                      <a16:creationId xmlns:a16="http://schemas.microsoft.com/office/drawing/2014/main" id="{1F711A1D-5E6B-2CC8-802D-B3324D59632F}"/>
                    </a:ext>
                  </a:extLst>
                </p:cNvPr>
                <p:cNvGrpSpPr/>
                <p:nvPr/>
              </p:nvGrpSpPr>
              <p:grpSpPr>
                <a:xfrm>
                  <a:off x="3627666" y="2447668"/>
                  <a:ext cx="1866900" cy="1012825"/>
                  <a:chOff x="8613204" y="2451100"/>
                  <a:chExt cx="1866900" cy="1012825"/>
                </a:xfrm>
                <a:grpFill/>
              </p:grpSpPr>
              <p:sp>
                <p:nvSpPr>
                  <p:cNvPr id="47" name="Freeform 8">
                    <a:extLst>
                      <a:ext uri="{FF2B5EF4-FFF2-40B4-BE49-F238E27FC236}">
                        <a16:creationId xmlns:a16="http://schemas.microsoft.com/office/drawing/2014/main" id="{6972E23F-5309-2305-CC71-3A09FAF16F5B}"/>
                      </a:ext>
                    </a:extLst>
                  </p:cNvPr>
                  <p:cNvSpPr>
                    <a:spLocks/>
                  </p:cNvSpPr>
                  <p:nvPr/>
                </p:nvSpPr>
                <p:spPr bwMode="auto">
                  <a:xfrm>
                    <a:off x="9587929" y="2451100"/>
                    <a:ext cx="892175" cy="1009650"/>
                  </a:xfrm>
                  <a:custGeom>
                    <a:avLst/>
                    <a:gdLst>
                      <a:gd name="T0" fmla="*/ 0 w 562"/>
                      <a:gd name="T1" fmla="*/ 152 h 636"/>
                      <a:gd name="T2" fmla="*/ 20 w 562"/>
                      <a:gd name="T3" fmla="*/ 636 h 636"/>
                      <a:gd name="T4" fmla="*/ 562 w 562"/>
                      <a:gd name="T5" fmla="*/ 328 h 636"/>
                      <a:gd name="T6" fmla="*/ 282 w 562"/>
                      <a:gd name="T7" fmla="*/ 0 h 636"/>
                      <a:gd name="T8" fmla="*/ 8 w 562"/>
                      <a:gd name="T9" fmla="*/ 154 h 636"/>
                      <a:gd name="T10" fmla="*/ 0 w 562"/>
                      <a:gd name="T11" fmla="*/ 152 h 636"/>
                    </a:gdLst>
                    <a:ahLst/>
                    <a:cxnLst>
                      <a:cxn ang="0">
                        <a:pos x="T0" y="T1"/>
                      </a:cxn>
                      <a:cxn ang="0">
                        <a:pos x="T2" y="T3"/>
                      </a:cxn>
                      <a:cxn ang="0">
                        <a:pos x="T4" y="T5"/>
                      </a:cxn>
                      <a:cxn ang="0">
                        <a:pos x="T6" y="T7"/>
                      </a:cxn>
                      <a:cxn ang="0">
                        <a:pos x="T8" y="T9"/>
                      </a:cxn>
                      <a:cxn ang="0">
                        <a:pos x="T10" y="T11"/>
                      </a:cxn>
                    </a:cxnLst>
                    <a:rect l="0" t="0" r="r" b="b"/>
                    <a:pathLst>
                      <a:path w="562" h="636">
                        <a:moveTo>
                          <a:pt x="0" y="152"/>
                        </a:moveTo>
                        <a:lnTo>
                          <a:pt x="20" y="636"/>
                        </a:lnTo>
                        <a:lnTo>
                          <a:pt x="562" y="328"/>
                        </a:lnTo>
                        <a:lnTo>
                          <a:pt x="282" y="0"/>
                        </a:lnTo>
                        <a:lnTo>
                          <a:pt x="8" y="154"/>
                        </a:lnTo>
                        <a:lnTo>
                          <a:pt x="0" y="152"/>
                        </a:lnTo>
                        <a:close/>
                      </a:path>
                    </a:pathLst>
                  </a:custGeom>
                  <a:grp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8" name="Freeform 9">
                    <a:extLst>
                      <a:ext uri="{FF2B5EF4-FFF2-40B4-BE49-F238E27FC236}">
                        <a16:creationId xmlns:a16="http://schemas.microsoft.com/office/drawing/2014/main" id="{7B8C7B87-429E-9C9C-C479-97C6BAB55836}"/>
                      </a:ext>
                    </a:extLst>
                  </p:cNvPr>
                  <p:cNvSpPr>
                    <a:spLocks/>
                  </p:cNvSpPr>
                  <p:nvPr/>
                </p:nvSpPr>
                <p:spPr bwMode="auto">
                  <a:xfrm>
                    <a:off x="8613204" y="2479675"/>
                    <a:ext cx="1006475" cy="984250"/>
                  </a:xfrm>
                  <a:custGeom>
                    <a:avLst/>
                    <a:gdLst>
                      <a:gd name="T0" fmla="*/ 634 w 634"/>
                      <a:gd name="T1" fmla="*/ 618 h 620"/>
                      <a:gd name="T2" fmla="*/ 614 w 634"/>
                      <a:gd name="T3" fmla="*/ 134 h 620"/>
                      <a:gd name="T4" fmla="*/ 292 w 634"/>
                      <a:gd name="T5" fmla="*/ 0 h 620"/>
                      <a:gd name="T6" fmla="*/ 0 w 634"/>
                      <a:gd name="T7" fmla="*/ 358 h 620"/>
                      <a:gd name="T8" fmla="*/ 634 w 634"/>
                      <a:gd name="T9" fmla="*/ 620 h 620"/>
                      <a:gd name="T10" fmla="*/ 634 w 634"/>
                      <a:gd name="T11" fmla="*/ 618 h 620"/>
                    </a:gdLst>
                    <a:ahLst/>
                    <a:cxnLst>
                      <a:cxn ang="0">
                        <a:pos x="T0" y="T1"/>
                      </a:cxn>
                      <a:cxn ang="0">
                        <a:pos x="T2" y="T3"/>
                      </a:cxn>
                      <a:cxn ang="0">
                        <a:pos x="T4" y="T5"/>
                      </a:cxn>
                      <a:cxn ang="0">
                        <a:pos x="T6" y="T7"/>
                      </a:cxn>
                      <a:cxn ang="0">
                        <a:pos x="T8" y="T9"/>
                      </a:cxn>
                      <a:cxn ang="0">
                        <a:pos x="T10" y="T11"/>
                      </a:cxn>
                    </a:cxnLst>
                    <a:rect l="0" t="0" r="r" b="b"/>
                    <a:pathLst>
                      <a:path w="634" h="620">
                        <a:moveTo>
                          <a:pt x="634" y="618"/>
                        </a:moveTo>
                        <a:lnTo>
                          <a:pt x="614" y="134"/>
                        </a:lnTo>
                        <a:lnTo>
                          <a:pt x="292" y="0"/>
                        </a:lnTo>
                        <a:lnTo>
                          <a:pt x="0" y="358"/>
                        </a:lnTo>
                        <a:lnTo>
                          <a:pt x="634" y="620"/>
                        </a:lnTo>
                        <a:lnTo>
                          <a:pt x="634" y="618"/>
                        </a:lnTo>
                        <a:close/>
                      </a:path>
                    </a:pathLst>
                  </a:custGeom>
                  <a:grp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6" name="Freeform 160">
                  <a:extLst>
                    <a:ext uri="{FF2B5EF4-FFF2-40B4-BE49-F238E27FC236}">
                      <a16:creationId xmlns:a16="http://schemas.microsoft.com/office/drawing/2014/main" id="{E0CA589D-FA44-F17D-FBE0-ED3B84CA3690}"/>
                    </a:ext>
                  </a:extLst>
                </p:cNvPr>
                <p:cNvSpPr/>
                <p:nvPr/>
              </p:nvSpPr>
              <p:spPr>
                <a:xfrm>
                  <a:off x="4080039" y="2297665"/>
                  <a:ext cx="972359" cy="398834"/>
                </a:xfrm>
                <a:custGeom>
                  <a:avLst/>
                  <a:gdLst>
                    <a:gd name="connsiteX0" fmla="*/ 0 w 953310"/>
                    <a:gd name="connsiteY0" fmla="*/ 165370 h 398834"/>
                    <a:gd name="connsiteX1" fmla="*/ 447472 w 953310"/>
                    <a:gd name="connsiteY1" fmla="*/ 0 h 398834"/>
                    <a:gd name="connsiteX2" fmla="*/ 953310 w 953310"/>
                    <a:gd name="connsiteY2" fmla="*/ 145915 h 398834"/>
                    <a:gd name="connsiteX3" fmla="*/ 505838 w 953310"/>
                    <a:gd name="connsiteY3" fmla="*/ 398834 h 398834"/>
                    <a:gd name="connsiteX4" fmla="*/ 0 w 953310"/>
                    <a:gd name="connsiteY4" fmla="*/ 165370 h 398834"/>
                    <a:gd name="connsiteX0" fmla="*/ 0 w 953310"/>
                    <a:gd name="connsiteY0" fmla="*/ 194553 h 398834"/>
                    <a:gd name="connsiteX1" fmla="*/ 447472 w 953310"/>
                    <a:gd name="connsiteY1" fmla="*/ 0 h 398834"/>
                    <a:gd name="connsiteX2" fmla="*/ 953310 w 953310"/>
                    <a:gd name="connsiteY2" fmla="*/ 145915 h 398834"/>
                    <a:gd name="connsiteX3" fmla="*/ 505838 w 953310"/>
                    <a:gd name="connsiteY3" fmla="*/ 398834 h 398834"/>
                    <a:gd name="connsiteX4" fmla="*/ 0 w 953310"/>
                    <a:gd name="connsiteY4" fmla="*/ 194553 h 398834"/>
                    <a:gd name="connsiteX0" fmla="*/ 0 w 977122"/>
                    <a:gd name="connsiteY0" fmla="*/ 189791 h 398834"/>
                    <a:gd name="connsiteX1" fmla="*/ 471284 w 977122"/>
                    <a:gd name="connsiteY1" fmla="*/ 0 h 398834"/>
                    <a:gd name="connsiteX2" fmla="*/ 977122 w 977122"/>
                    <a:gd name="connsiteY2" fmla="*/ 145915 h 398834"/>
                    <a:gd name="connsiteX3" fmla="*/ 529650 w 977122"/>
                    <a:gd name="connsiteY3" fmla="*/ 398834 h 398834"/>
                    <a:gd name="connsiteX4" fmla="*/ 0 w 977122"/>
                    <a:gd name="connsiteY4" fmla="*/ 189791 h 398834"/>
                    <a:gd name="connsiteX0" fmla="*/ 0 w 972359"/>
                    <a:gd name="connsiteY0" fmla="*/ 189791 h 398834"/>
                    <a:gd name="connsiteX1" fmla="*/ 471284 w 972359"/>
                    <a:gd name="connsiteY1" fmla="*/ 0 h 398834"/>
                    <a:gd name="connsiteX2" fmla="*/ 972359 w 972359"/>
                    <a:gd name="connsiteY2" fmla="*/ 150677 h 398834"/>
                    <a:gd name="connsiteX3" fmla="*/ 529650 w 972359"/>
                    <a:gd name="connsiteY3" fmla="*/ 398834 h 398834"/>
                    <a:gd name="connsiteX4" fmla="*/ 0 w 972359"/>
                    <a:gd name="connsiteY4" fmla="*/ 189791 h 398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359" h="398834">
                      <a:moveTo>
                        <a:pt x="0" y="189791"/>
                      </a:moveTo>
                      <a:lnTo>
                        <a:pt x="471284" y="0"/>
                      </a:lnTo>
                      <a:lnTo>
                        <a:pt x="972359" y="150677"/>
                      </a:lnTo>
                      <a:lnTo>
                        <a:pt x="529650" y="398834"/>
                      </a:lnTo>
                      <a:lnTo>
                        <a:pt x="0" y="189791"/>
                      </a:lnTo>
                      <a:close/>
                    </a:path>
                  </a:pathLst>
                </a:custGeom>
                <a:grp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37" name="Group 151">
                <a:extLst>
                  <a:ext uri="{FF2B5EF4-FFF2-40B4-BE49-F238E27FC236}">
                    <a16:creationId xmlns:a16="http://schemas.microsoft.com/office/drawing/2014/main" id="{B1483A66-155A-9904-D675-C5A74DEDFBA6}"/>
                  </a:ext>
                </a:extLst>
              </p:cNvPr>
              <p:cNvGrpSpPr>
                <a:grpSpLocks/>
              </p:cNvGrpSpPr>
              <p:nvPr/>
            </p:nvGrpSpPr>
            <p:grpSpPr bwMode="auto">
              <a:xfrm>
                <a:off x="4115779" y="2111921"/>
                <a:ext cx="958850" cy="653792"/>
                <a:chOff x="4090981" y="2038351"/>
                <a:chExt cx="958850" cy="653792"/>
              </a:xfrm>
            </p:grpSpPr>
            <p:sp>
              <p:nvSpPr>
                <p:cNvPr id="41" name="Freeform 155">
                  <a:extLst>
                    <a:ext uri="{FF2B5EF4-FFF2-40B4-BE49-F238E27FC236}">
                      <a16:creationId xmlns:a16="http://schemas.microsoft.com/office/drawing/2014/main" id="{995D9EA0-F6F2-910B-3FB8-B0FD2B907981}"/>
                    </a:ext>
                  </a:extLst>
                </p:cNvPr>
                <p:cNvSpPr/>
                <p:nvPr/>
              </p:nvSpPr>
              <p:spPr>
                <a:xfrm>
                  <a:off x="4367671" y="2038749"/>
                  <a:ext cx="409717" cy="199169"/>
                </a:xfrm>
                <a:custGeom>
                  <a:avLst/>
                  <a:gdLst>
                    <a:gd name="connsiteX0" fmla="*/ 0 w 395288"/>
                    <a:gd name="connsiteY0" fmla="*/ 109537 h 200025"/>
                    <a:gd name="connsiteX1" fmla="*/ 195263 w 395288"/>
                    <a:gd name="connsiteY1" fmla="*/ 0 h 200025"/>
                    <a:gd name="connsiteX2" fmla="*/ 395288 w 395288"/>
                    <a:gd name="connsiteY2" fmla="*/ 85725 h 200025"/>
                    <a:gd name="connsiteX3" fmla="*/ 195263 w 395288"/>
                    <a:gd name="connsiteY3" fmla="*/ 200025 h 200025"/>
                    <a:gd name="connsiteX4" fmla="*/ 0 w 395288"/>
                    <a:gd name="connsiteY4" fmla="*/ 109537 h 200025"/>
                    <a:gd name="connsiteX0" fmla="*/ 0 w 414338"/>
                    <a:gd name="connsiteY0" fmla="*/ 109537 h 200025"/>
                    <a:gd name="connsiteX1" fmla="*/ 214313 w 414338"/>
                    <a:gd name="connsiteY1" fmla="*/ 0 h 200025"/>
                    <a:gd name="connsiteX2" fmla="*/ 414338 w 414338"/>
                    <a:gd name="connsiteY2" fmla="*/ 85725 h 200025"/>
                    <a:gd name="connsiteX3" fmla="*/ 214313 w 414338"/>
                    <a:gd name="connsiteY3" fmla="*/ 200025 h 200025"/>
                    <a:gd name="connsiteX4" fmla="*/ 0 w 414338"/>
                    <a:gd name="connsiteY4" fmla="*/ 109537 h 200025"/>
                    <a:gd name="connsiteX0" fmla="*/ 0 w 428625"/>
                    <a:gd name="connsiteY0" fmla="*/ 109537 h 200025"/>
                    <a:gd name="connsiteX1" fmla="*/ 214313 w 428625"/>
                    <a:gd name="connsiteY1" fmla="*/ 0 h 200025"/>
                    <a:gd name="connsiteX2" fmla="*/ 428625 w 428625"/>
                    <a:gd name="connsiteY2" fmla="*/ 85725 h 200025"/>
                    <a:gd name="connsiteX3" fmla="*/ 214313 w 428625"/>
                    <a:gd name="connsiteY3" fmla="*/ 200025 h 200025"/>
                    <a:gd name="connsiteX4" fmla="*/ 0 w 428625"/>
                    <a:gd name="connsiteY4" fmla="*/ 109537 h 200025"/>
                    <a:gd name="connsiteX0" fmla="*/ 0 w 409575"/>
                    <a:gd name="connsiteY0" fmla="*/ 100012 h 200025"/>
                    <a:gd name="connsiteX1" fmla="*/ 195263 w 409575"/>
                    <a:gd name="connsiteY1" fmla="*/ 0 h 200025"/>
                    <a:gd name="connsiteX2" fmla="*/ 409575 w 409575"/>
                    <a:gd name="connsiteY2" fmla="*/ 85725 h 200025"/>
                    <a:gd name="connsiteX3" fmla="*/ 195263 w 409575"/>
                    <a:gd name="connsiteY3" fmla="*/ 200025 h 200025"/>
                    <a:gd name="connsiteX4" fmla="*/ 0 w 409575"/>
                    <a:gd name="connsiteY4" fmla="*/ 100012 h 200025"/>
                    <a:gd name="connsiteX0" fmla="*/ 0 w 409575"/>
                    <a:gd name="connsiteY0" fmla="*/ 100012 h 200025"/>
                    <a:gd name="connsiteX1" fmla="*/ 195263 w 409575"/>
                    <a:gd name="connsiteY1" fmla="*/ 0 h 200025"/>
                    <a:gd name="connsiteX2" fmla="*/ 409575 w 409575"/>
                    <a:gd name="connsiteY2" fmla="*/ 85725 h 200025"/>
                    <a:gd name="connsiteX3" fmla="*/ 216694 w 409575"/>
                    <a:gd name="connsiteY3" fmla="*/ 200025 h 200025"/>
                    <a:gd name="connsiteX4" fmla="*/ 0 w 409575"/>
                    <a:gd name="connsiteY4" fmla="*/ 100012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575" h="200025">
                      <a:moveTo>
                        <a:pt x="0" y="100012"/>
                      </a:moveTo>
                      <a:lnTo>
                        <a:pt x="195263" y="0"/>
                      </a:lnTo>
                      <a:lnTo>
                        <a:pt x="409575" y="85725"/>
                      </a:lnTo>
                      <a:lnTo>
                        <a:pt x="216694" y="200025"/>
                      </a:lnTo>
                      <a:lnTo>
                        <a:pt x="0" y="100012"/>
                      </a:lnTo>
                      <a:close/>
                    </a:path>
                  </a:pathLst>
                </a:custGeom>
                <a:solidFill>
                  <a:sysClr val="windowText" lastClr="000000">
                    <a:lumMod val="75000"/>
                    <a:lumOff val="25000"/>
                  </a:sysClr>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2" name="Group 156">
                  <a:extLst>
                    <a:ext uri="{FF2B5EF4-FFF2-40B4-BE49-F238E27FC236}">
                      <a16:creationId xmlns:a16="http://schemas.microsoft.com/office/drawing/2014/main" id="{429C0B80-DBCF-CB71-1116-B01B2F025BC9}"/>
                    </a:ext>
                  </a:extLst>
                </p:cNvPr>
                <p:cNvGrpSpPr>
                  <a:grpSpLocks/>
                </p:cNvGrpSpPr>
                <p:nvPr/>
              </p:nvGrpSpPr>
              <p:grpSpPr bwMode="auto">
                <a:xfrm>
                  <a:off x="4090981" y="2120643"/>
                  <a:ext cx="958850" cy="571500"/>
                  <a:chOff x="9076754" y="2124075"/>
                  <a:chExt cx="958850" cy="571500"/>
                </a:xfrm>
              </p:grpSpPr>
              <p:sp>
                <p:nvSpPr>
                  <p:cNvPr id="43" name="Freeform 11">
                    <a:extLst>
                      <a:ext uri="{FF2B5EF4-FFF2-40B4-BE49-F238E27FC236}">
                        <a16:creationId xmlns:a16="http://schemas.microsoft.com/office/drawing/2014/main" id="{59CE6879-A8E8-61FD-7B00-226953247B78}"/>
                      </a:ext>
                    </a:extLst>
                  </p:cNvPr>
                  <p:cNvSpPr>
                    <a:spLocks/>
                  </p:cNvSpPr>
                  <p:nvPr/>
                </p:nvSpPr>
                <p:spPr bwMode="auto">
                  <a:xfrm>
                    <a:off x="9569684" y="2171738"/>
                    <a:ext cx="466623" cy="524028"/>
                  </a:xfrm>
                  <a:custGeom>
                    <a:avLst/>
                    <a:gdLst>
                      <a:gd name="T0" fmla="*/ 0 w 294"/>
                      <a:gd name="T1" fmla="*/ 66 h 360"/>
                      <a:gd name="T2" fmla="*/ 12 w 294"/>
                      <a:gd name="T3" fmla="*/ 358 h 360"/>
                      <a:gd name="T4" fmla="*/ 20 w 294"/>
                      <a:gd name="T5" fmla="*/ 360 h 360"/>
                      <a:gd name="T6" fmla="*/ 294 w 294"/>
                      <a:gd name="T7" fmla="*/ 206 h 360"/>
                      <a:gd name="T8" fmla="*/ 274 w 294"/>
                      <a:gd name="T9" fmla="*/ 180 h 360"/>
                      <a:gd name="T10" fmla="*/ 120 w 294"/>
                      <a:gd name="T11" fmla="*/ 0 h 360"/>
                      <a:gd name="T12" fmla="*/ 2 w 294"/>
                      <a:gd name="T13" fmla="*/ 66 h 360"/>
                      <a:gd name="T14" fmla="*/ 0 w 294"/>
                      <a:gd name="T15" fmla="*/ 66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 h="360">
                        <a:moveTo>
                          <a:pt x="0" y="66"/>
                        </a:moveTo>
                        <a:lnTo>
                          <a:pt x="12" y="358"/>
                        </a:lnTo>
                        <a:lnTo>
                          <a:pt x="20" y="360"/>
                        </a:lnTo>
                        <a:lnTo>
                          <a:pt x="294" y="206"/>
                        </a:lnTo>
                        <a:lnTo>
                          <a:pt x="274" y="180"/>
                        </a:lnTo>
                        <a:lnTo>
                          <a:pt x="120" y="0"/>
                        </a:lnTo>
                        <a:lnTo>
                          <a:pt x="2" y="66"/>
                        </a:lnTo>
                        <a:lnTo>
                          <a:pt x="0" y="66"/>
                        </a:lnTo>
                        <a:close/>
                      </a:path>
                    </a:pathLst>
                  </a:custGeom>
                  <a:solidFill>
                    <a:srgbClr val="B0B7BC">
                      <a:lumMod val="75000"/>
                    </a:srgbClr>
                  </a:solid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Freeform 12">
                    <a:extLst>
                      <a:ext uri="{FF2B5EF4-FFF2-40B4-BE49-F238E27FC236}">
                        <a16:creationId xmlns:a16="http://schemas.microsoft.com/office/drawing/2014/main" id="{1084FA4E-C0B2-921D-B23E-DE75E8143230}"/>
                      </a:ext>
                    </a:extLst>
                  </p:cNvPr>
                  <p:cNvSpPr>
                    <a:spLocks/>
                  </p:cNvSpPr>
                  <p:nvPr/>
                </p:nvSpPr>
                <p:spPr bwMode="auto">
                  <a:xfrm>
                    <a:off x="9076505" y="2185274"/>
                    <a:ext cx="512147" cy="506625"/>
                  </a:xfrm>
                  <a:custGeom>
                    <a:avLst/>
                    <a:gdLst>
                      <a:gd name="T0" fmla="*/ 310 w 322"/>
                      <a:gd name="T1" fmla="*/ 58 h 350"/>
                      <a:gd name="T2" fmla="*/ 174 w 322"/>
                      <a:gd name="T3" fmla="*/ 0 h 350"/>
                      <a:gd name="T4" fmla="*/ 6 w 322"/>
                      <a:gd name="T5" fmla="*/ 210 h 350"/>
                      <a:gd name="T6" fmla="*/ 0 w 322"/>
                      <a:gd name="T7" fmla="*/ 216 h 350"/>
                      <a:gd name="T8" fmla="*/ 322 w 322"/>
                      <a:gd name="T9" fmla="*/ 350 h 350"/>
                      <a:gd name="T10" fmla="*/ 310 w 322"/>
                      <a:gd name="T11" fmla="*/ 58 h 350"/>
                    </a:gdLst>
                    <a:ahLst/>
                    <a:cxnLst>
                      <a:cxn ang="0">
                        <a:pos x="T0" y="T1"/>
                      </a:cxn>
                      <a:cxn ang="0">
                        <a:pos x="T2" y="T3"/>
                      </a:cxn>
                      <a:cxn ang="0">
                        <a:pos x="T4" y="T5"/>
                      </a:cxn>
                      <a:cxn ang="0">
                        <a:pos x="T6" y="T7"/>
                      </a:cxn>
                      <a:cxn ang="0">
                        <a:pos x="T8" y="T9"/>
                      </a:cxn>
                      <a:cxn ang="0">
                        <a:pos x="T10" y="T11"/>
                      </a:cxn>
                    </a:cxnLst>
                    <a:rect l="0" t="0" r="r" b="b"/>
                    <a:pathLst>
                      <a:path w="322" h="350">
                        <a:moveTo>
                          <a:pt x="310" y="58"/>
                        </a:moveTo>
                        <a:lnTo>
                          <a:pt x="174" y="0"/>
                        </a:lnTo>
                        <a:lnTo>
                          <a:pt x="6" y="210"/>
                        </a:lnTo>
                        <a:lnTo>
                          <a:pt x="0" y="216"/>
                        </a:lnTo>
                        <a:lnTo>
                          <a:pt x="322" y="350"/>
                        </a:lnTo>
                        <a:lnTo>
                          <a:pt x="310" y="58"/>
                        </a:lnTo>
                        <a:close/>
                      </a:path>
                    </a:pathLst>
                  </a:custGeom>
                  <a:solidFill>
                    <a:srgbClr val="B0B7BC">
                      <a:lumMod val="50000"/>
                    </a:srgbClr>
                  </a:solid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nvGrpSpPr>
              <p:cNvPr id="38" name="Group 152">
                <a:extLst>
                  <a:ext uri="{FF2B5EF4-FFF2-40B4-BE49-F238E27FC236}">
                    <a16:creationId xmlns:a16="http://schemas.microsoft.com/office/drawing/2014/main" id="{8E335E87-382F-0448-CDD5-1C04F89DD633}"/>
                  </a:ext>
                </a:extLst>
              </p:cNvPr>
              <p:cNvGrpSpPr>
                <a:grpSpLocks/>
              </p:cNvGrpSpPr>
              <p:nvPr/>
            </p:nvGrpSpPr>
            <p:grpSpPr bwMode="auto">
              <a:xfrm>
                <a:off x="4397623" y="1959263"/>
                <a:ext cx="406400" cy="339725"/>
                <a:chOff x="9352979" y="1889125"/>
                <a:chExt cx="406400" cy="339725"/>
              </a:xfrm>
            </p:grpSpPr>
            <p:sp>
              <p:nvSpPr>
                <p:cNvPr id="39" name="Freeform 13">
                  <a:extLst>
                    <a:ext uri="{FF2B5EF4-FFF2-40B4-BE49-F238E27FC236}">
                      <a16:creationId xmlns:a16="http://schemas.microsoft.com/office/drawing/2014/main" id="{F172F3C2-B023-C0EE-AE07-0E893ABCB507}"/>
                    </a:ext>
                  </a:extLst>
                </p:cNvPr>
                <p:cNvSpPr>
                  <a:spLocks/>
                </p:cNvSpPr>
                <p:nvPr/>
              </p:nvSpPr>
              <p:spPr bwMode="auto">
                <a:xfrm>
                  <a:off x="9552685" y="1889420"/>
                  <a:ext cx="206755" cy="340328"/>
                </a:xfrm>
                <a:custGeom>
                  <a:avLst/>
                  <a:gdLst>
                    <a:gd name="T0" fmla="*/ 12 w 130"/>
                    <a:gd name="T1" fmla="*/ 214 h 214"/>
                    <a:gd name="T2" fmla="*/ 130 w 130"/>
                    <a:gd name="T3" fmla="*/ 148 h 214"/>
                    <a:gd name="T4" fmla="*/ 2 w 130"/>
                    <a:gd name="T5" fmla="*/ 0 h 214"/>
                    <a:gd name="T6" fmla="*/ 0 w 130"/>
                    <a:gd name="T7" fmla="*/ 2 h 214"/>
                    <a:gd name="T8" fmla="*/ 10 w 130"/>
                    <a:gd name="T9" fmla="*/ 214 h 214"/>
                    <a:gd name="T10" fmla="*/ 12 w 130"/>
                    <a:gd name="T11" fmla="*/ 214 h 214"/>
                  </a:gdLst>
                  <a:ahLst/>
                  <a:cxnLst>
                    <a:cxn ang="0">
                      <a:pos x="T0" y="T1"/>
                    </a:cxn>
                    <a:cxn ang="0">
                      <a:pos x="T2" y="T3"/>
                    </a:cxn>
                    <a:cxn ang="0">
                      <a:pos x="T4" y="T5"/>
                    </a:cxn>
                    <a:cxn ang="0">
                      <a:pos x="T6" y="T7"/>
                    </a:cxn>
                    <a:cxn ang="0">
                      <a:pos x="T8" y="T9"/>
                    </a:cxn>
                    <a:cxn ang="0">
                      <a:pos x="T10" y="T11"/>
                    </a:cxn>
                  </a:cxnLst>
                  <a:rect l="0" t="0" r="r" b="b"/>
                  <a:pathLst>
                    <a:path w="130" h="214">
                      <a:moveTo>
                        <a:pt x="12" y="214"/>
                      </a:moveTo>
                      <a:lnTo>
                        <a:pt x="130" y="148"/>
                      </a:lnTo>
                      <a:lnTo>
                        <a:pt x="2" y="0"/>
                      </a:lnTo>
                      <a:lnTo>
                        <a:pt x="0" y="2"/>
                      </a:lnTo>
                      <a:lnTo>
                        <a:pt x="10" y="214"/>
                      </a:lnTo>
                      <a:lnTo>
                        <a:pt x="12" y="214"/>
                      </a:lnTo>
                      <a:close/>
                    </a:path>
                  </a:pathLst>
                </a:custGeom>
                <a:solidFill>
                  <a:srgbClr val="E20177"/>
                </a:solid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Freeform 14">
                  <a:extLst>
                    <a:ext uri="{FF2B5EF4-FFF2-40B4-BE49-F238E27FC236}">
                      <a16:creationId xmlns:a16="http://schemas.microsoft.com/office/drawing/2014/main" id="{AA6E5A80-420F-6DD4-CC34-04A96A5A451E}"/>
                    </a:ext>
                  </a:extLst>
                </p:cNvPr>
                <p:cNvSpPr>
                  <a:spLocks/>
                </p:cNvSpPr>
                <p:nvPr/>
              </p:nvSpPr>
              <p:spPr bwMode="auto">
                <a:xfrm>
                  <a:off x="9353515" y="1893287"/>
                  <a:ext cx="216240" cy="336461"/>
                </a:xfrm>
                <a:custGeom>
                  <a:avLst/>
                  <a:gdLst>
                    <a:gd name="T0" fmla="*/ 126 w 136"/>
                    <a:gd name="T1" fmla="*/ 0 h 212"/>
                    <a:gd name="T2" fmla="*/ 0 w 136"/>
                    <a:gd name="T3" fmla="*/ 154 h 212"/>
                    <a:gd name="T4" fmla="*/ 136 w 136"/>
                    <a:gd name="T5" fmla="*/ 212 h 212"/>
                    <a:gd name="T6" fmla="*/ 126 w 136"/>
                    <a:gd name="T7" fmla="*/ 0 h 212"/>
                  </a:gdLst>
                  <a:ahLst/>
                  <a:cxnLst>
                    <a:cxn ang="0">
                      <a:pos x="T0" y="T1"/>
                    </a:cxn>
                    <a:cxn ang="0">
                      <a:pos x="T2" y="T3"/>
                    </a:cxn>
                    <a:cxn ang="0">
                      <a:pos x="T4" y="T5"/>
                    </a:cxn>
                    <a:cxn ang="0">
                      <a:pos x="T6" y="T7"/>
                    </a:cxn>
                  </a:cxnLst>
                  <a:rect l="0" t="0" r="r" b="b"/>
                  <a:pathLst>
                    <a:path w="136" h="212">
                      <a:moveTo>
                        <a:pt x="126" y="0"/>
                      </a:moveTo>
                      <a:lnTo>
                        <a:pt x="0" y="154"/>
                      </a:lnTo>
                      <a:lnTo>
                        <a:pt x="136" y="212"/>
                      </a:lnTo>
                      <a:lnTo>
                        <a:pt x="126" y="0"/>
                      </a:lnTo>
                      <a:close/>
                    </a:path>
                  </a:pathLst>
                </a:custGeom>
                <a:solidFill>
                  <a:srgbClr val="E20177">
                    <a:lumMod val="75000"/>
                  </a:srgbClr>
                </a:solidFill>
                <a:ln w="635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sp>
        <p:nvSpPr>
          <p:cNvPr id="61" name="TextBox 60">
            <a:extLst>
              <a:ext uri="{FF2B5EF4-FFF2-40B4-BE49-F238E27FC236}">
                <a16:creationId xmlns:a16="http://schemas.microsoft.com/office/drawing/2014/main" id="{F257DFEA-99A8-4B7C-04F5-604265F343F2}"/>
              </a:ext>
            </a:extLst>
          </p:cNvPr>
          <p:cNvSpPr txBox="1"/>
          <p:nvPr/>
        </p:nvSpPr>
        <p:spPr>
          <a:xfrm>
            <a:off x="2744582" y="1043790"/>
            <a:ext cx="902811" cy="355482"/>
          </a:xfrm>
          <a:prstGeom prst="rect">
            <a:avLst/>
          </a:prstGeom>
          <a:solidFill>
            <a:srgbClr val="FFFF00"/>
          </a:solidFill>
          <a:ln>
            <a:solidFill>
              <a:schemeClr val="tx1"/>
            </a:solidFill>
          </a:ln>
          <a:effectLst/>
        </p:spPr>
        <p:txBody>
          <a:bodyPr wrap="non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ults</a:t>
            </a:r>
          </a:p>
        </p:txBody>
      </p:sp>
      <p:sp>
        <p:nvSpPr>
          <p:cNvPr id="62" name="TextBox 61">
            <a:extLst>
              <a:ext uri="{FF2B5EF4-FFF2-40B4-BE49-F238E27FC236}">
                <a16:creationId xmlns:a16="http://schemas.microsoft.com/office/drawing/2014/main" id="{1D5931DB-B6E9-D8EE-6117-8026B7385605}"/>
              </a:ext>
            </a:extLst>
          </p:cNvPr>
          <p:cNvSpPr txBox="1"/>
          <p:nvPr/>
        </p:nvSpPr>
        <p:spPr>
          <a:xfrm>
            <a:off x="2422188" y="2388985"/>
            <a:ext cx="831014" cy="355482"/>
          </a:xfrm>
          <a:prstGeom prst="rect">
            <a:avLst/>
          </a:prstGeom>
          <a:noFill/>
          <a:effectLst/>
        </p:spPr>
        <p:txBody>
          <a:bodyPr wrap="squar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5%</a:t>
            </a:r>
          </a:p>
        </p:txBody>
      </p:sp>
      <p:sp>
        <p:nvSpPr>
          <p:cNvPr id="63" name="TextBox 62">
            <a:extLst>
              <a:ext uri="{FF2B5EF4-FFF2-40B4-BE49-F238E27FC236}">
                <a16:creationId xmlns:a16="http://schemas.microsoft.com/office/drawing/2014/main" id="{3BA1BCD0-7D7A-B90B-2A38-2B784CA7B753}"/>
              </a:ext>
            </a:extLst>
          </p:cNvPr>
          <p:cNvSpPr txBox="1"/>
          <p:nvPr/>
        </p:nvSpPr>
        <p:spPr>
          <a:xfrm>
            <a:off x="2389173" y="3373791"/>
            <a:ext cx="646331" cy="355482"/>
          </a:xfrm>
          <a:prstGeom prst="rect">
            <a:avLst/>
          </a:prstGeom>
          <a:noFill/>
          <a:effectLst/>
        </p:spPr>
        <p:txBody>
          <a:bodyPr wrap="non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75%</a:t>
            </a:r>
          </a:p>
        </p:txBody>
      </p:sp>
      <p:sp>
        <p:nvSpPr>
          <p:cNvPr id="64" name="TextBox 63">
            <a:extLst>
              <a:ext uri="{FF2B5EF4-FFF2-40B4-BE49-F238E27FC236}">
                <a16:creationId xmlns:a16="http://schemas.microsoft.com/office/drawing/2014/main" id="{7225FA4D-7D94-FB35-BE87-42E4062B9A04}"/>
              </a:ext>
            </a:extLst>
          </p:cNvPr>
          <p:cNvSpPr txBox="1"/>
          <p:nvPr/>
        </p:nvSpPr>
        <p:spPr>
          <a:xfrm>
            <a:off x="6238981" y="4555998"/>
            <a:ext cx="3354314" cy="1323439"/>
          </a:xfrm>
          <a:prstGeom prst="rect">
            <a:avLst/>
          </a:prstGeom>
          <a:noFill/>
          <a:effectLst/>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vi-VN" altLang="en-US" sz="2000" b="0" i="0" u="none" strike="noStrike" kern="1200" cap="none" spc="0" normalizeH="0" baseline="0" noProof="0" dirty="0">
                <a:ln>
                  <a:noFill/>
                </a:ln>
                <a:solidFill>
                  <a:srgbClr val="202124"/>
                </a:solidFill>
                <a:effectLst/>
                <a:uLnTx/>
                <a:uFillTx/>
                <a:ea typeface="+mn-ea"/>
                <a:cs typeface="+mn-cs"/>
              </a:rPr>
              <a:t>Phần lớn các trường hợp viêm phổi do phế cầu khuẩn ở người lớn </a:t>
            </a:r>
            <a:r>
              <a:rPr kumimoji="0" lang="en-US" altLang="en-US" sz="2000" b="0" i="0" u="none" strike="noStrike" kern="1200" cap="none" spc="0" normalizeH="0" baseline="0" noProof="0" dirty="0">
                <a:ln>
                  <a:noFill/>
                </a:ln>
                <a:solidFill>
                  <a:srgbClr val="202124"/>
                </a:solidFill>
                <a:effectLst/>
                <a:uLnTx/>
                <a:uFillTx/>
                <a:latin typeface="Arial" panose="020B0604020202020204" pitchFamily="34" charset="0"/>
                <a:cs typeface="Arial" panose="020B0604020202020204" pitchFamily="34" charset="0"/>
              </a:rPr>
              <a:t>ko </a:t>
            </a:r>
            <a:r>
              <a:rPr kumimoji="0" lang="en-US" altLang="en-US" sz="2000" b="0" i="0" u="none" strike="noStrike" kern="1200" cap="none" spc="0" normalizeH="0" baseline="0" noProof="0" dirty="0" err="1">
                <a:ln>
                  <a:noFill/>
                </a:ln>
                <a:solidFill>
                  <a:srgbClr val="202124"/>
                </a:solidFill>
                <a:effectLst/>
                <a:uLnTx/>
                <a:uFillTx/>
                <a:latin typeface="Arial" panose="020B0604020202020204" pitchFamily="34" charset="0"/>
                <a:cs typeface="Arial" panose="020B0604020202020204" pitchFamily="34" charset="0"/>
              </a:rPr>
              <a:t>kèm</a:t>
            </a:r>
            <a:r>
              <a:rPr kumimoji="0" lang="en-US" altLang="en-US" sz="2000" b="0" i="0" u="none" strike="noStrike" kern="1200" cap="none" spc="0" normalizeH="0" baseline="0" noProof="0" dirty="0">
                <a:ln>
                  <a:noFill/>
                </a:ln>
                <a:solidFill>
                  <a:srgbClr val="202124"/>
                </a:solidFill>
                <a:effectLst/>
                <a:uLnTx/>
                <a:uFillTx/>
                <a:latin typeface="Arial" panose="020B0604020202020204" pitchFamily="34" charset="0"/>
                <a:cs typeface="Arial" panose="020B0604020202020204" pitchFamily="34" charset="0"/>
              </a:rPr>
              <a:t> </a:t>
            </a:r>
            <a:r>
              <a:rPr kumimoji="0" lang="en-US" altLang="en-US" sz="2000" b="0" i="0" u="none" strike="noStrike" kern="1200" cap="none" spc="0" normalizeH="0" baseline="0" noProof="0" dirty="0" err="1">
                <a:ln>
                  <a:noFill/>
                </a:ln>
                <a:solidFill>
                  <a:srgbClr val="202124"/>
                </a:solidFill>
                <a:effectLst/>
                <a:uLnTx/>
                <a:uFillTx/>
                <a:latin typeface="Arial" panose="020B0604020202020204" pitchFamily="34" charset="0"/>
                <a:cs typeface="Arial" panose="020B0604020202020204" pitchFamily="34" charset="0"/>
              </a:rPr>
              <a:t>nhiễm</a:t>
            </a:r>
            <a:r>
              <a:rPr kumimoji="0" lang="en-US" altLang="en-US" sz="2000" b="0" i="0" u="none" strike="noStrike" kern="1200" cap="none" spc="0" normalizeH="0" baseline="0" noProof="0" dirty="0">
                <a:ln>
                  <a:noFill/>
                </a:ln>
                <a:solidFill>
                  <a:srgbClr val="202124"/>
                </a:solidFill>
                <a:effectLst/>
                <a:uLnTx/>
                <a:uFillTx/>
                <a:latin typeface="Arial" panose="020B0604020202020204" pitchFamily="34" charset="0"/>
                <a:cs typeface="Arial" panose="020B0604020202020204" pitchFamily="34" charset="0"/>
              </a:rPr>
              <a:t> </a:t>
            </a:r>
            <a:r>
              <a:rPr kumimoji="0" lang="en-US" altLang="en-US" sz="2000" b="0" i="0" u="none" strike="noStrike" kern="1200" cap="none" spc="0" normalizeH="0" baseline="0" noProof="0" dirty="0" err="1">
                <a:ln>
                  <a:noFill/>
                </a:ln>
                <a:solidFill>
                  <a:srgbClr val="202124"/>
                </a:solidFill>
                <a:effectLst/>
                <a:uLnTx/>
                <a:uFillTx/>
                <a:latin typeface="Arial" panose="020B0604020202020204" pitchFamily="34" charset="0"/>
                <a:cs typeface="Arial" panose="020B0604020202020204" pitchFamily="34" charset="0"/>
              </a:rPr>
              <a:t>trùng</a:t>
            </a:r>
            <a:r>
              <a:rPr kumimoji="0" lang="en-US" altLang="en-US" sz="2000" b="0" i="0" u="none" strike="noStrike" kern="1200" cap="none" spc="0" normalizeH="0" baseline="0" noProof="0" dirty="0">
                <a:ln>
                  <a:noFill/>
                </a:ln>
                <a:solidFill>
                  <a:srgbClr val="202124"/>
                </a:solidFill>
                <a:effectLst/>
                <a:uLnTx/>
                <a:uFillTx/>
                <a:latin typeface="Arial" panose="020B0604020202020204" pitchFamily="34" charset="0"/>
                <a:cs typeface="Arial" panose="020B0604020202020204" pitchFamily="34" charset="0"/>
              </a:rPr>
              <a:t> huyết</a:t>
            </a:r>
            <a:r>
              <a:rPr kumimoji="0" lang="en-US" sz="2000" b="1" i="0" u="none" strike="noStrike" kern="0" cap="none" spc="0" normalizeH="0" baseline="30000" noProof="0" dirty="0">
                <a:ln>
                  <a:noFill/>
                </a:ln>
                <a:solidFill>
                  <a:srgbClr val="333333">
                    <a:lumMod val="75000"/>
                  </a:srgbClr>
                </a:solidFill>
                <a:effectLst/>
                <a:uLnTx/>
                <a:uFillTx/>
                <a:ea typeface="ヒラギノ角ゴ ProN W3"/>
                <a:cs typeface="Arial" panose="020B0604020202020204" pitchFamily="34" charset="0"/>
                <a:sym typeface="Arial"/>
              </a:rPr>
              <a:t>2</a:t>
            </a:r>
          </a:p>
        </p:txBody>
      </p:sp>
      <p:grpSp>
        <p:nvGrpSpPr>
          <p:cNvPr id="68" name="Group 67">
            <a:extLst>
              <a:ext uri="{FF2B5EF4-FFF2-40B4-BE49-F238E27FC236}">
                <a16:creationId xmlns:a16="http://schemas.microsoft.com/office/drawing/2014/main" id="{82C9095E-D16B-883F-3061-A9A4CFBF7725}"/>
              </a:ext>
            </a:extLst>
          </p:cNvPr>
          <p:cNvGrpSpPr/>
          <p:nvPr/>
        </p:nvGrpSpPr>
        <p:grpSpPr>
          <a:xfrm>
            <a:off x="6898533" y="3303820"/>
            <a:ext cx="2313210" cy="470717"/>
            <a:chOff x="6840190" y="3350906"/>
            <a:chExt cx="2313210" cy="470717"/>
          </a:xfrm>
        </p:grpSpPr>
        <p:sp>
          <p:nvSpPr>
            <p:cNvPr id="25" name="Google Shape;881;p119">
              <a:extLst>
                <a:ext uri="{FF2B5EF4-FFF2-40B4-BE49-F238E27FC236}">
                  <a16:creationId xmlns:a16="http://schemas.microsoft.com/office/drawing/2014/main" id="{3B78D2DA-741C-ECE0-895D-54986A9B5A61}"/>
                </a:ext>
              </a:extLst>
            </p:cNvPr>
            <p:cNvSpPr txBox="1"/>
            <p:nvPr/>
          </p:nvSpPr>
          <p:spPr>
            <a:xfrm>
              <a:off x="6840190" y="3350906"/>
              <a:ext cx="1058256" cy="470717"/>
            </a:xfrm>
            <a:prstGeom prst="rect">
              <a:avLst/>
            </a:prstGeom>
            <a:solidFill>
              <a:srgbClr val="FFFF00"/>
            </a:solidFill>
            <a:ln w="12700">
              <a:solidFill>
                <a:schemeClr val="tx1"/>
              </a:solid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25%</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Xâm</a:t>
              </a:r>
              <a:r>
                <a:rPr kumimoji="0" lang="en-US" sz="1400" b="1"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 </a:t>
              </a:r>
              <a:r>
                <a:rPr kumimoji="0" lang="en-US" sz="1400" b="1"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lấn</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 name="TextBox 64">
              <a:extLst>
                <a:ext uri="{FF2B5EF4-FFF2-40B4-BE49-F238E27FC236}">
                  <a16:creationId xmlns:a16="http://schemas.microsoft.com/office/drawing/2014/main" id="{55028613-48EC-BB63-F189-96725F10BBD6}"/>
                </a:ext>
              </a:extLst>
            </p:cNvPr>
            <p:cNvSpPr txBox="1"/>
            <p:nvPr/>
          </p:nvSpPr>
          <p:spPr bwMode="gray">
            <a:xfrm>
              <a:off x="7901150" y="3353344"/>
              <a:ext cx="1252250" cy="462791"/>
            </a:xfrm>
            <a:prstGeom prst="rect">
              <a:avLst/>
            </a:prstGeom>
            <a:solidFill>
              <a:srgbClr val="FFC000"/>
            </a:solidFill>
            <a:ln w="12700">
              <a:solidFill>
                <a:schemeClr val="tx1"/>
              </a:solidFill>
            </a:ln>
          </p:spPr>
          <p:txBody>
            <a:bodyPr wrap="none" lIns="45720" tIns="45720" rIns="45720" bIns="45720" rtlCol="0" anchor="t">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7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Ko </a:t>
              </a:r>
              <a:r>
                <a:rPr kumimoji="0" lang="en-US" sz="1400" b="1"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xâm</a:t>
              </a:r>
              <a:r>
                <a:rPr kumimoji="0" lang="en-US" sz="1400" b="1" i="0" u="none" strike="noStrike" kern="0" cap="none" spc="0" normalizeH="0" baseline="0" noProof="0" dirty="0">
                  <a:ln>
                    <a:noFill/>
                  </a:ln>
                  <a:solidFill>
                    <a:srgbClr val="37424A"/>
                  </a:solidFill>
                  <a:effectLst/>
                  <a:uLnTx/>
                  <a:uFillTx/>
                  <a:latin typeface="Arial" panose="020B0604020202020204" pitchFamily="34" charset="0"/>
                  <a:ea typeface="Arial"/>
                  <a:cs typeface="Arial" panose="020B0604020202020204" pitchFamily="34" charset="0"/>
                  <a:sym typeface="Arial"/>
                </a:rPr>
                <a:t> </a:t>
              </a:r>
              <a:r>
                <a:rPr kumimoji="0" lang="en-US" sz="1400" b="1" i="0" u="none" strike="noStrike" kern="0" cap="none" spc="0" normalizeH="0" baseline="0" noProof="0" dirty="0" err="1">
                  <a:ln>
                    <a:noFill/>
                  </a:ln>
                  <a:solidFill>
                    <a:srgbClr val="37424A"/>
                  </a:solidFill>
                  <a:effectLst/>
                  <a:uLnTx/>
                  <a:uFillTx/>
                  <a:latin typeface="Arial" panose="020B0604020202020204" pitchFamily="34" charset="0"/>
                  <a:ea typeface="Arial"/>
                  <a:cs typeface="Arial" panose="020B0604020202020204" pitchFamily="34" charset="0"/>
                  <a:sym typeface="Arial"/>
                </a:rPr>
                <a:t>lấn</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Noto Sans" panose="020B0502040504020204" pitchFamily="34"/>
                <a:cs typeface="Arial" panose="020B0604020202020204" pitchFamily="34" charset="0"/>
              </a:endParaRPr>
            </a:p>
          </p:txBody>
        </p:sp>
      </p:grpSp>
      <p:sp>
        <p:nvSpPr>
          <p:cNvPr id="66" name="Arrow: Down 65">
            <a:extLst>
              <a:ext uri="{FF2B5EF4-FFF2-40B4-BE49-F238E27FC236}">
                <a16:creationId xmlns:a16="http://schemas.microsoft.com/office/drawing/2014/main" id="{3DD8FA44-2EF6-F2F7-CF62-3A374281833A}"/>
              </a:ext>
            </a:extLst>
          </p:cNvPr>
          <p:cNvSpPr/>
          <p:nvPr/>
        </p:nvSpPr>
        <p:spPr bwMode="gray">
          <a:xfrm flipV="1">
            <a:off x="6778237" y="3979638"/>
            <a:ext cx="1872309" cy="449788"/>
          </a:xfrm>
          <a:prstGeom prst="downArrow">
            <a:avLst/>
          </a:prstGeom>
          <a:solidFill>
            <a:srgbClr val="FF000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C0504D"/>
              </a:buClr>
              <a:buSzPct val="90000"/>
              <a:buFontTx/>
              <a:buNone/>
              <a:tabLst/>
              <a:defRPr/>
            </a:pPr>
            <a:endParaRPr kumimoji="0" lang="en-GB" sz="1800" b="1" i="0" u="none" strike="noStrike" kern="1200" cap="none" spc="0" normalizeH="0" baseline="0" noProof="0">
              <a:ln>
                <a:noFill/>
              </a:ln>
              <a:solidFill>
                <a:srgbClr val="4F81BD"/>
              </a:solidFill>
              <a:effectLst/>
              <a:uLnTx/>
              <a:uFillTx/>
              <a:latin typeface="Arial" panose="020B0604020202020204" pitchFamily="34" charset="0"/>
              <a:ea typeface="+mn-ea"/>
              <a:cs typeface="Arial" panose="020B0604020202020204" pitchFamily="34" charset="0"/>
            </a:endParaRPr>
          </a:p>
        </p:txBody>
      </p:sp>
      <p:graphicFrame>
        <p:nvGraphicFramePr>
          <p:cNvPr id="69" name="Table 68">
            <a:extLst>
              <a:ext uri="{FF2B5EF4-FFF2-40B4-BE49-F238E27FC236}">
                <a16:creationId xmlns:a16="http://schemas.microsoft.com/office/drawing/2014/main" id="{86D9CAC2-9B77-177D-469E-1C32ACE7016C}"/>
              </a:ext>
            </a:extLst>
          </p:cNvPr>
          <p:cNvGraphicFramePr>
            <a:graphicFrameLocks noGrp="1"/>
          </p:cNvGraphicFramePr>
          <p:nvPr>
            <p:extLst>
              <p:ext uri="{D42A27DB-BD31-4B8C-83A1-F6EECF244321}">
                <p14:modId xmlns:p14="http://schemas.microsoft.com/office/powerpoint/2010/main" val="1390734396"/>
              </p:ext>
            </p:extLst>
          </p:nvPr>
        </p:nvGraphicFramePr>
        <p:xfrm>
          <a:off x="2080385" y="5876928"/>
          <a:ext cx="7227892" cy="609600"/>
        </p:xfrm>
        <a:graphic>
          <a:graphicData uri="http://schemas.openxmlformats.org/drawingml/2006/table">
            <a:tbl>
              <a:tblPr firstRow="1" bandRow="1">
                <a:tableStyleId>{69CF1AB2-1976-4502-BF36-3FF5EA218861}</a:tableStyleId>
              </a:tblPr>
              <a:tblGrid>
                <a:gridCol w="4793946">
                  <a:extLst>
                    <a:ext uri="{9D8B030D-6E8A-4147-A177-3AD203B41FA5}">
                      <a16:colId xmlns:a16="http://schemas.microsoft.com/office/drawing/2014/main" val="1246986413"/>
                    </a:ext>
                  </a:extLst>
                </a:gridCol>
                <a:gridCol w="2433946">
                  <a:extLst>
                    <a:ext uri="{9D8B030D-6E8A-4147-A177-3AD203B41FA5}">
                      <a16:colId xmlns:a16="http://schemas.microsoft.com/office/drawing/2014/main" val="3807920245"/>
                    </a:ext>
                  </a:extLst>
                </a:gridCol>
              </a:tblGrid>
              <a:tr h="233351">
                <a:tc>
                  <a:txBody>
                    <a:bodyPr/>
                    <a:lstStyle/>
                    <a:p>
                      <a:r>
                        <a:rPr lang="en-US" sz="1400" b="0" kern="0">
                          <a:solidFill>
                            <a:srgbClr val="37424A"/>
                          </a:solidFill>
                          <a:latin typeface="Arial" panose="020B0604020202020204" pitchFamily="34" charset="0"/>
                          <a:ea typeface="Arial"/>
                          <a:cs typeface="Arial" panose="020B0604020202020204" pitchFamily="34" charset="0"/>
                          <a:sym typeface="Arial"/>
                        </a:rPr>
                        <a:t>Non-Bacteremic Pneumococcal Pneumonia (NBPP)</a:t>
                      </a:r>
                      <a:endParaRPr lang="en-US" sz="1400" b="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104" rtl="0" eaLnBrk="1" fontAlgn="auto" latinLnBrk="0" hangingPunct="1">
                        <a:lnSpc>
                          <a:spcPct val="100000"/>
                        </a:lnSpc>
                        <a:spcBef>
                          <a:spcPts val="0"/>
                        </a:spcBef>
                        <a:spcAft>
                          <a:spcPts val="0"/>
                        </a:spcAft>
                        <a:buClrTx/>
                        <a:buSzTx/>
                        <a:buFontTx/>
                        <a:buNone/>
                        <a:tabLst/>
                        <a:defRPr/>
                      </a:pPr>
                      <a:r>
                        <a:rPr lang="en-US" sz="1400" b="0" kern="0">
                          <a:solidFill>
                            <a:srgbClr val="37424A"/>
                          </a:solidFill>
                          <a:latin typeface="Arial" panose="020B0604020202020204" pitchFamily="34" charset="0"/>
                          <a:ea typeface="Arial"/>
                          <a:cs typeface="Arial" panose="020B0604020202020204" pitchFamily="34" charset="0"/>
                          <a:sym typeface="Arial"/>
                        </a:rPr>
                        <a:t>(+) Sputum C/S, (-) H/C</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0948499"/>
                  </a:ext>
                </a:extLst>
              </a:tr>
              <a:tr h="257100">
                <a:tc>
                  <a:txBody>
                    <a:bodyPr/>
                    <a:lstStyle/>
                    <a:p>
                      <a:r>
                        <a:rPr lang="en-US" sz="1400" b="0" kern="0">
                          <a:solidFill>
                            <a:srgbClr val="37424A"/>
                          </a:solidFill>
                          <a:latin typeface="Arial" panose="020B0604020202020204" pitchFamily="34" charset="0"/>
                          <a:ea typeface="Arial"/>
                          <a:cs typeface="Arial" panose="020B0604020202020204" pitchFamily="34" charset="0"/>
                          <a:sym typeface="Arial"/>
                        </a:rPr>
                        <a:t>Bacteremia Pneumococcal Pneumonia (BPP), empyema</a:t>
                      </a:r>
                      <a:endParaRPr lang="en-US" sz="1400" b="0" dirty="0"/>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04" rtl="0" eaLnBrk="1" fontAlgn="auto" latinLnBrk="0" hangingPunct="1">
                        <a:lnSpc>
                          <a:spcPct val="100000"/>
                        </a:lnSpc>
                        <a:spcBef>
                          <a:spcPts val="0"/>
                        </a:spcBef>
                        <a:spcAft>
                          <a:spcPts val="0"/>
                        </a:spcAft>
                        <a:buClrTx/>
                        <a:buSzTx/>
                        <a:buFontTx/>
                        <a:buNone/>
                        <a:tabLst/>
                        <a:defRPr/>
                      </a:pPr>
                      <a:r>
                        <a:rPr lang="en-US" sz="1400" b="0" kern="0">
                          <a:solidFill>
                            <a:srgbClr val="37424A"/>
                          </a:solidFill>
                          <a:latin typeface="Arial" panose="020B0604020202020204" pitchFamily="34" charset="0"/>
                          <a:ea typeface="Arial"/>
                          <a:cs typeface="Arial" panose="020B0604020202020204" pitchFamily="34" charset="0"/>
                          <a:sym typeface="Arial"/>
                        </a:rPr>
                        <a:t>Pneumonia and (+) H/C</a:t>
                      </a:r>
                      <a:endParaRPr lang="en-US" sz="1400" b="0" kern="0" dirty="0">
                        <a:solidFill>
                          <a:srgbClr val="000000"/>
                        </a:solidFill>
                        <a:latin typeface="Arial" panose="020B0604020202020204" pitchFamily="34" charset="0"/>
                        <a:cs typeface="Arial" panose="020B0604020202020204" pitchFamily="34" charset="0"/>
                        <a:sym typeface="Aria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1448251"/>
                  </a:ext>
                </a:extLst>
              </a:tr>
            </a:tbl>
          </a:graphicData>
        </a:graphic>
      </p:graphicFrame>
    </p:spTree>
    <p:extLst>
      <p:ext uri="{BB962C8B-B14F-4D97-AF65-F5344CB8AC3E}">
        <p14:creationId xmlns:p14="http://schemas.microsoft.com/office/powerpoint/2010/main" val="492583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6.xml><?xml version="1.0" encoding="utf-8"?>
<a:theme xmlns:a="http://schemas.openxmlformats.org/drawingml/2006/main" name="7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Office Theme">
  <a:themeElements>
    <a:clrScheme name="Pfi 1">
      <a:dk1>
        <a:srgbClr val="000000"/>
      </a:dk1>
      <a:lt1>
        <a:srgbClr val="FFFFFF"/>
      </a:lt1>
      <a:dk2>
        <a:srgbClr val="44546A"/>
      </a:dk2>
      <a:lt2>
        <a:srgbClr val="E7E6E6"/>
      </a:lt2>
      <a:accent1>
        <a:srgbClr val="76004B"/>
      </a:accent1>
      <a:accent2>
        <a:srgbClr val="F16937"/>
      </a:accent2>
      <a:accent3>
        <a:srgbClr val="002E5C"/>
      </a:accent3>
      <a:accent4>
        <a:srgbClr val="E30571"/>
      </a:accent4>
      <a:accent5>
        <a:srgbClr val="96D1F2"/>
      </a:accent5>
      <a:accent6>
        <a:srgbClr val="A9B1B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AE6F2518-B084-4896-AF52-66CC2144AA26}"/>
    </a:ext>
  </a:ext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27b5f69-4105-4a79-b3e7-37cc257da040" xsi:nil="true"/>
    <lcf76f155ced4ddcb4097134ff3c332f xmlns="0ebb8d40-ce3f-4b34-a95b-44b8347e090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6D44D22F044D408F99A5532C704915" ma:contentTypeVersion="18" ma:contentTypeDescription="Create a new document." ma:contentTypeScope="" ma:versionID="2980c82cc8d48f62b2dfd25f09aa105c">
  <xsd:schema xmlns:xsd="http://www.w3.org/2001/XMLSchema" xmlns:xs="http://www.w3.org/2001/XMLSchema" xmlns:p="http://schemas.microsoft.com/office/2006/metadata/properties" xmlns:ns2="0ebb8d40-ce3f-4b34-a95b-44b8347e090d" xmlns:ns3="927b5f69-4105-4a79-b3e7-37cc257da040" targetNamespace="http://schemas.microsoft.com/office/2006/metadata/properties" ma:root="true" ma:fieldsID="a8a842ddab51591441e5b8fdd14488d4" ns2:_="" ns3:_="">
    <xsd:import namespace="0ebb8d40-ce3f-4b34-a95b-44b8347e090d"/>
    <xsd:import namespace="927b5f69-4105-4a79-b3e7-37cc257da040"/>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2:MediaServiceAutoKeyPoints" minOccurs="0"/>
                <xsd:element ref="ns2:MediaServiceKeyPoints"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bb8d40-ce3f-4b34-a95b-44b8347e09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8f9dd247-5f48-452a-8dc4-ff9a39258eb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7b5f69-4105-4a79-b3e7-37cc257da040"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9dcdcaff-5a6c-44d4-a428-183794aa2029}" ma:internalName="TaxCatchAll" ma:showField="CatchAllData" ma:web="927b5f69-4105-4a79-b3e7-37cc257da04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E8F328-74E0-4DA5-B1FF-7418717E0F01}">
  <ds:schemaRefs>
    <ds:schemaRef ds:uri="http://schemas.microsoft.com/office/2006/metadata/properties"/>
    <ds:schemaRef ds:uri="http://schemas.microsoft.com/office/infopath/2007/PartnerControls"/>
    <ds:schemaRef ds:uri="927b5f69-4105-4a79-b3e7-37cc257da040"/>
    <ds:schemaRef ds:uri="0ebb8d40-ce3f-4b34-a95b-44b8347e090d"/>
  </ds:schemaRefs>
</ds:datastoreItem>
</file>

<file path=customXml/itemProps2.xml><?xml version="1.0" encoding="utf-8"?>
<ds:datastoreItem xmlns:ds="http://schemas.openxmlformats.org/officeDocument/2006/customXml" ds:itemID="{49F573EE-0CEB-4CC3-BCDA-BF5A0EBA52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bb8d40-ce3f-4b34-a95b-44b8347e090d"/>
    <ds:schemaRef ds:uri="927b5f69-4105-4a79-b3e7-37cc257da0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997BE8-C0B8-42CE-BE1F-4B116866D2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184</TotalTime>
  <Words>6687</Words>
  <Application>Microsoft Office PowerPoint</Application>
  <PresentationFormat>Widescreen</PresentationFormat>
  <Paragraphs>539</Paragraphs>
  <Slides>58</Slides>
  <Notes>13</Notes>
  <HiddenSlides>0</HiddenSlides>
  <MMClips>0</MMClips>
  <ScaleCrop>false</ScaleCrop>
  <HeadingPairs>
    <vt:vector size="8" baseType="variant">
      <vt:variant>
        <vt:lpstr>Fonts Used</vt:lpstr>
      </vt:variant>
      <vt:variant>
        <vt:i4>21</vt:i4>
      </vt:variant>
      <vt:variant>
        <vt:lpstr>Theme</vt:lpstr>
      </vt:variant>
      <vt:variant>
        <vt:i4>8</vt:i4>
      </vt:variant>
      <vt:variant>
        <vt:lpstr>Embedded OLE Servers</vt:lpstr>
      </vt:variant>
      <vt:variant>
        <vt:i4>1</vt:i4>
      </vt:variant>
      <vt:variant>
        <vt:lpstr>Slide Titles</vt:lpstr>
      </vt:variant>
      <vt:variant>
        <vt:i4>58</vt:i4>
      </vt:variant>
    </vt:vector>
  </HeadingPairs>
  <TitlesOfParts>
    <vt:vector size="88" baseType="lpstr">
      <vt:lpstr>Aptos</vt:lpstr>
      <vt:lpstr>Aptos Display</vt:lpstr>
      <vt:lpstr>Arial</vt:lpstr>
      <vt:lpstr>Arial </vt:lpstr>
      <vt:lpstr>Arial Narrow</vt:lpstr>
      <vt:lpstr>Calibri</vt:lpstr>
      <vt:lpstr>Calibri (Body)</vt:lpstr>
      <vt:lpstr>Calibri Light</vt:lpstr>
      <vt:lpstr>Comfortaa SemiBold</vt:lpstr>
      <vt:lpstr>Georgia</vt:lpstr>
      <vt:lpstr>Noto Sans</vt:lpstr>
      <vt:lpstr>Nunito</vt:lpstr>
      <vt:lpstr>Poppins</vt:lpstr>
      <vt:lpstr>Poppins Bold</vt:lpstr>
      <vt:lpstr>Roboto</vt:lpstr>
      <vt:lpstr>Segoe UI</vt:lpstr>
      <vt:lpstr>Tahoma</vt:lpstr>
      <vt:lpstr>Times New Roman</vt:lpstr>
      <vt:lpstr>Verdana</vt:lpstr>
      <vt:lpstr>Wingdings</vt:lpstr>
      <vt:lpstr>ヒラギノ角ゴ ProN W3</vt:lpstr>
      <vt:lpstr>Office Theme</vt:lpstr>
      <vt:lpstr>1_Office Theme</vt:lpstr>
      <vt:lpstr>2_Office Theme</vt:lpstr>
      <vt:lpstr>6_Office Theme</vt:lpstr>
      <vt:lpstr>Retrospect</vt:lpstr>
      <vt:lpstr>7_Office Theme</vt:lpstr>
      <vt:lpstr>5_Office Theme</vt:lpstr>
      <vt:lpstr>8_Office Theme</vt:lpstr>
      <vt:lpstr>think-cell Slide</vt:lpstr>
      <vt:lpstr>PowerPoint Presentation</vt:lpstr>
      <vt:lpstr>Lưu ý</vt:lpstr>
      <vt:lpstr>PowerPoint Presentation</vt:lpstr>
      <vt:lpstr>PowerPoint Presentation</vt:lpstr>
      <vt:lpstr>Tiêm chủng như một chiến lược dự phòng tim mạch mới </vt:lpstr>
      <vt:lpstr>PowerPoint Presentation</vt:lpstr>
      <vt:lpstr>Thống kê về những nguyên nhân gây tử vong hàng đầu</vt:lpstr>
      <vt:lpstr>Phế cầu khuẩn là một trong những nguyên nhân chính  của viêm phổi mắc phải cộng đồng (CAP)</vt:lpstr>
      <vt:lpstr>PowerPoint Presentation</vt:lpstr>
      <vt:lpstr>PowerPoint Presentation</vt:lpstr>
      <vt:lpstr>Tỉ lệ tử vong liên quan IPD theo nhóm tuổi</vt:lpstr>
      <vt:lpstr>Mức tăng nguy cơ mắc viêm phổi phế cầu</vt:lpstr>
      <vt:lpstr> Viêm phổi cấp &amp; ảnh hưởng hệ tim mạch </vt:lpstr>
      <vt:lpstr>PowerPoint Presentation</vt:lpstr>
      <vt:lpstr>Các đại dịch cúm diễn ra từ sau đại dịch cúm 1918</vt:lpstr>
      <vt:lpstr>Hiệu ứng domino sau khi nhiễm cúm Nhiễm cúm làm tăng nặng các bệnh nền   nguy cơ nhập viện/tử vong</vt:lpstr>
      <vt:lpstr>Nguy cơ nhồi máu cơ tim cấp tăng sau khi nhiễm cúm</vt:lpstr>
      <vt:lpstr>PowerPoint Presentation</vt:lpstr>
      <vt:lpstr>Nhiễm cúm làm gia tăng tỷ lệ tử vong nội viện  ở bệnh nhân suy tim</vt:lpstr>
      <vt:lpstr>Nguy cơ tim mạch tăng  khi nhiễm cúm </vt:lpstr>
      <vt:lpstr>Nhiễm cúm tăng nguy cơ mắc suy tim và  nhồi máu cơ tim</vt:lpstr>
      <vt:lpstr>PowerPoint Presentation</vt:lpstr>
      <vt:lpstr>Người cao tuổi: Khi nhiễm cúm, nguy cơ mắc bệnh nặng hơn hoặc dễ bị biến chứng nguy hiểm hơn</vt:lpstr>
      <vt:lpstr>PowerPoint Presentation</vt:lpstr>
      <vt:lpstr>PowerPoint Presentation</vt:lpstr>
      <vt:lpstr>PowerPoint Presentation</vt:lpstr>
      <vt:lpstr>PowerPoint Presentation</vt:lpstr>
      <vt:lpstr>PowerPoint Presentation</vt:lpstr>
      <vt:lpstr>PowerPoint Presentation</vt:lpstr>
      <vt:lpstr>COVID-19: từ sự xâm nhập của virus đến đáp ứng toàn thân</vt:lpstr>
      <vt:lpstr>Sinh lý bệnh các biến chứng liên quan đến tim của COVID-19</vt:lpstr>
      <vt:lpstr>COVID-19 và biến chứng trên hệ thống tim mạch</vt:lpstr>
      <vt:lpstr>PowerPoint Presentation</vt:lpstr>
      <vt:lpstr>LÃO HÓA MIỄN DỊCH LÀM TĂNG NGUY CƠ MẮC BỆNH NHIỄM TRÙNG VÀ GIẢM ĐÁP ỨNG MIỄN DỊCH</vt:lpstr>
      <vt:lpstr>LÃO HÓA MIỄN DỊCH VÀ TÌNH TRẠNG SGMD LÀM TĂNG NGUY CƠ  TÁI HOẠT VI RÚT VARICELLA ZOSTER *1–3</vt:lpstr>
      <vt:lpstr>BIẾN CHỨNG CỦA BỆNH ZONA (HZ) Zona có thể dẫn đến nhiều biến chứng khác nhau ở bệnh nhân1–9*</vt:lpstr>
      <vt:lpstr>ĐAU DO ZONA CÓ THỂ GÂY SUY NHƯỢC VÀ ẢNH HƯỞNG NGHIÊM TRỌNG TỚI CHẤT LƯỢNG CUỘC SỐNG1–3 </vt:lpstr>
      <vt:lpstr>PowerPoint Presentation</vt:lpstr>
      <vt:lpstr>Nhiễm trùng đường hô hấp cấp tính</vt:lpstr>
      <vt:lpstr>Nhóm dân số có nguy cơ cao mắc bệnh truyền nhiễm  và diễn tiến nặng</vt:lpstr>
      <vt:lpstr>Chuyển đổi mô hình chăm sóc sức khỏe từ điều trị sang phòng ngừa  toàn diện xuyên suốt các giai đoạn của vòng đời</vt:lpstr>
      <vt:lpstr>Vắc-xin mang lại thêm những năm sống khỏe mạnh  và kéo dài tuổi thọ3</vt:lpstr>
      <vt:lpstr>Hiệu ứng có thể quan sát sau chủng ngừa</vt:lpstr>
      <vt:lpstr>3 biện pháp phòng ngừa nhiễm trùng đường hô hấp cấp </vt:lpstr>
      <vt:lpstr>Phương án 3: Lợi ích của các chương trình tiêm chủng12</vt:lpstr>
      <vt:lpstr>Phương án 3: Lợi ích của các chương trình tiêm chủng</vt:lpstr>
      <vt:lpstr>Tiêm phòng cúm cho người bệnh mạch vành và suy tim được khuyến cáo bởi  Hội tim Châu Âu, Trường môn tim/ Hiệp Hội Tim Hoa Kỳ</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ông điệp về phòng bệnh với vắc-xi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guyen, Quynh Phuong</dc:creator>
  <cp:lastModifiedBy>TS. Nguyễn Văn Tân</cp:lastModifiedBy>
  <cp:revision>93</cp:revision>
  <dcterms:created xsi:type="dcterms:W3CDTF">2024-07-10T02:35:38Z</dcterms:created>
  <dcterms:modified xsi:type="dcterms:W3CDTF">2025-09-14T06:4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a6f01b5-c24b-4fa8-8e8f-cee31f47fe31_Enabled">
    <vt:lpwstr>true</vt:lpwstr>
  </property>
  <property fmtid="{D5CDD505-2E9C-101B-9397-08002B2CF9AE}" pid="3" name="MSIP_Label_fa6f01b5-c24b-4fa8-8e8f-cee31f47fe31_SetDate">
    <vt:lpwstr>2024-07-10T03:07:44Z</vt:lpwstr>
  </property>
  <property fmtid="{D5CDD505-2E9C-101B-9397-08002B2CF9AE}" pid="4" name="MSIP_Label_fa6f01b5-c24b-4fa8-8e8f-cee31f47fe31_Method">
    <vt:lpwstr>Privileged</vt:lpwstr>
  </property>
  <property fmtid="{D5CDD505-2E9C-101B-9397-08002B2CF9AE}" pid="5" name="MSIP_Label_fa6f01b5-c24b-4fa8-8e8f-cee31f47fe31_Name">
    <vt:lpwstr>fa6f01b5-c24b-4fa8-8e8f-cee31f47fe31</vt:lpwstr>
  </property>
  <property fmtid="{D5CDD505-2E9C-101B-9397-08002B2CF9AE}" pid="6" name="MSIP_Label_fa6f01b5-c24b-4fa8-8e8f-cee31f47fe31_SiteId">
    <vt:lpwstr>7a916015-20ae-4ad1-9170-eefd915e9272</vt:lpwstr>
  </property>
  <property fmtid="{D5CDD505-2E9C-101B-9397-08002B2CF9AE}" pid="7" name="MSIP_Label_fa6f01b5-c24b-4fa8-8e8f-cee31f47fe31_ActionId">
    <vt:lpwstr>7178baa4-d32a-4627-8197-f0f27c2c1cb3</vt:lpwstr>
  </property>
  <property fmtid="{D5CDD505-2E9C-101B-9397-08002B2CF9AE}" pid="8" name="MSIP_Label_fa6f01b5-c24b-4fa8-8e8f-cee31f47fe31_ContentBits">
    <vt:lpwstr>0</vt:lpwstr>
  </property>
  <property fmtid="{D5CDD505-2E9C-101B-9397-08002B2CF9AE}" pid="9" name="ContentTypeId">
    <vt:lpwstr>0x010100A86D44D22F044D408F99A5532C704915</vt:lpwstr>
  </property>
  <property fmtid="{D5CDD505-2E9C-101B-9397-08002B2CF9AE}" pid="10" name="MediaServiceImageTags">
    <vt:lpwstr/>
  </property>
</Properties>
</file>